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8.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0.xml" ContentType="application/vnd.openxmlformats-officedocument.theme+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1.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2.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5.xml" ContentType="application/vnd.openxmlformats-officedocument.presentationml.notesSlide+xml"/>
  <Override PartName="/ppt/comments/comment1.xml" ContentType="application/vnd.openxmlformats-officedocument.presentationml.comments+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49" r:id="rId2"/>
    <p:sldMasterId id="2147483650" r:id="rId3"/>
    <p:sldMasterId id="2147483651" r:id="rId4"/>
    <p:sldMasterId id="2147483652" r:id="rId5"/>
    <p:sldMasterId id="2147483653" r:id="rId6"/>
    <p:sldMasterId id="2147483654" r:id="rId7"/>
    <p:sldMasterId id="2147483655" r:id="rId8"/>
    <p:sldMasterId id="2147483656" r:id="rId9"/>
    <p:sldMasterId id="2147483657" r:id="rId10"/>
    <p:sldMasterId id="2147483658" r:id="rId11"/>
    <p:sldMasterId id="2147483659" r:id="rId12"/>
    <p:sldMasterId id="2147483660" r:id="rId13"/>
    <p:sldMasterId id="2147483661" r:id="rId14"/>
  </p:sldMasterIdLst>
  <p:notesMasterIdLst>
    <p:notesMasterId r:id="rId38"/>
  </p:notesMasterIdLst>
  <p:sldIdLst>
    <p:sldId id="257" r:id="rId15"/>
    <p:sldId id="307" r:id="rId16"/>
    <p:sldId id="308" r:id="rId17"/>
    <p:sldId id="352" r:id="rId18"/>
    <p:sldId id="365" r:id="rId19"/>
    <p:sldId id="377" r:id="rId20"/>
    <p:sldId id="378" r:id="rId21"/>
    <p:sldId id="379" r:id="rId22"/>
    <p:sldId id="366" r:id="rId23"/>
    <p:sldId id="367" r:id="rId24"/>
    <p:sldId id="368" r:id="rId25"/>
    <p:sldId id="290" r:id="rId26"/>
    <p:sldId id="360" r:id="rId27"/>
    <p:sldId id="369" r:id="rId28"/>
    <p:sldId id="375" r:id="rId29"/>
    <p:sldId id="374" r:id="rId30"/>
    <p:sldId id="376" r:id="rId31"/>
    <p:sldId id="351" r:id="rId32"/>
    <p:sldId id="370" r:id="rId33"/>
    <p:sldId id="371" r:id="rId34"/>
    <p:sldId id="372" r:id="rId35"/>
    <p:sldId id="373" r:id="rId36"/>
    <p:sldId id="256" r:id="rId37"/>
  </p:sldIdLst>
  <p:sldSz cx="13004800" cy="9753600"/>
  <p:notesSz cx="6858000" cy="9144000"/>
  <p:custDataLst>
    <p:tags r:id="rId39"/>
  </p:custDataLst>
  <p:defaultTextStyle>
    <a:defPPr>
      <a:defRPr lang="en-US"/>
    </a:defPPr>
    <a:lvl1pPr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1pPr>
    <a:lvl2pPr marL="4572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2pPr>
    <a:lvl3pPr marL="9144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3pPr>
    <a:lvl4pPr marL="13716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4pPr>
    <a:lvl5pPr marL="1828800" algn="l" rtl="0" fontAlgn="base">
      <a:spcBef>
        <a:spcPct val="0"/>
      </a:spcBef>
      <a:spcAft>
        <a:spcPct val="0"/>
      </a:spcAft>
      <a:defRPr sz="4200" kern="1200">
        <a:solidFill>
          <a:srgbClr val="000000"/>
        </a:solidFill>
        <a:latin typeface="Gill Sans"/>
        <a:ea typeface="ヒラギノ角ゴ ProN W3"/>
        <a:cs typeface="ヒラギノ角ゴ ProN W3"/>
        <a:sym typeface="Gill Sans"/>
      </a:defRPr>
    </a:lvl5pPr>
    <a:lvl6pPr marL="2286000" algn="l" defTabSz="914400" rtl="0" eaLnBrk="1" latinLnBrk="0" hangingPunct="1">
      <a:defRPr sz="4200" kern="1200">
        <a:solidFill>
          <a:srgbClr val="000000"/>
        </a:solidFill>
        <a:latin typeface="Gill Sans"/>
        <a:ea typeface="ヒラギノ角ゴ ProN W3"/>
        <a:cs typeface="ヒラギノ角ゴ ProN W3"/>
        <a:sym typeface="Gill Sans"/>
      </a:defRPr>
    </a:lvl6pPr>
    <a:lvl7pPr marL="2743200" algn="l" defTabSz="914400" rtl="0" eaLnBrk="1" latinLnBrk="0" hangingPunct="1">
      <a:defRPr sz="4200" kern="1200">
        <a:solidFill>
          <a:srgbClr val="000000"/>
        </a:solidFill>
        <a:latin typeface="Gill Sans"/>
        <a:ea typeface="ヒラギノ角ゴ ProN W3"/>
        <a:cs typeface="ヒラギノ角ゴ ProN W3"/>
        <a:sym typeface="Gill Sans"/>
      </a:defRPr>
    </a:lvl7pPr>
    <a:lvl8pPr marL="3200400" algn="l" defTabSz="914400" rtl="0" eaLnBrk="1" latinLnBrk="0" hangingPunct="1">
      <a:defRPr sz="4200" kern="1200">
        <a:solidFill>
          <a:srgbClr val="000000"/>
        </a:solidFill>
        <a:latin typeface="Gill Sans"/>
        <a:ea typeface="ヒラギノ角ゴ ProN W3"/>
        <a:cs typeface="ヒラギノ角ゴ ProN W3"/>
        <a:sym typeface="Gill Sans"/>
      </a:defRPr>
    </a:lvl8pPr>
    <a:lvl9pPr marL="3657600" algn="l" defTabSz="914400" rtl="0" eaLnBrk="1" latinLnBrk="0" hangingPunct="1">
      <a:defRPr sz="4200" kern="1200">
        <a:solidFill>
          <a:srgbClr val="000000"/>
        </a:solidFill>
        <a:latin typeface="Gill Sans"/>
        <a:ea typeface="ヒラギノ角ゴ ProN W3"/>
        <a:cs typeface="ヒラギノ角ゴ ProN W3"/>
        <a:sym typeface="Gill Sans"/>
      </a:defRPr>
    </a:lvl9pPr>
  </p:defaultTextStyle>
  <p:extLst>
    <p:ext uri="{EFAFB233-063F-42B5-8137-9DF3F51BA10A}">
      <p15:sldGuideLst xmlns:p15="http://schemas.microsoft.com/office/powerpoint/2012/main">
        <p15:guide id="1" orient="horz" pos="3072">
          <p15:clr>
            <a:srgbClr val="A4A3A4"/>
          </p15:clr>
        </p15:guide>
        <p15:guide id="2" pos="4096">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rker, Harry M" initials="PHM" lastIdx="8" clrIdx="0">
    <p:extLst>
      <p:ext uri="{19B8F6BF-5375-455C-9EA6-DF929625EA0E}">
        <p15:presenceInfo xmlns:p15="http://schemas.microsoft.com/office/powerpoint/2012/main" userId="S-1-5-21-3223720959-1287763238-3712260780-3077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32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4110" autoAdjust="0"/>
  </p:normalViewPr>
  <p:slideViewPr>
    <p:cSldViewPr>
      <p:cViewPr varScale="1">
        <p:scale>
          <a:sx n="76" d="100"/>
          <a:sy n="76" d="100"/>
        </p:scale>
        <p:origin x="1722" y="102"/>
      </p:cViewPr>
      <p:guideLst>
        <p:guide orient="horz" pos="3072"/>
        <p:guide pos="4096"/>
      </p:guideLst>
    </p:cSldViewPr>
  </p:slideViewPr>
  <p:notesTextViewPr>
    <p:cViewPr>
      <p:scale>
        <a:sx n="100" d="100"/>
        <a:sy n="100" d="100"/>
      </p:scale>
      <p:origin x="0" y="0"/>
    </p:cViewPr>
  </p:notesTextViewPr>
  <p:sorterViewPr>
    <p:cViewPr>
      <p:scale>
        <a:sx n="75" d="100"/>
        <a:sy n="75" d="100"/>
      </p:scale>
      <p:origin x="0" y="265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theme" Target="theme/them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8-05-31T00:33:51.568" idx="6">
    <p:pos x="10" y="10"/>
    <p:text>add for Turkey 7 years minimum relevant experience</p:text>
    <p:extLst>
      <p:ext uri="{C676402C-5697-4E1C-873F-D02D1690AC5C}">
        <p15:threadingInfo xmlns:p15="http://schemas.microsoft.com/office/powerpoint/2012/main" timeZoneBias="420"/>
      </p:ext>
    </p:extLst>
  </p:cm>
  <p:cm authorId="1" dt="2018-05-31T00:40:05.709" idx="7">
    <p:pos x="10" y="146"/>
    <p:text>add for Turkey 10 years experience in mining industry</p:text>
    <p:extLst>
      <p:ext uri="{C676402C-5697-4E1C-873F-D02D1690AC5C}">
        <p15:threadingInfo xmlns:p15="http://schemas.microsoft.com/office/powerpoint/2012/main" timeZoneBias="420">
          <p15:parentCm authorId="1" idx="6"/>
        </p15:threadingInfo>
      </p:ext>
    </p:extLst>
  </p:cm>
  <p:cm authorId="1" dt="2018-05-31T00:40:50.839" idx="8">
    <p:pos x="10" y="282"/>
    <p:text>add for Turkey they have Areas of Expertise; they call themselves CP</p:text>
    <p:extLst>
      <p:ext uri="{C676402C-5697-4E1C-873F-D02D1690AC5C}">
        <p15:threadingInfo xmlns:p15="http://schemas.microsoft.com/office/powerpoint/2012/main" timeZoneBias="420">
          <p15:parentCm authorId="1" idx="6"/>
        </p15:threadingInfo>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FAD52A-64EC-4C0D-8546-38587A55CA93}"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GB"/>
        </a:p>
      </dgm:t>
    </dgm:pt>
    <dgm:pt modelId="{41FEB323-2C1F-47AE-BDDB-4B7966D875FF}">
      <dgm:prSet phldrT="[Text]" custT="1"/>
      <dgm:spPr>
        <a:solidFill>
          <a:srgbClr val="29325C"/>
        </a:solidFill>
      </dgm:spPr>
      <dgm:t>
        <a:bodyPr/>
        <a:lstStyle/>
        <a:p>
          <a:pPr>
            <a:spcAft>
              <a:spcPts val="500"/>
            </a:spcAft>
          </a:pPr>
          <a:r>
            <a:rPr lang="ru-RU" sz="4400" dirty="0"/>
            <a:t>Национальная Отчетная Организация</a:t>
          </a:r>
          <a:endParaRPr lang="en-GB" sz="4400" dirty="0"/>
        </a:p>
        <a:p>
          <a:pPr>
            <a:spcAft>
              <a:spcPts val="500"/>
            </a:spcAft>
          </a:pPr>
          <a:r>
            <a:rPr lang="ru-RU" sz="2400" i="1" dirty="0"/>
            <a:t>Представляет одну страну или определенную группу стран</a:t>
          </a:r>
          <a:endParaRPr lang="en-GB" sz="2400" i="1" dirty="0"/>
        </a:p>
        <a:p>
          <a:pPr>
            <a:spcAft>
              <a:spcPts val="500"/>
            </a:spcAft>
          </a:pPr>
          <a:r>
            <a:rPr lang="ru-RU" sz="2400" i="1" dirty="0"/>
            <a:t>Разрабатывает и несет ответственность за представление кодекса, стандартов и руководств</a:t>
          </a:r>
          <a:r>
            <a:rPr lang="en-GB" sz="2400" i="1" dirty="0"/>
            <a:t> </a:t>
          </a:r>
        </a:p>
      </dgm:t>
    </dgm:pt>
    <dgm:pt modelId="{18EE6A9B-D28A-45C6-B73D-1308965C66D5}" type="parTrans" cxnId="{33D9DBEC-D47B-4E65-BB63-1CEBE24687B1}">
      <dgm:prSet/>
      <dgm:spPr/>
      <dgm:t>
        <a:bodyPr/>
        <a:lstStyle/>
        <a:p>
          <a:endParaRPr lang="en-GB" sz="1600"/>
        </a:p>
      </dgm:t>
    </dgm:pt>
    <dgm:pt modelId="{820CA20A-404E-41C2-9D34-DBAB43F567C0}" type="sibTrans" cxnId="{33D9DBEC-D47B-4E65-BB63-1CEBE24687B1}">
      <dgm:prSet/>
      <dgm:spPr/>
      <dgm:t>
        <a:bodyPr/>
        <a:lstStyle/>
        <a:p>
          <a:endParaRPr lang="en-GB" sz="1600"/>
        </a:p>
      </dgm:t>
    </dgm:pt>
    <dgm:pt modelId="{DE265763-6BB9-4131-8D7E-7648B86CB29A}">
      <dgm:prSet phldrT="[Text]" custT="1"/>
      <dgm:spPr>
        <a:solidFill>
          <a:srgbClr val="29325C"/>
        </a:solidFill>
      </dgm:spPr>
      <dgm:t>
        <a:bodyPr/>
        <a:lstStyle/>
        <a:p>
          <a:r>
            <a:rPr lang="ru-RU" sz="2400" b="1" dirty="0"/>
            <a:t>Одно или несколько профессиональных организаций</a:t>
          </a:r>
          <a:r>
            <a:rPr lang="en-GB" sz="2400" b="1" dirty="0"/>
            <a:t> (RPOs)</a:t>
          </a:r>
        </a:p>
      </dgm:t>
    </dgm:pt>
    <dgm:pt modelId="{34C53771-2B6B-4EF0-A595-553FFCE6EC33}" type="parTrans" cxnId="{2879DFBD-79F0-41D8-A8E6-0F4367ED54C7}">
      <dgm:prSet/>
      <dgm:spPr/>
      <dgm:t>
        <a:bodyPr/>
        <a:lstStyle/>
        <a:p>
          <a:endParaRPr lang="en-GB" sz="1600"/>
        </a:p>
      </dgm:t>
    </dgm:pt>
    <dgm:pt modelId="{F9923D07-A975-48CE-9B82-B05D6455C509}" type="sibTrans" cxnId="{2879DFBD-79F0-41D8-A8E6-0F4367ED54C7}">
      <dgm:prSet/>
      <dgm:spPr/>
      <dgm:t>
        <a:bodyPr/>
        <a:lstStyle/>
        <a:p>
          <a:endParaRPr lang="en-GB" sz="1600"/>
        </a:p>
      </dgm:t>
    </dgm:pt>
    <dgm:pt modelId="{D85355BB-B09B-4E25-A235-AE46225C1A4D}">
      <dgm:prSet phldrT="[Text]" custT="1"/>
      <dgm:spPr>
        <a:solidFill>
          <a:schemeClr val="accent1"/>
        </a:solidFill>
      </dgm:spPr>
      <dgm:t>
        <a:bodyPr/>
        <a:lstStyle/>
        <a:p>
          <a:r>
            <a:rPr lang="ru-RU" sz="2400" i="1" dirty="0">
              <a:solidFill>
                <a:srgbClr val="29325C"/>
              </a:solidFill>
            </a:rPr>
            <a:t>Представители компаний</a:t>
          </a:r>
          <a:endParaRPr lang="en-GB" sz="2400" i="1" dirty="0">
            <a:solidFill>
              <a:srgbClr val="29325C"/>
            </a:solidFill>
          </a:endParaRPr>
        </a:p>
      </dgm:t>
    </dgm:pt>
    <dgm:pt modelId="{F1EC88CC-7FCE-4271-BF47-664094C82008}" type="parTrans" cxnId="{D38115C3-8F27-48B9-AB83-7CE1E6FCEB06}">
      <dgm:prSet/>
      <dgm:spPr/>
      <dgm:t>
        <a:bodyPr/>
        <a:lstStyle/>
        <a:p>
          <a:endParaRPr lang="en-GB" sz="1600"/>
        </a:p>
      </dgm:t>
    </dgm:pt>
    <dgm:pt modelId="{EAEFE2F0-B790-4280-995B-1C8841EEAC1F}" type="sibTrans" cxnId="{D38115C3-8F27-48B9-AB83-7CE1E6FCEB06}">
      <dgm:prSet/>
      <dgm:spPr/>
      <dgm:t>
        <a:bodyPr/>
        <a:lstStyle/>
        <a:p>
          <a:endParaRPr lang="en-GB" sz="1600"/>
        </a:p>
      </dgm:t>
    </dgm:pt>
    <dgm:pt modelId="{77F33A26-5C3A-4159-892B-256EEA126214}">
      <dgm:prSet phldrT="[Text]" custT="1"/>
      <dgm:spPr>
        <a:solidFill>
          <a:schemeClr val="accent1"/>
        </a:solidFill>
      </dgm:spPr>
      <dgm:t>
        <a:bodyPr/>
        <a:lstStyle/>
        <a:p>
          <a:r>
            <a:rPr lang="ru-RU" sz="2400" i="1" dirty="0">
              <a:solidFill>
                <a:srgbClr val="29325C"/>
              </a:solidFill>
            </a:rPr>
            <a:t>Регуляторы/</a:t>
          </a:r>
          <a:r>
            <a:rPr lang="ru-RU" sz="2400" i="1" dirty="0" err="1">
              <a:solidFill>
                <a:srgbClr val="29325C"/>
              </a:solidFill>
            </a:rPr>
            <a:t>Прави-тельственые</a:t>
          </a:r>
          <a:r>
            <a:rPr lang="ru-RU" sz="2400" i="1" dirty="0">
              <a:solidFill>
                <a:srgbClr val="29325C"/>
              </a:solidFill>
            </a:rPr>
            <a:t> </a:t>
          </a:r>
          <a:r>
            <a:rPr lang="ru-RU" sz="2400" i="1" dirty="0" err="1">
              <a:solidFill>
                <a:srgbClr val="29325C"/>
              </a:solidFill>
            </a:rPr>
            <a:t>агенства</a:t>
          </a:r>
          <a:endParaRPr lang="en-GB" sz="2400" i="1" dirty="0">
            <a:solidFill>
              <a:srgbClr val="29325C"/>
            </a:solidFill>
          </a:endParaRPr>
        </a:p>
      </dgm:t>
    </dgm:pt>
    <dgm:pt modelId="{BD51082E-5E2F-4CA7-83D0-9A925FB13045}" type="parTrans" cxnId="{8FE76987-B715-4E78-B5E7-E9F17982CE11}">
      <dgm:prSet/>
      <dgm:spPr/>
      <dgm:t>
        <a:bodyPr/>
        <a:lstStyle/>
        <a:p>
          <a:endParaRPr lang="en-GB" sz="1600"/>
        </a:p>
      </dgm:t>
    </dgm:pt>
    <dgm:pt modelId="{62F6CB06-1FD8-4891-9D44-F944B2190022}" type="sibTrans" cxnId="{8FE76987-B715-4E78-B5E7-E9F17982CE11}">
      <dgm:prSet/>
      <dgm:spPr/>
      <dgm:t>
        <a:bodyPr/>
        <a:lstStyle/>
        <a:p>
          <a:endParaRPr lang="en-GB" sz="1600"/>
        </a:p>
      </dgm:t>
    </dgm:pt>
    <dgm:pt modelId="{BCC67487-3464-4523-80E7-608E2B8D638A}">
      <dgm:prSet phldrT="[Text]" custT="1"/>
      <dgm:spPr>
        <a:solidFill>
          <a:schemeClr val="accent1"/>
        </a:solidFill>
      </dgm:spPr>
      <dgm:t>
        <a:bodyPr/>
        <a:lstStyle/>
        <a:p>
          <a:r>
            <a:rPr lang="ru-RU" sz="2400" i="1" dirty="0">
              <a:solidFill>
                <a:srgbClr val="29325C"/>
              </a:solidFill>
            </a:rPr>
            <a:t>Фондовые биржи</a:t>
          </a:r>
          <a:endParaRPr lang="en-GB" sz="2400" i="1" dirty="0">
            <a:solidFill>
              <a:srgbClr val="29325C"/>
            </a:solidFill>
          </a:endParaRPr>
        </a:p>
      </dgm:t>
    </dgm:pt>
    <dgm:pt modelId="{C967E067-1077-4882-AFB9-6102798F9717}" type="parTrans" cxnId="{660813D0-AF66-4B55-A820-B28638748CD6}">
      <dgm:prSet/>
      <dgm:spPr/>
      <dgm:t>
        <a:bodyPr/>
        <a:lstStyle/>
        <a:p>
          <a:endParaRPr lang="en-GB" sz="1600"/>
        </a:p>
      </dgm:t>
    </dgm:pt>
    <dgm:pt modelId="{F07935E7-FC42-45CF-A304-B83163D1DEBE}" type="sibTrans" cxnId="{660813D0-AF66-4B55-A820-B28638748CD6}">
      <dgm:prSet/>
      <dgm:spPr/>
      <dgm:t>
        <a:bodyPr/>
        <a:lstStyle/>
        <a:p>
          <a:endParaRPr lang="en-GB" sz="1600"/>
        </a:p>
      </dgm:t>
    </dgm:pt>
    <dgm:pt modelId="{57D9EBC4-AB99-4E8B-9C57-F3E0AE9C19F0}">
      <dgm:prSet phldrT="[Text]" custT="1"/>
      <dgm:spPr>
        <a:solidFill>
          <a:schemeClr val="accent1"/>
        </a:solidFill>
      </dgm:spPr>
      <dgm:t>
        <a:bodyPr/>
        <a:lstStyle/>
        <a:p>
          <a:r>
            <a:rPr lang="ru-RU" sz="2400" i="1" dirty="0">
              <a:solidFill>
                <a:srgbClr val="29325C"/>
              </a:solidFill>
            </a:rPr>
            <a:t>Другие участвующие органы</a:t>
          </a:r>
        </a:p>
        <a:p>
          <a:r>
            <a:rPr lang="ru-RU" sz="2400" i="1" dirty="0">
              <a:solidFill>
                <a:srgbClr val="29325C"/>
              </a:solidFill>
            </a:rPr>
            <a:t>(также могут быть советниками или наблюдателями)</a:t>
          </a:r>
          <a:endParaRPr lang="en-GB" sz="2400" i="1" dirty="0">
            <a:solidFill>
              <a:srgbClr val="29325C"/>
            </a:solidFill>
          </a:endParaRPr>
        </a:p>
      </dgm:t>
    </dgm:pt>
    <dgm:pt modelId="{9B08E01A-8CCD-4469-AD08-0D02A02B3B5D}" type="parTrans" cxnId="{C13E4147-4BF5-4618-97C5-EC37DC25CD3E}">
      <dgm:prSet/>
      <dgm:spPr/>
      <dgm:t>
        <a:bodyPr/>
        <a:lstStyle/>
        <a:p>
          <a:endParaRPr lang="en-GB" sz="1600"/>
        </a:p>
      </dgm:t>
    </dgm:pt>
    <dgm:pt modelId="{390A4684-B224-4509-A3B0-0D3556F1F7DB}" type="sibTrans" cxnId="{C13E4147-4BF5-4618-97C5-EC37DC25CD3E}">
      <dgm:prSet/>
      <dgm:spPr/>
      <dgm:t>
        <a:bodyPr/>
        <a:lstStyle/>
        <a:p>
          <a:endParaRPr lang="en-GB" sz="1600"/>
        </a:p>
      </dgm:t>
    </dgm:pt>
    <dgm:pt modelId="{06663C1F-849C-4F20-9E2B-184110CB5AC5}">
      <dgm:prSet phldrT="[Text]" custT="1"/>
      <dgm:spPr>
        <a:solidFill>
          <a:srgbClr val="29325C"/>
        </a:solidFill>
      </dgm:spPr>
      <dgm:t>
        <a:bodyPr/>
        <a:lstStyle/>
        <a:p>
          <a:r>
            <a:rPr lang="ru-RU" sz="2400" b="1" dirty="0"/>
            <a:t>Практикующие профессионалы и эксперты недропользования</a:t>
          </a:r>
          <a:endParaRPr lang="en-GB" sz="2400" b="1" dirty="0"/>
        </a:p>
      </dgm:t>
    </dgm:pt>
    <dgm:pt modelId="{130A2548-50CC-48CD-9067-BDA8106A8785}" type="parTrans" cxnId="{701249F2-2C65-465F-A26A-E1CBABF007CB}">
      <dgm:prSet/>
      <dgm:spPr/>
      <dgm:t>
        <a:bodyPr/>
        <a:lstStyle/>
        <a:p>
          <a:endParaRPr lang="en-GB" sz="1600"/>
        </a:p>
      </dgm:t>
    </dgm:pt>
    <dgm:pt modelId="{9954FAAA-28CD-4AAA-B631-A6A00B336F1C}" type="sibTrans" cxnId="{701249F2-2C65-465F-A26A-E1CBABF007CB}">
      <dgm:prSet/>
      <dgm:spPr/>
      <dgm:t>
        <a:bodyPr/>
        <a:lstStyle/>
        <a:p>
          <a:endParaRPr lang="en-GB" sz="1600"/>
        </a:p>
      </dgm:t>
    </dgm:pt>
    <dgm:pt modelId="{A01FAA3A-110D-44E0-B316-2A5965A06A04}" type="pres">
      <dgm:prSet presAssocID="{37FAD52A-64EC-4C0D-8546-38587A55CA93}" presName="Name0" presStyleCnt="0">
        <dgm:presLayoutVars>
          <dgm:chPref val="1"/>
          <dgm:dir/>
          <dgm:animOne val="branch"/>
          <dgm:animLvl val="lvl"/>
          <dgm:resizeHandles/>
        </dgm:presLayoutVars>
      </dgm:prSet>
      <dgm:spPr/>
    </dgm:pt>
    <dgm:pt modelId="{C414E995-AF92-4B2B-8415-D88F965D9F50}" type="pres">
      <dgm:prSet presAssocID="{41FEB323-2C1F-47AE-BDDB-4B7966D875FF}" presName="vertOne" presStyleCnt="0"/>
      <dgm:spPr/>
    </dgm:pt>
    <dgm:pt modelId="{438728D7-0557-40A8-932A-8F3D7D913609}" type="pres">
      <dgm:prSet presAssocID="{41FEB323-2C1F-47AE-BDDB-4B7966D875FF}" presName="txOne" presStyleLbl="node0" presStyleIdx="0" presStyleCnt="1" custScaleY="126400">
        <dgm:presLayoutVars>
          <dgm:chPref val="3"/>
        </dgm:presLayoutVars>
      </dgm:prSet>
      <dgm:spPr/>
    </dgm:pt>
    <dgm:pt modelId="{71176122-A6B6-4589-A236-1F65C5506A60}" type="pres">
      <dgm:prSet presAssocID="{41FEB323-2C1F-47AE-BDDB-4B7966D875FF}" presName="parTransOne" presStyleCnt="0"/>
      <dgm:spPr/>
    </dgm:pt>
    <dgm:pt modelId="{4DC09B0E-BFD7-4AE6-BCBD-038F4EA19759}" type="pres">
      <dgm:prSet presAssocID="{41FEB323-2C1F-47AE-BDDB-4B7966D875FF}" presName="horzOne" presStyleCnt="0"/>
      <dgm:spPr/>
    </dgm:pt>
    <dgm:pt modelId="{723A7BB9-1819-4A79-8F69-685C4FB581D1}" type="pres">
      <dgm:prSet presAssocID="{DE265763-6BB9-4131-8D7E-7648B86CB29A}" presName="vertTwo" presStyleCnt="0"/>
      <dgm:spPr/>
    </dgm:pt>
    <dgm:pt modelId="{D3BCCD6A-A7B6-4F01-B6F0-FE037E1546D9}" type="pres">
      <dgm:prSet presAssocID="{DE265763-6BB9-4131-8D7E-7648B86CB29A}" presName="txTwo" presStyleLbl="node2" presStyleIdx="0" presStyleCnt="2">
        <dgm:presLayoutVars>
          <dgm:chPref val="3"/>
        </dgm:presLayoutVars>
      </dgm:prSet>
      <dgm:spPr/>
    </dgm:pt>
    <dgm:pt modelId="{4CAE7311-A025-4853-8264-7AE34CCB3165}" type="pres">
      <dgm:prSet presAssocID="{DE265763-6BB9-4131-8D7E-7648B86CB29A}" presName="parTransTwo" presStyleCnt="0"/>
      <dgm:spPr/>
    </dgm:pt>
    <dgm:pt modelId="{1FA339FD-BA08-4B29-A0C3-46121729295D}" type="pres">
      <dgm:prSet presAssocID="{DE265763-6BB9-4131-8D7E-7648B86CB29A}" presName="horzTwo" presStyleCnt="0"/>
      <dgm:spPr/>
    </dgm:pt>
    <dgm:pt modelId="{0BD82D33-9452-4671-BD2A-AEDAAB388BF1}" type="pres">
      <dgm:prSet presAssocID="{06663C1F-849C-4F20-9E2B-184110CB5AC5}" presName="vertThree" presStyleCnt="0"/>
      <dgm:spPr/>
    </dgm:pt>
    <dgm:pt modelId="{443C403C-1B71-4A58-A80A-033EFF09ADC8}" type="pres">
      <dgm:prSet presAssocID="{06663C1F-849C-4F20-9E2B-184110CB5AC5}" presName="txThree" presStyleLbl="node3" presStyleIdx="0" presStyleCnt="4">
        <dgm:presLayoutVars>
          <dgm:chPref val="3"/>
        </dgm:presLayoutVars>
      </dgm:prSet>
      <dgm:spPr/>
    </dgm:pt>
    <dgm:pt modelId="{AC93266E-E56F-4CD8-9FA3-25B4FB11DE66}" type="pres">
      <dgm:prSet presAssocID="{06663C1F-849C-4F20-9E2B-184110CB5AC5}" presName="horzThree" presStyleCnt="0"/>
      <dgm:spPr/>
    </dgm:pt>
    <dgm:pt modelId="{1B9CA5C4-FE36-4CB2-8422-FA048BD77892}" type="pres">
      <dgm:prSet presAssocID="{F9923D07-A975-48CE-9B82-B05D6455C509}" presName="sibSpaceTwo" presStyleCnt="0"/>
      <dgm:spPr/>
    </dgm:pt>
    <dgm:pt modelId="{BB0771D2-8775-4AD1-8A91-6AA0C652735B}" type="pres">
      <dgm:prSet presAssocID="{57D9EBC4-AB99-4E8B-9C57-F3E0AE9C19F0}" presName="vertTwo" presStyleCnt="0"/>
      <dgm:spPr/>
    </dgm:pt>
    <dgm:pt modelId="{0CBE067B-A101-4688-830A-85628B7DE00F}" type="pres">
      <dgm:prSet presAssocID="{57D9EBC4-AB99-4E8B-9C57-F3E0AE9C19F0}" presName="txTwo" presStyleLbl="node2" presStyleIdx="1" presStyleCnt="2">
        <dgm:presLayoutVars>
          <dgm:chPref val="3"/>
        </dgm:presLayoutVars>
      </dgm:prSet>
      <dgm:spPr/>
    </dgm:pt>
    <dgm:pt modelId="{F5AB1356-C131-4585-BF8A-B13B2D5866CD}" type="pres">
      <dgm:prSet presAssocID="{57D9EBC4-AB99-4E8B-9C57-F3E0AE9C19F0}" presName="parTransTwo" presStyleCnt="0"/>
      <dgm:spPr/>
    </dgm:pt>
    <dgm:pt modelId="{D3F7BA27-9E9B-420F-AD55-565E9A8C8A54}" type="pres">
      <dgm:prSet presAssocID="{57D9EBC4-AB99-4E8B-9C57-F3E0AE9C19F0}" presName="horzTwo" presStyleCnt="0"/>
      <dgm:spPr/>
    </dgm:pt>
    <dgm:pt modelId="{0FAE32D9-901B-4BD8-A4C4-E14D1CCC3DE2}" type="pres">
      <dgm:prSet presAssocID="{D85355BB-B09B-4E25-A235-AE46225C1A4D}" presName="vertThree" presStyleCnt="0"/>
      <dgm:spPr/>
    </dgm:pt>
    <dgm:pt modelId="{EDF523C9-7F17-4098-B262-700CFDD353D3}" type="pres">
      <dgm:prSet presAssocID="{D85355BB-B09B-4E25-A235-AE46225C1A4D}" presName="txThree" presStyleLbl="node3" presStyleIdx="1" presStyleCnt="4">
        <dgm:presLayoutVars>
          <dgm:chPref val="3"/>
        </dgm:presLayoutVars>
      </dgm:prSet>
      <dgm:spPr/>
    </dgm:pt>
    <dgm:pt modelId="{88582951-D569-49BC-9A01-3033ADD30C40}" type="pres">
      <dgm:prSet presAssocID="{D85355BB-B09B-4E25-A235-AE46225C1A4D}" presName="horzThree" presStyleCnt="0"/>
      <dgm:spPr/>
    </dgm:pt>
    <dgm:pt modelId="{D7BAB5F9-CC80-401C-81BE-402A927D12C5}" type="pres">
      <dgm:prSet presAssocID="{EAEFE2F0-B790-4280-995B-1C8841EEAC1F}" presName="sibSpaceThree" presStyleCnt="0"/>
      <dgm:spPr/>
    </dgm:pt>
    <dgm:pt modelId="{29F3FD6F-1546-4404-9867-CB76B1398687}" type="pres">
      <dgm:prSet presAssocID="{77F33A26-5C3A-4159-892B-256EEA126214}" presName="vertThree" presStyleCnt="0"/>
      <dgm:spPr/>
    </dgm:pt>
    <dgm:pt modelId="{7CCF0739-7951-40DB-92C2-26B0EA243F03}" type="pres">
      <dgm:prSet presAssocID="{77F33A26-5C3A-4159-892B-256EEA126214}" presName="txThree" presStyleLbl="node3" presStyleIdx="2" presStyleCnt="4">
        <dgm:presLayoutVars>
          <dgm:chPref val="3"/>
        </dgm:presLayoutVars>
      </dgm:prSet>
      <dgm:spPr/>
    </dgm:pt>
    <dgm:pt modelId="{426E7280-9CC5-4555-B2CE-D841E8903EF2}" type="pres">
      <dgm:prSet presAssocID="{77F33A26-5C3A-4159-892B-256EEA126214}" presName="horzThree" presStyleCnt="0"/>
      <dgm:spPr/>
    </dgm:pt>
    <dgm:pt modelId="{660AC1CE-AA08-407E-B943-D375E86F304D}" type="pres">
      <dgm:prSet presAssocID="{62F6CB06-1FD8-4891-9D44-F944B2190022}" presName="sibSpaceThree" presStyleCnt="0"/>
      <dgm:spPr/>
    </dgm:pt>
    <dgm:pt modelId="{F91489B6-949A-477C-B1B7-1935E80F8EDE}" type="pres">
      <dgm:prSet presAssocID="{BCC67487-3464-4523-80E7-608E2B8D638A}" presName="vertThree" presStyleCnt="0"/>
      <dgm:spPr/>
    </dgm:pt>
    <dgm:pt modelId="{E8A70306-7281-4826-A8DC-D058A3C1E7FD}" type="pres">
      <dgm:prSet presAssocID="{BCC67487-3464-4523-80E7-608E2B8D638A}" presName="txThree" presStyleLbl="node3" presStyleIdx="3" presStyleCnt="4">
        <dgm:presLayoutVars>
          <dgm:chPref val="3"/>
        </dgm:presLayoutVars>
      </dgm:prSet>
      <dgm:spPr/>
    </dgm:pt>
    <dgm:pt modelId="{6F83C70B-1CB2-47D5-AD44-FFCD78B8CCFC}" type="pres">
      <dgm:prSet presAssocID="{BCC67487-3464-4523-80E7-608E2B8D638A}" presName="horzThree" presStyleCnt="0"/>
      <dgm:spPr/>
    </dgm:pt>
  </dgm:ptLst>
  <dgm:cxnLst>
    <dgm:cxn modelId="{EF170500-48E2-4089-B78E-C5F6124DB723}" type="presOf" srcId="{57D9EBC4-AB99-4E8B-9C57-F3E0AE9C19F0}" destId="{0CBE067B-A101-4688-830A-85628B7DE00F}" srcOrd="0" destOrd="0" presId="urn:microsoft.com/office/officeart/2005/8/layout/hierarchy4"/>
    <dgm:cxn modelId="{13E5D102-ABE7-497A-853F-6F5741C39F02}" type="presOf" srcId="{BCC67487-3464-4523-80E7-608E2B8D638A}" destId="{E8A70306-7281-4826-A8DC-D058A3C1E7FD}" srcOrd="0" destOrd="0" presId="urn:microsoft.com/office/officeart/2005/8/layout/hierarchy4"/>
    <dgm:cxn modelId="{C638A425-C54D-4058-AB87-C37BEF502821}" type="presOf" srcId="{D85355BB-B09B-4E25-A235-AE46225C1A4D}" destId="{EDF523C9-7F17-4098-B262-700CFDD353D3}" srcOrd="0" destOrd="0" presId="urn:microsoft.com/office/officeart/2005/8/layout/hierarchy4"/>
    <dgm:cxn modelId="{A12CA63A-4D1F-4623-9C77-EFDC2E5B4260}" type="presOf" srcId="{37FAD52A-64EC-4C0D-8546-38587A55CA93}" destId="{A01FAA3A-110D-44E0-B316-2A5965A06A04}" srcOrd="0" destOrd="0" presId="urn:microsoft.com/office/officeart/2005/8/layout/hierarchy4"/>
    <dgm:cxn modelId="{C13E4147-4BF5-4618-97C5-EC37DC25CD3E}" srcId="{41FEB323-2C1F-47AE-BDDB-4B7966D875FF}" destId="{57D9EBC4-AB99-4E8B-9C57-F3E0AE9C19F0}" srcOrd="1" destOrd="0" parTransId="{9B08E01A-8CCD-4469-AD08-0D02A02B3B5D}" sibTransId="{390A4684-B224-4509-A3B0-0D3556F1F7DB}"/>
    <dgm:cxn modelId="{F550EC51-B1C5-447D-9D78-71D7F0A47E99}" type="presOf" srcId="{77F33A26-5C3A-4159-892B-256EEA126214}" destId="{7CCF0739-7951-40DB-92C2-26B0EA243F03}" srcOrd="0" destOrd="0" presId="urn:microsoft.com/office/officeart/2005/8/layout/hierarchy4"/>
    <dgm:cxn modelId="{1DF4F75A-6D70-41B4-8994-2A0821C8DDB5}" type="presOf" srcId="{41FEB323-2C1F-47AE-BDDB-4B7966D875FF}" destId="{438728D7-0557-40A8-932A-8F3D7D913609}" srcOrd="0" destOrd="0" presId="urn:microsoft.com/office/officeart/2005/8/layout/hierarchy4"/>
    <dgm:cxn modelId="{8FE76987-B715-4E78-B5E7-E9F17982CE11}" srcId="{57D9EBC4-AB99-4E8B-9C57-F3E0AE9C19F0}" destId="{77F33A26-5C3A-4159-892B-256EEA126214}" srcOrd="1" destOrd="0" parTransId="{BD51082E-5E2F-4CA7-83D0-9A925FB13045}" sibTransId="{62F6CB06-1FD8-4891-9D44-F944B2190022}"/>
    <dgm:cxn modelId="{D42DCFB9-2A35-4CA5-A5D8-B64E7C5CC712}" type="presOf" srcId="{06663C1F-849C-4F20-9E2B-184110CB5AC5}" destId="{443C403C-1B71-4A58-A80A-033EFF09ADC8}" srcOrd="0" destOrd="0" presId="urn:microsoft.com/office/officeart/2005/8/layout/hierarchy4"/>
    <dgm:cxn modelId="{2879DFBD-79F0-41D8-A8E6-0F4367ED54C7}" srcId="{41FEB323-2C1F-47AE-BDDB-4B7966D875FF}" destId="{DE265763-6BB9-4131-8D7E-7648B86CB29A}" srcOrd="0" destOrd="0" parTransId="{34C53771-2B6B-4EF0-A595-553FFCE6EC33}" sibTransId="{F9923D07-A975-48CE-9B82-B05D6455C509}"/>
    <dgm:cxn modelId="{D38115C3-8F27-48B9-AB83-7CE1E6FCEB06}" srcId="{57D9EBC4-AB99-4E8B-9C57-F3E0AE9C19F0}" destId="{D85355BB-B09B-4E25-A235-AE46225C1A4D}" srcOrd="0" destOrd="0" parTransId="{F1EC88CC-7FCE-4271-BF47-664094C82008}" sibTransId="{EAEFE2F0-B790-4280-995B-1C8841EEAC1F}"/>
    <dgm:cxn modelId="{660813D0-AF66-4B55-A820-B28638748CD6}" srcId="{57D9EBC4-AB99-4E8B-9C57-F3E0AE9C19F0}" destId="{BCC67487-3464-4523-80E7-608E2B8D638A}" srcOrd="2" destOrd="0" parTransId="{C967E067-1077-4882-AFB9-6102798F9717}" sibTransId="{F07935E7-FC42-45CF-A304-B83163D1DEBE}"/>
    <dgm:cxn modelId="{BB9DD7D0-43B2-4CBE-B2A7-AD925D111745}" type="presOf" srcId="{DE265763-6BB9-4131-8D7E-7648B86CB29A}" destId="{D3BCCD6A-A7B6-4F01-B6F0-FE037E1546D9}" srcOrd="0" destOrd="0" presId="urn:microsoft.com/office/officeart/2005/8/layout/hierarchy4"/>
    <dgm:cxn modelId="{33D9DBEC-D47B-4E65-BB63-1CEBE24687B1}" srcId="{37FAD52A-64EC-4C0D-8546-38587A55CA93}" destId="{41FEB323-2C1F-47AE-BDDB-4B7966D875FF}" srcOrd="0" destOrd="0" parTransId="{18EE6A9B-D28A-45C6-B73D-1308965C66D5}" sibTransId="{820CA20A-404E-41C2-9D34-DBAB43F567C0}"/>
    <dgm:cxn modelId="{701249F2-2C65-465F-A26A-E1CBABF007CB}" srcId="{DE265763-6BB9-4131-8D7E-7648B86CB29A}" destId="{06663C1F-849C-4F20-9E2B-184110CB5AC5}" srcOrd="0" destOrd="0" parTransId="{130A2548-50CC-48CD-9067-BDA8106A8785}" sibTransId="{9954FAAA-28CD-4AAA-B631-A6A00B336F1C}"/>
    <dgm:cxn modelId="{9D1BF97A-4F23-42CA-BE67-C99793D197BD}" type="presParOf" srcId="{A01FAA3A-110D-44E0-B316-2A5965A06A04}" destId="{C414E995-AF92-4B2B-8415-D88F965D9F50}" srcOrd="0" destOrd="0" presId="urn:microsoft.com/office/officeart/2005/8/layout/hierarchy4"/>
    <dgm:cxn modelId="{5EE0A69A-C540-4700-AE99-5F2E3BC3DE71}" type="presParOf" srcId="{C414E995-AF92-4B2B-8415-D88F965D9F50}" destId="{438728D7-0557-40A8-932A-8F3D7D913609}" srcOrd="0" destOrd="0" presId="urn:microsoft.com/office/officeart/2005/8/layout/hierarchy4"/>
    <dgm:cxn modelId="{EAE61947-6A60-4C72-9137-93D5733EEB45}" type="presParOf" srcId="{C414E995-AF92-4B2B-8415-D88F965D9F50}" destId="{71176122-A6B6-4589-A236-1F65C5506A60}" srcOrd="1" destOrd="0" presId="urn:microsoft.com/office/officeart/2005/8/layout/hierarchy4"/>
    <dgm:cxn modelId="{CD5E78E2-30A1-4401-A6E7-F291408B2D73}" type="presParOf" srcId="{C414E995-AF92-4B2B-8415-D88F965D9F50}" destId="{4DC09B0E-BFD7-4AE6-BCBD-038F4EA19759}" srcOrd="2" destOrd="0" presId="urn:microsoft.com/office/officeart/2005/8/layout/hierarchy4"/>
    <dgm:cxn modelId="{4540769F-6964-4E07-B986-176E700C84F0}" type="presParOf" srcId="{4DC09B0E-BFD7-4AE6-BCBD-038F4EA19759}" destId="{723A7BB9-1819-4A79-8F69-685C4FB581D1}" srcOrd="0" destOrd="0" presId="urn:microsoft.com/office/officeart/2005/8/layout/hierarchy4"/>
    <dgm:cxn modelId="{A97EFC33-F1F7-48FF-AACE-6663EE9EF302}" type="presParOf" srcId="{723A7BB9-1819-4A79-8F69-685C4FB581D1}" destId="{D3BCCD6A-A7B6-4F01-B6F0-FE037E1546D9}" srcOrd="0" destOrd="0" presId="urn:microsoft.com/office/officeart/2005/8/layout/hierarchy4"/>
    <dgm:cxn modelId="{76993775-7624-4E6E-B601-84C32F3A83EB}" type="presParOf" srcId="{723A7BB9-1819-4A79-8F69-685C4FB581D1}" destId="{4CAE7311-A025-4853-8264-7AE34CCB3165}" srcOrd="1" destOrd="0" presId="urn:microsoft.com/office/officeart/2005/8/layout/hierarchy4"/>
    <dgm:cxn modelId="{FA56ACE1-1DC8-4CDD-91A6-B1C35AF03484}" type="presParOf" srcId="{723A7BB9-1819-4A79-8F69-685C4FB581D1}" destId="{1FA339FD-BA08-4B29-A0C3-46121729295D}" srcOrd="2" destOrd="0" presId="urn:microsoft.com/office/officeart/2005/8/layout/hierarchy4"/>
    <dgm:cxn modelId="{D4F7904C-C48B-4A0C-BEF2-CF115BB20275}" type="presParOf" srcId="{1FA339FD-BA08-4B29-A0C3-46121729295D}" destId="{0BD82D33-9452-4671-BD2A-AEDAAB388BF1}" srcOrd="0" destOrd="0" presId="urn:microsoft.com/office/officeart/2005/8/layout/hierarchy4"/>
    <dgm:cxn modelId="{7C64DF5D-E470-441D-A9B5-ADADB13066A1}" type="presParOf" srcId="{0BD82D33-9452-4671-BD2A-AEDAAB388BF1}" destId="{443C403C-1B71-4A58-A80A-033EFF09ADC8}" srcOrd="0" destOrd="0" presId="urn:microsoft.com/office/officeart/2005/8/layout/hierarchy4"/>
    <dgm:cxn modelId="{1C10F34B-4AA3-45D9-8C27-CAAF3C1BEC86}" type="presParOf" srcId="{0BD82D33-9452-4671-BD2A-AEDAAB388BF1}" destId="{AC93266E-E56F-4CD8-9FA3-25B4FB11DE66}" srcOrd="1" destOrd="0" presId="urn:microsoft.com/office/officeart/2005/8/layout/hierarchy4"/>
    <dgm:cxn modelId="{6B7420EA-3E51-4630-9C93-F349A8A39794}" type="presParOf" srcId="{4DC09B0E-BFD7-4AE6-BCBD-038F4EA19759}" destId="{1B9CA5C4-FE36-4CB2-8422-FA048BD77892}" srcOrd="1" destOrd="0" presId="urn:microsoft.com/office/officeart/2005/8/layout/hierarchy4"/>
    <dgm:cxn modelId="{559DC0E3-D745-478A-951A-2C1D8135E10A}" type="presParOf" srcId="{4DC09B0E-BFD7-4AE6-BCBD-038F4EA19759}" destId="{BB0771D2-8775-4AD1-8A91-6AA0C652735B}" srcOrd="2" destOrd="0" presId="urn:microsoft.com/office/officeart/2005/8/layout/hierarchy4"/>
    <dgm:cxn modelId="{82B62EE3-B224-4CDE-8AFB-0C8CA7140C96}" type="presParOf" srcId="{BB0771D2-8775-4AD1-8A91-6AA0C652735B}" destId="{0CBE067B-A101-4688-830A-85628B7DE00F}" srcOrd="0" destOrd="0" presId="urn:microsoft.com/office/officeart/2005/8/layout/hierarchy4"/>
    <dgm:cxn modelId="{D8F8CA6E-3A7F-4314-9BF6-739FD14358B4}" type="presParOf" srcId="{BB0771D2-8775-4AD1-8A91-6AA0C652735B}" destId="{F5AB1356-C131-4585-BF8A-B13B2D5866CD}" srcOrd="1" destOrd="0" presId="urn:microsoft.com/office/officeart/2005/8/layout/hierarchy4"/>
    <dgm:cxn modelId="{09C076A9-AAE1-4721-8F39-79CDDCE49F61}" type="presParOf" srcId="{BB0771D2-8775-4AD1-8A91-6AA0C652735B}" destId="{D3F7BA27-9E9B-420F-AD55-565E9A8C8A54}" srcOrd="2" destOrd="0" presId="urn:microsoft.com/office/officeart/2005/8/layout/hierarchy4"/>
    <dgm:cxn modelId="{63AA8037-B25E-4AF6-965F-B0A5ADB52E57}" type="presParOf" srcId="{D3F7BA27-9E9B-420F-AD55-565E9A8C8A54}" destId="{0FAE32D9-901B-4BD8-A4C4-E14D1CCC3DE2}" srcOrd="0" destOrd="0" presId="urn:microsoft.com/office/officeart/2005/8/layout/hierarchy4"/>
    <dgm:cxn modelId="{DE8D0FAE-E27A-4D40-9D9F-11B67E138873}" type="presParOf" srcId="{0FAE32D9-901B-4BD8-A4C4-E14D1CCC3DE2}" destId="{EDF523C9-7F17-4098-B262-700CFDD353D3}" srcOrd="0" destOrd="0" presId="urn:microsoft.com/office/officeart/2005/8/layout/hierarchy4"/>
    <dgm:cxn modelId="{7B3CC03A-5F5D-4B8B-B0C9-6C85F6BF61FC}" type="presParOf" srcId="{0FAE32D9-901B-4BD8-A4C4-E14D1CCC3DE2}" destId="{88582951-D569-49BC-9A01-3033ADD30C40}" srcOrd="1" destOrd="0" presId="urn:microsoft.com/office/officeart/2005/8/layout/hierarchy4"/>
    <dgm:cxn modelId="{845EB2FE-F5EA-4B14-AF54-D42AAEF46BF4}" type="presParOf" srcId="{D3F7BA27-9E9B-420F-AD55-565E9A8C8A54}" destId="{D7BAB5F9-CC80-401C-81BE-402A927D12C5}" srcOrd="1" destOrd="0" presId="urn:microsoft.com/office/officeart/2005/8/layout/hierarchy4"/>
    <dgm:cxn modelId="{FD39AE43-3374-4767-8BD8-07DA6178A25E}" type="presParOf" srcId="{D3F7BA27-9E9B-420F-AD55-565E9A8C8A54}" destId="{29F3FD6F-1546-4404-9867-CB76B1398687}" srcOrd="2" destOrd="0" presId="urn:microsoft.com/office/officeart/2005/8/layout/hierarchy4"/>
    <dgm:cxn modelId="{E01D6FAE-41A7-41EB-B553-1E8F5694A5B4}" type="presParOf" srcId="{29F3FD6F-1546-4404-9867-CB76B1398687}" destId="{7CCF0739-7951-40DB-92C2-26B0EA243F03}" srcOrd="0" destOrd="0" presId="urn:microsoft.com/office/officeart/2005/8/layout/hierarchy4"/>
    <dgm:cxn modelId="{6D3E784F-5365-4E67-85F4-55F63DF755FB}" type="presParOf" srcId="{29F3FD6F-1546-4404-9867-CB76B1398687}" destId="{426E7280-9CC5-4555-B2CE-D841E8903EF2}" srcOrd="1" destOrd="0" presId="urn:microsoft.com/office/officeart/2005/8/layout/hierarchy4"/>
    <dgm:cxn modelId="{D02F6EB9-36C6-45AA-99F3-406BCE9D93F0}" type="presParOf" srcId="{D3F7BA27-9E9B-420F-AD55-565E9A8C8A54}" destId="{660AC1CE-AA08-407E-B943-D375E86F304D}" srcOrd="3" destOrd="0" presId="urn:microsoft.com/office/officeart/2005/8/layout/hierarchy4"/>
    <dgm:cxn modelId="{ECD1D308-3874-4B3E-BF04-84B09F6BBF40}" type="presParOf" srcId="{D3F7BA27-9E9B-420F-AD55-565E9A8C8A54}" destId="{F91489B6-949A-477C-B1B7-1935E80F8EDE}" srcOrd="4" destOrd="0" presId="urn:microsoft.com/office/officeart/2005/8/layout/hierarchy4"/>
    <dgm:cxn modelId="{0F7B7DBE-7A7E-4257-8999-CA184C43860C}" type="presParOf" srcId="{F91489B6-949A-477C-B1B7-1935E80F8EDE}" destId="{E8A70306-7281-4826-A8DC-D058A3C1E7FD}" srcOrd="0" destOrd="0" presId="urn:microsoft.com/office/officeart/2005/8/layout/hierarchy4"/>
    <dgm:cxn modelId="{C5FDDF38-EAB7-439C-BA47-2F16FE5C8D4F}" type="presParOf" srcId="{F91489B6-949A-477C-B1B7-1935E80F8EDE}" destId="{6F83C70B-1CB2-47D5-AD44-FFCD78B8CCFC}" srcOrd="1" destOrd="0" presId="urn:microsoft.com/office/officeart/2005/8/layout/hierarchy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8728D7-0557-40A8-932A-8F3D7D913609}">
      <dsp:nvSpPr>
        <dsp:cNvPr id="0" name=""/>
        <dsp:cNvSpPr/>
      </dsp:nvSpPr>
      <dsp:spPr>
        <a:xfrm>
          <a:off x="4598" y="311"/>
          <a:ext cx="12448186" cy="1743743"/>
        </a:xfrm>
        <a:prstGeom prst="roundRect">
          <a:avLst>
            <a:gd name="adj" fmla="val 10000"/>
          </a:avLst>
        </a:prstGeom>
        <a:solidFill>
          <a:srgbClr val="29325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7640" tIns="167640" rIns="167640" bIns="167640" numCol="1" spcCol="1270" anchor="ctr" anchorCtr="0">
          <a:noAutofit/>
        </a:bodyPr>
        <a:lstStyle/>
        <a:p>
          <a:pPr marL="0" lvl="0" indent="0" algn="ctr" defTabSz="1955800">
            <a:lnSpc>
              <a:spcPct val="90000"/>
            </a:lnSpc>
            <a:spcBef>
              <a:spcPct val="0"/>
            </a:spcBef>
            <a:spcAft>
              <a:spcPts val="500"/>
            </a:spcAft>
            <a:buNone/>
          </a:pPr>
          <a:r>
            <a:rPr lang="ru-RU" sz="4400" kern="1200" dirty="0"/>
            <a:t>Национальная Отчетная Организация</a:t>
          </a:r>
          <a:endParaRPr lang="en-GB" sz="4400" kern="1200" dirty="0"/>
        </a:p>
        <a:p>
          <a:pPr marL="0" lvl="0" indent="0" algn="ctr" defTabSz="1955800">
            <a:lnSpc>
              <a:spcPct val="90000"/>
            </a:lnSpc>
            <a:spcBef>
              <a:spcPct val="0"/>
            </a:spcBef>
            <a:spcAft>
              <a:spcPts val="500"/>
            </a:spcAft>
            <a:buNone/>
          </a:pPr>
          <a:r>
            <a:rPr lang="ru-RU" sz="2400" i="1" kern="1200" dirty="0"/>
            <a:t>Представляет одну страну или определенную группу стран</a:t>
          </a:r>
          <a:endParaRPr lang="en-GB" sz="2400" i="1" kern="1200" dirty="0"/>
        </a:p>
        <a:p>
          <a:pPr marL="0" lvl="0" indent="0" algn="ctr" defTabSz="1955800">
            <a:lnSpc>
              <a:spcPct val="90000"/>
            </a:lnSpc>
            <a:spcBef>
              <a:spcPct val="0"/>
            </a:spcBef>
            <a:spcAft>
              <a:spcPts val="500"/>
            </a:spcAft>
            <a:buNone/>
          </a:pPr>
          <a:r>
            <a:rPr lang="ru-RU" sz="2400" i="1" kern="1200" dirty="0"/>
            <a:t>Разрабатывает и несет ответственность за представление кодекса, стандартов и руководств</a:t>
          </a:r>
          <a:r>
            <a:rPr lang="en-GB" sz="2400" i="1" kern="1200" dirty="0"/>
            <a:t> </a:t>
          </a:r>
        </a:p>
      </dsp:txBody>
      <dsp:txXfrm>
        <a:off x="55670" y="51383"/>
        <a:ext cx="12346042" cy="1641599"/>
      </dsp:txXfrm>
    </dsp:sp>
    <dsp:sp modelId="{D3BCCD6A-A7B6-4F01-B6F0-FE037E1546D9}">
      <dsp:nvSpPr>
        <dsp:cNvPr id="0" name=""/>
        <dsp:cNvSpPr/>
      </dsp:nvSpPr>
      <dsp:spPr>
        <a:xfrm>
          <a:off x="4598" y="1940599"/>
          <a:ext cx="2986609" cy="1379543"/>
        </a:xfrm>
        <a:prstGeom prst="roundRect">
          <a:avLst>
            <a:gd name="adj" fmla="val 10000"/>
          </a:avLst>
        </a:prstGeom>
        <a:solidFill>
          <a:srgbClr val="29325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ru-RU" sz="2400" b="1" kern="1200" dirty="0"/>
            <a:t>Одно или несколько профессиональных организаций</a:t>
          </a:r>
          <a:r>
            <a:rPr lang="en-GB" sz="2400" b="1" kern="1200" dirty="0"/>
            <a:t> (RPOs)</a:t>
          </a:r>
        </a:p>
      </dsp:txBody>
      <dsp:txXfrm>
        <a:off x="45003" y="1981004"/>
        <a:ext cx="2905799" cy="1298733"/>
      </dsp:txXfrm>
    </dsp:sp>
    <dsp:sp modelId="{443C403C-1B71-4A58-A80A-033EFF09ADC8}">
      <dsp:nvSpPr>
        <dsp:cNvPr id="0" name=""/>
        <dsp:cNvSpPr/>
      </dsp:nvSpPr>
      <dsp:spPr>
        <a:xfrm>
          <a:off x="4598" y="3516687"/>
          <a:ext cx="2986609" cy="1379543"/>
        </a:xfrm>
        <a:prstGeom prst="roundRect">
          <a:avLst>
            <a:gd name="adj" fmla="val 10000"/>
          </a:avLst>
        </a:prstGeom>
        <a:solidFill>
          <a:srgbClr val="29325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ru-RU" sz="2400" b="1" kern="1200" dirty="0"/>
            <a:t>Практикующие профессионалы и эксперты недропользования</a:t>
          </a:r>
          <a:endParaRPr lang="en-GB" sz="2400" b="1" kern="1200" dirty="0"/>
        </a:p>
      </dsp:txBody>
      <dsp:txXfrm>
        <a:off x="45003" y="3557092"/>
        <a:ext cx="2905799" cy="1298733"/>
      </dsp:txXfrm>
    </dsp:sp>
    <dsp:sp modelId="{0CBE067B-A101-4688-830A-85628B7DE00F}">
      <dsp:nvSpPr>
        <dsp:cNvPr id="0" name=""/>
        <dsp:cNvSpPr/>
      </dsp:nvSpPr>
      <dsp:spPr>
        <a:xfrm>
          <a:off x="3242082" y="1940599"/>
          <a:ext cx="9210702" cy="137954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ru-RU" sz="2400" i="1" kern="1200" dirty="0">
              <a:solidFill>
                <a:srgbClr val="29325C"/>
              </a:solidFill>
            </a:rPr>
            <a:t>Другие участвующие органы</a:t>
          </a:r>
        </a:p>
        <a:p>
          <a:pPr marL="0" lvl="0" indent="0" algn="ctr" defTabSz="1066800">
            <a:lnSpc>
              <a:spcPct val="90000"/>
            </a:lnSpc>
            <a:spcBef>
              <a:spcPct val="0"/>
            </a:spcBef>
            <a:spcAft>
              <a:spcPct val="35000"/>
            </a:spcAft>
            <a:buNone/>
          </a:pPr>
          <a:r>
            <a:rPr lang="ru-RU" sz="2400" i="1" kern="1200" dirty="0">
              <a:solidFill>
                <a:srgbClr val="29325C"/>
              </a:solidFill>
            </a:rPr>
            <a:t>(также могут быть советниками или наблюдателями)</a:t>
          </a:r>
          <a:endParaRPr lang="en-GB" sz="2400" i="1" kern="1200" dirty="0">
            <a:solidFill>
              <a:srgbClr val="29325C"/>
            </a:solidFill>
          </a:endParaRPr>
        </a:p>
      </dsp:txBody>
      <dsp:txXfrm>
        <a:off x="3282487" y="1981004"/>
        <a:ext cx="9129892" cy="1298733"/>
      </dsp:txXfrm>
    </dsp:sp>
    <dsp:sp modelId="{EDF523C9-7F17-4098-B262-700CFDD353D3}">
      <dsp:nvSpPr>
        <dsp:cNvPr id="0" name=""/>
        <dsp:cNvSpPr/>
      </dsp:nvSpPr>
      <dsp:spPr>
        <a:xfrm>
          <a:off x="3242082" y="3516687"/>
          <a:ext cx="2986609" cy="137954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ru-RU" sz="2400" i="1" kern="1200" dirty="0">
              <a:solidFill>
                <a:srgbClr val="29325C"/>
              </a:solidFill>
            </a:rPr>
            <a:t>Представители компаний</a:t>
          </a:r>
          <a:endParaRPr lang="en-GB" sz="2400" i="1" kern="1200" dirty="0">
            <a:solidFill>
              <a:srgbClr val="29325C"/>
            </a:solidFill>
          </a:endParaRPr>
        </a:p>
      </dsp:txBody>
      <dsp:txXfrm>
        <a:off x="3282487" y="3557092"/>
        <a:ext cx="2905799" cy="1298733"/>
      </dsp:txXfrm>
    </dsp:sp>
    <dsp:sp modelId="{7CCF0739-7951-40DB-92C2-26B0EA243F03}">
      <dsp:nvSpPr>
        <dsp:cNvPr id="0" name=""/>
        <dsp:cNvSpPr/>
      </dsp:nvSpPr>
      <dsp:spPr>
        <a:xfrm>
          <a:off x="6354129" y="3516687"/>
          <a:ext cx="2986609" cy="137954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ru-RU" sz="2400" i="1" kern="1200" dirty="0">
              <a:solidFill>
                <a:srgbClr val="29325C"/>
              </a:solidFill>
            </a:rPr>
            <a:t>Регуляторы/</a:t>
          </a:r>
          <a:r>
            <a:rPr lang="ru-RU" sz="2400" i="1" kern="1200" dirty="0" err="1">
              <a:solidFill>
                <a:srgbClr val="29325C"/>
              </a:solidFill>
            </a:rPr>
            <a:t>Прави-тельственые</a:t>
          </a:r>
          <a:r>
            <a:rPr lang="ru-RU" sz="2400" i="1" kern="1200" dirty="0">
              <a:solidFill>
                <a:srgbClr val="29325C"/>
              </a:solidFill>
            </a:rPr>
            <a:t> </a:t>
          </a:r>
          <a:r>
            <a:rPr lang="ru-RU" sz="2400" i="1" kern="1200" dirty="0" err="1">
              <a:solidFill>
                <a:srgbClr val="29325C"/>
              </a:solidFill>
            </a:rPr>
            <a:t>агенства</a:t>
          </a:r>
          <a:endParaRPr lang="en-GB" sz="2400" i="1" kern="1200" dirty="0">
            <a:solidFill>
              <a:srgbClr val="29325C"/>
            </a:solidFill>
          </a:endParaRPr>
        </a:p>
      </dsp:txBody>
      <dsp:txXfrm>
        <a:off x="6394534" y="3557092"/>
        <a:ext cx="2905799" cy="1298733"/>
      </dsp:txXfrm>
    </dsp:sp>
    <dsp:sp modelId="{E8A70306-7281-4826-A8DC-D058A3C1E7FD}">
      <dsp:nvSpPr>
        <dsp:cNvPr id="0" name=""/>
        <dsp:cNvSpPr/>
      </dsp:nvSpPr>
      <dsp:spPr>
        <a:xfrm>
          <a:off x="9466176" y="3516687"/>
          <a:ext cx="2986609" cy="1379543"/>
        </a:xfrm>
        <a:prstGeom prst="roundRect">
          <a:avLst>
            <a:gd name="adj" fmla="val 1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ru-RU" sz="2400" i="1" kern="1200" dirty="0">
              <a:solidFill>
                <a:srgbClr val="29325C"/>
              </a:solidFill>
            </a:rPr>
            <a:t>Фондовые биржи</a:t>
          </a:r>
          <a:endParaRPr lang="en-GB" sz="2400" i="1" kern="1200" dirty="0">
            <a:solidFill>
              <a:srgbClr val="29325C"/>
            </a:solidFill>
          </a:endParaRPr>
        </a:p>
      </dsp:txBody>
      <dsp:txXfrm>
        <a:off x="9506581" y="3557092"/>
        <a:ext cx="2905799" cy="129873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Gill Sans" charset="0"/>
                <a:ea typeface="ヒラギノ角ゴ ProN W3" charset="0"/>
                <a:cs typeface="ヒラギノ角ゴ ProN W3" charset="0"/>
                <a:sym typeface="Gill Sans"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Gill Sans" charset="0"/>
                <a:ea typeface="ヒラギノ角ゴ ProN W3" charset="0"/>
                <a:cs typeface="ヒラギノ角ゴ ProN W3" charset="0"/>
                <a:sym typeface="Gill Sans" charset="0"/>
              </a:defRPr>
            </a:lvl1pPr>
          </a:lstStyle>
          <a:p>
            <a:pPr>
              <a:defRPr/>
            </a:pPr>
            <a:fld id="{816F81B0-5869-4217-A327-934636807BB8}" type="datetimeFigureOut">
              <a:rPr lang="en-US"/>
              <a:pPr>
                <a:defRPr/>
              </a:pPr>
              <a:t>5/21/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Gill Sans" charset="0"/>
                <a:ea typeface="ヒラギノ角ゴ ProN W3" charset="0"/>
                <a:cs typeface="ヒラギノ角ゴ ProN W3" charset="0"/>
                <a:sym typeface="Gill Sans"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Gill Sans" charset="0"/>
                <a:ea typeface="ヒラギノ角ゴ ProN W3" charset="0"/>
                <a:cs typeface="ヒラギノ角ゴ ProN W3" charset="0"/>
                <a:sym typeface="Gill Sans" charset="0"/>
              </a:defRPr>
            </a:lvl1pPr>
          </a:lstStyle>
          <a:p>
            <a:pPr>
              <a:defRPr/>
            </a:pPr>
            <a:fld id="{6B0AD374-8B61-4569-850E-39D36041B4DB}" type="slidenum">
              <a:rPr lang="en-US"/>
              <a:pPr>
                <a:defRPr/>
              </a:pPr>
              <a:t>‹#›</a:t>
            </a:fld>
            <a:endParaRPr lang="en-US"/>
          </a:p>
        </p:txBody>
      </p:sp>
    </p:spTree>
    <p:extLst>
      <p:ext uri="{BB962C8B-B14F-4D97-AF65-F5344CB8AC3E}">
        <p14:creationId xmlns:p14="http://schemas.microsoft.com/office/powerpoint/2010/main" val="27000458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1</a:t>
            </a:fld>
            <a:endParaRPr lang="en-US"/>
          </a:p>
        </p:txBody>
      </p:sp>
    </p:spTree>
    <p:extLst>
      <p:ext uri="{BB962C8B-B14F-4D97-AF65-F5344CB8AC3E}">
        <p14:creationId xmlns:p14="http://schemas.microsoft.com/office/powerpoint/2010/main" val="40607963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23</a:t>
            </a:fld>
            <a:endParaRPr lang="en-US"/>
          </a:p>
        </p:txBody>
      </p:sp>
    </p:spTree>
    <p:extLst>
      <p:ext uri="{BB962C8B-B14F-4D97-AF65-F5344CB8AC3E}">
        <p14:creationId xmlns:p14="http://schemas.microsoft.com/office/powerpoint/2010/main" val="6478953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2</a:t>
            </a:fld>
            <a:endParaRPr lang="en-US"/>
          </a:p>
        </p:txBody>
      </p:sp>
    </p:spTree>
    <p:extLst>
      <p:ext uri="{BB962C8B-B14F-4D97-AF65-F5344CB8AC3E}">
        <p14:creationId xmlns:p14="http://schemas.microsoft.com/office/powerpoint/2010/main" val="32473974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3</a:t>
            </a:fld>
            <a:endParaRPr lang="en-US"/>
          </a:p>
        </p:txBody>
      </p:sp>
    </p:spTree>
    <p:extLst>
      <p:ext uri="{BB962C8B-B14F-4D97-AF65-F5344CB8AC3E}">
        <p14:creationId xmlns:p14="http://schemas.microsoft.com/office/powerpoint/2010/main" val="4641868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12</a:t>
            </a:fld>
            <a:endParaRPr lang="en-US"/>
          </a:p>
        </p:txBody>
      </p:sp>
    </p:spTree>
    <p:extLst>
      <p:ext uri="{BB962C8B-B14F-4D97-AF65-F5344CB8AC3E}">
        <p14:creationId xmlns:p14="http://schemas.microsoft.com/office/powerpoint/2010/main" val="2773926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13</a:t>
            </a:fld>
            <a:endParaRPr lang="en-US"/>
          </a:p>
        </p:txBody>
      </p:sp>
    </p:spTree>
    <p:extLst>
      <p:ext uri="{BB962C8B-B14F-4D97-AF65-F5344CB8AC3E}">
        <p14:creationId xmlns:p14="http://schemas.microsoft.com/office/powerpoint/2010/main" val="1947738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15</a:t>
            </a:fld>
            <a:endParaRPr lang="en-US"/>
          </a:p>
        </p:txBody>
      </p:sp>
    </p:spTree>
    <p:extLst>
      <p:ext uri="{BB962C8B-B14F-4D97-AF65-F5344CB8AC3E}">
        <p14:creationId xmlns:p14="http://schemas.microsoft.com/office/powerpoint/2010/main" val="1067799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16</a:t>
            </a:fld>
            <a:endParaRPr lang="en-US"/>
          </a:p>
        </p:txBody>
      </p:sp>
    </p:spTree>
    <p:extLst>
      <p:ext uri="{BB962C8B-B14F-4D97-AF65-F5344CB8AC3E}">
        <p14:creationId xmlns:p14="http://schemas.microsoft.com/office/powerpoint/2010/main" val="880870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17</a:t>
            </a:fld>
            <a:endParaRPr lang="en-US"/>
          </a:p>
        </p:txBody>
      </p:sp>
    </p:spTree>
    <p:extLst>
      <p:ext uri="{BB962C8B-B14F-4D97-AF65-F5344CB8AC3E}">
        <p14:creationId xmlns:p14="http://schemas.microsoft.com/office/powerpoint/2010/main" val="36974756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pPr>
              <a:defRPr/>
            </a:pPr>
            <a:fld id="{6B0AD374-8B61-4569-850E-39D36041B4DB}" type="slidenum">
              <a:rPr lang="en-US" smtClean="0"/>
              <a:pPr>
                <a:defRPr/>
              </a:pPr>
              <a:t>18</a:t>
            </a:fld>
            <a:endParaRPr lang="en-US"/>
          </a:p>
        </p:txBody>
      </p:sp>
    </p:spTree>
    <p:extLst>
      <p:ext uri="{BB962C8B-B14F-4D97-AF65-F5344CB8AC3E}">
        <p14:creationId xmlns:p14="http://schemas.microsoft.com/office/powerpoint/2010/main" val="815954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50875" y="2276475"/>
            <a:ext cx="11703050" cy="64357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50875" y="2276475"/>
            <a:ext cx="11703050" cy="64357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50875"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Tree>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50875" y="2276475"/>
            <a:ext cx="11703050" cy="64357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163" y="390525"/>
            <a:ext cx="2925762" cy="832167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50875" y="390525"/>
            <a:ext cx="8624888" cy="832167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163" y="390525"/>
            <a:ext cx="2925762" cy="832167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50875" y="390525"/>
            <a:ext cx="8624888" cy="832167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70000" y="2768600"/>
            <a:ext cx="2444750" cy="5715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867150" y="2768600"/>
            <a:ext cx="2444750" cy="5715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18600" y="254000"/>
            <a:ext cx="2616200" cy="8229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70000" y="254000"/>
            <a:ext cx="7696200" cy="8229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50875" y="2276475"/>
            <a:ext cx="11703050" cy="64357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0875"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50875" y="2276475"/>
            <a:ext cx="11703050" cy="64357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50875" y="2276475"/>
            <a:ext cx="11703050" cy="64357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163" y="2276475"/>
            <a:ext cx="2925762" cy="64357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0875" y="2276475"/>
            <a:ext cx="8624888" cy="64357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772400" y="2768600"/>
            <a:ext cx="1905000" cy="5715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829800" y="2768600"/>
            <a:ext cx="1905000" cy="5715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18600" y="254000"/>
            <a:ext cx="2616200" cy="8229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70000" y="254000"/>
            <a:ext cx="7696200" cy="8229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70000" y="2768600"/>
            <a:ext cx="2444750" cy="5715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867150" y="2768600"/>
            <a:ext cx="2444750" cy="5715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0875"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18600" y="254000"/>
            <a:ext cx="2616200" cy="8229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70000" y="254000"/>
            <a:ext cx="7696200" cy="8229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50875" y="2276475"/>
            <a:ext cx="11703050" cy="64357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50875" y="2276475"/>
            <a:ext cx="11703050" cy="64357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163" y="2276475"/>
            <a:ext cx="2925762" cy="64357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0875" y="2276475"/>
            <a:ext cx="8624888" cy="64357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70000" y="2768600"/>
            <a:ext cx="5156200" cy="5715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2768600"/>
            <a:ext cx="5156200" cy="5715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671050" y="63500"/>
            <a:ext cx="2800350" cy="84201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70000" y="63500"/>
            <a:ext cx="8248650" cy="8420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1270000" y="1270000"/>
            <a:ext cx="5156200" cy="7213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1270000"/>
            <a:ext cx="5156200" cy="7213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50875"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163" y="390525"/>
            <a:ext cx="2925762" cy="809307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50875" y="390525"/>
            <a:ext cx="8624888" cy="8093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50875" y="2276475"/>
            <a:ext cx="11703050" cy="64357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0875"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50875" y="2276475"/>
            <a:ext cx="11703050" cy="64357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163" y="2276475"/>
            <a:ext cx="2925762" cy="67913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0875" y="2276475"/>
            <a:ext cx="8624888" cy="67913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50875" y="2276475"/>
            <a:ext cx="11703050" cy="64357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0875"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a:prstGeom prst="rect">
            <a:avLst/>
          </a:prstGeom>
        </p:spPr>
        <p:txBody>
          <a:bodyPr/>
          <a:lstStyle/>
          <a:p>
            <a:r>
              <a:rPr lang="en-US"/>
              <a:t>Click to edit Master title style</a:t>
            </a:r>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50875" y="2276475"/>
            <a:ext cx="11703050" cy="64357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163" y="2276475"/>
            <a:ext cx="2925762" cy="67913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0875" y="2276475"/>
            <a:ext cx="8624888" cy="67913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35000" y="4787900"/>
            <a:ext cx="2857500" cy="330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644900" y="4787900"/>
            <a:ext cx="2857500" cy="330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035550" y="1409700"/>
            <a:ext cx="1466850" cy="668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35000" y="1409700"/>
            <a:ext cx="4248150" cy="668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35000" y="4787900"/>
            <a:ext cx="2857500" cy="330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644900" y="4787900"/>
            <a:ext cx="2857500" cy="3302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035550" y="1409700"/>
            <a:ext cx="1466850" cy="668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35000" y="1409700"/>
            <a:ext cx="4248150" cy="668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74725" y="3030538"/>
            <a:ext cx="11055350" cy="2090737"/>
          </a:xfrm>
        </p:spPr>
        <p:txBody>
          <a:bodyPr/>
          <a:lstStyle/>
          <a:p>
            <a:r>
              <a:rPr lang="en-US"/>
              <a:t>Click to edit Master title style</a:t>
            </a:r>
          </a:p>
        </p:txBody>
      </p:sp>
      <p:sp>
        <p:nvSpPr>
          <p:cNvPr id="3" name="Subtitle 2"/>
          <p:cNvSpPr>
            <a:spLocks noGrp="1"/>
          </p:cNvSpPr>
          <p:nvPr>
            <p:ph type="subTitle" idx="1"/>
          </p:nvPr>
        </p:nvSpPr>
        <p:spPr>
          <a:xfrm>
            <a:off x="1951038" y="5527675"/>
            <a:ext cx="9102725" cy="2492375"/>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50875" y="2276475"/>
            <a:ext cx="11703050" cy="643572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113" y="6267450"/>
            <a:ext cx="11053762" cy="1936750"/>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27113" y="4133850"/>
            <a:ext cx="11053762" cy="2133600"/>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50875"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78600" y="2276475"/>
            <a:ext cx="5775325" cy="64357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50875" y="390525"/>
            <a:ext cx="11703050" cy="16256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875" y="2182813"/>
            <a:ext cx="5745163"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50875" y="3092450"/>
            <a:ext cx="5745163"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5588" y="2182813"/>
            <a:ext cx="5748337" cy="909637"/>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605588" y="3092450"/>
            <a:ext cx="5748337" cy="561975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875" y="388938"/>
            <a:ext cx="4278313" cy="165258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084763" y="388938"/>
            <a:ext cx="7269162" cy="832326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875" y="2041525"/>
            <a:ext cx="4278313" cy="667067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525" y="6827838"/>
            <a:ext cx="7802563" cy="806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549525" y="871538"/>
            <a:ext cx="7802563" cy="58515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sym typeface="Gill Sans" charset="0"/>
            </a:endParaRPr>
          </a:p>
        </p:txBody>
      </p:sp>
      <p:sp>
        <p:nvSpPr>
          <p:cNvPr id="4" name="Text Placeholder 3"/>
          <p:cNvSpPr>
            <a:spLocks noGrp="1"/>
          </p:cNvSpPr>
          <p:nvPr>
            <p:ph type="body" sz="half" idx="2"/>
          </p:nvPr>
        </p:nvSpPr>
        <p:spPr>
          <a:xfrm>
            <a:off x="2549525" y="7634288"/>
            <a:ext cx="7802563" cy="114458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650875" y="2276475"/>
            <a:ext cx="11703050" cy="64357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28163" y="254000"/>
            <a:ext cx="2925762" cy="8458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0875" y="254000"/>
            <a:ext cx="8624888" cy="845820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10.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11.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2.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theme" Target="../theme/theme13.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14.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
          <p:cNvPicPr>
            <a:picLocks noChangeAspect="1" noChangeArrowheads="1"/>
          </p:cNvPicPr>
          <p:nvPr/>
        </p:nvPicPr>
        <p:blipFill>
          <a:blip r:embed="rId13" cstate="print"/>
          <a:srcRect/>
          <a:stretch>
            <a:fillRect/>
          </a:stretch>
        </p:blipFill>
        <p:spPr bwMode="auto">
          <a:xfrm>
            <a:off x="-25400" y="-19050"/>
            <a:ext cx="13042900" cy="9782175"/>
          </a:xfrm>
          <a:prstGeom prst="rect">
            <a:avLst/>
          </a:prstGeom>
          <a:noFill/>
          <a:ln w="12700">
            <a:noFill/>
            <a:miter lim="800000"/>
            <a:headEnd/>
            <a:tailEnd/>
          </a:ln>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buChar char="•"/>
        <a:defRPr sz="3600">
          <a:solidFill>
            <a:schemeClr val="tx1"/>
          </a:solidFill>
          <a:latin typeface="+mn-lt"/>
          <a:ea typeface="+mn-ea"/>
          <a:cs typeface="+mn-cs"/>
          <a:sym typeface="Gill Sans"/>
        </a:defRPr>
      </a:lvl1pPr>
      <a:lvl2pPr marL="742950" indent="-285750" algn="ctr" rtl="0" eaLnBrk="0" fontAlgn="base" hangingPunct="0">
        <a:spcBef>
          <a:spcPct val="0"/>
        </a:spcBef>
        <a:spcAft>
          <a:spcPct val="0"/>
        </a:spcAft>
        <a:buChar char="–"/>
        <a:defRPr sz="3600">
          <a:solidFill>
            <a:schemeClr val="tx1"/>
          </a:solidFill>
          <a:latin typeface="+mn-lt"/>
          <a:ea typeface="+mn-ea"/>
          <a:cs typeface="+mn-cs"/>
          <a:sym typeface="Gill Sans"/>
        </a:defRPr>
      </a:lvl2pPr>
      <a:lvl3pPr marL="11430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3pPr>
      <a:lvl4pPr marL="16002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4pPr>
      <a:lvl5pPr marL="20574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5pPr>
      <a:lvl6pPr marL="457200" algn="ctr" rtl="0" fontAlgn="base">
        <a:spcBef>
          <a:spcPct val="0"/>
        </a:spcBef>
        <a:spcAft>
          <a:spcPct val="0"/>
        </a:spcAft>
        <a:defRPr sz="3600">
          <a:solidFill>
            <a:schemeClr val="tx1"/>
          </a:solidFill>
          <a:latin typeface="+mn-lt"/>
          <a:ea typeface="+mn-ea"/>
          <a:cs typeface="+mn-cs"/>
          <a:sym typeface="Gill Sans" charset="0"/>
        </a:defRPr>
      </a:lvl6pPr>
      <a:lvl7pPr marL="914400" algn="ctr" rtl="0" fontAlgn="base">
        <a:spcBef>
          <a:spcPct val="0"/>
        </a:spcBef>
        <a:spcAft>
          <a:spcPct val="0"/>
        </a:spcAft>
        <a:defRPr sz="3600">
          <a:solidFill>
            <a:schemeClr val="tx1"/>
          </a:solidFill>
          <a:latin typeface="+mn-lt"/>
          <a:ea typeface="+mn-ea"/>
          <a:cs typeface="+mn-cs"/>
          <a:sym typeface="Gill Sans" charset="0"/>
        </a:defRPr>
      </a:lvl7pPr>
      <a:lvl8pPr marL="1371600" algn="ctr" rtl="0" fontAlgn="base">
        <a:spcBef>
          <a:spcPct val="0"/>
        </a:spcBef>
        <a:spcAft>
          <a:spcPct val="0"/>
        </a:spcAft>
        <a:defRPr sz="3600">
          <a:solidFill>
            <a:schemeClr val="tx1"/>
          </a:solidFill>
          <a:latin typeface="+mn-lt"/>
          <a:ea typeface="+mn-ea"/>
          <a:cs typeface="+mn-cs"/>
          <a:sym typeface="Gill Sans" charset="0"/>
        </a:defRPr>
      </a:lvl8pPr>
      <a:lvl9pPr marL="1828800" algn="ctr" rtl="0" fontAlgn="base">
        <a:spcBef>
          <a:spcPct val="0"/>
        </a:spcBef>
        <a:spcAft>
          <a:spcPct val="0"/>
        </a:spcAft>
        <a:defRPr sz="36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8890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1pPr>
      <a:lvl2pPr marL="13335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2pPr>
      <a:lvl3pPr marL="17780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3pPr>
      <a:lvl4pPr marL="22225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4pPr>
      <a:lvl5pPr marL="26670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5pPr>
      <a:lvl6pPr marL="31242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6pPr>
      <a:lvl7pPr marL="35814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7pPr>
      <a:lvl8pPr marL="40386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8pPr>
      <a:lvl9pPr marL="44958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1"/>
          <p:cNvSpPr>
            <a:spLocks noGrp="1" noChangeArrowheads="1"/>
          </p:cNvSpPr>
          <p:nvPr>
            <p:ph type="title"/>
          </p:nvPr>
        </p:nvSpPr>
        <p:spPr bwMode="auto">
          <a:xfrm>
            <a:off x="1270000" y="254000"/>
            <a:ext cx="10464800" cy="24384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itle style</a:t>
            </a:r>
          </a:p>
        </p:txBody>
      </p:sp>
      <p:sp>
        <p:nvSpPr>
          <p:cNvPr id="10243" name="Rectangle 2"/>
          <p:cNvSpPr>
            <a:spLocks noGrp="1" noChangeArrowheads="1"/>
          </p:cNvSpPr>
          <p:nvPr>
            <p:ph type="body" idx="1"/>
          </p:nvPr>
        </p:nvSpPr>
        <p:spPr bwMode="auto">
          <a:xfrm>
            <a:off x="1270000" y="2768600"/>
            <a:ext cx="5041900" cy="57150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ext styles</a:t>
            </a:r>
          </a:p>
          <a:p>
            <a:pPr lvl="1"/>
            <a:r>
              <a:rPr lang="en-US">
                <a:sym typeface="Gill Sans"/>
              </a:rPr>
              <a:t>Second level</a:t>
            </a:r>
          </a:p>
          <a:p>
            <a:pPr lvl="2"/>
            <a:r>
              <a:rPr lang="en-US">
                <a:sym typeface="Gill Sans"/>
              </a:rPr>
              <a:t>Third level</a:t>
            </a:r>
          </a:p>
          <a:p>
            <a:pPr lvl="3"/>
            <a:r>
              <a:rPr lang="en-US">
                <a:sym typeface="Gill Sans"/>
              </a:rPr>
              <a:t>Fourth level</a:t>
            </a:r>
          </a:p>
          <a:p>
            <a:pPr lvl="4"/>
            <a:r>
              <a:rPr lang="en-US">
                <a:sym typeface="Gill Sans"/>
              </a:rPr>
              <a:t>Fifth level</a:t>
            </a:r>
          </a:p>
        </p:txBody>
      </p:sp>
    </p:spTree>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7604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1pPr>
      <a:lvl2pPr marL="12049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2pPr>
      <a:lvl3pPr marL="16494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3pPr>
      <a:lvl4pPr marL="20939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4pPr>
      <a:lvl5pPr marL="25384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5pPr>
      <a:lvl6pPr marL="29956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6pPr>
      <a:lvl7pPr marL="34528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7pPr>
      <a:lvl8pPr marL="39100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8pPr>
      <a:lvl9pPr marL="43672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1"/>
          <p:cNvSpPr>
            <a:spLocks noGrp="1" noChangeArrowheads="1"/>
          </p:cNvSpPr>
          <p:nvPr>
            <p:ph type="title"/>
          </p:nvPr>
        </p:nvSpPr>
        <p:spPr bwMode="auto">
          <a:xfrm>
            <a:off x="1270000" y="2971800"/>
            <a:ext cx="10464800" cy="38100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itle style</a:t>
            </a:r>
          </a:p>
        </p:txBody>
      </p:sp>
    </p:spTree>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buChar char="•"/>
        <a:defRPr sz="3600">
          <a:solidFill>
            <a:schemeClr val="tx1"/>
          </a:solidFill>
          <a:latin typeface="+mn-lt"/>
          <a:ea typeface="+mn-ea"/>
          <a:cs typeface="+mn-cs"/>
          <a:sym typeface="Gill Sans"/>
        </a:defRPr>
      </a:lvl1pPr>
      <a:lvl2pPr marL="742950" indent="-285750" algn="ctr" rtl="0" eaLnBrk="0" fontAlgn="base" hangingPunct="0">
        <a:spcBef>
          <a:spcPct val="0"/>
        </a:spcBef>
        <a:spcAft>
          <a:spcPct val="0"/>
        </a:spcAft>
        <a:buChar char="–"/>
        <a:defRPr sz="3600">
          <a:solidFill>
            <a:schemeClr val="tx1"/>
          </a:solidFill>
          <a:latin typeface="+mn-lt"/>
          <a:ea typeface="+mn-ea"/>
          <a:cs typeface="+mn-cs"/>
          <a:sym typeface="Gill Sans"/>
        </a:defRPr>
      </a:lvl2pPr>
      <a:lvl3pPr marL="11430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3pPr>
      <a:lvl4pPr marL="16002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4pPr>
      <a:lvl5pPr marL="20574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5pPr>
      <a:lvl6pPr marL="457200" algn="ctr" rtl="0" fontAlgn="base">
        <a:spcBef>
          <a:spcPct val="0"/>
        </a:spcBef>
        <a:spcAft>
          <a:spcPct val="0"/>
        </a:spcAft>
        <a:defRPr sz="3600">
          <a:solidFill>
            <a:schemeClr val="tx1"/>
          </a:solidFill>
          <a:latin typeface="+mn-lt"/>
          <a:ea typeface="+mn-ea"/>
          <a:cs typeface="+mn-cs"/>
          <a:sym typeface="Gill Sans" charset="0"/>
        </a:defRPr>
      </a:lvl6pPr>
      <a:lvl7pPr marL="914400" algn="ctr" rtl="0" fontAlgn="base">
        <a:spcBef>
          <a:spcPct val="0"/>
        </a:spcBef>
        <a:spcAft>
          <a:spcPct val="0"/>
        </a:spcAft>
        <a:defRPr sz="3600">
          <a:solidFill>
            <a:schemeClr val="tx1"/>
          </a:solidFill>
          <a:latin typeface="+mn-lt"/>
          <a:ea typeface="+mn-ea"/>
          <a:cs typeface="+mn-cs"/>
          <a:sym typeface="Gill Sans" charset="0"/>
        </a:defRPr>
      </a:lvl7pPr>
      <a:lvl8pPr marL="1371600" algn="ctr" rtl="0" fontAlgn="base">
        <a:spcBef>
          <a:spcPct val="0"/>
        </a:spcBef>
        <a:spcAft>
          <a:spcPct val="0"/>
        </a:spcAft>
        <a:defRPr sz="3600">
          <a:solidFill>
            <a:schemeClr val="tx1"/>
          </a:solidFill>
          <a:latin typeface="+mn-lt"/>
          <a:ea typeface="+mn-ea"/>
          <a:cs typeface="+mn-cs"/>
          <a:sym typeface="Gill Sans" charset="0"/>
        </a:defRPr>
      </a:lvl8pPr>
      <a:lvl9pPr marL="1828800" algn="ctr" rtl="0" fontAlgn="base">
        <a:spcBef>
          <a:spcPct val="0"/>
        </a:spcBef>
        <a:spcAft>
          <a:spcPct val="0"/>
        </a:spcAft>
        <a:defRPr sz="36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1"/>
          <p:cNvSpPr>
            <a:spLocks noGrp="1" noChangeArrowheads="1"/>
          </p:cNvSpPr>
          <p:nvPr>
            <p:ph type="title"/>
          </p:nvPr>
        </p:nvSpPr>
        <p:spPr bwMode="auto">
          <a:xfrm>
            <a:off x="1270000" y="254000"/>
            <a:ext cx="10464800" cy="24384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itle style</a:t>
            </a:r>
          </a:p>
        </p:txBody>
      </p:sp>
      <p:sp>
        <p:nvSpPr>
          <p:cNvPr id="12291" name="Rectangle 2"/>
          <p:cNvSpPr>
            <a:spLocks noGrp="1" noChangeArrowheads="1"/>
          </p:cNvSpPr>
          <p:nvPr>
            <p:ph type="body" idx="1"/>
          </p:nvPr>
        </p:nvSpPr>
        <p:spPr bwMode="auto">
          <a:xfrm>
            <a:off x="7772400" y="2768600"/>
            <a:ext cx="3962400" cy="57150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ext styles</a:t>
            </a:r>
          </a:p>
          <a:p>
            <a:pPr lvl="1"/>
            <a:r>
              <a:rPr lang="en-US">
                <a:sym typeface="Gill Sans"/>
              </a:rPr>
              <a:t>Second level</a:t>
            </a:r>
          </a:p>
          <a:p>
            <a:pPr lvl="2"/>
            <a:r>
              <a:rPr lang="en-US">
                <a:sym typeface="Gill Sans"/>
              </a:rPr>
              <a:t>Third level</a:t>
            </a:r>
          </a:p>
          <a:p>
            <a:pPr lvl="3"/>
            <a:r>
              <a:rPr lang="en-US">
                <a:sym typeface="Gill Sans"/>
              </a:rPr>
              <a:t>Fourth level</a:t>
            </a:r>
          </a:p>
          <a:p>
            <a:pPr lvl="4"/>
            <a:r>
              <a:rPr lang="en-US">
                <a:sym typeface="Gill Sans"/>
              </a:rPr>
              <a:t>Fifth level</a:t>
            </a:r>
          </a:p>
        </p:txBody>
      </p:sp>
    </p:spTree>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7604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1pPr>
      <a:lvl2pPr marL="12049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2pPr>
      <a:lvl3pPr marL="16494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3pPr>
      <a:lvl4pPr marL="20939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4pPr>
      <a:lvl5pPr marL="25384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5pPr>
      <a:lvl6pPr marL="29956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6pPr>
      <a:lvl7pPr marL="34528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7pPr>
      <a:lvl8pPr marL="39100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8pPr>
      <a:lvl9pPr marL="43672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1"/>
          <p:cNvSpPr>
            <a:spLocks noGrp="1" noChangeArrowheads="1"/>
          </p:cNvSpPr>
          <p:nvPr>
            <p:ph type="title"/>
          </p:nvPr>
        </p:nvSpPr>
        <p:spPr bwMode="auto">
          <a:xfrm>
            <a:off x="1270000" y="254000"/>
            <a:ext cx="10464800" cy="24384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itle style</a:t>
            </a:r>
          </a:p>
        </p:txBody>
      </p:sp>
      <p:sp>
        <p:nvSpPr>
          <p:cNvPr id="13315" name="Rectangle 2"/>
          <p:cNvSpPr>
            <a:spLocks noGrp="1" noChangeArrowheads="1"/>
          </p:cNvSpPr>
          <p:nvPr>
            <p:ph type="body" idx="1"/>
          </p:nvPr>
        </p:nvSpPr>
        <p:spPr bwMode="auto">
          <a:xfrm>
            <a:off x="1270000" y="2768600"/>
            <a:ext cx="5041900" cy="57150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ext styles</a:t>
            </a:r>
          </a:p>
          <a:p>
            <a:pPr lvl="1"/>
            <a:r>
              <a:rPr lang="en-US">
                <a:sym typeface="Gill Sans"/>
              </a:rPr>
              <a:t>Second level</a:t>
            </a:r>
          </a:p>
          <a:p>
            <a:pPr lvl="2"/>
            <a:r>
              <a:rPr lang="en-US">
                <a:sym typeface="Gill Sans"/>
              </a:rPr>
              <a:t>Third level</a:t>
            </a:r>
          </a:p>
          <a:p>
            <a:pPr lvl="3"/>
            <a:r>
              <a:rPr lang="en-US">
                <a:sym typeface="Gill Sans"/>
              </a:rPr>
              <a:t>Fourth level</a:t>
            </a:r>
          </a:p>
          <a:p>
            <a:pPr lvl="4"/>
            <a:r>
              <a:rPr lang="en-US">
                <a:sym typeface="Gill Sans"/>
              </a:rPr>
              <a:t>Fifth level</a:t>
            </a:r>
          </a:p>
        </p:txBody>
      </p:sp>
    </p:spTree>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7604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1pPr>
      <a:lvl2pPr marL="12049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2pPr>
      <a:lvl3pPr marL="16494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3pPr>
      <a:lvl4pPr marL="20939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4pPr>
      <a:lvl5pPr marL="2538413" indent="-493713" algn="l" rtl="0" eaLnBrk="0" fontAlgn="base" hangingPunct="0">
        <a:spcBef>
          <a:spcPts val="3800"/>
        </a:spcBef>
        <a:spcAft>
          <a:spcPct val="0"/>
        </a:spcAft>
        <a:buSzPct val="171000"/>
        <a:buFont typeface="Gill Sans"/>
        <a:buChar char="•"/>
        <a:defRPr sz="3200">
          <a:solidFill>
            <a:schemeClr val="tx1"/>
          </a:solidFill>
          <a:latin typeface="+mn-lt"/>
          <a:ea typeface="+mn-ea"/>
          <a:cs typeface="+mn-cs"/>
          <a:sym typeface="Gill Sans"/>
        </a:defRPr>
      </a:lvl5pPr>
      <a:lvl6pPr marL="29956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6pPr>
      <a:lvl7pPr marL="34528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7pPr>
      <a:lvl8pPr marL="39100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8pPr>
      <a:lvl9pPr marL="4367213" indent="-493713" algn="l" rtl="0" fontAlgn="base">
        <a:spcBef>
          <a:spcPts val="3800"/>
        </a:spcBef>
        <a:spcAft>
          <a:spcPct val="0"/>
        </a:spcAft>
        <a:buSzPct val="171000"/>
        <a:buFont typeface="Gill Sans" charset="0"/>
        <a:buChar char="•"/>
        <a:defRPr sz="32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1"/>
          <p:cNvPicPr>
            <a:picLocks noChangeAspect="1" noChangeArrowheads="1"/>
          </p:cNvPicPr>
          <p:nvPr/>
        </p:nvPicPr>
        <p:blipFill>
          <a:blip r:embed="rId13" cstate="print"/>
          <a:srcRect/>
          <a:stretch>
            <a:fillRect/>
          </a:stretch>
        </p:blipFill>
        <p:spPr bwMode="auto">
          <a:xfrm>
            <a:off x="-50800" y="-19050"/>
            <a:ext cx="13055600" cy="9791700"/>
          </a:xfrm>
          <a:prstGeom prst="rect">
            <a:avLst/>
          </a:prstGeom>
          <a:noFill/>
          <a:ln w="12700">
            <a:noFill/>
            <a:miter lim="800000"/>
            <a:headEnd/>
            <a:tailEnd/>
          </a:ln>
        </p:spPr>
      </p:pic>
      <p:sp>
        <p:nvSpPr>
          <p:cNvPr id="2051" name="Rectangle 2"/>
          <p:cNvSpPr>
            <a:spLocks noGrp="1" noChangeArrowheads="1"/>
          </p:cNvSpPr>
          <p:nvPr>
            <p:ph type="title"/>
          </p:nvPr>
        </p:nvSpPr>
        <p:spPr bwMode="auto">
          <a:xfrm>
            <a:off x="5041900" y="5448300"/>
            <a:ext cx="2514600" cy="22479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itle style</a:t>
            </a: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p:txStyles>
    <p:titleStyle>
      <a:lvl1pPr algn="ctr" rtl="0" eaLnBrk="0" fontAlgn="base" hangingPunct="0">
        <a:lnSpc>
          <a:spcPct val="70000"/>
        </a:lnSpc>
        <a:spcBef>
          <a:spcPct val="0"/>
        </a:spcBef>
        <a:spcAft>
          <a:spcPct val="0"/>
        </a:spcAft>
        <a:defRPr sz="6400">
          <a:solidFill>
            <a:srgbClr val="29325C"/>
          </a:solidFill>
          <a:latin typeface="+mj-lt"/>
          <a:ea typeface="+mj-ea"/>
          <a:cs typeface="+mj-cs"/>
          <a:sym typeface="Gill Sans"/>
        </a:defRPr>
      </a:lvl1pPr>
      <a:lvl2pPr algn="ctr" rtl="0" eaLnBrk="0" fontAlgn="base" hangingPunct="0">
        <a:lnSpc>
          <a:spcPct val="70000"/>
        </a:lnSpc>
        <a:spcBef>
          <a:spcPct val="0"/>
        </a:spcBef>
        <a:spcAft>
          <a:spcPct val="0"/>
        </a:spcAft>
        <a:defRPr sz="6400">
          <a:solidFill>
            <a:srgbClr val="29325C"/>
          </a:solidFill>
          <a:latin typeface="Gill Sans" charset="0"/>
          <a:ea typeface="ヒラギノ角ゴ ProN W3" charset="0"/>
          <a:cs typeface="ヒラギノ角ゴ ProN W3" charset="0"/>
          <a:sym typeface="Gill Sans"/>
        </a:defRPr>
      </a:lvl2pPr>
      <a:lvl3pPr algn="ctr" rtl="0" eaLnBrk="0" fontAlgn="base" hangingPunct="0">
        <a:lnSpc>
          <a:spcPct val="70000"/>
        </a:lnSpc>
        <a:spcBef>
          <a:spcPct val="0"/>
        </a:spcBef>
        <a:spcAft>
          <a:spcPct val="0"/>
        </a:spcAft>
        <a:defRPr sz="6400">
          <a:solidFill>
            <a:srgbClr val="29325C"/>
          </a:solidFill>
          <a:latin typeface="Gill Sans" charset="0"/>
          <a:ea typeface="ヒラギノ角ゴ ProN W3" charset="0"/>
          <a:cs typeface="ヒラギノ角ゴ ProN W3" charset="0"/>
          <a:sym typeface="Gill Sans"/>
        </a:defRPr>
      </a:lvl3pPr>
      <a:lvl4pPr algn="ctr" rtl="0" eaLnBrk="0" fontAlgn="base" hangingPunct="0">
        <a:lnSpc>
          <a:spcPct val="70000"/>
        </a:lnSpc>
        <a:spcBef>
          <a:spcPct val="0"/>
        </a:spcBef>
        <a:spcAft>
          <a:spcPct val="0"/>
        </a:spcAft>
        <a:defRPr sz="6400">
          <a:solidFill>
            <a:srgbClr val="29325C"/>
          </a:solidFill>
          <a:latin typeface="Gill Sans" charset="0"/>
          <a:ea typeface="ヒラギノ角ゴ ProN W3" charset="0"/>
          <a:cs typeface="ヒラギノ角ゴ ProN W3" charset="0"/>
          <a:sym typeface="Gill Sans"/>
        </a:defRPr>
      </a:lvl4pPr>
      <a:lvl5pPr algn="ctr" rtl="0" eaLnBrk="0" fontAlgn="base" hangingPunct="0">
        <a:lnSpc>
          <a:spcPct val="70000"/>
        </a:lnSpc>
        <a:spcBef>
          <a:spcPct val="0"/>
        </a:spcBef>
        <a:spcAft>
          <a:spcPct val="0"/>
        </a:spcAft>
        <a:defRPr sz="6400">
          <a:solidFill>
            <a:srgbClr val="29325C"/>
          </a:solidFill>
          <a:latin typeface="Gill Sans" charset="0"/>
          <a:ea typeface="ヒラギノ角ゴ ProN W3" charset="0"/>
          <a:cs typeface="ヒラギノ角ゴ ProN W3" charset="0"/>
          <a:sym typeface="Gill Sans"/>
        </a:defRPr>
      </a:lvl5pPr>
      <a:lvl6pPr marL="457200" algn="ctr" rtl="0" fontAlgn="base">
        <a:lnSpc>
          <a:spcPct val="70000"/>
        </a:lnSpc>
        <a:spcBef>
          <a:spcPct val="0"/>
        </a:spcBef>
        <a:spcAft>
          <a:spcPct val="0"/>
        </a:spcAft>
        <a:defRPr sz="6400">
          <a:solidFill>
            <a:srgbClr val="29325C"/>
          </a:solidFill>
          <a:latin typeface="Gill Sans" charset="0"/>
          <a:ea typeface="ヒラギノ角ゴ ProN W3" charset="0"/>
          <a:cs typeface="ヒラギノ角ゴ ProN W3" charset="0"/>
          <a:sym typeface="Gill Sans" charset="0"/>
        </a:defRPr>
      </a:lvl6pPr>
      <a:lvl7pPr marL="914400" algn="ctr" rtl="0" fontAlgn="base">
        <a:lnSpc>
          <a:spcPct val="70000"/>
        </a:lnSpc>
        <a:spcBef>
          <a:spcPct val="0"/>
        </a:spcBef>
        <a:spcAft>
          <a:spcPct val="0"/>
        </a:spcAft>
        <a:defRPr sz="6400">
          <a:solidFill>
            <a:srgbClr val="29325C"/>
          </a:solidFill>
          <a:latin typeface="Gill Sans" charset="0"/>
          <a:ea typeface="ヒラギノ角ゴ ProN W3" charset="0"/>
          <a:cs typeface="ヒラギノ角ゴ ProN W3" charset="0"/>
          <a:sym typeface="Gill Sans" charset="0"/>
        </a:defRPr>
      </a:lvl7pPr>
      <a:lvl8pPr marL="1371600" algn="ctr" rtl="0" fontAlgn="base">
        <a:lnSpc>
          <a:spcPct val="70000"/>
        </a:lnSpc>
        <a:spcBef>
          <a:spcPct val="0"/>
        </a:spcBef>
        <a:spcAft>
          <a:spcPct val="0"/>
        </a:spcAft>
        <a:defRPr sz="6400">
          <a:solidFill>
            <a:srgbClr val="29325C"/>
          </a:solidFill>
          <a:latin typeface="Gill Sans" charset="0"/>
          <a:ea typeface="ヒラギノ角ゴ ProN W3" charset="0"/>
          <a:cs typeface="ヒラギノ角ゴ ProN W3" charset="0"/>
          <a:sym typeface="Gill Sans" charset="0"/>
        </a:defRPr>
      </a:lvl8pPr>
      <a:lvl9pPr marL="1828800" algn="ctr" rtl="0" fontAlgn="base">
        <a:lnSpc>
          <a:spcPct val="70000"/>
        </a:lnSpc>
        <a:spcBef>
          <a:spcPct val="0"/>
        </a:spcBef>
        <a:spcAft>
          <a:spcPct val="0"/>
        </a:spcAft>
        <a:defRPr sz="6400">
          <a:solidFill>
            <a:srgbClr val="29325C"/>
          </a:solidFill>
          <a:latin typeface="Gill Sans" charset="0"/>
          <a:ea typeface="ヒラギノ角ゴ ProN W3" charset="0"/>
          <a:cs typeface="ヒラギノ角ゴ ProN W3" charset="0"/>
          <a:sym typeface="Gill Sans" charset="0"/>
        </a:defRPr>
      </a:lvl9pPr>
    </p:titleStyle>
    <p:bodyStyle>
      <a:lvl1pPr marL="8890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1pPr>
      <a:lvl2pPr marL="13335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2pPr>
      <a:lvl3pPr marL="17780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3pPr>
      <a:lvl4pPr marL="22225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4pPr>
      <a:lvl5pPr marL="26670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5pPr>
      <a:lvl6pPr marL="31242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6pPr>
      <a:lvl7pPr marL="35814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7pPr>
      <a:lvl8pPr marL="40386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8pPr>
      <a:lvl9pPr marL="44958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1"/>
          <p:cNvSpPr>
            <a:spLocks noGrp="1" noChangeArrowheads="1"/>
          </p:cNvSpPr>
          <p:nvPr>
            <p:ph type="body" idx="1"/>
          </p:nvPr>
        </p:nvSpPr>
        <p:spPr bwMode="auto">
          <a:xfrm>
            <a:off x="1270000" y="2768600"/>
            <a:ext cx="10464800" cy="5715000"/>
          </a:xfrm>
          <a:prstGeom prst="rect">
            <a:avLst/>
          </a:prstGeom>
          <a:noFill/>
          <a:ln w="12700">
            <a:noFill/>
            <a:miter lim="800000"/>
            <a:headEnd/>
            <a:tailEnd/>
          </a:ln>
        </p:spPr>
        <p:txBody>
          <a:bodyPr vert="horz" wrap="square" lIns="50800" tIns="50800" rIns="50800" bIns="50800" numCol="1" anchor="t" anchorCtr="0" compatLnSpc="1">
            <a:prstTxWarp prst="textNoShape">
              <a:avLst/>
            </a:prstTxWarp>
          </a:bodyPr>
          <a:lstStyle/>
          <a:p>
            <a:pPr lvl="0"/>
            <a:r>
              <a:rPr lang="en-US">
                <a:sym typeface="Gill Sans"/>
              </a:rPr>
              <a:t>Click to edit Master text styles</a:t>
            </a:r>
          </a:p>
          <a:p>
            <a:pPr lvl="1"/>
            <a:r>
              <a:rPr lang="en-US">
                <a:sym typeface="Gill Sans"/>
              </a:rPr>
              <a:t>Second level</a:t>
            </a:r>
          </a:p>
          <a:p>
            <a:pPr lvl="2"/>
            <a:r>
              <a:rPr lang="en-US">
                <a:sym typeface="Gill Sans"/>
              </a:rPr>
              <a:t>Third level</a:t>
            </a:r>
          </a:p>
          <a:p>
            <a:pPr lvl="3"/>
            <a:r>
              <a:rPr lang="en-US">
                <a:sym typeface="Gill Sans"/>
              </a:rPr>
              <a:t>Fourth level</a:t>
            </a:r>
          </a:p>
          <a:p>
            <a:pPr lvl="4"/>
            <a:r>
              <a:rPr lang="en-US">
                <a:sym typeface="Gill Sans"/>
              </a:rPr>
              <a:t>Fifth level</a:t>
            </a:r>
          </a:p>
        </p:txBody>
      </p:sp>
      <p:sp>
        <p:nvSpPr>
          <p:cNvPr id="3075" name="Rectangle 2"/>
          <p:cNvSpPr>
            <a:spLocks noGrp="1" noChangeArrowheads="1"/>
          </p:cNvSpPr>
          <p:nvPr>
            <p:ph type="title"/>
          </p:nvPr>
        </p:nvSpPr>
        <p:spPr bwMode="auto">
          <a:xfrm>
            <a:off x="2006600" y="63500"/>
            <a:ext cx="10464800" cy="13081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itle style</a:t>
            </a:r>
          </a:p>
        </p:txBody>
      </p:sp>
      <p:pic>
        <p:nvPicPr>
          <p:cNvPr id="3076" name="Picture 3"/>
          <p:cNvPicPr>
            <a:picLocks noChangeAspect="1" noChangeArrowheads="1"/>
          </p:cNvPicPr>
          <p:nvPr/>
        </p:nvPicPr>
        <p:blipFill>
          <a:blip r:embed="rId13" cstate="print"/>
          <a:srcRect/>
          <a:stretch>
            <a:fillRect/>
          </a:stretch>
        </p:blipFill>
        <p:spPr bwMode="auto">
          <a:xfrm>
            <a:off x="0" y="0"/>
            <a:ext cx="13004800" cy="9753600"/>
          </a:xfrm>
          <a:prstGeom prst="rect">
            <a:avLst/>
          </a:prstGeom>
          <a:noFill/>
          <a:ln w="12700">
            <a:noFill/>
            <a:miter lim="800000"/>
            <a:headEnd/>
            <a:tailEnd/>
          </a:ln>
        </p:spPr>
      </p:pic>
    </p:spTree>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Lst>
  <p:transition/>
  <p:txStyles>
    <p:titleStyle>
      <a:lvl1pPr algn="l" rtl="0" eaLnBrk="0" fontAlgn="base" hangingPunct="0">
        <a:spcBef>
          <a:spcPct val="0"/>
        </a:spcBef>
        <a:spcAft>
          <a:spcPct val="0"/>
        </a:spcAft>
        <a:defRPr sz="4800">
          <a:solidFill>
            <a:srgbClr val="D1C46D"/>
          </a:solidFill>
          <a:latin typeface="+mj-lt"/>
          <a:ea typeface="+mj-ea"/>
          <a:cs typeface="+mj-cs"/>
          <a:sym typeface="Gill Sans"/>
        </a:defRPr>
      </a:lvl1pPr>
      <a:lvl2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2pPr>
      <a:lvl3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3pPr>
      <a:lvl4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4pPr>
      <a:lvl5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5pPr>
      <a:lvl6pPr marL="4572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p:titleStyle>
    <p:bodyStyle>
      <a:lvl1pPr marL="760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1pPr>
      <a:lvl2pPr marL="12049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2pPr>
      <a:lvl3pPr marL="1649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3pPr>
      <a:lvl4pPr marL="20939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4pPr>
      <a:lvl5pPr marL="2538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5pPr>
      <a:lvl6pPr marL="29956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6pPr>
      <a:lvl7pPr marL="34528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7pPr>
      <a:lvl8pPr marL="39100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8pPr>
      <a:lvl9pPr marL="43672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1"/>
          <p:cNvSpPr>
            <a:spLocks noGrp="1" noChangeArrowheads="1"/>
          </p:cNvSpPr>
          <p:nvPr>
            <p:ph type="body" idx="1"/>
          </p:nvPr>
        </p:nvSpPr>
        <p:spPr bwMode="auto">
          <a:xfrm>
            <a:off x="1270000" y="1270000"/>
            <a:ext cx="10464800" cy="72136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ext styles</a:t>
            </a:r>
          </a:p>
          <a:p>
            <a:pPr lvl="1"/>
            <a:r>
              <a:rPr lang="en-US">
                <a:sym typeface="Gill Sans"/>
              </a:rPr>
              <a:t>Second level</a:t>
            </a:r>
          </a:p>
          <a:p>
            <a:pPr lvl="2"/>
            <a:r>
              <a:rPr lang="en-US">
                <a:sym typeface="Gill Sans"/>
              </a:rPr>
              <a:t>Third level</a:t>
            </a:r>
          </a:p>
          <a:p>
            <a:pPr lvl="3"/>
            <a:r>
              <a:rPr lang="en-US">
                <a:sym typeface="Gill Sans"/>
              </a:rPr>
              <a:t>Fourth level</a:t>
            </a:r>
          </a:p>
          <a:p>
            <a:pPr lvl="4"/>
            <a:r>
              <a:rPr lang="en-US">
                <a:sym typeface="Gill Sans"/>
              </a:rPr>
              <a:t>Fifth level</a:t>
            </a:r>
          </a:p>
        </p:txBody>
      </p:sp>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838200" indent="-571500" algn="l" rtl="0" eaLnBrk="0" fontAlgn="base" hangingPunct="0">
        <a:spcBef>
          <a:spcPts val="4800"/>
        </a:spcBef>
        <a:spcAft>
          <a:spcPct val="0"/>
        </a:spcAft>
        <a:buSzPct val="171000"/>
        <a:buFont typeface="Gill Sans"/>
        <a:buChar char="•"/>
        <a:defRPr sz="4200">
          <a:solidFill>
            <a:schemeClr val="tx1"/>
          </a:solidFill>
          <a:latin typeface="+mn-lt"/>
          <a:ea typeface="+mn-ea"/>
          <a:cs typeface="+mn-cs"/>
          <a:sym typeface="Gill Sans"/>
        </a:defRPr>
      </a:lvl1pPr>
      <a:lvl2pPr marL="1282700" indent="-571500" algn="l" rtl="0" eaLnBrk="0" fontAlgn="base" hangingPunct="0">
        <a:spcBef>
          <a:spcPts val="4800"/>
        </a:spcBef>
        <a:spcAft>
          <a:spcPct val="0"/>
        </a:spcAft>
        <a:buSzPct val="171000"/>
        <a:buFont typeface="Gill Sans"/>
        <a:buChar char="•"/>
        <a:defRPr sz="4200">
          <a:solidFill>
            <a:schemeClr val="tx1"/>
          </a:solidFill>
          <a:latin typeface="+mn-lt"/>
          <a:ea typeface="+mn-ea"/>
          <a:cs typeface="+mn-cs"/>
          <a:sym typeface="Gill Sans"/>
        </a:defRPr>
      </a:lvl2pPr>
      <a:lvl3pPr marL="1727200" indent="-571500" algn="l" rtl="0" eaLnBrk="0" fontAlgn="base" hangingPunct="0">
        <a:spcBef>
          <a:spcPts val="4800"/>
        </a:spcBef>
        <a:spcAft>
          <a:spcPct val="0"/>
        </a:spcAft>
        <a:buSzPct val="171000"/>
        <a:buFont typeface="Gill Sans"/>
        <a:buChar char="•"/>
        <a:defRPr sz="4200">
          <a:solidFill>
            <a:schemeClr val="tx1"/>
          </a:solidFill>
          <a:latin typeface="+mn-lt"/>
          <a:ea typeface="+mn-ea"/>
          <a:cs typeface="+mn-cs"/>
          <a:sym typeface="Gill Sans"/>
        </a:defRPr>
      </a:lvl3pPr>
      <a:lvl4pPr marL="2171700" indent="-571500" algn="l" rtl="0" eaLnBrk="0" fontAlgn="base" hangingPunct="0">
        <a:spcBef>
          <a:spcPts val="4800"/>
        </a:spcBef>
        <a:spcAft>
          <a:spcPct val="0"/>
        </a:spcAft>
        <a:buSzPct val="171000"/>
        <a:buFont typeface="Gill Sans"/>
        <a:buChar char="•"/>
        <a:defRPr sz="4200">
          <a:solidFill>
            <a:schemeClr val="tx1"/>
          </a:solidFill>
          <a:latin typeface="+mn-lt"/>
          <a:ea typeface="+mn-ea"/>
          <a:cs typeface="+mn-cs"/>
          <a:sym typeface="Gill Sans"/>
        </a:defRPr>
      </a:lvl4pPr>
      <a:lvl5pPr marL="2616200" indent="-571500" algn="l" rtl="0" eaLnBrk="0" fontAlgn="base" hangingPunct="0">
        <a:spcBef>
          <a:spcPts val="4800"/>
        </a:spcBef>
        <a:spcAft>
          <a:spcPct val="0"/>
        </a:spcAft>
        <a:buSzPct val="171000"/>
        <a:buFont typeface="Gill Sans"/>
        <a:buChar char="•"/>
        <a:defRPr sz="4200">
          <a:solidFill>
            <a:schemeClr val="tx1"/>
          </a:solidFill>
          <a:latin typeface="+mn-lt"/>
          <a:ea typeface="+mn-ea"/>
          <a:cs typeface="+mn-cs"/>
          <a:sym typeface="Gill Sans"/>
        </a:defRPr>
      </a:lvl5pPr>
      <a:lvl6pPr marL="3073400" indent="-571500" algn="l" rtl="0" fontAlgn="base">
        <a:spcBef>
          <a:spcPts val="4800"/>
        </a:spcBef>
        <a:spcAft>
          <a:spcPct val="0"/>
        </a:spcAft>
        <a:buSzPct val="171000"/>
        <a:buFont typeface="Gill Sans" charset="0"/>
        <a:buChar char="•"/>
        <a:defRPr sz="4200">
          <a:solidFill>
            <a:schemeClr val="tx1"/>
          </a:solidFill>
          <a:latin typeface="+mn-lt"/>
          <a:ea typeface="+mn-ea"/>
          <a:cs typeface="+mn-cs"/>
          <a:sym typeface="Gill Sans" charset="0"/>
        </a:defRPr>
      </a:lvl6pPr>
      <a:lvl7pPr marL="3530600" indent="-571500" algn="l" rtl="0" fontAlgn="base">
        <a:spcBef>
          <a:spcPts val="4800"/>
        </a:spcBef>
        <a:spcAft>
          <a:spcPct val="0"/>
        </a:spcAft>
        <a:buSzPct val="171000"/>
        <a:buFont typeface="Gill Sans" charset="0"/>
        <a:buChar char="•"/>
        <a:defRPr sz="4200">
          <a:solidFill>
            <a:schemeClr val="tx1"/>
          </a:solidFill>
          <a:latin typeface="+mn-lt"/>
          <a:ea typeface="+mn-ea"/>
          <a:cs typeface="+mn-cs"/>
          <a:sym typeface="Gill Sans" charset="0"/>
        </a:defRPr>
      </a:lvl7pPr>
      <a:lvl8pPr marL="3987800" indent="-571500" algn="l" rtl="0" fontAlgn="base">
        <a:spcBef>
          <a:spcPts val="4800"/>
        </a:spcBef>
        <a:spcAft>
          <a:spcPct val="0"/>
        </a:spcAft>
        <a:buSzPct val="171000"/>
        <a:buFont typeface="Gill Sans" charset="0"/>
        <a:buChar char="•"/>
        <a:defRPr sz="4200">
          <a:solidFill>
            <a:schemeClr val="tx1"/>
          </a:solidFill>
          <a:latin typeface="+mn-lt"/>
          <a:ea typeface="+mn-ea"/>
          <a:cs typeface="+mn-cs"/>
          <a:sym typeface="Gill Sans" charset="0"/>
        </a:defRPr>
      </a:lvl8pPr>
      <a:lvl9pPr marL="4445000" indent="-571500" algn="l" rtl="0" fontAlgn="base">
        <a:spcBef>
          <a:spcPts val="4800"/>
        </a:spcBef>
        <a:spcAft>
          <a:spcPct val="0"/>
        </a:spcAft>
        <a:buSzPct val="171000"/>
        <a:buFont typeface="Gill Sans" charset="0"/>
        <a:buChar char="•"/>
        <a:defRPr sz="42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1"/>
          <p:cNvSpPr>
            <a:spLocks noGrp="1" noChangeArrowheads="1"/>
          </p:cNvSpPr>
          <p:nvPr>
            <p:ph type="title"/>
          </p:nvPr>
        </p:nvSpPr>
        <p:spPr bwMode="auto">
          <a:xfrm>
            <a:off x="1270000" y="7366000"/>
            <a:ext cx="10464800" cy="17018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itle style</a:t>
            </a: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buChar char="•"/>
        <a:defRPr sz="3600">
          <a:solidFill>
            <a:schemeClr val="tx1"/>
          </a:solidFill>
          <a:latin typeface="+mn-lt"/>
          <a:ea typeface="+mn-ea"/>
          <a:cs typeface="+mn-cs"/>
          <a:sym typeface="Gill Sans"/>
        </a:defRPr>
      </a:lvl1pPr>
      <a:lvl2pPr marL="742950" indent="-285750" algn="ctr" rtl="0" eaLnBrk="0" fontAlgn="base" hangingPunct="0">
        <a:spcBef>
          <a:spcPct val="0"/>
        </a:spcBef>
        <a:spcAft>
          <a:spcPct val="0"/>
        </a:spcAft>
        <a:buChar char="–"/>
        <a:defRPr sz="3600">
          <a:solidFill>
            <a:schemeClr val="tx1"/>
          </a:solidFill>
          <a:latin typeface="+mn-lt"/>
          <a:ea typeface="+mn-ea"/>
          <a:cs typeface="+mn-cs"/>
          <a:sym typeface="Gill Sans"/>
        </a:defRPr>
      </a:lvl2pPr>
      <a:lvl3pPr marL="11430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3pPr>
      <a:lvl4pPr marL="16002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4pPr>
      <a:lvl5pPr marL="20574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5pPr>
      <a:lvl6pPr marL="457200" algn="ctr" rtl="0" fontAlgn="base">
        <a:spcBef>
          <a:spcPct val="0"/>
        </a:spcBef>
        <a:spcAft>
          <a:spcPct val="0"/>
        </a:spcAft>
        <a:defRPr sz="3600">
          <a:solidFill>
            <a:schemeClr val="tx1"/>
          </a:solidFill>
          <a:latin typeface="+mn-lt"/>
          <a:ea typeface="+mn-ea"/>
          <a:cs typeface="+mn-cs"/>
          <a:sym typeface="Gill Sans" charset="0"/>
        </a:defRPr>
      </a:lvl6pPr>
      <a:lvl7pPr marL="914400" algn="ctr" rtl="0" fontAlgn="base">
        <a:spcBef>
          <a:spcPct val="0"/>
        </a:spcBef>
        <a:spcAft>
          <a:spcPct val="0"/>
        </a:spcAft>
        <a:defRPr sz="3600">
          <a:solidFill>
            <a:schemeClr val="tx1"/>
          </a:solidFill>
          <a:latin typeface="+mn-lt"/>
          <a:ea typeface="+mn-ea"/>
          <a:cs typeface="+mn-cs"/>
          <a:sym typeface="Gill Sans" charset="0"/>
        </a:defRPr>
      </a:lvl7pPr>
      <a:lvl8pPr marL="1371600" algn="ctr" rtl="0" fontAlgn="base">
        <a:spcBef>
          <a:spcPct val="0"/>
        </a:spcBef>
        <a:spcAft>
          <a:spcPct val="0"/>
        </a:spcAft>
        <a:defRPr sz="3600">
          <a:solidFill>
            <a:schemeClr val="tx1"/>
          </a:solidFill>
          <a:latin typeface="+mn-lt"/>
          <a:ea typeface="+mn-ea"/>
          <a:cs typeface="+mn-cs"/>
          <a:sym typeface="Gill Sans" charset="0"/>
        </a:defRPr>
      </a:lvl8pPr>
      <a:lvl9pPr marL="1828800" algn="ctr" rtl="0" fontAlgn="base">
        <a:spcBef>
          <a:spcPct val="0"/>
        </a:spcBef>
        <a:spcAft>
          <a:spcPct val="0"/>
        </a:spcAft>
        <a:defRPr sz="36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1"/>
          <p:cNvSpPr>
            <a:spLocks noGrp="1" noChangeArrowheads="1"/>
          </p:cNvSpPr>
          <p:nvPr>
            <p:ph type="title"/>
          </p:nvPr>
        </p:nvSpPr>
        <p:spPr bwMode="auto">
          <a:xfrm>
            <a:off x="1270000" y="7366000"/>
            <a:ext cx="10464800" cy="17018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itle style</a:t>
            </a:r>
          </a:p>
        </p:txBody>
      </p:sp>
    </p:spTree>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buChar char="•"/>
        <a:defRPr sz="3600">
          <a:solidFill>
            <a:schemeClr val="tx1"/>
          </a:solidFill>
          <a:latin typeface="+mn-lt"/>
          <a:ea typeface="+mn-ea"/>
          <a:cs typeface="+mn-cs"/>
          <a:sym typeface="Gill Sans"/>
        </a:defRPr>
      </a:lvl1pPr>
      <a:lvl2pPr marL="742950" indent="-285750" algn="ctr" rtl="0" eaLnBrk="0" fontAlgn="base" hangingPunct="0">
        <a:spcBef>
          <a:spcPct val="0"/>
        </a:spcBef>
        <a:spcAft>
          <a:spcPct val="0"/>
        </a:spcAft>
        <a:buChar char="–"/>
        <a:defRPr sz="3600">
          <a:solidFill>
            <a:schemeClr val="tx1"/>
          </a:solidFill>
          <a:latin typeface="+mn-lt"/>
          <a:ea typeface="+mn-ea"/>
          <a:cs typeface="+mn-cs"/>
          <a:sym typeface="Gill Sans"/>
        </a:defRPr>
      </a:lvl2pPr>
      <a:lvl3pPr marL="11430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3pPr>
      <a:lvl4pPr marL="16002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4pPr>
      <a:lvl5pPr marL="2057400" indent="-228600" algn="ctr" rtl="0" eaLnBrk="0" fontAlgn="base" hangingPunct="0">
        <a:spcBef>
          <a:spcPct val="0"/>
        </a:spcBef>
        <a:spcAft>
          <a:spcPct val="0"/>
        </a:spcAft>
        <a:buChar char="»"/>
        <a:defRPr sz="3600">
          <a:solidFill>
            <a:schemeClr val="tx1"/>
          </a:solidFill>
          <a:latin typeface="+mn-lt"/>
          <a:ea typeface="+mn-ea"/>
          <a:cs typeface="+mn-cs"/>
          <a:sym typeface="Gill Sans"/>
        </a:defRPr>
      </a:lvl5pPr>
      <a:lvl6pPr marL="457200" algn="ctr" rtl="0" fontAlgn="base">
        <a:spcBef>
          <a:spcPct val="0"/>
        </a:spcBef>
        <a:spcAft>
          <a:spcPct val="0"/>
        </a:spcAft>
        <a:defRPr sz="3600">
          <a:solidFill>
            <a:schemeClr val="tx1"/>
          </a:solidFill>
          <a:latin typeface="+mn-lt"/>
          <a:ea typeface="+mn-ea"/>
          <a:cs typeface="+mn-cs"/>
          <a:sym typeface="Gill Sans" charset="0"/>
        </a:defRPr>
      </a:lvl6pPr>
      <a:lvl7pPr marL="914400" algn="ctr" rtl="0" fontAlgn="base">
        <a:spcBef>
          <a:spcPct val="0"/>
        </a:spcBef>
        <a:spcAft>
          <a:spcPct val="0"/>
        </a:spcAft>
        <a:defRPr sz="3600">
          <a:solidFill>
            <a:schemeClr val="tx1"/>
          </a:solidFill>
          <a:latin typeface="+mn-lt"/>
          <a:ea typeface="+mn-ea"/>
          <a:cs typeface="+mn-cs"/>
          <a:sym typeface="Gill Sans" charset="0"/>
        </a:defRPr>
      </a:lvl7pPr>
      <a:lvl8pPr marL="1371600" algn="ctr" rtl="0" fontAlgn="base">
        <a:spcBef>
          <a:spcPct val="0"/>
        </a:spcBef>
        <a:spcAft>
          <a:spcPct val="0"/>
        </a:spcAft>
        <a:defRPr sz="3600">
          <a:solidFill>
            <a:schemeClr val="tx1"/>
          </a:solidFill>
          <a:latin typeface="+mn-lt"/>
          <a:ea typeface="+mn-ea"/>
          <a:cs typeface="+mn-cs"/>
          <a:sym typeface="Gill Sans" charset="0"/>
        </a:defRPr>
      </a:lvl8pPr>
      <a:lvl9pPr marL="1828800" algn="ctr" rtl="0" fontAlgn="base">
        <a:spcBef>
          <a:spcPct val="0"/>
        </a:spcBef>
        <a:spcAft>
          <a:spcPct val="0"/>
        </a:spcAft>
        <a:defRPr sz="36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1"/>
          <p:cNvSpPr>
            <a:spLocks noGrp="1" noChangeArrowheads="1"/>
          </p:cNvSpPr>
          <p:nvPr>
            <p:ph type="body" idx="1"/>
          </p:nvPr>
        </p:nvSpPr>
        <p:spPr bwMode="auto">
          <a:xfrm>
            <a:off x="635000" y="4787900"/>
            <a:ext cx="5867400" cy="3302000"/>
          </a:xfrm>
          <a:prstGeom prst="rect">
            <a:avLst/>
          </a:prstGeom>
          <a:noFill/>
          <a:ln w="12700">
            <a:noFill/>
            <a:miter lim="800000"/>
            <a:headEnd/>
            <a:tailEnd/>
          </a:ln>
        </p:spPr>
        <p:txBody>
          <a:bodyPr vert="horz" wrap="square" lIns="50800" tIns="50800" rIns="50800" bIns="50800" numCol="1" anchor="t" anchorCtr="0" compatLnSpc="1">
            <a:prstTxWarp prst="textNoShape">
              <a:avLst/>
            </a:prstTxWarp>
          </a:bodyPr>
          <a:lstStyle/>
          <a:p>
            <a:pPr lvl="0"/>
            <a:r>
              <a:rPr lang="en-US">
                <a:sym typeface="Gill Sans"/>
              </a:rPr>
              <a:t>Click to edit Master text styles</a:t>
            </a:r>
          </a:p>
          <a:p>
            <a:pPr lvl="1"/>
            <a:r>
              <a:rPr lang="en-US">
                <a:sym typeface="Gill Sans"/>
              </a:rPr>
              <a:t>Second level</a:t>
            </a:r>
          </a:p>
          <a:p>
            <a:pPr lvl="2"/>
            <a:r>
              <a:rPr lang="en-US">
                <a:sym typeface="Gill Sans"/>
              </a:rPr>
              <a:t>Third level</a:t>
            </a:r>
          </a:p>
          <a:p>
            <a:pPr lvl="3"/>
            <a:r>
              <a:rPr lang="en-US">
                <a:sym typeface="Gill Sans"/>
              </a:rPr>
              <a:t>Fourth level</a:t>
            </a:r>
          </a:p>
          <a:p>
            <a:pPr lvl="4"/>
            <a:r>
              <a:rPr lang="en-US">
                <a:sym typeface="Gill Sans"/>
              </a:rPr>
              <a:t>Fifth level</a:t>
            </a:r>
          </a:p>
        </p:txBody>
      </p:sp>
      <p:sp>
        <p:nvSpPr>
          <p:cNvPr id="7171" name="Rectangle 2"/>
          <p:cNvSpPr>
            <a:spLocks noGrp="1" noChangeArrowheads="1"/>
          </p:cNvSpPr>
          <p:nvPr>
            <p:ph type="title"/>
          </p:nvPr>
        </p:nvSpPr>
        <p:spPr bwMode="auto">
          <a:xfrm>
            <a:off x="635000" y="1409700"/>
            <a:ext cx="5867400" cy="3302000"/>
          </a:xfrm>
          <a:prstGeom prst="rect">
            <a:avLst/>
          </a:prstGeom>
          <a:noFill/>
          <a:ln w="12700">
            <a:noFill/>
            <a:miter lim="800000"/>
            <a:headEnd/>
            <a:tailEnd/>
          </a:ln>
        </p:spPr>
        <p:txBody>
          <a:bodyPr vert="horz" wrap="square" lIns="50800" tIns="50800" rIns="50800" bIns="50800" numCol="1" anchor="b" anchorCtr="0" compatLnSpc="1">
            <a:prstTxWarp prst="textNoShape">
              <a:avLst/>
            </a:prstTxWarp>
          </a:bodyPr>
          <a:lstStyle/>
          <a:p>
            <a:pPr lvl="0"/>
            <a:r>
              <a:rPr lang="en-US">
                <a:sym typeface="Gill Sans"/>
              </a:rPr>
              <a:t>Click to edit Master title style</a:t>
            </a:r>
          </a:p>
        </p:txBody>
      </p:sp>
    </p:spTree>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ransition/>
  <p:txStyles>
    <p:titleStyle>
      <a:lvl1pPr algn="ctr" rtl="0" eaLnBrk="0" fontAlgn="base" hangingPunct="0">
        <a:spcBef>
          <a:spcPct val="0"/>
        </a:spcBef>
        <a:spcAft>
          <a:spcPct val="0"/>
        </a:spcAft>
        <a:defRPr sz="7000">
          <a:solidFill>
            <a:schemeClr val="tx1"/>
          </a:solidFill>
          <a:latin typeface="+mj-lt"/>
          <a:ea typeface="+mj-ea"/>
          <a:cs typeface="+mj-cs"/>
          <a:sym typeface="Gill Sans"/>
        </a:defRPr>
      </a:lvl1pPr>
      <a:lvl2pPr algn="ctr" rtl="0" eaLnBrk="0" fontAlgn="base" hangingPunct="0">
        <a:spcBef>
          <a:spcPct val="0"/>
        </a:spcBef>
        <a:spcAft>
          <a:spcPct val="0"/>
        </a:spcAft>
        <a:defRPr sz="70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70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70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70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70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70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70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70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buChar char="•"/>
        <a:defRPr sz="3400">
          <a:solidFill>
            <a:schemeClr val="tx1"/>
          </a:solidFill>
          <a:latin typeface="+mn-lt"/>
          <a:ea typeface="+mn-ea"/>
          <a:cs typeface="+mn-cs"/>
          <a:sym typeface="Gill Sans"/>
        </a:defRPr>
      </a:lvl1pPr>
      <a:lvl2pPr marL="742950" indent="-285750" algn="ctr" rtl="0" eaLnBrk="0" fontAlgn="base" hangingPunct="0">
        <a:spcBef>
          <a:spcPct val="0"/>
        </a:spcBef>
        <a:spcAft>
          <a:spcPct val="0"/>
        </a:spcAft>
        <a:buChar char="–"/>
        <a:defRPr sz="3400">
          <a:solidFill>
            <a:schemeClr val="tx1"/>
          </a:solidFill>
          <a:latin typeface="+mn-lt"/>
          <a:ea typeface="+mn-ea"/>
          <a:cs typeface="+mn-cs"/>
          <a:sym typeface="Gill Sans"/>
        </a:defRPr>
      </a:lvl2pPr>
      <a:lvl3pPr marL="1143000" indent="-228600" algn="ctr" rtl="0" eaLnBrk="0" fontAlgn="base" hangingPunct="0">
        <a:spcBef>
          <a:spcPct val="0"/>
        </a:spcBef>
        <a:spcAft>
          <a:spcPct val="0"/>
        </a:spcAft>
        <a:buChar char="•"/>
        <a:defRPr sz="3400">
          <a:solidFill>
            <a:schemeClr val="tx1"/>
          </a:solidFill>
          <a:latin typeface="+mn-lt"/>
          <a:ea typeface="+mn-ea"/>
          <a:cs typeface="+mn-cs"/>
          <a:sym typeface="Gill Sans"/>
        </a:defRPr>
      </a:lvl3pPr>
      <a:lvl4pPr marL="1600200" indent="-228600" algn="ctr" rtl="0" eaLnBrk="0" fontAlgn="base" hangingPunct="0">
        <a:spcBef>
          <a:spcPct val="0"/>
        </a:spcBef>
        <a:spcAft>
          <a:spcPct val="0"/>
        </a:spcAft>
        <a:buChar char="–"/>
        <a:defRPr sz="3400">
          <a:solidFill>
            <a:schemeClr val="tx1"/>
          </a:solidFill>
          <a:latin typeface="+mn-lt"/>
          <a:ea typeface="+mn-ea"/>
          <a:cs typeface="+mn-cs"/>
          <a:sym typeface="Gill Sans"/>
        </a:defRPr>
      </a:lvl4pPr>
      <a:lvl5pPr marL="2057400" indent="-228600" algn="ctr" rtl="0" eaLnBrk="0" fontAlgn="base" hangingPunct="0">
        <a:spcBef>
          <a:spcPct val="0"/>
        </a:spcBef>
        <a:spcAft>
          <a:spcPct val="0"/>
        </a:spcAft>
        <a:buChar char="»"/>
        <a:defRPr sz="3400">
          <a:solidFill>
            <a:schemeClr val="tx1"/>
          </a:solidFill>
          <a:latin typeface="+mn-lt"/>
          <a:ea typeface="+mn-ea"/>
          <a:cs typeface="+mn-cs"/>
          <a:sym typeface="Gill Sans"/>
        </a:defRPr>
      </a:lvl5pPr>
      <a:lvl6pPr marL="457200" algn="ctr" rtl="0" fontAlgn="base">
        <a:spcBef>
          <a:spcPct val="0"/>
        </a:spcBef>
        <a:spcAft>
          <a:spcPct val="0"/>
        </a:spcAft>
        <a:defRPr sz="3400">
          <a:solidFill>
            <a:schemeClr val="tx1"/>
          </a:solidFill>
          <a:latin typeface="+mn-lt"/>
          <a:ea typeface="+mn-ea"/>
          <a:cs typeface="+mn-cs"/>
          <a:sym typeface="Gill Sans" charset="0"/>
        </a:defRPr>
      </a:lvl6pPr>
      <a:lvl7pPr marL="914400" algn="ctr" rtl="0" fontAlgn="base">
        <a:spcBef>
          <a:spcPct val="0"/>
        </a:spcBef>
        <a:spcAft>
          <a:spcPct val="0"/>
        </a:spcAft>
        <a:defRPr sz="3400">
          <a:solidFill>
            <a:schemeClr val="tx1"/>
          </a:solidFill>
          <a:latin typeface="+mn-lt"/>
          <a:ea typeface="+mn-ea"/>
          <a:cs typeface="+mn-cs"/>
          <a:sym typeface="Gill Sans" charset="0"/>
        </a:defRPr>
      </a:lvl7pPr>
      <a:lvl8pPr marL="1371600" algn="ctr" rtl="0" fontAlgn="base">
        <a:spcBef>
          <a:spcPct val="0"/>
        </a:spcBef>
        <a:spcAft>
          <a:spcPct val="0"/>
        </a:spcAft>
        <a:defRPr sz="3400">
          <a:solidFill>
            <a:schemeClr val="tx1"/>
          </a:solidFill>
          <a:latin typeface="+mn-lt"/>
          <a:ea typeface="+mn-ea"/>
          <a:cs typeface="+mn-cs"/>
          <a:sym typeface="Gill Sans" charset="0"/>
        </a:defRPr>
      </a:lvl8pPr>
      <a:lvl9pPr marL="1828800" algn="ctr" rtl="0" fontAlgn="base">
        <a:spcBef>
          <a:spcPct val="0"/>
        </a:spcBef>
        <a:spcAft>
          <a:spcPct val="0"/>
        </a:spcAft>
        <a:defRPr sz="34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1"/>
          <p:cNvSpPr>
            <a:spLocks noGrp="1" noChangeArrowheads="1"/>
          </p:cNvSpPr>
          <p:nvPr>
            <p:ph type="body" idx="1"/>
          </p:nvPr>
        </p:nvSpPr>
        <p:spPr bwMode="auto">
          <a:xfrm>
            <a:off x="635000" y="4787900"/>
            <a:ext cx="5867400" cy="3302000"/>
          </a:xfrm>
          <a:prstGeom prst="rect">
            <a:avLst/>
          </a:prstGeom>
          <a:noFill/>
          <a:ln w="12700">
            <a:noFill/>
            <a:miter lim="800000"/>
            <a:headEnd/>
            <a:tailEnd/>
          </a:ln>
        </p:spPr>
        <p:txBody>
          <a:bodyPr vert="horz" wrap="square" lIns="50800" tIns="50800" rIns="50800" bIns="50800" numCol="1" anchor="t" anchorCtr="0" compatLnSpc="1">
            <a:prstTxWarp prst="textNoShape">
              <a:avLst/>
            </a:prstTxWarp>
          </a:bodyPr>
          <a:lstStyle/>
          <a:p>
            <a:pPr lvl="0"/>
            <a:r>
              <a:rPr lang="en-US">
                <a:sym typeface="Gill Sans"/>
              </a:rPr>
              <a:t>Click to edit Master text styles</a:t>
            </a:r>
          </a:p>
          <a:p>
            <a:pPr lvl="1"/>
            <a:r>
              <a:rPr lang="en-US">
                <a:sym typeface="Gill Sans"/>
              </a:rPr>
              <a:t>Second level</a:t>
            </a:r>
          </a:p>
          <a:p>
            <a:pPr lvl="2"/>
            <a:r>
              <a:rPr lang="en-US">
                <a:sym typeface="Gill Sans"/>
              </a:rPr>
              <a:t>Third level</a:t>
            </a:r>
          </a:p>
          <a:p>
            <a:pPr lvl="3"/>
            <a:r>
              <a:rPr lang="en-US">
                <a:sym typeface="Gill Sans"/>
              </a:rPr>
              <a:t>Fourth level</a:t>
            </a:r>
          </a:p>
          <a:p>
            <a:pPr lvl="4"/>
            <a:r>
              <a:rPr lang="en-US">
                <a:sym typeface="Gill Sans"/>
              </a:rPr>
              <a:t>Fifth level</a:t>
            </a:r>
          </a:p>
        </p:txBody>
      </p:sp>
      <p:sp>
        <p:nvSpPr>
          <p:cNvPr id="8195" name="Rectangle 2"/>
          <p:cNvSpPr>
            <a:spLocks noGrp="1" noChangeArrowheads="1"/>
          </p:cNvSpPr>
          <p:nvPr>
            <p:ph type="title"/>
          </p:nvPr>
        </p:nvSpPr>
        <p:spPr bwMode="auto">
          <a:xfrm>
            <a:off x="635000" y="1409700"/>
            <a:ext cx="5867400" cy="3302000"/>
          </a:xfrm>
          <a:prstGeom prst="rect">
            <a:avLst/>
          </a:prstGeom>
          <a:noFill/>
          <a:ln w="12700">
            <a:noFill/>
            <a:miter lim="800000"/>
            <a:headEnd/>
            <a:tailEnd/>
          </a:ln>
        </p:spPr>
        <p:txBody>
          <a:bodyPr vert="horz" wrap="square" lIns="50800" tIns="50800" rIns="50800" bIns="50800" numCol="1" anchor="b" anchorCtr="0" compatLnSpc="1">
            <a:prstTxWarp prst="textNoShape">
              <a:avLst/>
            </a:prstTxWarp>
          </a:bodyPr>
          <a:lstStyle/>
          <a:p>
            <a:pPr lvl="0"/>
            <a:r>
              <a:rPr lang="en-US">
                <a:sym typeface="Gill Sans"/>
              </a:rPr>
              <a:t>Click to edit Master title style</a:t>
            </a:r>
          </a:p>
        </p:txBody>
      </p:sp>
    </p:spTree>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transition/>
  <p:txStyles>
    <p:titleStyle>
      <a:lvl1pPr algn="ctr" rtl="0" eaLnBrk="0" fontAlgn="base" hangingPunct="0">
        <a:spcBef>
          <a:spcPct val="0"/>
        </a:spcBef>
        <a:spcAft>
          <a:spcPct val="0"/>
        </a:spcAft>
        <a:defRPr sz="7000">
          <a:solidFill>
            <a:schemeClr val="tx1"/>
          </a:solidFill>
          <a:latin typeface="+mj-lt"/>
          <a:ea typeface="+mj-ea"/>
          <a:cs typeface="+mj-cs"/>
          <a:sym typeface="Gill Sans"/>
        </a:defRPr>
      </a:lvl1pPr>
      <a:lvl2pPr algn="ctr" rtl="0" eaLnBrk="0" fontAlgn="base" hangingPunct="0">
        <a:spcBef>
          <a:spcPct val="0"/>
        </a:spcBef>
        <a:spcAft>
          <a:spcPct val="0"/>
        </a:spcAft>
        <a:defRPr sz="70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70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70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70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70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70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70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70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buChar char="•"/>
        <a:defRPr sz="3400">
          <a:solidFill>
            <a:schemeClr val="tx1"/>
          </a:solidFill>
          <a:latin typeface="+mn-lt"/>
          <a:ea typeface="+mn-ea"/>
          <a:cs typeface="+mn-cs"/>
          <a:sym typeface="Gill Sans"/>
        </a:defRPr>
      </a:lvl1pPr>
      <a:lvl2pPr marL="742950" indent="-285750" algn="ctr" rtl="0" eaLnBrk="0" fontAlgn="base" hangingPunct="0">
        <a:spcBef>
          <a:spcPct val="0"/>
        </a:spcBef>
        <a:spcAft>
          <a:spcPct val="0"/>
        </a:spcAft>
        <a:buChar char="–"/>
        <a:defRPr sz="3400">
          <a:solidFill>
            <a:schemeClr val="tx1"/>
          </a:solidFill>
          <a:latin typeface="+mn-lt"/>
          <a:ea typeface="+mn-ea"/>
          <a:cs typeface="+mn-cs"/>
          <a:sym typeface="Gill Sans"/>
        </a:defRPr>
      </a:lvl2pPr>
      <a:lvl3pPr marL="1143000" indent="-228600" algn="ctr" rtl="0" eaLnBrk="0" fontAlgn="base" hangingPunct="0">
        <a:spcBef>
          <a:spcPct val="0"/>
        </a:spcBef>
        <a:spcAft>
          <a:spcPct val="0"/>
        </a:spcAft>
        <a:buChar char="•"/>
        <a:defRPr sz="3400">
          <a:solidFill>
            <a:schemeClr val="tx1"/>
          </a:solidFill>
          <a:latin typeface="+mn-lt"/>
          <a:ea typeface="+mn-ea"/>
          <a:cs typeface="+mn-cs"/>
          <a:sym typeface="Gill Sans"/>
        </a:defRPr>
      </a:lvl3pPr>
      <a:lvl4pPr marL="1600200" indent="-228600" algn="ctr" rtl="0" eaLnBrk="0" fontAlgn="base" hangingPunct="0">
        <a:spcBef>
          <a:spcPct val="0"/>
        </a:spcBef>
        <a:spcAft>
          <a:spcPct val="0"/>
        </a:spcAft>
        <a:buChar char="–"/>
        <a:defRPr sz="3400">
          <a:solidFill>
            <a:schemeClr val="tx1"/>
          </a:solidFill>
          <a:latin typeface="+mn-lt"/>
          <a:ea typeface="+mn-ea"/>
          <a:cs typeface="+mn-cs"/>
          <a:sym typeface="Gill Sans"/>
        </a:defRPr>
      </a:lvl4pPr>
      <a:lvl5pPr marL="2057400" indent="-228600" algn="ctr" rtl="0" eaLnBrk="0" fontAlgn="base" hangingPunct="0">
        <a:spcBef>
          <a:spcPct val="0"/>
        </a:spcBef>
        <a:spcAft>
          <a:spcPct val="0"/>
        </a:spcAft>
        <a:buChar char="»"/>
        <a:defRPr sz="3400">
          <a:solidFill>
            <a:schemeClr val="tx1"/>
          </a:solidFill>
          <a:latin typeface="+mn-lt"/>
          <a:ea typeface="+mn-ea"/>
          <a:cs typeface="+mn-cs"/>
          <a:sym typeface="Gill Sans"/>
        </a:defRPr>
      </a:lvl5pPr>
      <a:lvl6pPr marL="457200" algn="ctr" rtl="0" fontAlgn="base">
        <a:spcBef>
          <a:spcPct val="0"/>
        </a:spcBef>
        <a:spcAft>
          <a:spcPct val="0"/>
        </a:spcAft>
        <a:defRPr sz="3400">
          <a:solidFill>
            <a:schemeClr val="tx1"/>
          </a:solidFill>
          <a:latin typeface="+mn-lt"/>
          <a:ea typeface="+mn-ea"/>
          <a:cs typeface="+mn-cs"/>
          <a:sym typeface="Gill Sans" charset="0"/>
        </a:defRPr>
      </a:lvl6pPr>
      <a:lvl7pPr marL="914400" algn="ctr" rtl="0" fontAlgn="base">
        <a:spcBef>
          <a:spcPct val="0"/>
        </a:spcBef>
        <a:spcAft>
          <a:spcPct val="0"/>
        </a:spcAft>
        <a:defRPr sz="3400">
          <a:solidFill>
            <a:schemeClr val="tx1"/>
          </a:solidFill>
          <a:latin typeface="+mn-lt"/>
          <a:ea typeface="+mn-ea"/>
          <a:cs typeface="+mn-cs"/>
          <a:sym typeface="Gill Sans" charset="0"/>
        </a:defRPr>
      </a:lvl7pPr>
      <a:lvl8pPr marL="1371600" algn="ctr" rtl="0" fontAlgn="base">
        <a:spcBef>
          <a:spcPct val="0"/>
        </a:spcBef>
        <a:spcAft>
          <a:spcPct val="0"/>
        </a:spcAft>
        <a:defRPr sz="3400">
          <a:solidFill>
            <a:schemeClr val="tx1"/>
          </a:solidFill>
          <a:latin typeface="+mn-lt"/>
          <a:ea typeface="+mn-ea"/>
          <a:cs typeface="+mn-cs"/>
          <a:sym typeface="Gill Sans" charset="0"/>
        </a:defRPr>
      </a:lvl8pPr>
      <a:lvl9pPr marL="1828800" algn="ctr" rtl="0" fontAlgn="base">
        <a:spcBef>
          <a:spcPct val="0"/>
        </a:spcBef>
        <a:spcAft>
          <a:spcPct val="0"/>
        </a:spcAft>
        <a:defRPr sz="34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
          <p:cNvSpPr>
            <a:spLocks noGrp="1" noChangeArrowheads="1"/>
          </p:cNvSpPr>
          <p:nvPr>
            <p:ph type="title"/>
          </p:nvPr>
        </p:nvSpPr>
        <p:spPr bwMode="auto">
          <a:xfrm>
            <a:off x="1270000" y="254000"/>
            <a:ext cx="10464800" cy="2438400"/>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p>
            <a:pPr lvl="0"/>
            <a:r>
              <a:rPr lang="en-US">
                <a:sym typeface="Gill Sans"/>
              </a:rPr>
              <a:t>Click to edit Master title style</a:t>
            </a:r>
          </a:p>
        </p:txBody>
      </p:sp>
    </p:spTree>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Lst>
  <p:transition/>
  <p:txStyles>
    <p:titleStyle>
      <a:lvl1pPr algn="ctr" rtl="0" eaLnBrk="0" fontAlgn="base" hangingPunct="0">
        <a:spcBef>
          <a:spcPct val="0"/>
        </a:spcBef>
        <a:spcAft>
          <a:spcPct val="0"/>
        </a:spcAft>
        <a:defRPr sz="8400">
          <a:solidFill>
            <a:schemeClr val="tx1"/>
          </a:solidFill>
          <a:latin typeface="+mj-lt"/>
          <a:ea typeface="+mj-ea"/>
          <a:cs typeface="+mj-cs"/>
          <a:sym typeface="Gill Sans"/>
        </a:defRPr>
      </a:lvl1pPr>
      <a:lvl2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2pPr>
      <a:lvl3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3pPr>
      <a:lvl4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4pPr>
      <a:lvl5pPr algn="ctr" rtl="0" eaLnBrk="0" fontAlgn="base" hangingPunct="0">
        <a:spcBef>
          <a:spcPct val="0"/>
        </a:spcBef>
        <a:spcAft>
          <a:spcPct val="0"/>
        </a:spcAft>
        <a:defRPr sz="8400">
          <a:solidFill>
            <a:schemeClr val="tx1"/>
          </a:solidFill>
          <a:latin typeface="Gill Sans" charset="0"/>
          <a:ea typeface="ヒラギノ角ゴ ProN W3" charset="0"/>
          <a:cs typeface="ヒラギノ角ゴ ProN W3" charset="0"/>
          <a:sym typeface="Gill Sans"/>
        </a:defRPr>
      </a:lvl5pPr>
      <a:lvl6pPr marL="4572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8400">
          <a:solidFill>
            <a:schemeClr val="tx1"/>
          </a:solidFill>
          <a:latin typeface="Gill Sans" charset="0"/>
          <a:ea typeface="ヒラギノ角ゴ ProN W3" charset="0"/>
          <a:cs typeface="ヒラギノ角ゴ ProN W3" charset="0"/>
          <a:sym typeface="Gill Sans" charset="0"/>
        </a:defRPr>
      </a:lvl9pPr>
    </p:titleStyle>
    <p:bodyStyle>
      <a:lvl1pPr marL="8890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1pPr>
      <a:lvl2pPr marL="13335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2pPr>
      <a:lvl3pPr marL="17780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3pPr>
      <a:lvl4pPr marL="22225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4pPr>
      <a:lvl5pPr marL="2667000" indent="-571500" algn="l" rtl="0" eaLnBrk="0" fontAlgn="base" hangingPunct="0">
        <a:spcBef>
          <a:spcPts val="2400"/>
        </a:spcBef>
        <a:spcAft>
          <a:spcPct val="0"/>
        </a:spcAft>
        <a:buSzPct val="171000"/>
        <a:buFont typeface="Gill Sans"/>
        <a:buChar char="•"/>
        <a:defRPr sz="4200">
          <a:solidFill>
            <a:schemeClr val="tx1"/>
          </a:solidFill>
          <a:latin typeface="+mn-lt"/>
          <a:ea typeface="+mn-ea"/>
          <a:cs typeface="+mn-cs"/>
          <a:sym typeface="Gill Sans"/>
        </a:defRPr>
      </a:lvl5pPr>
      <a:lvl6pPr marL="31242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6pPr>
      <a:lvl7pPr marL="35814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7pPr>
      <a:lvl8pPr marL="40386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8pPr>
      <a:lvl9pPr marL="4495800" indent="-571500" algn="l" rtl="0" fontAlgn="base">
        <a:spcBef>
          <a:spcPts val="2400"/>
        </a:spcBef>
        <a:spcAft>
          <a:spcPct val="0"/>
        </a:spcAft>
        <a:buSzPct val="171000"/>
        <a:buFont typeface="Gill Sans" charset="0"/>
        <a:buChar char="•"/>
        <a:defRPr sz="4200">
          <a:solidFill>
            <a:schemeClr val="tx1"/>
          </a:solidFill>
          <a:latin typeface="+mn-lt"/>
          <a:ea typeface="+mn-ea"/>
          <a:cs typeface="+mn-cs"/>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7.png"/><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jpeg"/><Relationship Id="rId5" Type="http://schemas.openxmlformats.org/officeDocument/2006/relationships/tags" Target="../tags/tag32.xml"/><Relationship Id="rId10" Type="http://schemas.openxmlformats.org/officeDocument/2006/relationships/image" Target="../media/image5.emf"/><Relationship Id="rId4" Type="http://schemas.openxmlformats.org/officeDocument/2006/relationships/tags" Target="../tags/tag31.xml"/><Relationship Id="rId9"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6.xml"/><Relationship Id="rId7" Type="http://schemas.openxmlformats.org/officeDocument/2006/relationships/oleObject" Target="../embeddings/oleObject6.bin"/><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slideLayout" Target="../slideLayouts/slideLayout24.xml"/><Relationship Id="rId5" Type="http://schemas.openxmlformats.org/officeDocument/2006/relationships/tags" Target="../tags/tag38.xml"/><Relationship Id="rId10" Type="http://schemas.openxmlformats.org/officeDocument/2006/relationships/image" Target="../media/image27.png"/><Relationship Id="rId4" Type="http://schemas.openxmlformats.org/officeDocument/2006/relationships/tags" Target="../tags/tag37.xml"/><Relationship Id="rId9" Type="http://schemas.openxmlformats.org/officeDocument/2006/relationships/image" Target="../media/image1.jpeg"/></Relationships>
</file>

<file path=ppt/slides/_rels/slide1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0.xml"/><Relationship Id="rId7" Type="http://schemas.openxmlformats.org/officeDocument/2006/relationships/oleObject" Target="../embeddings/oleObject7.bin"/><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notesSlide" Target="../notesSlides/notesSlide4.xml"/><Relationship Id="rId5" Type="http://schemas.openxmlformats.org/officeDocument/2006/relationships/slideLayout" Target="../slideLayouts/slideLayout24.xml"/><Relationship Id="rId4" Type="http://schemas.openxmlformats.org/officeDocument/2006/relationships/tags" Target="../tags/tag41.xml"/><Relationship Id="rId9" Type="http://schemas.openxmlformats.org/officeDocument/2006/relationships/image" Target="../media/image1.jpeg"/></Relationships>
</file>

<file path=ppt/slides/_rels/slide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3.xml"/><Relationship Id="rId7" Type="http://schemas.openxmlformats.org/officeDocument/2006/relationships/oleObject" Target="../embeddings/oleObject8.bin"/><Relationship Id="rId2" Type="http://schemas.openxmlformats.org/officeDocument/2006/relationships/tags" Target="../tags/tag42.xml"/><Relationship Id="rId1" Type="http://schemas.openxmlformats.org/officeDocument/2006/relationships/vmlDrawing" Target="../drawings/vmlDrawing8.vml"/><Relationship Id="rId6" Type="http://schemas.openxmlformats.org/officeDocument/2006/relationships/notesSlide" Target="../notesSlides/notesSlide5.xml"/><Relationship Id="rId5" Type="http://schemas.openxmlformats.org/officeDocument/2006/relationships/slideLayout" Target="../slideLayouts/slideLayout24.xml"/><Relationship Id="rId4" Type="http://schemas.openxmlformats.org/officeDocument/2006/relationships/tags" Target="../tags/tag44.xml"/><Relationship Id="rId9" Type="http://schemas.openxmlformats.org/officeDocument/2006/relationships/image" Target="../media/image1.jpeg"/></Relationships>
</file>

<file path=ppt/slides/_rels/slide14.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4.xml"/><Relationship Id="rId1" Type="http://schemas.openxmlformats.org/officeDocument/2006/relationships/tags" Target="../tags/tag4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4.xml"/><Relationship Id="rId1" Type="http://schemas.openxmlformats.org/officeDocument/2006/relationships/tags" Target="../tags/tag46.xml"/><Relationship Id="rId5" Type="http://schemas.openxmlformats.org/officeDocument/2006/relationships/hyperlink" Target="mailto:registro@cbrr.org.br" TargetMode="External"/><Relationship Id="rId4" Type="http://schemas.openxmlformats.org/officeDocument/2006/relationships/hyperlink" Target="mailto:contato@cbrr.org.br"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4.xml"/><Relationship Id="rId1" Type="http://schemas.openxmlformats.org/officeDocument/2006/relationships/tags" Target="../tags/tag47.xml"/><Relationship Id="rId4" Type="http://schemas.openxmlformats.org/officeDocument/2006/relationships/hyperlink" Target="http://www.cbrr.org.br/" TargetMode="Externa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4.xml"/><Relationship Id="rId1" Type="http://schemas.openxmlformats.org/officeDocument/2006/relationships/tags" Target="../tags/tag48.xml"/></Relationships>
</file>

<file path=ppt/slides/_rels/slide19.xml.rels><?xml version="1.0" encoding="UTF-8" standalone="yes"?>
<Relationships xmlns="http://schemas.openxmlformats.org/package/2006/relationships"><Relationship Id="rId2" Type="http://schemas.openxmlformats.org/officeDocument/2006/relationships/hyperlink" Target="http://www.smenet.org/" TargetMode="External"/><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4.xml"/><Relationship Id="rId7" Type="http://schemas.openxmlformats.org/officeDocument/2006/relationships/oleObject" Target="../embeddings/oleObject1.bin"/><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notesSlide" Target="../notesSlides/notesSlide2.xml"/><Relationship Id="rId5" Type="http://schemas.openxmlformats.org/officeDocument/2006/relationships/slideLayout" Target="../slideLayouts/slideLayout24.xml"/><Relationship Id="rId4" Type="http://schemas.openxmlformats.org/officeDocument/2006/relationships/tags" Target="../tags/tag5.xml"/><Relationship Id="rId9" Type="http://schemas.openxmlformats.org/officeDocument/2006/relationships/image" Target="../media/image1.jpeg"/></Relationships>
</file>

<file path=ppt/slides/_rels/slide20.xml.rels><?xml version="1.0" encoding="UTF-8" standalone="yes"?>
<Relationships xmlns="http://schemas.openxmlformats.org/package/2006/relationships"><Relationship Id="rId3" Type="http://schemas.openxmlformats.org/officeDocument/2006/relationships/hyperlink" Target="mailto:ccollins@bcsc.bc.ca" TargetMode="External"/><Relationship Id="rId7" Type="http://schemas.openxmlformats.org/officeDocument/2006/relationships/hyperlink" Target="http://www.percstandard.eu/" TargetMode="External"/><Relationship Id="rId2" Type="http://schemas.openxmlformats.org/officeDocument/2006/relationships/hyperlink" Target="mailto:cwaldie@osc.gov.on.ca" TargetMode="External"/><Relationship Id="rId1" Type="http://schemas.openxmlformats.org/officeDocument/2006/relationships/slideLayout" Target="../slideLayouts/slideLayout29.xml"/><Relationship Id="rId6" Type="http://schemas.openxmlformats.org/officeDocument/2006/relationships/hyperlink" Target="https://www.esma.europa.eu/sites/default/files/library/2015/11/11_81.pdf" TargetMode="External"/><Relationship Id="rId5" Type="http://schemas.openxmlformats.org/officeDocument/2006/relationships/hyperlink" Target="http://www.osc.gov.on.ca/documents/en/Securities-Category4/csa_20160225_43-101_changes-cp-mineral-projects.pdf" TargetMode="External"/><Relationship Id="rId4" Type="http://schemas.openxmlformats.org/officeDocument/2006/relationships/hyperlink" Target="mailto:luc.arsenault@lautorite.qc.ca"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www.asx.com.au/documents/rules/Chapter05.pdf" TargetMode="External"/><Relationship Id="rId2" Type="http://schemas.openxmlformats.org/officeDocument/2006/relationships/hyperlink" Target="http://www.jorc.org/competent.asp" TargetMode="External"/><Relationship Id="rId1" Type="http://schemas.openxmlformats.org/officeDocument/2006/relationships/slideLayout" Target="../slideLayouts/slideLayout29.xml"/><Relationship Id="rId6" Type="http://schemas.openxmlformats.org/officeDocument/2006/relationships/hyperlink" Target="mailto:registro@cbrr.org.br" TargetMode="External"/><Relationship Id="rId5" Type="http://schemas.openxmlformats.org/officeDocument/2006/relationships/hyperlink" Target="mailto:contato@cbrr.org.br" TargetMode="External"/><Relationship Id="rId4" Type="http://schemas.openxmlformats.org/officeDocument/2006/relationships/hyperlink" Target="http://www.asx.com.au/documents/regulation/list-recognised-professional-orgs-march-2014.pdf"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ponen.kz/biblioteka/?lang=en&amp;category=7" TargetMode="External"/><Relationship Id="rId2" Type="http://schemas.openxmlformats.org/officeDocument/2006/relationships/hyperlink" Target="http://ponen.kz/" TargetMode="External"/><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49.xml"/></Relationships>
</file>

<file path=ppt/slides/_rels/slide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24.xml"/><Relationship Id="rId4" Type="http://schemas.openxmlformats.org/officeDocument/2006/relationships/tags" Target="../tags/tag8.xml"/><Relationship Id="rId9" Type="http://schemas.openxmlformats.org/officeDocument/2006/relationships/image" Target="../media/image1.jpeg"/></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11.xml"/><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 Type="http://schemas.openxmlformats.org/officeDocument/2006/relationships/tags" Target="../tags/tag10.xml"/><Relationship Id="rId16" Type="http://schemas.openxmlformats.org/officeDocument/2006/relationships/image" Target="../media/image16.jpeg"/><Relationship Id="rId1" Type="http://schemas.openxmlformats.org/officeDocument/2006/relationships/tags" Target="../tags/tag9.xml"/><Relationship Id="rId6" Type="http://schemas.openxmlformats.org/officeDocument/2006/relationships/image" Target="../media/image6.png"/><Relationship Id="rId11" Type="http://schemas.openxmlformats.org/officeDocument/2006/relationships/image" Target="../media/image11.gif"/><Relationship Id="rId5" Type="http://schemas.openxmlformats.org/officeDocument/2006/relationships/slideLayout" Target="../slideLayouts/slideLayout24.xml"/><Relationship Id="rId15" Type="http://schemas.openxmlformats.org/officeDocument/2006/relationships/image" Target="../media/image15.jpeg"/><Relationship Id="rId10" Type="http://schemas.openxmlformats.org/officeDocument/2006/relationships/image" Target="../media/image10.jpeg"/><Relationship Id="rId4" Type="http://schemas.openxmlformats.org/officeDocument/2006/relationships/tags" Target="../tags/tag12.xml"/><Relationship Id="rId9" Type="http://schemas.openxmlformats.org/officeDocument/2006/relationships/image" Target="../media/image9.png"/><Relationship Id="rId14" Type="http://schemas.openxmlformats.org/officeDocument/2006/relationships/image" Target="../media/image14.png"/></Relationships>
</file>

<file path=ppt/slides/_rels/slide5.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1.jpeg"/><Relationship Id="rId18" Type="http://schemas.openxmlformats.org/officeDocument/2006/relationships/image" Target="../media/image12.png"/><Relationship Id="rId26" Type="http://schemas.openxmlformats.org/officeDocument/2006/relationships/image" Target="../media/image22.jpeg"/><Relationship Id="rId3" Type="http://schemas.openxmlformats.org/officeDocument/2006/relationships/tags" Target="../tags/tag14.xml"/><Relationship Id="rId21" Type="http://schemas.openxmlformats.org/officeDocument/2006/relationships/image" Target="../media/image13.png"/><Relationship Id="rId7" Type="http://schemas.openxmlformats.org/officeDocument/2006/relationships/tags" Target="../tags/tag18.xml"/><Relationship Id="rId12" Type="http://schemas.openxmlformats.org/officeDocument/2006/relationships/image" Target="../media/image5.emf"/><Relationship Id="rId17" Type="http://schemas.openxmlformats.org/officeDocument/2006/relationships/image" Target="../media/image6.png"/><Relationship Id="rId25" Type="http://schemas.openxmlformats.org/officeDocument/2006/relationships/image" Target="../media/image21.png"/><Relationship Id="rId2" Type="http://schemas.openxmlformats.org/officeDocument/2006/relationships/tags" Target="../tags/tag13.xml"/><Relationship Id="rId16" Type="http://schemas.openxmlformats.org/officeDocument/2006/relationships/image" Target="../media/image18.png"/><Relationship Id="rId20" Type="http://schemas.openxmlformats.org/officeDocument/2006/relationships/image" Target="../media/image8.png"/><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oleObject" Target="../embeddings/oleObject3.bin"/><Relationship Id="rId24" Type="http://schemas.openxmlformats.org/officeDocument/2006/relationships/image" Target="../media/image20.png"/><Relationship Id="rId5" Type="http://schemas.openxmlformats.org/officeDocument/2006/relationships/tags" Target="../tags/tag16.xml"/><Relationship Id="rId15" Type="http://schemas.openxmlformats.org/officeDocument/2006/relationships/image" Target="../media/image11.gif"/><Relationship Id="rId23" Type="http://schemas.openxmlformats.org/officeDocument/2006/relationships/image" Target="../media/image19.png"/><Relationship Id="rId10" Type="http://schemas.openxmlformats.org/officeDocument/2006/relationships/slideLayout" Target="../slideLayouts/slideLayout24.xml"/><Relationship Id="rId19" Type="http://schemas.openxmlformats.org/officeDocument/2006/relationships/image" Target="../media/image10.jpeg"/><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image" Target="../media/image14.png"/><Relationship Id="rId22" Type="http://schemas.openxmlformats.org/officeDocument/2006/relationships/image" Target="../media/image15.jpeg"/><Relationship Id="rId27" Type="http://schemas.openxmlformats.org/officeDocument/2006/relationships/image" Target="../media/image23.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28.xml"/><Relationship Id="rId7" Type="http://schemas.openxmlformats.org/officeDocument/2006/relationships/image" Target="../media/image1.jpeg"/><Relationship Id="rId12" Type="http://schemas.microsoft.com/office/2007/relationships/diagramDrawing" Target="../diagrams/drawing1.xml"/><Relationship Id="rId2" Type="http://schemas.openxmlformats.org/officeDocument/2006/relationships/tags" Target="../tags/tag27.xml"/><Relationship Id="rId1" Type="http://schemas.openxmlformats.org/officeDocument/2006/relationships/vmlDrawing" Target="../drawings/vmlDrawing4.vml"/><Relationship Id="rId6" Type="http://schemas.openxmlformats.org/officeDocument/2006/relationships/image" Target="../media/image5.emf"/><Relationship Id="rId11" Type="http://schemas.openxmlformats.org/officeDocument/2006/relationships/diagramColors" Target="../diagrams/colors1.xml"/><Relationship Id="rId5" Type="http://schemas.openxmlformats.org/officeDocument/2006/relationships/oleObject" Target="../embeddings/oleObject4.bin"/><Relationship Id="rId10" Type="http://schemas.openxmlformats.org/officeDocument/2006/relationships/diagramQuickStyle" Target="../diagrams/quickStyle1.xml"/><Relationship Id="rId4" Type="http://schemas.openxmlformats.org/officeDocument/2006/relationships/slideLayout" Target="../slideLayouts/slideLayout24.xml"/><Relationship Id="rId9"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2"/>
          <p:cNvSpPr>
            <a:spLocks/>
          </p:cNvSpPr>
          <p:nvPr/>
        </p:nvSpPr>
        <p:spPr bwMode="auto">
          <a:xfrm>
            <a:off x="0" y="5077232"/>
            <a:ext cx="13004800" cy="3543984"/>
          </a:xfrm>
          <a:prstGeom prst="rect">
            <a:avLst/>
          </a:prstGeom>
          <a:noFill/>
          <a:ln w="12700">
            <a:noFill/>
            <a:miter lim="800000"/>
            <a:headEnd/>
            <a:tailEnd/>
          </a:ln>
        </p:spPr>
        <p:txBody>
          <a:bodyPr wrap="square" lIns="0" tIns="0" rIns="0" bIns="0" anchor="ctr">
            <a:spAutoFit/>
          </a:bodyPr>
          <a:lstStyle/>
          <a:p>
            <a:pPr algn="ctr">
              <a:lnSpc>
                <a:spcPct val="150000"/>
              </a:lnSpc>
            </a:pPr>
            <a:r>
              <a:rPr lang="ru-RU" sz="4400" b="1" cap="small" dirty="0">
                <a:solidFill>
                  <a:schemeClr val="tx1"/>
                </a:solidFill>
                <a:latin typeface="Arial" panose="020B0604020202020204" pitchFamily="34" charset="0"/>
                <a:ea typeface="Gill Sans"/>
                <a:cs typeface="Gill Sans"/>
              </a:rPr>
              <a:t>Обзор международного сотрудничества комитета </a:t>
            </a:r>
            <a:r>
              <a:rPr lang="en-US" sz="4400" b="1" cap="small" dirty="0">
                <a:solidFill>
                  <a:schemeClr val="tx1"/>
                </a:solidFill>
                <a:latin typeface="Arial" panose="020B0604020202020204" pitchFamily="34" charset="0"/>
                <a:ea typeface="Gill Sans"/>
                <a:cs typeface="Gill Sans"/>
              </a:rPr>
              <a:t>CRIRSCO</a:t>
            </a:r>
          </a:p>
          <a:p>
            <a:pPr algn="ctr">
              <a:lnSpc>
                <a:spcPct val="150000"/>
              </a:lnSpc>
            </a:pPr>
            <a:endParaRPr lang="en-US" sz="800" dirty="0">
              <a:solidFill>
                <a:schemeClr val="tx1"/>
              </a:solidFill>
              <a:latin typeface="Arial" panose="020B0604020202020204" pitchFamily="34" charset="0"/>
              <a:ea typeface="Gill Sans"/>
              <a:cs typeface="Gill Sans"/>
            </a:endParaRPr>
          </a:p>
          <a:p>
            <a:pPr algn="ctr">
              <a:lnSpc>
                <a:spcPct val="150000"/>
              </a:lnSpc>
            </a:pPr>
            <a:endParaRPr lang="en-US" sz="2000" dirty="0">
              <a:solidFill>
                <a:schemeClr val="tx1"/>
              </a:solidFill>
              <a:latin typeface="Arial" panose="020B0604020202020204" pitchFamily="34" charset="0"/>
              <a:ea typeface="Gill Sans"/>
              <a:cs typeface="Gill Sans"/>
            </a:endParaRPr>
          </a:p>
          <a:p>
            <a:pPr algn="ctr">
              <a:lnSpc>
                <a:spcPct val="150000"/>
              </a:lnSpc>
            </a:pPr>
            <a:r>
              <a:rPr lang="en-US" sz="2000" dirty="0">
                <a:solidFill>
                  <a:schemeClr val="tx1"/>
                </a:solidFill>
                <a:latin typeface="Arial" panose="020B0604020202020204" pitchFamily="34" charset="0"/>
                <a:ea typeface="Gill Sans"/>
                <a:cs typeface="Gill Sans"/>
              </a:rPr>
              <a:t>Edson Ribeiro</a:t>
            </a:r>
            <a:r>
              <a:rPr lang="ru-RU" sz="2000" dirty="0">
                <a:solidFill>
                  <a:schemeClr val="tx1"/>
                </a:solidFill>
                <a:latin typeface="Arial" panose="020B0604020202020204" pitchFamily="34" charset="0"/>
                <a:ea typeface="Gill Sans"/>
                <a:cs typeface="Gill Sans"/>
              </a:rPr>
              <a:t> (</a:t>
            </a:r>
            <a:r>
              <a:rPr lang="en-US" sz="2000" dirty="0">
                <a:solidFill>
                  <a:schemeClr val="tx1"/>
                </a:solidFill>
                <a:latin typeface="Arial" panose="020B0604020202020204" pitchFamily="34" charset="0"/>
                <a:ea typeface="Gill Sans"/>
                <a:cs typeface="Gill Sans"/>
              </a:rPr>
              <a:t>Brazilian Representative, CRIRSCO</a:t>
            </a:r>
            <a:r>
              <a:rPr lang="ru-RU" sz="2000" dirty="0">
                <a:solidFill>
                  <a:schemeClr val="tx1"/>
                </a:solidFill>
                <a:latin typeface="Arial" panose="020B0604020202020204" pitchFamily="34" charset="0"/>
                <a:ea typeface="Gill Sans"/>
                <a:cs typeface="Gill Sans"/>
              </a:rPr>
              <a:t>),</a:t>
            </a:r>
          </a:p>
          <a:p>
            <a:pPr algn="ctr">
              <a:lnSpc>
                <a:spcPct val="150000"/>
              </a:lnSpc>
            </a:pPr>
            <a:r>
              <a:rPr lang="ru-RU" sz="2000" dirty="0">
                <a:solidFill>
                  <a:schemeClr val="tx1"/>
                </a:solidFill>
                <a:latin typeface="Arial" panose="020B0604020202020204" pitchFamily="34" charset="0"/>
                <a:ea typeface="Gill Sans"/>
                <a:cs typeface="Gill Sans"/>
              </a:rPr>
              <a:t>Игорь </a:t>
            </a:r>
            <a:r>
              <a:rPr lang="ru-RU" sz="2000" dirty="0" err="1">
                <a:solidFill>
                  <a:schemeClr val="tx1"/>
                </a:solidFill>
                <a:latin typeface="Arial" panose="020B0604020202020204" pitchFamily="34" charset="0"/>
                <a:ea typeface="Gill Sans"/>
                <a:cs typeface="Gill Sans"/>
              </a:rPr>
              <a:t>Свинтицкий</a:t>
            </a:r>
            <a:r>
              <a:rPr lang="ru-RU" sz="2000" dirty="0">
                <a:solidFill>
                  <a:schemeClr val="tx1"/>
                </a:solidFill>
                <a:latin typeface="Arial" panose="020B0604020202020204" pitchFamily="34" charset="0"/>
                <a:ea typeface="Gill Sans"/>
                <a:cs typeface="Gill Sans"/>
              </a:rPr>
              <a:t> (</a:t>
            </a:r>
            <a:r>
              <a:rPr lang="en-US" sz="2000" dirty="0">
                <a:solidFill>
                  <a:schemeClr val="tx1"/>
                </a:solidFill>
                <a:latin typeface="Arial" panose="020B0604020202020204" pitchFamily="34" charset="0"/>
                <a:ea typeface="Gill Sans"/>
                <a:cs typeface="Gill Sans"/>
              </a:rPr>
              <a:t>Russian </a:t>
            </a:r>
            <a:r>
              <a:rPr lang="en-US" sz="2000" dirty="0" err="1">
                <a:solidFill>
                  <a:schemeClr val="tx1"/>
                </a:solidFill>
                <a:latin typeface="Arial" panose="020B0604020202020204" pitchFamily="34" charset="0"/>
                <a:ea typeface="Gill Sans"/>
                <a:cs typeface="Gill Sans"/>
              </a:rPr>
              <a:t>Representattive</a:t>
            </a:r>
            <a:r>
              <a:rPr lang="en-US" sz="2000" dirty="0">
                <a:solidFill>
                  <a:schemeClr val="tx1"/>
                </a:solidFill>
                <a:latin typeface="Arial" panose="020B0604020202020204" pitchFamily="34" charset="0"/>
                <a:ea typeface="Gill Sans"/>
                <a:cs typeface="Gill Sans"/>
              </a:rPr>
              <a:t>, CRIRSCO).</a:t>
            </a:r>
            <a:endParaRPr lang="en-US" sz="3200" dirty="0">
              <a:solidFill>
                <a:schemeClr val="tx1"/>
              </a:solidFill>
              <a:latin typeface="Arial" panose="020B0604020202020204" pitchFamily="34" charset="0"/>
              <a:ea typeface="Gill Sans"/>
              <a:cs typeface="Gill Sans"/>
            </a:endParaRPr>
          </a:p>
        </p:txBody>
      </p:sp>
    </p:spTree>
    <p:custDataLst>
      <p:tags r:id="rId1"/>
    </p:custDataLst>
  </p:cSld>
  <p:clrMapOvr>
    <a:masterClrMapping/>
  </p:clrMapOvr>
  <p:transition advTm="72493"/>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55351546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blipFill dpi="0" rotWithShape="0">
            <a:blip r:embed="rId11"/>
            <a:srcRect/>
            <a:tile tx="0" ty="0" sx="100000" sy="100000" flip="none" algn="tl"/>
          </a:blipFill>
          <a:ln w="254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a:endParaRPr kumimoji="0" lang="en-GB" sz="4800" u="none" strike="noStrike" cap="none" normalizeH="0" dirty="0">
              <a:ln>
                <a:noFill/>
              </a:ln>
              <a:solidFill>
                <a:srgbClr val="000000"/>
              </a:solidFill>
              <a:effectLst/>
              <a:ea typeface="ヒラギノ角ゴ ProN W3" charset="0"/>
              <a:cs typeface="ヒラギノ角ゴ ProN W3" charset="0"/>
            </a:endParaRPr>
          </a:p>
        </p:txBody>
      </p:sp>
      <p:sp>
        <p:nvSpPr>
          <p:cNvPr id="9" name="Rectangle 8"/>
          <p:cNvSpPr/>
          <p:nvPr>
            <p:custDataLst>
              <p:tags r:id="rId4"/>
            </p:custDataLst>
          </p:nvPr>
        </p:nvSpPr>
        <p:spPr bwMode="auto">
          <a:xfrm>
            <a:off x="864407" y="7430797"/>
            <a:ext cx="11758673" cy="1406443"/>
          </a:xfrm>
          <a:prstGeom prst="rect">
            <a:avLst/>
          </a:prstGeom>
          <a:solidFill>
            <a:schemeClr val="accent1"/>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4200" b="0" i="0" u="none" strike="noStrike" cap="none" normalizeH="0" baseline="0">
              <a:ln>
                <a:noFill/>
              </a:ln>
              <a:solidFill>
                <a:srgbClr val="000000"/>
              </a:solidFill>
              <a:effectLst/>
              <a:latin typeface="Gill Sans" charset="0"/>
              <a:sym typeface="Gill Sans" charset="0"/>
            </a:endParaRPr>
          </a:p>
        </p:txBody>
      </p:sp>
      <p:sp>
        <p:nvSpPr>
          <p:cNvPr id="2" name="Title 1"/>
          <p:cNvSpPr>
            <a:spLocks noGrp="1"/>
          </p:cNvSpPr>
          <p:nvPr>
            <p:ph type="title"/>
            <p:custDataLst>
              <p:tags r:id="rId5"/>
            </p:custDataLst>
          </p:nvPr>
        </p:nvSpPr>
        <p:spPr>
          <a:xfrm>
            <a:off x="1969200" y="176400"/>
            <a:ext cx="10464800" cy="831600"/>
          </a:xfrm>
        </p:spPr>
        <p:txBody>
          <a:bodyPr/>
          <a:lstStyle/>
          <a:p>
            <a:r>
              <a:rPr lang="ru-RU" dirty="0"/>
              <a:t>Право на членство в </a:t>
            </a:r>
            <a:r>
              <a:rPr lang="en-US" dirty="0"/>
              <a:t>CRIRSCO</a:t>
            </a:r>
            <a:endParaRPr lang="en-GB" dirty="0"/>
          </a:p>
        </p:txBody>
      </p:sp>
      <p:sp>
        <p:nvSpPr>
          <p:cNvPr id="8" name="TextBox 7"/>
          <p:cNvSpPr txBox="1"/>
          <p:nvPr>
            <p:custDataLst>
              <p:tags r:id="rId6"/>
            </p:custDataLst>
          </p:nvPr>
        </p:nvSpPr>
        <p:spPr>
          <a:xfrm>
            <a:off x="459426" y="1259191"/>
            <a:ext cx="7704856" cy="738664"/>
          </a:xfrm>
          <a:prstGeom prst="rect">
            <a:avLst/>
          </a:prstGeom>
          <a:noFill/>
        </p:spPr>
        <p:txBody>
          <a:bodyPr wrap="square" lIns="0" rtlCol="0">
            <a:spAutoFit/>
          </a:bodyPr>
          <a:lstStyle/>
          <a:p>
            <a:pPr algn="l"/>
            <a:r>
              <a:rPr lang="ru-RU" b="1" dirty="0">
                <a:solidFill>
                  <a:srgbClr val="29325C"/>
                </a:solidFill>
              </a:rPr>
              <a:t>Требования к </a:t>
            </a:r>
            <a:r>
              <a:rPr lang="en-GB" b="1" dirty="0">
                <a:solidFill>
                  <a:srgbClr val="29325C"/>
                </a:solidFill>
              </a:rPr>
              <a:t>NRO’s</a:t>
            </a:r>
          </a:p>
        </p:txBody>
      </p:sp>
      <p:sp>
        <p:nvSpPr>
          <p:cNvPr id="10" name="Freeform 9"/>
          <p:cNvSpPr/>
          <p:nvPr/>
        </p:nvSpPr>
        <p:spPr>
          <a:xfrm rot="16200000">
            <a:off x="-1517654" y="4729605"/>
            <a:ext cx="4339588" cy="423544"/>
          </a:xfrm>
          <a:custGeom>
            <a:avLst/>
            <a:gdLst>
              <a:gd name="connsiteX0" fmla="*/ 0 w 4100135"/>
              <a:gd name="connsiteY0" fmla="*/ 0 h 423544"/>
              <a:gd name="connsiteX1" fmla="*/ 4100135 w 4100135"/>
              <a:gd name="connsiteY1" fmla="*/ 0 h 423544"/>
              <a:gd name="connsiteX2" fmla="*/ 4100135 w 4100135"/>
              <a:gd name="connsiteY2" fmla="*/ 423544 h 423544"/>
              <a:gd name="connsiteX3" fmla="*/ 0 w 4100135"/>
              <a:gd name="connsiteY3" fmla="*/ 423544 h 423544"/>
              <a:gd name="connsiteX4" fmla="*/ 0 w 4100135"/>
              <a:gd name="connsiteY4" fmla="*/ 0 h 423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135" h="423544">
                <a:moveTo>
                  <a:pt x="0" y="0"/>
                </a:moveTo>
                <a:lnTo>
                  <a:pt x="4100135" y="0"/>
                </a:lnTo>
                <a:lnTo>
                  <a:pt x="4100135" y="423544"/>
                </a:lnTo>
                <a:lnTo>
                  <a:pt x="0" y="4235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73543" bIns="-1" numCol="1" spcCol="1270" anchor="t" anchorCtr="0">
            <a:noAutofit/>
          </a:bodyPr>
          <a:lstStyle/>
          <a:p>
            <a:pPr lvl="0" algn="r" defTabSz="1377950">
              <a:lnSpc>
                <a:spcPct val="90000"/>
              </a:lnSpc>
              <a:spcBef>
                <a:spcPct val="0"/>
              </a:spcBef>
              <a:spcAft>
                <a:spcPct val="35000"/>
              </a:spcAft>
            </a:pPr>
            <a:r>
              <a:rPr lang="ru-RU" sz="3100" b="1" kern="1200" dirty="0">
                <a:solidFill>
                  <a:srgbClr val="29325C"/>
                </a:solidFill>
              </a:rPr>
              <a:t>Стандарты отчетности</a:t>
            </a:r>
            <a:endParaRPr lang="en-GB" sz="3100" b="1" kern="1200" dirty="0">
              <a:solidFill>
                <a:srgbClr val="29325C"/>
              </a:solidFill>
            </a:endParaRPr>
          </a:p>
        </p:txBody>
      </p:sp>
      <p:sp>
        <p:nvSpPr>
          <p:cNvPr id="11" name="Freeform 10"/>
          <p:cNvSpPr/>
          <p:nvPr/>
        </p:nvSpPr>
        <p:spPr>
          <a:xfrm>
            <a:off x="863912" y="2771583"/>
            <a:ext cx="2109702" cy="4503547"/>
          </a:xfrm>
          <a:custGeom>
            <a:avLst/>
            <a:gdLst>
              <a:gd name="connsiteX0" fmla="*/ 0 w 2109702"/>
              <a:gd name="connsiteY0" fmla="*/ 0 h 4100135"/>
              <a:gd name="connsiteX1" fmla="*/ 2109702 w 2109702"/>
              <a:gd name="connsiteY1" fmla="*/ 0 h 4100135"/>
              <a:gd name="connsiteX2" fmla="*/ 2109702 w 2109702"/>
              <a:gd name="connsiteY2" fmla="*/ 4100135 h 4100135"/>
              <a:gd name="connsiteX3" fmla="*/ 0 w 2109702"/>
              <a:gd name="connsiteY3" fmla="*/ 4100135 h 4100135"/>
              <a:gd name="connsiteX4" fmla="*/ 0 w 2109702"/>
              <a:gd name="connsiteY4" fmla="*/ 0 h 41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702" h="4100135">
                <a:moveTo>
                  <a:pt x="0" y="0"/>
                </a:moveTo>
                <a:lnTo>
                  <a:pt x="2109702" y="0"/>
                </a:lnTo>
                <a:lnTo>
                  <a:pt x="2109702" y="4100135"/>
                </a:lnTo>
                <a:lnTo>
                  <a:pt x="0" y="4100135"/>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373543" rIns="128016" bIns="128016" numCol="1" spcCol="1270" anchor="t" anchorCtr="0">
            <a:noAutofit/>
          </a:bodyPr>
          <a:lstStyle/>
          <a:p>
            <a:pPr marL="171450" lvl="1" indent="-171450" defTabSz="800100">
              <a:lnSpc>
                <a:spcPct val="90000"/>
              </a:lnSpc>
              <a:spcAft>
                <a:spcPct val="15000"/>
              </a:spcAft>
              <a:buChar char="••"/>
            </a:pPr>
            <a:r>
              <a:rPr lang="ru-RU" sz="1800" b="1" dirty="0">
                <a:solidFill>
                  <a:srgbClr val="29325C"/>
                </a:solidFill>
              </a:rPr>
              <a:t>Подготовить и поддерживать стандарт отчетности</a:t>
            </a:r>
          </a:p>
          <a:p>
            <a:pPr marL="171450" lvl="1" indent="-171450" defTabSz="800100">
              <a:lnSpc>
                <a:spcPct val="90000"/>
              </a:lnSpc>
              <a:spcAft>
                <a:spcPct val="15000"/>
              </a:spcAft>
              <a:buChar char="••"/>
            </a:pPr>
            <a:r>
              <a:rPr lang="ru-RU" sz="1800" i="1" dirty="0">
                <a:solidFill>
                  <a:srgbClr val="29325C"/>
                </a:solidFill>
              </a:rPr>
              <a:t>Совместим с шаблоном CRIRSCO</a:t>
            </a:r>
          </a:p>
          <a:p>
            <a:pPr marL="171450" lvl="1" indent="-171450" defTabSz="800100">
              <a:lnSpc>
                <a:spcPct val="90000"/>
              </a:lnSpc>
              <a:spcAft>
                <a:spcPct val="15000"/>
              </a:spcAft>
              <a:buChar char="••"/>
            </a:pPr>
            <a:r>
              <a:rPr lang="ru-RU" sz="1800" i="1" dirty="0">
                <a:solidFill>
                  <a:srgbClr val="29325C"/>
                </a:solidFill>
              </a:rPr>
              <a:t>Признанный в качестве стандарта для публичной отчетности </a:t>
            </a:r>
            <a:r>
              <a:rPr lang="ru-RU" sz="1800" b="1" i="1" dirty="0">
                <a:solidFill>
                  <a:srgbClr val="29325C"/>
                </a:solidFill>
              </a:rPr>
              <a:t>ИЛИ</a:t>
            </a:r>
            <a:r>
              <a:rPr lang="ru-RU" sz="1800" i="1" dirty="0">
                <a:solidFill>
                  <a:srgbClr val="29325C"/>
                </a:solidFill>
              </a:rPr>
              <a:t> </a:t>
            </a:r>
            <a:r>
              <a:rPr lang="ru-RU" sz="1400" i="1" dirty="0">
                <a:solidFill>
                  <a:srgbClr val="29325C"/>
                </a:solidFill>
              </a:rPr>
              <a:t>имеет широкую поддержку местных профессиональных органов</a:t>
            </a:r>
            <a:endParaRPr lang="en-GB" sz="1400" kern="1200" dirty="0">
              <a:solidFill>
                <a:srgbClr val="29325C"/>
              </a:solidFill>
            </a:endParaRPr>
          </a:p>
        </p:txBody>
      </p:sp>
      <p:sp>
        <p:nvSpPr>
          <p:cNvPr id="12" name="Rectangle 11"/>
          <p:cNvSpPr/>
          <p:nvPr/>
        </p:nvSpPr>
        <p:spPr>
          <a:xfrm>
            <a:off x="440367" y="2212504"/>
            <a:ext cx="847089" cy="847089"/>
          </a:xfrm>
          <a:prstGeom prst="rect">
            <a:avLst/>
          </a:prstGeom>
          <a:blipFill rotWithShape="1">
            <a:blip r:embed="rId12"/>
            <a:stretch>
              <a:fillRect/>
            </a:stretch>
          </a:blipFill>
          <a:ln>
            <a:solidFill>
              <a:srgbClr val="29325C"/>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
        <p:nvSpPr>
          <p:cNvPr id="13" name="Freeform 12"/>
          <p:cNvSpPr/>
          <p:nvPr/>
        </p:nvSpPr>
        <p:spPr>
          <a:xfrm rot="16200000">
            <a:off x="1784106" y="4609879"/>
            <a:ext cx="4100135" cy="423544"/>
          </a:xfrm>
          <a:custGeom>
            <a:avLst/>
            <a:gdLst>
              <a:gd name="connsiteX0" fmla="*/ 0 w 4100135"/>
              <a:gd name="connsiteY0" fmla="*/ 0 h 423544"/>
              <a:gd name="connsiteX1" fmla="*/ 4100135 w 4100135"/>
              <a:gd name="connsiteY1" fmla="*/ 0 h 423544"/>
              <a:gd name="connsiteX2" fmla="*/ 4100135 w 4100135"/>
              <a:gd name="connsiteY2" fmla="*/ 423544 h 423544"/>
              <a:gd name="connsiteX3" fmla="*/ 0 w 4100135"/>
              <a:gd name="connsiteY3" fmla="*/ 423544 h 423544"/>
              <a:gd name="connsiteX4" fmla="*/ 0 w 4100135"/>
              <a:gd name="connsiteY4" fmla="*/ 0 h 423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135" h="423544">
                <a:moveTo>
                  <a:pt x="0" y="0"/>
                </a:moveTo>
                <a:lnTo>
                  <a:pt x="4100135" y="0"/>
                </a:lnTo>
                <a:lnTo>
                  <a:pt x="4100135" y="423544"/>
                </a:lnTo>
                <a:lnTo>
                  <a:pt x="0" y="4235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73543" bIns="-1" numCol="1" spcCol="1270" anchor="t" anchorCtr="0">
            <a:noAutofit/>
          </a:bodyPr>
          <a:lstStyle/>
          <a:p>
            <a:pPr lvl="0" algn="r" defTabSz="1377950">
              <a:lnSpc>
                <a:spcPct val="90000"/>
              </a:lnSpc>
              <a:spcBef>
                <a:spcPct val="0"/>
              </a:spcBef>
              <a:spcAft>
                <a:spcPct val="35000"/>
              </a:spcAft>
            </a:pPr>
            <a:r>
              <a:rPr lang="ru-RU" sz="3100" b="1" kern="1200" dirty="0">
                <a:solidFill>
                  <a:srgbClr val="29325C"/>
                </a:solidFill>
              </a:rPr>
              <a:t>Консультации</a:t>
            </a:r>
            <a:endParaRPr lang="en-GB" sz="3100" b="1" kern="1200" dirty="0">
              <a:solidFill>
                <a:srgbClr val="29325C"/>
              </a:solidFill>
            </a:endParaRPr>
          </a:p>
        </p:txBody>
      </p:sp>
      <p:sp>
        <p:nvSpPr>
          <p:cNvPr id="14" name="Freeform 13"/>
          <p:cNvSpPr/>
          <p:nvPr/>
        </p:nvSpPr>
        <p:spPr>
          <a:xfrm>
            <a:off x="4045946" y="2771583"/>
            <a:ext cx="2240430" cy="4100135"/>
          </a:xfrm>
          <a:custGeom>
            <a:avLst/>
            <a:gdLst>
              <a:gd name="connsiteX0" fmla="*/ 0 w 2109702"/>
              <a:gd name="connsiteY0" fmla="*/ 0 h 4100135"/>
              <a:gd name="connsiteX1" fmla="*/ 2109702 w 2109702"/>
              <a:gd name="connsiteY1" fmla="*/ 0 h 4100135"/>
              <a:gd name="connsiteX2" fmla="*/ 2109702 w 2109702"/>
              <a:gd name="connsiteY2" fmla="*/ 4100135 h 4100135"/>
              <a:gd name="connsiteX3" fmla="*/ 0 w 2109702"/>
              <a:gd name="connsiteY3" fmla="*/ 4100135 h 4100135"/>
              <a:gd name="connsiteX4" fmla="*/ 0 w 2109702"/>
              <a:gd name="connsiteY4" fmla="*/ 0 h 41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702" h="4100135">
                <a:moveTo>
                  <a:pt x="0" y="0"/>
                </a:moveTo>
                <a:lnTo>
                  <a:pt x="2109702" y="0"/>
                </a:lnTo>
                <a:lnTo>
                  <a:pt x="2109702" y="4100135"/>
                </a:lnTo>
                <a:lnTo>
                  <a:pt x="0" y="4100135"/>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373543" rIns="128016" bIns="128016" numCol="1" spcCol="1270" anchor="t" anchorCtr="0">
            <a:noAutofit/>
          </a:bodyPr>
          <a:lstStyle/>
          <a:p>
            <a:pPr marL="171450" lvl="1" indent="-171450" defTabSz="800100">
              <a:lnSpc>
                <a:spcPct val="90000"/>
              </a:lnSpc>
              <a:spcAft>
                <a:spcPct val="15000"/>
              </a:spcAft>
              <a:buChar char="••"/>
            </a:pPr>
            <a:r>
              <a:rPr lang="ru-RU" sz="1800" b="1" dirty="0">
                <a:solidFill>
                  <a:srgbClr val="29325C"/>
                </a:solidFill>
              </a:rPr>
              <a:t>Консультируйтесь с другими NRO, прежде чем вносить изменения в стандарт отчетности</a:t>
            </a:r>
          </a:p>
          <a:p>
            <a:pPr marL="171450" lvl="1" indent="-171450" defTabSz="800100">
              <a:lnSpc>
                <a:spcPct val="90000"/>
              </a:lnSpc>
              <a:spcAft>
                <a:spcPct val="15000"/>
              </a:spcAft>
              <a:buChar char="••"/>
            </a:pPr>
            <a:r>
              <a:rPr lang="ru-RU" sz="1800" i="1" dirty="0">
                <a:solidFill>
                  <a:srgbClr val="29325C"/>
                </a:solidFill>
              </a:rPr>
              <a:t>Поддержка равенства и последователь-</a:t>
            </a:r>
            <a:r>
              <a:rPr lang="ru-RU" sz="1800" i="1" dirty="0" err="1">
                <a:solidFill>
                  <a:srgbClr val="29325C"/>
                </a:solidFill>
              </a:rPr>
              <a:t>ности</a:t>
            </a:r>
            <a:endParaRPr lang="en-GB" sz="1800" dirty="0">
              <a:solidFill>
                <a:srgbClr val="29325C"/>
              </a:solidFill>
            </a:endParaRPr>
          </a:p>
        </p:txBody>
      </p:sp>
      <p:sp>
        <p:nvSpPr>
          <p:cNvPr id="15" name="Rectangle 14"/>
          <p:cNvSpPr/>
          <p:nvPr/>
        </p:nvSpPr>
        <p:spPr>
          <a:xfrm>
            <a:off x="3622401" y="2212504"/>
            <a:ext cx="847089" cy="847089"/>
          </a:xfrm>
          <a:prstGeom prst="rect">
            <a:avLst/>
          </a:prstGeom>
          <a:blipFill rotWithShape="1">
            <a:blip r:embed="rId12"/>
            <a:stretch>
              <a:fillRect/>
            </a:stretch>
          </a:blipFill>
          <a:ln>
            <a:solidFill>
              <a:srgbClr val="29325C"/>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
        <p:nvSpPr>
          <p:cNvPr id="16" name="Freeform 15"/>
          <p:cNvSpPr/>
          <p:nvPr/>
        </p:nvSpPr>
        <p:spPr>
          <a:xfrm rot="16200000">
            <a:off x="5017822" y="4609879"/>
            <a:ext cx="4100135" cy="423544"/>
          </a:xfrm>
          <a:custGeom>
            <a:avLst/>
            <a:gdLst>
              <a:gd name="connsiteX0" fmla="*/ 0 w 4100135"/>
              <a:gd name="connsiteY0" fmla="*/ 0 h 423544"/>
              <a:gd name="connsiteX1" fmla="*/ 4100135 w 4100135"/>
              <a:gd name="connsiteY1" fmla="*/ 0 h 423544"/>
              <a:gd name="connsiteX2" fmla="*/ 4100135 w 4100135"/>
              <a:gd name="connsiteY2" fmla="*/ 423544 h 423544"/>
              <a:gd name="connsiteX3" fmla="*/ 0 w 4100135"/>
              <a:gd name="connsiteY3" fmla="*/ 423544 h 423544"/>
              <a:gd name="connsiteX4" fmla="*/ 0 w 4100135"/>
              <a:gd name="connsiteY4" fmla="*/ 0 h 423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135" h="423544">
                <a:moveTo>
                  <a:pt x="0" y="0"/>
                </a:moveTo>
                <a:lnTo>
                  <a:pt x="4100135" y="0"/>
                </a:lnTo>
                <a:lnTo>
                  <a:pt x="4100135" y="423544"/>
                </a:lnTo>
                <a:lnTo>
                  <a:pt x="0" y="4235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73543" bIns="-1" numCol="1" spcCol="1270" anchor="t" anchorCtr="0">
            <a:noAutofit/>
          </a:bodyPr>
          <a:lstStyle/>
          <a:p>
            <a:pPr lvl="0" algn="r" defTabSz="1377950">
              <a:lnSpc>
                <a:spcPct val="90000"/>
              </a:lnSpc>
              <a:spcBef>
                <a:spcPct val="0"/>
              </a:spcBef>
              <a:spcAft>
                <a:spcPct val="35000"/>
              </a:spcAft>
            </a:pPr>
            <a:r>
              <a:rPr lang="ru-RU" sz="3100" b="1" kern="1200" dirty="0">
                <a:solidFill>
                  <a:srgbClr val="29325C"/>
                </a:solidFill>
              </a:rPr>
              <a:t>Саморегулирование</a:t>
            </a:r>
            <a:endParaRPr lang="en-GB" sz="3100" b="1" kern="1200" dirty="0">
              <a:solidFill>
                <a:srgbClr val="29325C"/>
              </a:solidFill>
            </a:endParaRPr>
          </a:p>
        </p:txBody>
      </p:sp>
      <p:sp>
        <p:nvSpPr>
          <p:cNvPr id="17" name="Freeform 16"/>
          <p:cNvSpPr/>
          <p:nvPr/>
        </p:nvSpPr>
        <p:spPr>
          <a:xfrm>
            <a:off x="7279661" y="2771583"/>
            <a:ext cx="2386627" cy="4100135"/>
          </a:xfrm>
          <a:custGeom>
            <a:avLst/>
            <a:gdLst>
              <a:gd name="connsiteX0" fmla="*/ 0 w 2109702"/>
              <a:gd name="connsiteY0" fmla="*/ 0 h 4100135"/>
              <a:gd name="connsiteX1" fmla="*/ 2109702 w 2109702"/>
              <a:gd name="connsiteY1" fmla="*/ 0 h 4100135"/>
              <a:gd name="connsiteX2" fmla="*/ 2109702 w 2109702"/>
              <a:gd name="connsiteY2" fmla="*/ 4100135 h 4100135"/>
              <a:gd name="connsiteX3" fmla="*/ 0 w 2109702"/>
              <a:gd name="connsiteY3" fmla="*/ 4100135 h 4100135"/>
              <a:gd name="connsiteX4" fmla="*/ 0 w 2109702"/>
              <a:gd name="connsiteY4" fmla="*/ 0 h 41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702" h="4100135">
                <a:moveTo>
                  <a:pt x="0" y="0"/>
                </a:moveTo>
                <a:lnTo>
                  <a:pt x="2109702" y="0"/>
                </a:lnTo>
                <a:lnTo>
                  <a:pt x="2109702" y="4100135"/>
                </a:lnTo>
                <a:lnTo>
                  <a:pt x="0" y="4100135"/>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373543" rIns="128016" bIns="128016" numCol="1" spcCol="1270" anchor="t" anchorCtr="0">
            <a:noAutofit/>
          </a:bodyPr>
          <a:lstStyle/>
          <a:p>
            <a:pPr marL="171450" lvl="1" indent="-171450" defTabSz="800100">
              <a:lnSpc>
                <a:spcPct val="90000"/>
              </a:lnSpc>
              <a:spcAft>
                <a:spcPct val="15000"/>
              </a:spcAft>
              <a:buChar char="••"/>
            </a:pPr>
            <a:r>
              <a:rPr lang="ru-RU" sz="1800" b="1" dirty="0">
                <a:solidFill>
                  <a:srgbClr val="29325C"/>
                </a:solidFill>
              </a:rPr>
              <a:t>Включение  заслуживающих доверия саморегулируемых профессиональных организаций</a:t>
            </a:r>
          </a:p>
          <a:p>
            <a:pPr marL="171450" lvl="1" indent="-171450" defTabSz="800100">
              <a:lnSpc>
                <a:spcPct val="90000"/>
              </a:lnSpc>
              <a:spcAft>
                <a:spcPct val="15000"/>
              </a:spcAft>
              <a:buChar char="••"/>
            </a:pPr>
            <a:r>
              <a:rPr lang="ru-RU" sz="1800" i="1" dirty="0">
                <a:solidFill>
                  <a:srgbClr val="29325C"/>
                </a:solidFill>
              </a:rPr>
              <a:t>Предоставить кодексы этики и дисциплинарные</a:t>
            </a:r>
          </a:p>
          <a:p>
            <a:pPr marL="171450" lvl="1" indent="-171450" defTabSz="800100">
              <a:lnSpc>
                <a:spcPct val="90000"/>
              </a:lnSpc>
              <a:spcAft>
                <a:spcPct val="15000"/>
              </a:spcAft>
              <a:buChar char="••"/>
            </a:pPr>
            <a:r>
              <a:rPr lang="ru-RU" sz="1800" i="1" dirty="0">
                <a:solidFill>
                  <a:srgbClr val="29325C"/>
                </a:solidFill>
              </a:rPr>
              <a:t>Регулировать и управлять </a:t>
            </a:r>
            <a:r>
              <a:rPr lang="ru-RU" sz="1800" i="1" dirty="0" err="1">
                <a:solidFill>
                  <a:srgbClr val="29325C"/>
                </a:solidFill>
              </a:rPr>
              <a:t>поведеним</a:t>
            </a:r>
            <a:r>
              <a:rPr lang="ru-RU" sz="1800" i="1" dirty="0">
                <a:solidFill>
                  <a:srgbClr val="29325C"/>
                </a:solidFill>
              </a:rPr>
              <a:t> компетентных лиц</a:t>
            </a:r>
            <a:endParaRPr lang="en-GB" sz="1800" kern="1200" dirty="0">
              <a:solidFill>
                <a:srgbClr val="29325C"/>
              </a:solidFill>
            </a:endParaRPr>
          </a:p>
        </p:txBody>
      </p:sp>
      <p:sp>
        <p:nvSpPr>
          <p:cNvPr id="18" name="Rectangle 17"/>
          <p:cNvSpPr/>
          <p:nvPr/>
        </p:nvSpPr>
        <p:spPr>
          <a:xfrm>
            <a:off x="6856117" y="2212504"/>
            <a:ext cx="847089" cy="847089"/>
          </a:xfrm>
          <a:prstGeom prst="rect">
            <a:avLst/>
          </a:prstGeom>
          <a:blipFill rotWithShape="1">
            <a:blip r:embed="rId12"/>
            <a:stretch>
              <a:fillRect/>
            </a:stretch>
          </a:blipFill>
          <a:ln>
            <a:solidFill>
              <a:srgbClr val="29325C"/>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
        <p:nvSpPr>
          <p:cNvPr id="19" name="Freeform 18"/>
          <p:cNvSpPr/>
          <p:nvPr/>
        </p:nvSpPr>
        <p:spPr>
          <a:xfrm rot="16200000">
            <a:off x="8251538" y="4609879"/>
            <a:ext cx="4100135" cy="423544"/>
          </a:xfrm>
          <a:custGeom>
            <a:avLst/>
            <a:gdLst>
              <a:gd name="connsiteX0" fmla="*/ 0 w 4100135"/>
              <a:gd name="connsiteY0" fmla="*/ 0 h 423544"/>
              <a:gd name="connsiteX1" fmla="*/ 4100135 w 4100135"/>
              <a:gd name="connsiteY1" fmla="*/ 0 h 423544"/>
              <a:gd name="connsiteX2" fmla="*/ 4100135 w 4100135"/>
              <a:gd name="connsiteY2" fmla="*/ 423544 h 423544"/>
              <a:gd name="connsiteX3" fmla="*/ 0 w 4100135"/>
              <a:gd name="connsiteY3" fmla="*/ 423544 h 423544"/>
              <a:gd name="connsiteX4" fmla="*/ 0 w 4100135"/>
              <a:gd name="connsiteY4" fmla="*/ 0 h 423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135" h="423544">
                <a:moveTo>
                  <a:pt x="0" y="0"/>
                </a:moveTo>
                <a:lnTo>
                  <a:pt x="4100135" y="0"/>
                </a:lnTo>
                <a:lnTo>
                  <a:pt x="4100135" y="423544"/>
                </a:lnTo>
                <a:lnTo>
                  <a:pt x="0" y="4235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73543" bIns="-1" numCol="1" spcCol="1270" anchor="t" anchorCtr="0">
            <a:noAutofit/>
          </a:bodyPr>
          <a:lstStyle/>
          <a:p>
            <a:pPr lvl="0" algn="r" defTabSz="1377950">
              <a:lnSpc>
                <a:spcPct val="90000"/>
              </a:lnSpc>
              <a:spcBef>
                <a:spcPct val="0"/>
              </a:spcBef>
              <a:spcAft>
                <a:spcPct val="35000"/>
              </a:spcAft>
            </a:pPr>
            <a:r>
              <a:rPr lang="ru-RU" sz="3100" b="1" kern="1200" dirty="0">
                <a:solidFill>
                  <a:srgbClr val="29325C"/>
                </a:solidFill>
              </a:rPr>
              <a:t>Обязательства</a:t>
            </a:r>
            <a:endParaRPr lang="en-GB" sz="3100" b="1" kern="1200" dirty="0">
              <a:solidFill>
                <a:srgbClr val="29325C"/>
              </a:solidFill>
            </a:endParaRPr>
          </a:p>
        </p:txBody>
      </p:sp>
      <p:sp>
        <p:nvSpPr>
          <p:cNvPr id="20" name="Freeform 19"/>
          <p:cNvSpPr/>
          <p:nvPr/>
        </p:nvSpPr>
        <p:spPr>
          <a:xfrm>
            <a:off x="10513378" y="2771583"/>
            <a:ext cx="2109702" cy="4503547"/>
          </a:xfrm>
          <a:custGeom>
            <a:avLst/>
            <a:gdLst>
              <a:gd name="connsiteX0" fmla="*/ 0 w 2109702"/>
              <a:gd name="connsiteY0" fmla="*/ 0 h 4100135"/>
              <a:gd name="connsiteX1" fmla="*/ 2109702 w 2109702"/>
              <a:gd name="connsiteY1" fmla="*/ 0 h 4100135"/>
              <a:gd name="connsiteX2" fmla="*/ 2109702 w 2109702"/>
              <a:gd name="connsiteY2" fmla="*/ 4100135 h 4100135"/>
              <a:gd name="connsiteX3" fmla="*/ 0 w 2109702"/>
              <a:gd name="connsiteY3" fmla="*/ 4100135 h 4100135"/>
              <a:gd name="connsiteX4" fmla="*/ 0 w 2109702"/>
              <a:gd name="connsiteY4" fmla="*/ 0 h 41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702" h="4100135">
                <a:moveTo>
                  <a:pt x="0" y="0"/>
                </a:moveTo>
                <a:lnTo>
                  <a:pt x="2109702" y="0"/>
                </a:lnTo>
                <a:lnTo>
                  <a:pt x="2109702" y="4100135"/>
                </a:lnTo>
                <a:lnTo>
                  <a:pt x="0" y="4100135"/>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373543" rIns="128016" bIns="128016" numCol="1" spcCol="1270" anchor="t" anchorCtr="0">
            <a:noAutofit/>
          </a:bodyPr>
          <a:lstStyle/>
          <a:p>
            <a:pPr marL="171450" lvl="1" indent="-171450" defTabSz="800100">
              <a:lnSpc>
                <a:spcPct val="90000"/>
              </a:lnSpc>
              <a:spcAft>
                <a:spcPct val="15000"/>
              </a:spcAft>
              <a:buChar char="••"/>
            </a:pPr>
            <a:r>
              <a:rPr lang="ru-RU" sz="1800" b="1" dirty="0">
                <a:solidFill>
                  <a:srgbClr val="29325C"/>
                </a:solidFill>
              </a:rPr>
              <a:t>Активная поддержка деятельности </a:t>
            </a:r>
            <a:r>
              <a:rPr lang="en-GB" sz="1800" b="1" dirty="0">
                <a:solidFill>
                  <a:srgbClr val="29325C"/>
                </a:solidFill>
              </a:rPr>
              <a:t>CRIRSCO</a:t>
            </a:r>
            <a:endParaRPr lang="ru-RU" sz="1800" b="1" dirty="0">
              <a:solidFill>
                <a:srgbClr val="29325C"/>
              </a:solidFill>
            </a:endParaRPr>
          </a:p>
          <a:p>
            <a:pPr marL="171450" lvl="1" indent="-171450" defTabSz="800100">
              <a:lnSpc>
                <a:spcPct val="90000"/>
              </a:lnSpc>
              <a:spcAft>
                <a:spcPct val="15000"/>
              </a:spcAft>
              <a:buChar char="••"/>
            </a:pPr>
            <a:r>
              <a:rPr lang="ru-RU" sz="1800" i="1" dirty="0">
                <a:solidFill>
                  <a:srgbClr val="29325C"/>
                </a:solidFill>
              </a:rPr>
              <a:t>Два представителя в комитете</a:t>
            </a:r>
            <a:r>
              <a:rPr lang="en-AU" sz="1800" i="1" kern="1200" dirty="0">
                <a:solidFill>
                  <a:srgbClr val="29325C"/>
                </a:solidFill>
              </a:rPr>
              <a:t> CRIRSCO</a:t>
            </a:r>
            <a:endParaRPr lang="en-GB" sz="1800" b="1" i="1" kern="1200" dirty="0">
              <a:solidFill>
                <a:srgbClr val="29325C"/>
              </a:solidFill>
            </a:endParaRPr>
          </a:p>
        </p:txBody>
      </p:sp>
      <p:sp>
        <p:nvSpPr>
          <p:cNvPr id="21" name="Rectangle 20"/>
          <p:cNvSpPr/>
          <p:nvPr/>
        </p:nvSpPr>
        <p:spPr>
          <a:xfrm>
            <a:off x="10089833" y="2212504"/>
            <a:ext cx="847089" cy="847089"/>
          </a:xfrm>
          <a:prstGeom prst="rect">
            <a:avLst/>
          </a:prstGeom>
          <a:blipFill rotWithShape="1">
            <a:blip r:embed="rId12"/>
            <a:stretch>
              <a:fillRect/>
            </a:stretch>
          </a:blipFill>
          <a:ln>
            <a:solidFill>
              <a:srgbClr val="29325C"/>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
        <p:nvSpPr>
          <p:cNvPr id="4" name="Rectangle 3"/>
          <p:cNvSpPr/>
          <p:nvPr>
            <p:custDataLst>
              <p:tags r:id="rId7"/>
            </p:custDataLst>
          </p:nvPr>
        </p:nvSpPr>
        <p:spPr>
          <a:xfrm>
            <a:off x="987465" y="7395354"/>
            <a:ext cx="11737304" cy="1477328"/>
          </a:xfrm>
          <a:prstGeom prst="rect">
            <a:avLst/>
          </a:prstGeom>
        </p:spPr>
        <p:txBody>
          <a:bodyPr wrap="square">
            <a:spAutoFit/>
          </a:bodyPr>
          <a:lstStyle/>
          <a:p>
            <a:pPr marL="173038"/>
            <a:r>
              <a:rPr lang="ru-RU" sz="1800" i="1" dirty="0">
                <a:solidFill>
                  <a:srgbClr val="29325C"/>
                </a:solidFill>
              </a:rPr>
              <a:t>Совместимость с шаблоном CRIRSCO означает стандарт, который в значительной степени основан на шаблоне с национальными вариациями, как того требуют регулирующие органы, но с минимальными вариациями в стандартных определениях, содержащихся в шаблоне. Для правительственной отчетности разрешено «сопоставление» с существующими системами классификации, </a:t>
            </a:r>
            <a:r>
              <a:rPr lang="ru-RU" sz="1800" b="1" i="1" dirty="0">
                <a:solidFill>
                  <a:srgbClr val="29325C"/>
                </a:solidFill>
              </a:rPr>
              <a:t>НО «совместимость» не достигается путем привязки национальной системы отчетности к шаблону только путем сопоставления.</a:t>
            </a:r>
            <a:endParaRPr lang="en-GB" sz="1800" b="1" i="1" dirty="0">
              <a:solidFill>
                <a:srgbClr val="29325C"/>
              </a:solidFill>
            </a:endParaRPr>
          </a:p>
        </p:txBody>
      </p:sp>
    </p:spTree>
    <p:extLst>
      <p:ext uri="{BB962C8B-B14F-4D97-AF65-F5344CB8AC3E}">
        <p14:creationId xmlns:p14="http://schemas.microsoft.com/office/powerpoint/2010/main" val="361687782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202451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7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blipFill dpi="0" rotWithShape="0">
            <a:blip r:embed="rId9"/>
            <a:srcRect/>
            <a:tile tx="0" ty="0" sx="100000" sy="100000" flip="none" algn="tl"/>
          </a:blipFill>
          <a:ln w="254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a:endParaRPr kumimoji="0" lang="en-US" sz="4800" u="none" strike="noStrike" cap="none" normalizeH="0" dirty="0">
              <a:ln>
                <a:noFill/>
              </a:ln>
              <a:solidFill>
                <a:srgbClr val="000000"/>
              </a:solidFill>
              <a:effectLst/>
              <a:ea typeface="ヒラギノ角ゴ ProN W3" charset="0"/>
              <a:cs typeface="ヒラギノ角ゴ ProN W3" charset="0"/>
            </a:endParaRPr>
          </a:p>
        </p:txBody>
      </p:sp>
      <p:sp>
        <p:nvSpPr>
          <p:cNvPr id="2" name="Title 1"/>
          <p:cNvSpPr>
            <a:spLocks noGrp="1"/>
          </p:cNvSpPr>
          <p:nvPr>
            <p:ph type="title"/>
            <p:custDataLst>
              <p:tags r:id="rId4"/>
            </p:custDataLst>
          </p:nvPr>
        </p:nvSpPr>
        <p:spPr>
          <a:xfrm>
            <a:off x="1969200" y="176400"/>
            <a:ext cx="11035600" cy="831600"/>
          </a:xfrm>
        </p:spPr>
        <p:txBody>
          <a:bodyPr/>
          <a:lstStyle/>
          <a:p>
            <a:r>
              <a:rPr lang="ru-RU" dirty="0"/>
              <a:t>Признанные Профессиональные Организации</a:t>
            </a:r>
            <a:endParaRPr lang="en-GB" dirty="0"/>
          </a:p>
        </p:txBody>
      </p:sp>
      <p:sp>
        <p:nvSpPr>
          <p:cNvPr id="8" name="TextBox 7"/>
          <p:cNvSpPr txBox="1"/>
          <p:nvPr>
            <p:custDataLst>
              <p:tags r:id="rId5"/>
            </p:custDataLst>
          </p:nvPr>
        </p:nvSpPr>
        <p:spPr>
          <a:xfrm>
            <a:off x="442327" y="1257816"/>
            <a:ext cx="7704856" cy="738664"/>
          </a:xfrm>
          <a:prstGeom prst="rect">
            <a:avLst/>
          </a:prstGeom>
          <a:noFill/>
        </p:spPr>
        <p:txBody>
          <a:bodyPr wrap="square" lIns="0" rtlCol="0">
            <a:spAutoFit/>
          </a:bodyPr>
          <a:lstStyle/>
          <a:p>
            <a:pPr algn="l"/>
            <a:r>
              <a:rPr lang="en-GB" b="1" dirty="0">
                <a:solidFill>
                  <a:srgbClr val="29325C"/>
                </a:solidFill>
              </a:rPr>
              <a:t>RPO </a:t>
            </a:r>
            <a:r>
              <a:rPr lang="ru-RU" b="1" dirty="0">
                <a:solidFill>
                  <a:srgbClr val="29325C"/>
                </a:solidFill>
              </a:rPr>
              <a:t>Требования</a:t>
            </a:r>
            <a:endParaRPr lang="en-GB" b="1" dirty="0">
              <a:solidFill>
                <a:srgbClr val="29325C"/>
              </a:solidFill>
            </a:endParaRPr>
          </a:p>
        </p:txBody>
      </p:sp>
      <p:sp>
        <p:nvSpPr>
          <p:cNvPr id="10" name="Freeform 9"/>
          <p:cNvSpPr/>
          <p:nvPr/>
        </p:nvSpPr>
        <p:spPr>
          <a:xfrm rot="16200000">
            <a:off x="-1397928" y="5124587"/>
            <a:ext cx="4100135" cy="423544"/>
          </a:xfrm>
          <a:custGeom>
            <a:avLst/>
            <a:gdLst>
              <a:gd name="connsiteX0" fmla="*/ 0 w 4100135"/>
              <a:gd name="connsiteY0" fmla="*/ 0 h 423544"/>
              <a:gd name="connsiteX1" fmla="*/ 4100135 w 4100135"/>
              <a:gd name="connsiteY1" fmla="*/ 0 h 423544"/>
              <a:gd name="connsiteX2" fmla="*/ 4100135 w 4100135"/>
              <a:gd name="connsiteY2" fmla="*/ 423544 h 423544"/>
              <a:gd name="connsiteX3" fmla="*/ 0 w 4100135"/>
              <a:gd name="connsiteY3" fmla="*/ 423544 h 423544"/>
              <a:gd name="connsiteX4" fmla="*/ 0 w 4100135"/>
              <a:gd name="connsiteY4" fmla="*/ 0 h 423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135" h="423544">
                <a:moveTo>
                  <a:pt x="0" y="0"/>
                </a:moveTo>
                <a:lnTo>
                  <a:pt x="4100135" y="0"/>
                </a:lnTo>
                <a:lnTo>
                  <a:pt x="4100135" y="423544"/>
                </a:lnTo>
                <a:lnTo>
                  <a:pt x="0" y="4235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73543" bIns="-1" numCol="1" spcCol="1270" anchor="t" anchorCtr="0">
            <a:noAutofit/>
          </a:bodyPr>
          <a:lstStyle/>
          <a:p>
            <a:pPr lvl="0" algn="r" defTabSz="1377950">
              <a:lnSpc>
                <a:spcPct val="90000"/>
              </a:lnSpc>
              <a:spcBef>
                <a:spcPct val="0"/>
              </a:spcBef>
              <a:spcAft>
                <a:spcPct val="35000"/>
              </a:spcAft>
            </a:pPr>
            <a:r>
              <a:rPr lang="ru-RU" sz="3100" b="1" kern="1200" dirty="0">
                <a:solidFill>
                  <a:srgbClr val="29325C"/>
                </a:solidFill>
              </a:rPr>
              <a:t>Саморегулирование</a:t>
            </a:r>
            <a:endParaRPr lang="en-GB" sz="3100" b="1" kern="1200" dirty="0">
              <a:solidFill>
                <a:srgbClr val="29325C"/>
              </a:solidFill>
            </a:endParaRPr>
          </a:p>
        </p:txBody>
      </p:sp>
      <p:sp>
        <p:nvSpPr>
          <p:cNvPr id="11" name="Freeform 10"/>
          <p:cNvSpPr/>
          <p:nvPr/>
        </p:nvSpPr>
        <p:spPr>
          <a:xfrm>
            <a:off x="863911" y="3286291"/>
            <a:ext cx="2334945" cy="5118901"/>
          </a:xfrm>
          <a:custGeom>
            <a:avLst/>
            <a:gdLst>
              <a:gd name="connsiteX0" fmla="*/ 0 w 2109702"/>
              <a:gd name="connsiteY0" fmla="*/ 0 h 4100135"/>
              <a:gd name="connsiteX1" fmla="*/ 2109702 w 2109702"/>
              <a:gd name="connsiteY1" fmla="*/ 0 h 4100135"/>
              <a:gd name="connsiteX2" fmla="*/ 2109702 w 2109702"/>
              <a:gd name="connsiteY2" fmla="*/ 4100135 h 4100135"/>
              <a:gd name="connsiteX3" fmla="*/ 0 w 2109702"/>
              <a:gd name="connsiteY3" fmla="*/ 4100135 h 4100135"/>
              <a:gd name="connsiteX4" fmla="*/ 0 w 2109702"/>
              <a:gd name="connsiteY4" fmla="*/ 0 h 41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702" h="4100135">
                <a:moveTo>
                  <a:pt x="0" y="0"/>
                </a:moveTo>
                <a:lnTo>
                  <a:pt x="2109702" y="0"/>
                </a:lnTo>
                <a:lnTo>
                  <a:pt x="2109702" y="4100135"/>
                </a:lnTo>
                <a:lnTo>
                  <a:pt x="0" y="4100135"/>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373543" rIns="128016" bIns="128016" numCol="1" spcCol="1270" anchor="t" anchorCtr="0">
            <a:noAutofit/>
          </a:bodyPr>
          <a:lstStyle/>
          <a:p>
            <a:pPr marL="171450" lvl="1" indent="-171450" defTabSz="800100">
              <a:lnSpc>
                <a:spcPct val="90000"/>
              </a:lnSpc>
              <a:spcAft>
                <a:spcPct val="15000"/>
              </a:spcAft>
              <a:buChar char="••"/>
            </a:pPr>
            <a:r>
              <a:rPr lang="ru-RU" sz="1800" b="1" dirty="0">
                <a:solidFill>
                  <a:srgbClr val="29325C"/>
                </a:solidFill>
              </a:rPr>
              <a:t>Независимые органы, представляющие интересы специалистов горно-геологических специальностей</a:t>
            </a:r>
          </a:p>
          <a:p>
            <a:pPr marL="171450" lvl="1" indent="-171450" defTabSz="800100">
              <a:lnSpc>
                <a:spcPct val="90000"/>
              </a:lnSpc>
              <a:spcAft>
                <a:spcPct val="15000"/>
              </a:spcAft>
              <a:buChar char="••"/>
            </a:pPr>
            <a:r>
              <a:rPr lang="ru-RU" sz="1800" dirty="0">
                <a:solidFill>
                  <a:srgbClr val="29325C"/>
                </a:solidFill>
              </a:rPr>
              <a:t>Может фокусироваться на конкретной дисциплине (геология, горное дело, металлургия и т. д.) Или включать членов по всем дисциплинам</a:t>
            </a:r>
            <a:endParaRPr lang="en-GB" sz="1800" i="1" kern="1200" dirty="0">
              <a:solidFill>
                <a:srgbClr val="29325C"/>
              </a:solidFill>
            </a:endParaRPr>
          </a:p>
        </p:txBody>
      </p:sp>
      <p:sp>
        <p:nvSpPr>
          <p:cNvPr id="12" name="Rectangle 11"/>
          <p:cNvSpPr/>
          <p:nvPr/>
        </p:nvSpPr>
        <p:spPr>
          <a:xfrm>
            <a:off x="440367" y="2727212"/>
            <a:ext cx="847089" cy="847089"/>
          </a:xfrm>
          <a:prstGeom prst="rect">
            <a:avLst/>
          </a:prstGeom>
          <a:blipFill rotWithShape="1">
            <a:blip r:embed="rId10"/>
            <a:stretch>
              <a:fillRect/>
            </a:stretch>
          </a:blipFill>
          <a:ln>
            <a:solidFill>
              <a:srgbClr val="29325C"/>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
        <p:nvSpPr>
          <p:cNvPr id="13" name="Freeform 12"/>
          <p:cNvSpPr/>
          <p:nvPr/>
        </p:nvSpPr>
        <p:spPr>
          <a:xfrm rot="16200000">
            <a:off x="1784106" y="5124587"/>
            <a:ext cx="4100135" cy="423544"/>
          </a:xfrm>
          <a:custGeom>
            <a:avLst/>
            <a:gdLst>
              <a:gd name="connsiteX0" fmla="*/ 0 w 4100135"/>
              <a:gd name="connsiteY0" fmla="*/ 0 h 423544"/>
              <a:gd name="connsiteX1" fmla="*/ 4100135 w 4100135"/>
              <a:gd name="connsiteY1" fmla="*/ 0 h 423544"/>
              <a:gd name="connsiteX2" fmla="*/ 4100135 w 4100135"/>
              <a:gd name="connsiteY2" fmla="*/ 423544 h 423544"/>
              <a:gd name="connsiteX3" fmla="*/ 0 w 4100135"/>
              <a:gd name="connsiteY3" fmla="*/ 423544 h 423544"/>
              <a:gd name="connsiteX4" fmla="*/ 0 w 4100135"/>
              <a:gd name="connsiteY4" fmla="*/ 0 h 423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135" h="423544">
                <a:moveTo>
                  <a:pt x="0" y="0"/>
                </a:moveTo>
                <a:lnTo>
                  <a:pt x="4100135" y="0"/>
                </a:lnTo>
                <a:lnTo>
                  <a:pt x="4100135" y="423544"/>
                </a:lnTo>
                <a:lnTo>
                  <a:pt x="0" y="4235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73543" bIns="-1" numCol="1" spcCol="1270" anchor="t" anchorCtr="0">
            <a:noAutofit/>
          </a:bodyPr>
          <a:lstStyle/>
          <a:p>
            <a:pPr lvl="0" algn="r" defTabSz="1377950">
              <a:lnSpc>
                <a:spcPct val="90000"/>
              </a:lnSpc>
              <a:spcBef>
                <a:spcPct val="0"/>
              </a:spcBef>
              <a:spcAft>
                <a:spcPct val="35000"/>
              </a:spcAft>
            </a:pPr>
            <a:r>
              <a:rPr lang="ru-RU" sz="3100" b="1" kern="1200" dirty="0">
                <a:solidFill>
                  <a:srgbClr val="29325C"/>
                </a:solidFill>
              </a:rPr>
              <a:t>Членство</a:t>
            </a:r>
            <a:endParaRPr lang="en-GB" sz="3100" b="1" kern="1200" dirty="0">
              <a:solidFill>
                <a:srgbClr val="29325C"/>
              </a:solidFill>
            </a:endParaRPr>
          </a:p>
        </p:txBody>
      </p:sp>
      <p:sp>
        <p:nvSpPr>
          <p:cNvPr id="14" name="Freeform 13"/>
          <p:cNvSpPr/>
          <p:nvPr/>
        </p:nvSpPr>
        <p:spPr>
          <a:xfrm>
            <a:off x="4045945" y="3286291"/>
            <a:ext cx="2233787" cy="5118901"/>
          </a:xfrm>
          <a:custGeom>
            <a:avLst/>
            <a:gdLst>
              <a:gd name="connsiteX0" fmla="*/ 0 w 2109702"/>
              <a:gd name="connsiteY0" fmla="*/ 0 h 4100135"/>
              <a:gd name="connsiteX1" fmla="*/ 2109702 w 2109702"/>
              <a:gd name="connsiteY1" fmla="*/ 0 h 4100135"/>
              <a:gd name="connsiteX2" fmla="*/ 2109702 w 2109702"/>
              <a:gd name="connsiteY2" fmla="*/ 4100135 h 4100135"/>
              <a:gd name="connsiteX3" fmla="*/ 0 w 2109702"/>
              <a:gd name="connsiteY3" fmla="*/ 4100135 h 4100135"/>
              <a:gd name="connsiteX4" fmla="*/ 0 w 2109702"/>
              <a:gd name="connsiteY4" fmla="*/ 0 h 41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702" h="4100135">
                <a:moveTo>
                  <a:pt x="0" y="0"/>
                </a:moveTo>
                <a:lnTo>
                  <a:pt x="2109702" y="0"/>
                </a:lnTo>
                <a:lnTo>
                  <a:pt x="2109702" y="4100135"/>
                </a:lnTo>
                <a:lnTo>
                  <a:pt x="0" y="4100135"/>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373543" rIns="128016" bIns="128016" numCol="1" spcCol="1270" anchor="t" anchorCtr="0">
            <a:noAutofit/>
          </a:bodyPr>
          <a:lstStyle/>
          <a:p>
            <a:pPr marL="171450" lvl="1" indent="-171450" defTabSz="800100">
              <a:lnSpc>
                <a:spcPct val="90000"/>
              </a:lnSpc>
              <a:spcAft>
                <a:spcPct val="15000"/>
              </a:spcAft>
              <a:buChar char="••"/>
            </a:pPr>
            <a:r>
              <a:rPr lang="ru-RU" sz="1800" b="1" dirty="0">
                <a:solidFill>
                  <a:srgbClr val="29325C"/>
                </a:solidFill>
              </a:rPr>
              <a:t>Включает специалистов по горному делу в разных категориях / уровнях членства</a:t>
            </a:r>
          </a:p>
          <a:p>
            <a:pPr marL="171450" lvl="1" indent="-171450" defTabSz="800100">
              <a:lnSpc>
                <a:spcPct val="90000"/>
              </a:lnSpc>
              <a:spcAft>
                <a:spcPct val="15000"/>
              </a:spcAft>
              <a:buChar char="••"/>
            </a:pPr>
            <a:endParaRPr lang="ru-RU" sz="1800" dirty="0">
              <a:solidFill>
                <a:srgbClr val="29325C"/>
              </a:solidFill>
            </a:endParaRPr>
          </a:p>
          <a:p>
            <a:pPr marL="171450" lvl="1" indent="-171450" defTabSz="800100">
              <a:lnSpc>
                <a:spcPct val="90000"/>
              </a:lnSpc>
              <a:spcAft>
                <a:spcPct val="15000"/>
              </a:spcAft>
              <a:buChar char="••"/>
            </a:pPr>
            <a:r>
              <a:rPr lang="ru-RU" sz="1800" dirty="0">
                <a:solidFill>
                  <a:srgbClr val="29325C"/>
                </a:solidFill>
              </a:rPr>
              <a:t>Определяет требования к членству на основе академической квалификации и </a:t>
            </a:r>
            <a:r>
              <a:rPr lang="ru-RU" sz="1800" dirty="0" err="1">
                <a:solidFill>
                  <a:srgbClr val="29325C"/>
                </a:solidFill>
              </a:rPr>
              <a:t>профессиональ-ного</a:t>
            </a:r>
            <a:r>
              <a:rPr lang="ru-RU" sz="1800" dirty="0">
                <a:solidFill>
                  <a:srgbClr val="29325C"/>
                </a:solidFill>
              </a:rPr>
              <a:t> опыта</a:t>
            </a:r>
            <a:endParaRPr lang="en-GB" sz="1800" kern="1200" dirty="0">
              <a:solidFill>
                <a:srgbClr val="29325C"/>
              </a:solidFill>
            </a:endParaRPr>
          </a:p>
        </p:txBody>
      </p:sp>
      <p:sp>
        <p:nvSpPr>
          <p:cNvPr id="15" name="Rectangle 14"/>
          <p:cNvSpPr/>
          <p:nvPr/>
        </p:nvSpPr>
        <p:spPr>
          <a:xfrm>
            <a:off x="3622401" y="2727212"/>
            <a:ext cx="847089" cy="847089"/>
          </a:xfrm>
          <a:prstGeom prst="rect">
            <a:avLst/>
          </a:prstGeom>
          <a:blipFill rotWithShape="1">
            <a:blip r:embed="rId10"/>
            <a:stretch>
              <a:fillRect/>
            </a:stretch>
          </a:blipFill>
          <a:ln>
            <a:solidFill>
              <a:srgbClr val="29325C"/>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
        <p:nvSpPr>
          <p:cNvPr id="16" name="Freeform 15"/>
          <p:cNvSpPr/>
          <p:nvPr/>
        </p:nvSpPr>
        <p:spPr>
          <a:xfrm rot="16200000">
            <a:off x="5017822" y="5124587"/>
            <a:ext cx="4100135" cy="423544"/>
          </a:xfrm>
          <a:custGeom>
            <a:avLst/>
            <a:gdLst>
              <a:gd name="connsiteX0" fmla="*/ 0 w 4100135"/>
              <a:gd name="connsiteY0" fmla="*/ 0 h 423544"/>
              <a:gd name="connsiteX1" fmla="*/ 4100135 w 4100135"/>
              <a:gd name="connsiteY1" fmla="*/ 0 h 423544"/>
              <a:gd name="connsiteX2" fmla="*/ 4100135 w 4100135"/>
              <a:gd name="connsiteY2" fmla="*/ 423544 h 423544"/>
              <a:gd name="connsiteX3" fmla="*/ 0 w 4100135"/>
              <a:gd name="connsiteY3" fmla="*/ 423544 h 423544"/>
              <a:gd name="connsiteX4" fmla="*/ 0 w 4100135"/>
              <a:gd name="connsiteY4" fmla="*/ 0 h 423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135" h="423544">
                <a:moveTo>
                  <a:pt x="0" y="0"/>
                </a:moveTo>
                <a:lnTo>
                  <a:pt x="4100135" y="0"/>
                </a:lnTo>
                <a:lnTo>
                  <a:pt x="4100135" y="423544"/>
                </a:lnTo>
                <a:lnTo>
                  <a:pt x="0" y="4235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73543" bIns="-1" numCol="1" spcCol="1270" anchor="t" anchorCtr="0">
            <a:noAutofit/>
          </a:bodyPr>
          <a:lstStyle/>
          <a:p>
            <a:pPr lvl="0" algn="r" defTabSz="1377950">
              <a:lnSpc>
                <a:spcPct val="90000"/>
              </a:lnSpc>
              <a:spcBef>
                <a:spcPct val="0"/>
              </a:spcBef>
              <a:spcAft>
                <a:spcPct val="35000"/>
              </a:spcAft>
            </a:pPr>
            <a:r>
              <a:rPr lang="ru-RU" sz="3100" b="1" kern="1200" dirty="0">
                <a:solidFill>
                  <a:srgbClr val="29325C"/>
                </a:solidFill>
              </a:rPr>
              <a:t>Развитие </a:t>
            </a:r>
            <a:endParaRPr lang="en-GB" sz="3100" b="1" kern="1200" dirty="0">
              <a:solidFill>
                <a:srgbClr val="29325C"/>
              </a:solidFill>
            </a:endParaRPr>
          </a:p>
        </p:txBody>
      </p:sp>
      <p:sp>
        <p:nvSpPr>
          <p:cNvPr id="17" name="Freeform 16"/>
          <p:cNvSpPr/>
          <p:nvPr/>
        </p:nvSpPr>
        <p:spPr>
          <a:xfrm>
            <a:off x="7279662" y="3286291"/>
            <a:ext cx="2109702" cy="5118901"/>
          </a:xfrm>
          <a:custGeom>
            <a:avLst/>
            <a:gdLst>
              <a:gd name="connsiteX0" fmla="*/ 0 w 2109702"/>
              <a:gd name="connsiteY0" fmla="*/ 0 h 4100135"/>
              <a:gd name="connsiteX1" fmla="*/ 2109702 w 2109702"/>
              <a:gd name="connsiteY1" fmla="*/ 0 h 4100135"/>
              <a:gd name="connsiteX2" fmla="*/ 2109702 w 2109702"/>
              <a:gd name="connsiteY2" fmla="*/ 4100135 h 4100135"/>
              <a:gd name="connsiteX3" fmla="*/ 0 w 2109702"/>
              <a:gd name="connsiteY3" fmla="*/ 4100135 h 4100135"/>
              <a:gd name="connsiteX4" fmla="*/ 0 w 2109702"/>
              <a:gd name="connsiteY4" fmla="*/ 0 h 41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702" h="4100135">
                <a:moveTo>
                  <a:pt x="0" y="0"/>
                </a:moveTo>
                <a:lnTo>
                  <a:pt x="2109702" y="0"/>
                </a:lnTo>
                <a:lnTo>
                  <a:pt x="2109702" y="4100135"/>
                </a:lnTo>
                <a:lnTo>
                  <a:pt x="0" y="4100135"/>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373543" rIns="128016" bIns="128016" numCol="1" spcCol="1270" anchor="t" anchorCtr="0">
            <a:noAutofit/>
          </a:bodyPr>
          <a:lstStyle/>
          <a:p>
            <a:pPr marL="171450" lvl="1" indent="-171450" defTabSz="800100">
              <a:lnSpc>
                <a:spcPct val="90000"/>
              </a:lnSpc>
              <a:spcAft>
                <a:spcPct val="15000"/>
              </a:spcAft>
              <a:buChar char="••"/>
            </a:pPr>
            <a:r>
              <a:rPr lang="ru-RU" sz="1800" b="1" dirty="0">
                <a:solidFill>
                  <a:srgbClr val="29325C"/>
                </a:solidFill>
              </a:rPr>
              <a:t>Требует непрерывного </a:t>
            </a:r>
            <a:r>
              <a:rPr lang="ru-RU" sz="1800" b="1" dirty="0" err="1">
                <a:solidFill>
                  <a:srgbClr val="29325C"/>
                </a:solidFill>
              </a:rPr>
              <a:t>профессиональ-ного</a:t>
            </a:r>
            <a:r>
              <a:rPr lang="ru-RU" sz="1800" b="1" dirty="0">
                <a:solidFill>
                  <a:srgbClr val="29325C"/>
                </a:solidFill>
              </a:rPr>
              <a:t> развития</a:t>
            </a:r>
          </a:p>
          <a:p>
            <a:pPr marL="171450" lvl="1" indent="-171450" defTabSz="800100">
              <a:lnSpc>
                <a:spcPct val="90000"/>
              </a:lnSpc>
              <a:spcAft>
                <a:spcPct val="15000"/>
              </a:spcAft>
              <a:buChar char="••"/>
            </a:pPr>
            <a:endParaRPr lang="ru-RU" sz="1800" dirty="0">
              <a:solidFill>
                <a:srgbClr val="29325C"/>
              </a:solidFill>
            </a:endParaRPr>
          </a:p>
          <a:p>
            <a:pPr marL="171450" lvl="1" indent="-171450" defTabSz="800100">
              <a:lnSpc>
                <a:spcPct val="90000"/>
              </a:lnSpc>
              <a:spcAft>
                <a:spcPct val="15000"/>
              </a:spcAft>
              <a:buChar char="••"/>
            </a:pPr>
            <a:r>
              <a:rPr lang="ru-RU" sz="1800" dirty="0">
                <a:solidFill>
                  <a:srgbClr val="29325C"/>
                </a:solidFill>
              </a:rPr>
              <a:t>Постоянное обучение, развитие и поддержание </a:t>
            </a:r>
            <a:r>
              <a:rPr lang="ru-RU" sz="1800" dirty="0" err="1">
                <a:solidFill>
                  <a:srgbClr val="29325C"/>
                </a:solidFill>
              </a:rPr>
              <a:t>профессиональ-ных</a:t>
            </a:r>
            <a:r>
              <a:rPr lang="ru-RU" sz="1800" dirty="0">
                <a:solidFill>
                  <a:srgbClr val="29325C"/>
                </a:solidFill>
              </a:rPr>
              <a:t> навыков</a:t>
            </a:r>
          </a:p>
          <a:p>
            <a:pPr marL="171450" lvl="1" indent="-171450" defTabSz="800100">
              <a:lnSpc>
                <a:spcPct val="90000"/>
              </a:lnSpc>
              <a:spcAft>
                <a:spcPct val="15000"/>
              </a:spcAft>
              <a:buChar char="••"/>
            </a:pPr>
            <a:endParaRPr lang="ru-RU" sz="1800" dirty="0">
              <a:solidFill>
                <a:srgbClr val="29325C"/>
              </a:solidFill>
            </a:endParaRPr>
          </a:p>
          <a:p>
            <a:pPr marL="171450" lvl="1" indent="-171450" defTabSz="800100">
              <a:lnSpc>
                <a:spcPct val="90000"/>
              </a:lnSpc>
              <a:spcAft>
                <a:spcPct val="15000"/>
              </a:spcAft>
              <a:buChar char="••"/>
            </a:pPr>
            <a:r>
              <a:rPr lang="ru-RU" sz="1800" dirty="0">
                <a:solidFill>
                  <a:srgbClr val="29325C"/>
                </a:solidFill>
              </a:rPr>
              <a:t>Должен быть зарегистрирован и аттестован</a:t>
            </a:r>
            <a:endParaRPr lang="en-GB" sz="1800" kern="1200" dirty="0">
              <a:solidFill>
                <a:srgbClr val="29325C"/>
              </a:solidFill>
            </a:endParaRPr>
          </a:p>
        </p:txBody>
      </p:sp>
      <p:sp>
        <p:nvSpPr>
          <p:cNvPr id="18" name="Rectangle 17"/>
          <p:cNvSpPr/>
          <p:nvPr/>
        </p:nvSpPr>
        <p:spPr>
          <a:xfrm>
            <a:off x="6856117" y="2727212"/>
            <a:ext cx="847089" cy="847089"/>
          </a:xfrm>
          <a:prstGeom prst="rect">
            <a:avLst/>
          </a:prstGeom>
          <a:blipFill rotWithShape="1">
            <a:blip r:embed="rId10"/>
            <a:stretch>
              <a:fillRect/>
            </a:stretch>
          </a:blipFill>
          <a:ln>
            <a:solidFill>
              <a:srgbClr val="29325C"/>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
        <p:nvSpPr>
          <p:cNvPr id="19" name="Freeform 18"/>
          <p:cNvSpPr/>
          <p:nvPr/>
        </p:nvSpPr>
        <p:spPr>
          <a:xfrm rot="16200000">
            <a:off x="8120489" y="5124587"/>
            <a:ext cx="4100135" cy="423544"/>
          </a:xfrm>
          <a:custGeom>
            <a:avLst/>
            <a:gdLst>
              <a:gd name="connsiteX0" fmla="*/ 0 w 4100135"/>
              <a:gd name="connsiteY0" fmla="*/ 0 h 423544"/>
              <a:gd name="connsiteX1" fmla="*/ 4100135 w 4100135"/>
              <a:gd name="connsiteY1" fmla="*/ 0 h 423544"/>
              <a:gd name="connsiteX2" fmla="*/ 4100135 w 4100135"/>
              <a:gd name="connsiteY2" fmla="*/ 423544 h 423544"/>
              <a:gd name="connsiteX3" fmla="*/ 0 w 4100135"/>
              <a:gd name="connsiteY3" fmla="*/ 423544 h 423544"/>
              <a:gd name="connsiteX4" fmla="*/ 0 w 4100135"/>
              <a:gd name="connsiteY4" fmla="*/ 0 h 423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135" h="423544">
                <a:moveTo>
                  <a:pt x="0" y="0"/>
                </a:moveTo>
                <a:lnTo>
                  <a:pt x="4100135" y="0"/>
                </a:lnTo>
                <a:lnTo>
                  <a:pt x="4100135" y="423544"/>
                </a:lnTo>
                <a:lnTo>
                  <a:pt x="0" y="4235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373543" bIns="-1" numCol="1" spcCol="1270" anchor="t" anchorCtr="0">
            <a:noAutofit/>
          </a:bodyPr>
          <a:lstStyle/>
          <a:p>
            <a:pPr lvl="0" algn="r" defTabSz="1377950">
              <a:lnSpc>
                <a:spcPct val="90000"/>
              </a:lnSpc>
              <a:spcBef>
                <a:spcPct val="0"/>
              </a:spcBef>
              <a:spcAft>
                <a:spcPct val="35000"/>
              </a:spcAft>
            </a:pPr>
            <a:r>
              <a:rPr lang="ru-RU" sz="3100" b="1" kern="1200" dirty="0">
                <a:solidFill>
                  <a:srgbClr val="29325C"/>
                </a:solidFill>
              </a:rPr>
              <a:t>Дисциплина</a:t>
            </a:r>
            <a:endParaRPr lang="en-GB" sz="3100" b="1" kern="1200" dirty="0">
              <a:solidFill>
                <a:srgbClr val="29325C"/>
              </a:solidFill>
            </a:endParaRPr>
          </a:p>
        </p:txBody>
      </p:sp>
      <p:sp>
        <p:nvSpPr>
          <p:cNvPr id="20" name="Freeform 19"/>
          <p:cNvSpPr/>
          <p:nvPr/>
        </p:nvSpPr>
        <p:spPr>
          <a:xfrm>
            <a:off x="10389294" y="3286291"/>
            <a:ext cx="2233786" cy="5118901"/>
          </a:xfrm>
          <a:custGeom>
            <a:avLst/>
            <a:gdLst>
              <a:gd name="connsiteX0" fmla="*/ 0 w 2109702"/>
              <a:gd name="connsiteY0" fmla="*/ 0 h 4100135"/>
              <a:gd name="connsiteX1" fmla="*/ 2109702 w 2109702"/>
              <a:gd name="connsiteY1" fmla="*/ 0 h 4100135"/>
              <a:gd name="connsiteX2" fmla="*/ 2109702 w 2109702"/>
              <a:gd name="connsiteY2" fmla="*/ 4100135 h 4100135"/>
              <a:gd name="connsiteX3" fmla="*/ 0 w 2109702"/>
              <a:gd name="connsiteY3" fmla="*/ 4100135 h 4100135"/>
              <a:gd name="connsiteX4" fmla="*/ 0 w 2109702"/>
              <a:gd name="connsiteY4" fmla="*/ 0 h 4100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702" h="4100135">
                <a:moveTo>
                  <a:pt x="0" y="0"/>
                </a:moveTo>
                <a:lnTo>
                  <a:pt x="2109702" y="0"/>
                </a:lnTo>
                <a:lnTo>
                  <a:pt x="2109702" y="4100135"/>
                </a:lnTo>
                <a:lnTo>
                  <a:pt x="0" y="4100135"/>
                </a:lnTo>
                <a:lnTo>
                  <a:pt x="0" y="0"/>
                </a:lnTo>
                <a:close/>
              </a:path>
            </a:pathLst>
          </a:custGeom>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373543" rIns="128016" bIns="128016" numCol="1" spcCol="1270" anchor="t" anchorCtr="0">
            <a:noAutofit/>
          </a:bodyPr>
          <a:lstStyle/>
          <a:p>
            <a:pPr marL="171450" lvl="1" indent="-171450" defTabSz="800100">
              <a:lnSpc>
                <a:spcPct val="90000"/>
              </a:lnSpc>
              <a:spcAft>
                <a:spcPct val="15000"/>
              </a:spcAft>
              <a:buChar char="••"/>
            </a:pPr>
            <a:r>
              <a:rPr lang="ru-RU" sz="1800" b="1" dirty="0">
                <a:solidFill>
                  <a:srgbClr val="29325C"/>
                </a:solidFill>
              </a:rPr>
              <a:t>Управляет </a:t>
            </a:r>
            <a:r>
              <a:rPr lang="ru-RU" sz="1800" b="1" dirty="0" err="1">
                <a:solidFill>
                  <a:srgbClr val="29325C"/>
                </a:solidFill>
              </a:rPr>
              <a:t>профессиональ-ным</a:t>
            </a:r>
            <a:r>
              <a:rPr lang="ru-RU" sz="1800" b="1" dirty="0">
                <a:solidFill>
                  <a:srgbClr val="29325C"/>
                </a:solidFill>
              </a:rPr>
              <a:t> поведением членов</a:t>
            </a:r>
          </a:p>
          <a:p>
            <a:pPr marL="171450" lvl="1" indent="-171450" defTabSz="800100">
              <a:lnSpc>
                <a:spcPct val="90000"/>
              </a:lnSpc>
              <a:spcAft>
                <a:spcPct val="15000"/>
              </a:spcAft>
              <a:buChar char="••"/>
            </a:pPr>
            <a:endParaRPr lang="ru-RU" sz="1800" dirty="0">
              <a:solidFill>
                <a:srgbClr val="29325C"/>
              </a:solidFill>
            </a:endParaRPr>
          </a:p>
          <a:p>
            <a:pPr marL="171450" lvl="1" indent="-171450" defTabSz="800100">
              <a:lnSpc>
                <a:spcPct val="90000"/>
              </a:lnSpc>
              <a:spcAft>
                <a:spcPct val="15000"/>
              </a:spcAft>
              <a:buChar char="••"/>
            </a:pPr>
            <a:r>
              <a:rPr lang="ru-RU" sz="1800" dirty="0">
                <a:solidFill>
                  <a:srgbClr val="29325C"/>
                </a:solidFill>
              </a:rPr>
              <a:t>Принудительный кодекс этики / поведения</a:t>
            </a:r>
          </a:p>
          <a:p>
            <a:pPr marL="171450" lvl="1" indent="-171450" defTabSz="800100">
              <a:lnSpc>
                <a:spcPct val="90000"/>
              </a:lnSpc>
              <a:spcAft>
                <a:spcPct val="15000"/>
              </a:spcAft>
              <a:buChar char="••"/>
            </a:pPr>
            <a:endParaRPr lang="ru-RU" sz="1800" dirty="0">
              <a:solidFill>
                <a:srgbClr val="29325C"/>
              </a:solidFill>
            </a:endParaRPr>
          </a:p>
          <a:p>
            <a:pPr marL="171450" lvl="1" indent="-171450" defTabSz="800100">
              <a:lnSpc>
                <a:spcPct val="90000"/>
              </a:lnSpc>
              <a:spcAft>
                <a:spcPct val="15000"/>
              </a:spcAft>
              <a:buChar char="••"/>
            </a:pPr>
            <a:r>
              <a:rPr lang="ru-RU" sz="1800" dirty="0">
                <a:solidFill>
                  <a:srgbClr val="29325C"/>
                </a:solidFill>
              </a:rPr>
              <a:t>Дисциплинарный контроль за нарушение этики / поведения, включая отстранение от должности или исключение из членов</a:t>
            </a:r>
            <a:endParaRPr lang="en-GB" sz="1800" i="1" kern="1200" dirty="0">
              <a:solidFill>
                <a:srgbClr val="29325C"/>
              </a:solidFill>
            </a:endParaRPr>
          </a:p>
        </p:txBody>
      </p:sp>
      <p:sp>
        <p:nvSpPr>
          <p:cNvPr id="21" name="Rectangle 20"/>
          <p:cNvSpPr/>
          <p:nvPr/>
        </p:nvSpPr>
        <p:spPr>
          <a:xfrm>
            <a:off x="9958784" y="2727212"/>
            <a:ext cx="847089" cy="847089"/>
          </a:xfrm>
          <a:prstGeom prst="rect">
            <a:avLst/>
          </a:prstGeom>
          <a:blipFill rotWithShape="1">
            <a:blip r:embed="rId10"/>
            <a:stretch>
              <a:fillRect/>
            </a:stretch>
          </a:blipFill>
          <a:ln>
            <a:solidFill>
              <a:srgbClr val="29325C"/>
            </a:solid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spTree>
    <p:extLst>
      <p:ext uri="{BB962C8B-B14F-4D97-AF65-F5344CB8AC3E}">
        <p14:creationId xmlns:p14="http://schemas.microsoft.com/office/powerpoint/2010/main" val="1006196975"/>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58107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bwMode="auto">
          <a:xfrm>
            <a:off x="0" y="0"/>
            <a:ext cx="158750" cy="158750"/>
          </a:xfrm>
          <a:prstGeom prst="rect">
            <a:avLst/>
          </a:prstGeom>
          <a:blipFill dpi="0" rotWithShape="0">
            <a:blip r:embed="rId9"/>
            <a:srcRect/>
            <a:tile tx="0" ty="0" sx="100000" sy="100000" flip="none" algn="tl"/>
          </a:blipFill>
          <a:ln w="254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a:endParaRPr kumimoji="0" lang="en-US" sz="4800" u="none" strike="noStrike" cap="none" normalizeH="0" dirty="0">
              <a:ln>
                <a:noFill/>
              </a:ln>
              <a:solidFill>
                <a:srgbClr val="000000"/>
              </a:solidFill>
              <a:effectLst/>
              <a:ea typeface="ヒラギノ角ゴ ProN W3" charset="0"/>
              <a:cs typeface="ヒラギノ角ゴ ProN W3" charset="0"/>
            </a:endParaRPr>
          </a:p>
        </p:txBody>
      </p:sp>
      <p:sp>
        <p:nvSpPr>
          <p:cNvPr id="26626" name="Rectangle 1"/>
          <p:cNvSpPr>
            <a:spLocks noGrp="1" noChangeArrowheads="1"/>
          </p:cNvSpPr>
          <p:nvPr>
            <p:ph type="title"/>
          </p:nvPr>
        </p:nvSpPr>
        <p:spPr>
          <a:xfrm>
            <a:off x="1969200" y="176400"/>
            <a:ext cx="11089232" cy="831600"/>
          </a:xfrm>
        </p:spPr>
        <p:txBody>
          <a:bodyPr/>
          <a:lstStyle/>
          <a:p>
            <a:pPr eaLnBrk="1" hangingPunct="1"/>
            <a:r>
              <a:rPr lang="ru-RU" dirty="0"/>
              <a:t>Взаимоотношения между </a:t>
            </a:r>
            <a:r>
              <a:rPr lang="en-US" dirty="0"/>
              <a:t>NRO &amp; RPO</a:t>
            </a:r>
          </a:p>
        </p:txBody>
      </p:sp>
      <p:sp>
        <p:nvSpPr>
          <p:cNvPr id="7" name="Straight Connector 6"/>
          <p:cNvSpPr/>
          <p:nvPr/>
        </p:nvSpPr>
        <p:spPr>
          <a:xfrm>
            <a:off x="597744" y="1990188"/>
            <a:ext cx="11809312" cy="0"/>
          </a:xfrm>
          <a:prstGeom prst="line">
            <a:avLst/>
          </a:prstGeom>
          <a:ln w="28575">
            <a:solidFill>
              <a:srgbClr val="29325C"/>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a:p>
        </p:txBody>
      </p:sp>
      <p:sp>
        <p:nvSpPr>
          <p:cNvPr id="8" name="Freeform 7"/>
          <p:cNvSpPr/>
          <p:nvPr/>
        </p:nvSpPr>
        <p:spPr>
          <a:xfrm>
            <a:off x="597744" y="1990188"/>
            <a:ext cx="2361862" cy="4254764"/>
          </a:xfrm>
          <a:custGeom>
            <a:avLst/>
            <a:gdLst>
              <a:gd name="connsiteX0" fmla="*/ 0 w 2361862"/>
              <a:gd name="connsiteY0" fmla="*/ 0 h 6843706"/>
              <a:gd name="connsiteX1" fmla="*/ 2361862 w 2361862"/>
              <a:gd name="connsiteY1" fmla="*/ 0 h 6843706"/>
              <a:gd name="connsiteX2" fmla="*/ 2361862 w 2361862"/>
              <a:gd name="connsiteY2" fmla="*/ 6843706 h 6843706"/>
              <a:gd name="connsiteX3" fmla="*/ 0 w 2361862"/>
              <a:gd name="connsiteY3" fmla="*/ 6843706 h 6843706"/>
              <a:gd name="connsiteX4" fmla="*/ 0 w 2361862"/>
              <a:gd name="connsiteY4" fmla="*/ 0 h 6843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862" h="6843706">
                <a:moveTo>
                  <a:pt x="0" y="0"/>
                </a:moveTo>
                <a:lnTo>
                  <a:pt x="2361862" y="0"/>
                </a:lnTo>
                <a:lnTo>
                  <a:pt x="2361862" y="6843706"/>
                </a:lnTo>
                <a:lnTo>
                  <a:pt x="0" y="684370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9550" tIns="209550" rIns="209550" bIns="209550" numCol="1" spcCol="1270" anchor="t" anchorCtr="0">
            <a:noAutofit/>
          </a:bodyPr>
          <a:lstStyle/>
          <a:p>
            <a:pPr lvl="0" algn="l" defTabSz="2444750">
              <a:lnSpc>
                <a:spcPct val="90000"/>
              </a:lnSpc>
              <a:spcBef>
                <a:spcPct val="0"/>
              </a:spcBef>
              <a:spcAft>
                <a:spcPct val="35000"/>
              </a:spcAft>
            </a:pPr>
            <a:r>
              <a:rPr lang="en-GB" sz="4800" b="1" kern="1200" dirty="0">
                <a:solidFill>
                  <a:srgbClr val="29325C"/>
                </a:solidFill>
              </a:rPr>
              <a:t>NRO</a:t>
            </a:r>
          </a:p>
        </p:txBody>
      </p:sp>
      <p:sp>
        <p:nvSpPr>
          <p:cNvPr id="9" name="Freeform 8"/>
          <p:cNvSpPr/>
          <p:nvPr/>
        </p:nvSpPr>
        <p:spPr>
          <a:xfrm>
            <a:off x="3136746" y="1978912"/>
            <a:ext cx="9270309" cy="2897888"/>
          </a:xfrm>
          <a:custGeom>
            <a:avLst/>
            <a:gdLst>
              <a:gd name="connsiteX0" fmla="*/ 0 w 9270309"/>
              <a:gd name="connsiteY0" fmla="*/ 0 h 2138658"/>
              <a:gd name="connsiteX1" fmla="*/ 9270309 w 9270309"/>
              <a:gd name="connsiteY1" fmla="*/ 0 h 2138658"/>
              <a:gd name="connsiteX2" fmla="*/ 9270309 w 9270309"/>
              <a:gd name="connsiteY2" fmla="*/ 2138658 h 2138658"/>
              <a:gd name="connsiteX3" fmla="*/ 0 w 9270309"/>
              <a:gd name="connsiteY3" fmla="*/ 2138658 h 2138658"/>
              <a:gd name="connsiteX4" fmla="*/ 0 w 9270309"/>
              <a:gd name="connsiteY4" fmla="*/ 0 h 21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0309" h="2138658">
                <a:moveTo>
                  <a:pt x="0" y="0"/>
                </a:moveTo>
                <a:lnTo>
                  <a:pt x="9270309" y="0"/>
                </a:lnTo>
                <a:lnTo>
                  <a:pt x="9270309" y="2138658"/>
                </a:lnTo>
                <a:lnTo>
                  <a:pt x="0" y="213865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6680" tIns="106680" rIns="106680" bIns="106680" numCol="1" spcCol="1270" anchor="t" anchorCtr="0">
            <a:noAutofit/>
          </a:bodyPr>
          <a:lstStyle/>
          <a:p>
            <a:pPr lvl="0" defTabSz="1244600">
              <a:lnSpc>
                <a:spcPct val="90000"/>
              </a:lnSpc>
              <a:spcAft>
                <a:spcPct val="35000"/>
              </a:spcAft>
            </a:pPr>
            <a:r>
              <a:rPr lang="ru-RU" sz="2200" dirty="0">
                <a:solidFill>
                  <a:srgbClr val="29325C"/>
                </a:solidFill>
              </a:rPr>
              <a:t>Поддерживает национальный код отчетности и определяет требования для отчетности Компетентных лиц в соответствии с этим кодом</a:t>
            </a:r>
          </a:p>
          <a:p>
            <a:pPr lvl="0" defTabSz="1244600">
              <a:lnSpc>
                <a:spcPct val="90000"/>
              </a:lnSpc>
              <a:spcAft>
                <a:spcPct val="35000"/>
              </a:spcAft>
            </a:pPr>
            <a:r>
              <a:rPr lang="ru-RU" sz="2200" dirty="0">
                <a:solidFill>
                  <a:srgbClr val="29325C"/>
                </a:solidFill>
              </a:rPr>
              <a:t>Устанавливает прямые формальные или неформальные отношения с любым другим NRO</a:t>
            </a:r>
          </a:p>
          <a:p>
            <a:pPr lvl="0" defTabSz="1244600">
              <a:lnSpc>
                <a:spcPct val="90000"/>
              </a:lnSpc>
              <a:spcAft>
                <a:spcPct val="35000"/>
              </a:spcAft>
            </a:pPr>
            <a:r>
              <a:rPr lang="ru-RU" sz="2200" dirty="0">
                <a:solidFill>
                  <a:srgbClr val="29325C"/>
                </a:solidFill>
              </a:rPr>
              <a:t>Состоит из одной или нескольких профессиональных организаций</a:t>
            </a:r>
          </a:p>
          <a:p>
            <a:pPr lvl="0" defTabSz="1244600">
              <a:lnSpc>
                <a:spcPct val="90000"/>
              </a:lnSpc>
              <a:spcAft>
                <a:spcPct val="35000"/>
              </a:spcAft>
            </a:pPr>
            <a:r>
              <a:rPr lang="ru-RU" sz="2200" dirty="0">
                <a:solidFill>
                  <a:srgbClr val="29325C"/>
                </a:solidFill>
              </a:rPr>
              <a:t>Каждая профессиональная организация может иметь разные требования к членству</a:t>
            </a:r>
            <a:endParaRPr lang="en-GB" sz="2400" i="0" kern="1200" dirty="0">
              <a:solidFill>
                <a:srgbClr val="29325C"/>
              </a:solidFill>
              <a:latin typeface="+mn-lt"/>
            </a:endParaRPr>
          </a:p>
        </p:txBody>
      </p:sp>
      <p:sp>
        <p:nvSpPr>
          <p:cNvPr id="12" name="Straight Connector 11"/>
          <p:cNvSpPr/>
          <p:nvPr/>
        </p:nvSpPr>
        <p:spPr>
          <a:xfrm>
            <a:off x="598891" y="4881512"/>
            <a:ext cx="11809311" cy="0"/>
          </a:xfrm>
          <a:prstGeom prst="line">
            <a:avLst/>
          </a:prstGeom>
          <a:ln w="28575">
            <a:solidFill>
              <a:srgbClr val="29325C"/>
            </a:solidFill>
          </a:ln>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3" name="Freeform 12"/>
          <p:cNvSpPr/>
          <p:nvPr/>
        </p:nvSpPr>
        <p:spPr>
          <a:xfrm>
            <a:off x="3137893" y="5284457"/>
            <a:ext cx="9270309" cy="2138658"/>
          </a:xfrm>
          <a:custGeom>
            <a:avLst/>
            <a:gdLst>
              <a:gd name="connsiteX0" fmla="*/ 0 w 9270309"/>
              <a:gd name="connsiteY0" fmla="*/ 0 h 2138658"/>
              <a:gd name="connsiteX1" fmla="*/ 9270309 w 9270309"/>
              <a:gd name="connsiteY1" fmla="*/ 0 h 2138658"/>
              <a:gd name="connsiteX2" fmla="*/ 9270309 w 9270309"/>
              <a:gd name="connsiteY2" fmla="*/ 2138658 h 2138658"/>
              <a:gd name="connsiteX3" fmla="*/ 0 w 9270309"/>
              <a:gd name="connsiteY3" fmla="*/ 2138658 h 2138658"/>
              <a:gd name="connsiteX4" fmla="*/ 0 w 9270309"/>
              <a:gd name="connsiteY4" fmla="*/ 0 h 21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0309" h="2138658">
                <a:moveTo>
                  <a:pt x="0" y="0"/>
                </a:moveTo>
                <a:lnTo>
                  <a:pt x="9270309" y="0"/>
                </a:lnTo>
                <a:lnTo>
                  <a:pt x="9270309" y="2138658"/>
                </a:lnTo>
                <a:lnTo>
                  <a:pt x="0" y="213865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47650" tIns="247650" rIns="247650" bIns="247650" numCol="1" spcCol="1270" anchor="t" anchorCtr="0">
            <a:noAutofit/>
          </a:bodyPr>
          <a:lstStyle/>
          <a:p>
            <a:pPr lvl="0" algn="l" defTabSz="2889250">
              <a:lnSpc>
                <a:spcPct val="90000"/>
              </a:lnSpc>
              <a:spcBef>
                <a:spcPct val="0"/>
              </a:spcBef>
              <a:spcAft>
                <a:spcPct val="35000"/>
              </a:spcAft>
            </a:pPr>
            <a:endParaRPr lang="en-GB" sz="6500" kern="1200" dirty="0">
              <a:solidFill>
                <a:srgbClr val="29325C"/>
              </a:solidFill>
            </a:endParaRPr>
          </a:p>
        </p:txBody>
      </p:sp>
      <p:sp>
        <p:nvSpPr>
          <p:cNvPr id="17" name="Freeform 16"/>
          <p:cNvSpPr/>
          <p:nvPr/>
        </p:nvSpPr>
        <p:spPr>
          <a:xfrm>
            <a:off x="597744" y="4881512"/>
            <a:ext cx="2361862" cy="4254764"/>
          </a:xfrm>
          <a:custGeom>
            <a:avLst/>
            <a:gdLst>
              <a:gd name="connsiteX0" fmla="*/ 0 w 2361862"/>
              <a:gd name="connsiteY0" fmla="*/ 0 h 6843706"/>
              <a:gd name="connsiteX1" fmla="*/ 2361862 w 2361862"/>
              <a:gd name="connsiteY1" fmla="*/ 0 h 6843706"/>
              <a:gd name="connsiteX2" fmla="*/ 2361862 w 2361862"/>
              <a:gd name="connsiteY2" fmla="*/ 6843706 h 6843706"/>
              <a:gd name="connsiteX3" fmla="*/ 0 w 2361862"/>
              <a:gd name="connsiteY3" fmla="*/ 6843706 h 6843706"/>
              <a:gd name="connsiteX4" fmla="*/ 0 w 2361862"/>
              <a:gd name="connsiteY4" fmla="*/ 0 h 6843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1862" h="6843706">
                <a:moveTo>
                  <a:pt x="0" y="0"/>
                </a:moveTo>
                <a:lnTo>
                  <a:pt x="2361862" y="0"/>
                </a:lnTo>
                <a:lnTo>
                  <a:pt x="2361862" y="6843706"/>
                </a:lnTo>
                <a:lnTo>
                  <a:pt x="0" y="684370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9550" tIns="209550" rIns="209550" bIns="209550" numCol="1" spcCol="1270" anchor="t" anchorCtr="0">
            <a:noAutofit/>
          </a:bodyPr>
          <a:lstStyle/>
          <a:p>
            <a:pPr lvl="0" algn="l" defTabSz="2444750">
              <a:lnSpc>
                <a:spcPct val="90000"/>
              </a:lnSpc>
              <a:spcBef>
                <a:spcPct val="0"/>
              </a:spcBef>
              <a:spcAft>
                <a:spcPct val="35000"/>
              </a:spcAft>
            </a:pPr>
            <a:r>
              <a:rPr lang="en-GB" sz="4800" b="1" kern="1200" dirty="0">
                <a:solidFill>
                  <a:srgbClr val="29325C"/>
                </a:solidFill>
              </a:rPr>
              <a:t>RPO</a:t>
            </a:r>
          </a:p>
        </p:txBody>
      </p:sp>
      <p:sp>
        <p:nvSpPr>
          <p:cNvPr id="19" name="Freeform 18"/>
          <p:cNvSpPr/>
          <p:nvPr/>
        </p:nvSpPr>
        <p:spPr>
          <a:xfrm>
            <a:off x="3136747" y="4876800"/>
            <a:ext cx="9270309" cy="2121141"/>
          </a:xfrm>
          <a:custGeom>
            <a:avLst/>
            <a:gdLst>
              <a:gd name="connsiteX0" fmla="*/ 0 w 9270309"/>
              <a:gd name="connsiteY0" fmla="*/ 0 h 2138658"/>
              <a:gd name="connsiteX1" fmla="*/ 9270309 w 9270309"/>
              <a:gd name="connsiteY1" fmla="*/ 0 h 2138658"/>
              <a:gd name="connsiteX2" fmla="*/ 9270309 w 9270309"/>
              <a:gd name="connsiteY2" fmla="*/ 2138658 h 2138658"/>
              <a:gd name="connsiteX3" fmla="*/ 0 w 9270309"/>
              <a:gd name="connsiteY3" fmla="*/ 2138658 h 2138658"/>
              <a:gd name="connsiteX4" fmla="*/ 0 w 9270309"/>
              <a:gd name="connsiteY4" fmla="*/ 0 h 21386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0309" h="2138658">
                <a:moveTo>
                  <a:pt x="0" y="0"/>
                </a:moveTo>
                <a:lnTo>
                  <a:pt x="9270309" y="0"/>
                </a:lnTo>
                <a:lnTo>
                  <a:pt x="9270309" y="2138658"/>
                </a:lnTo>
                <a:lnTo>
                  <a:pt x="0" y="213865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06680" tIns="106680" rIns="106680" bIns="106680" numCol="1" spcCol="1270" anchor="t" anchorCtr="0">
            <a:noAutofit/>
          </a:bodyPr>
          <a:lstStyle/>
          <a:p>
            <a:pPr lvl="0" defTabSz="1244600">
              <a:lnSpc>
                <a:spcPct val="90000"/>
              </a:lnSpc>
              <a:spcAft>
                <a:spcPct val="35000"/>
              </a:spcAft>
            </a:pPr>
            <a:r>
              <a:rPr lang="ru-RU" sz="2200" dirty="0">
                <a:solidFill>
                  <a:srgbClr val="29325C"/>
                </a:solidFill>
              </a:rPr>
              <a:t>NRO могут </a:t>
            </a:r>
            <a:r>
              <a:rPr lang="ru-RU" sz="2200" b="1" dirty="0">
                <a:solidFill>
                  <a:srgbClr val="FF0000"/>
                </a:solidFill>
              </a:rPr>
              <a:t>признавать</a:t>
            </a:r>
            <a:r>
              <a:rPr lang="ru-RU" sz="2200" dirty="0">
                <a:solidFill>
                  <a:srgbClr val="29325C"/>
                </a:solidFill>
              </a:rPr>
              <a:t> категории членства профессиональных организаций, включенных в другие NRO.</a:t>
            </a:r>
          </a:p>
          <a:p>
            <a:pPr lvl="0" defTabSz="1244600">
              <a:lnSpc>
                <a:spcPct val="90000"/>
              </a:lnSpc>
              <a:spcAft>
                <a:spcPct val="35000"/>
              </a:spcAft>
            </a:pPr>
            <a:r>
              <a:rPr lang="ru-RU" sz="2200" dirty="0">
                <a:solidFill>
                  <a:srgbClr val="29325C"/>
                </a:solidFill>
              </a:rPr>
              <a:t>Процесс признания отличается для каждого NRO</a:t>
            </a:r>
          </a:p>
          <a:p>
            <a:pPr lvl="0" defTabSz="1244600">
              <a:lnSpc>
                <a:spcPct val="90000"/>
              </a:lnSpc>
              <a:spcAft>
                <a:spcPct val="35000"/>
              </a:spcAft>
            </a:pPr>
            <a:r>
              <a:rPr lang="ru-RU" sz="2200" dirty="0">
                <a:solidFill>
                  <a:srgbClr val="29325C"/>
                </a:solidFill>
              </a:rPr>
              <a:t>Может потребоваться одобрение рынка, биржи или других регулирующих органов.</a:t>
            </a:r>
            <a:endParaRPr lang="en-GB" sz="2400" dirty="0">
              <a:solidFill>
                <a:srgbClr val="29325C"/>
              </a:solidFill>
            </a:endParaRPr>
          </a:p>
        </p:txBody>
      </p:sp>
      <p:sp>
        <p:nvSpPr>
          <p:cNvPr id="20" name="Straight Connector 19"/>
          <p:cNvSpPr/>
          <p:nvPr/>
        </p:nvSpPr>
        <p:spPr>
          <a:xfrm>
            <a:off x="598891" y="7051706"/>
            <a:ext cx="11809311" cy="0"/>
          </a:xfrm>
          <a:prstGeom prst="line">
            <a:avLst/>
          </a:prstGeom>
          <a:ln w="28575">
            <a:solidFill>
              <a:srgbClr val="29325C"/>
            </a:solidFill>
          </a:ln>
        </p:spPr>
        <p:style>
          <a:lnRef idx="2">
            <a:schemeClr val="accent1">
              <a:tint val="50000"/>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22" name="Rectangle 21"/>
          <p:cNvSpPr/>
          <p:nvPr/>
        </p:nvSpPr>
        <p:spPr>
          <a:xfrm>
            <a:off x="283332" y="7405598"/>
            <a:ext cx="12438136" cy="1107996"/>
          </a:xfrm>
          <a:prstGeom prst="rect">
            <a:avLst/>
          </a:prstGeom>
        </p:spPr>
        <p:txBody>
          <a:bodyPr wrap="square">
            <a:spAutoFit/>
          </a:bodyPr>
          <a:lstStyle/>
          <a:p>
            <a:pPr algn="ctr"/>
            <a:r>
              <a:rPr lang="ru-RU" sz="2200" b="1" i="1" dirty="0">
                <a:solidFill>
                  <a:srgbClr val="293756"/>
                </a:solidFill>
              </a:rPr>
              <a:t>Признание RPO другой NRO имеет целью позволить члену RPO действовать в качестве Компетентного лица в этой юрисдикции. Это привлекательно для профессионалов, компаний и инвесторов, работающих на глобальном мировом рынке.</a:t>
            </a:r>
            <a:endParaRPr lang="en-GB" sz="2200" b="1" i="1" dirty="0">
              <a:solidFill>
                <a:srgbClr val="293756"/>
              </a:solidFill>
            </a:endParaRPr>
          </a:p>
        </p:txBody>
      </p:sp>
    </p:spTree>
    <p:custDataLst>
      <p:tags r:id="rId2"/>
    </p:custDataLst>
  </p:cSld>
  <p:clrMapOvr>
    <a:masterClrMapping/>
  </p:clrMapOvr>
  <p:transition advTm="35944"/>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63377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bwMode="auto">
          <a:xfrm>
            <a:off x="0" y="0"/>
            <a:ext cx="158750" cy="158750"/>
          </a:xfrm>
          <a:prstGeom prst="rect">
            <a:avLst/>
          </a:prstGeom>
          <a:blipFill dpi="0" rotWithShape="0">
            <a:blip r:embed="rId9"/>
            <a:srcRect/>
            <a:tile tx="0" ty="0" sx="100000" sy="100000" flip="none" algn="tl"/>
          </a:blipFill>
          <a:ln w="254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a:endParaRPr kumimoji="0" lang="en-US" sz="4800" u="none" strike="noStrike" cap="none" normalizeH="0" dirty="0">
              <a:ln>
                <a:noFill/>
              </a:ln>
              <a:solidFill>
                <a:srgbClr val="000000"/>
              </a:solidFill>
              <a:effectLst/>
              <a:ea typeface="ヒラギノ角ゴ ProN W3" charset="0"/>
              <a:cs typeface="ヒラギノ角ゴ ProN W3" charset="0"/>
            </a:endParaRPr>
          </a:p>
        </p:txBody>
      </p:sp>
      <p:sp>
        <p:nvSpPr>
          <p:cNvPr id="25602" name="Rectangle 1"/>
          <p:cNvSpPr>
            <a:spLocks noGrp="1" noChangeArrowheads="1"/>
          </p:cNvSpPr>
          <p:nvPr>
            <p:ph type="title"/>
          </p:nvPr>
        </p:nvSpPr>
        <p:spPr>
          <a:xfrm>
            <a:off x="1969200" y="176400"/>
            <a:ext cx="10464800" cy="831600"/>
          </a:xfrm>
        </p:spPr>
        <p:txBody>
          <a:bodyPr/>
          <a:lstStyle/>
          <a:p>
            <a:pPr eaLnBrk="1" hangingPunct="1"/>
            <a:r>
              <a:rPr lang="ru-RU" dirty="0"/>
              <a:t>Признание Компетентных Лиц</a:t>
            </a:r>
            <a:endParaRPr lang="en-US" dirty="0"/>
          </a:p>
        </p:txBody>
      </p:sp>
      <p:sp>
        <p:nvSpPr>
          <p:cNvPr id="25603" name="Rectangle 2"/>
          <p:cNvSpPr>
            <a:spLocks noGrp="1" noChangeArrowheads="1"/>
          </p:cNvSpPr>
          <p:nvPr>
            <p:ph type="body" idx="1"/>
          </p:nvPr>
        </p:nvSpPr>
        <p:spPr>
          <a:xfrm>
            <a:off x="309712" y="1996480"/>
            <a:ext cx="12313368" cy="6768752"/>
          </a:xfrm>
        </p:spPr>
        <p:txBody>
          <a:bodyPr/>
          <a:lstStyle/>
          <a:p>
            <a:pPr marL="811213" algn="just" eaLnBrk="1" hangingPunct="1">
              <a:buClr>
                <a:srgbClr val="29325C"/>
              </a:buClr>
              <a:buSzPct val="100000"/>
              <a:buFontTx/>
              <a:buChar char="●"/>
            </a:pPr>
            <a:r>
              <a:rPr lang="ru-RU" sz="2200" b="1" dirty="0"/>
              <a:t>Каждый RPO имеет свой устав и категории / критерии членства</a:t>
            </a:r>
          </a:p>
          <a:p>
            <a:pPr marL="1255713" lvl="1" algn="just" eaLnBrk="1" hangingPunct="1">
              <a:spcBef>
                <a:spcPts val="600"/>
              </a:spcBef>
              <a:buClr>
                <a:srgbClr val="29325C"/>
              </a:buClr>
              <a:buSzPct val="100000"/>
              <a:buFont typeface="Wingdings" panose="05000000000000000000" pitchFamily="2" charset="2"/>
              <a:buChar char="Ø"/>
            </a:pPr>
            <a:r>
              <a:rPr lang="ru-RU" sz="2200" i="1" dirty="0"/>
              <a:t>В целом, признание другой NRO подтверждает, что критерии членства RPO являются приемлемыми и в целом эквивалентны критериям профессиональных организаций, включенных в эту NRO</a:t>
            </a:r>
            <a:endParaRPr lang="en-US" sz="2200" i="1" dirty="0"/>
          </a:p>
          <a:p>
            <a:pPr marL="811213" algn="just" eaLnBrk="1" hangingPunct="1">
              <a:buClr>
                <a:srgbClr val="29325C"/>
              </a:buClr>
              <a:buSzPct val="100000"/>
              <a:buFontTx/>
              <a:buChar char="●"/>
            </a:pPr>
            <a:r>
              <a:rPr lang="ru-RU" sz="2200" b="1" dirty="0"/>
              <a:t>Требования к Компетентным Лицам могут отличаться между NRO (и как указано в соответствующих отчетных кодексах)</a:t>
            </a:r>
          </a:p>
          <a:p>
            <a:pPr marL="1255713" lvl="1" algn="just" eaLnBrk="1" hangingPunct="1">
              <a:spcBef>
                <a:spcPts val="600"/>
              </a:spcBef>
              <a:buClr>
                <a:srgbClr val="29325C"/>
              </a:buClr>
              <a:buSzPct val="100000"/>
              <a:buFont typeface="Wingdings" panose="05000000000000000000" pitchFamily="2" charset="2"/>
              <a:buChar char="Ø"/>
            </a:pPr>
            <a:r>
              <a:rPr lang="ru-RU" sz="2200" i="1" dirty="0" err="1"/>
              <a:t>Аттестованность</a:t>
            </a:r>
            <a:r>
              <a:rPr lang="ru-RU" sz="2200" i="1" dirty="0"/>
              <a:t> (приемлемость) в качестве Компетентного лица по-прежнему должна учитывать особые требования этого NRO и не может полагаться на общие соглашения между NRO и RPO или прямые безусловные соглашения взаимности между RPO</a:t>
            </a:r>
          </a:p>
          <a:p>
            <a:pPr marL="811213" lvl="1" algn="just" eaLnBrk="1" hangingPunct="1">
              <a:buClr>
                <a:srgbClr val="29325C"/>
              </a:buClr>
              <a:buSzPct val="100000"/>
              <a:buFontTx/>
              <a:buChar char="●"/>
            </a:pPr>
            <a:r>
              <a:rPr lang="ru-RU" sz="2200" b="1" dirty="0"/>
              <a:t>Профессиональные организации, заинтересованные в признании NRO в других юрисдикциях, следуют процедурам подачи заявок, меняющимися от одних NRO к другим NRO</a:t>
            </a:r>
          </a:p>
          <a:p>
            <a:pPr marL="1255713" lvl="1" algn="just" eaLnBrk="1" hangingPunct="1">
              <a:spcBef>
                <a:spcPts val="600"/>
              </a:spcBef>
              <a:buClr>
                <a:srgbClr val="29325C"/>
              </a:buClr>
              <a:buSzPct val="100000"/>
              <a:buFont typeface="Wingdings" panose="05000000000000000000" pitchFamily="2" charset="2"/>
              <a:buChar char="Ø"/>
            </a:pPr>
            <a:r>
              <a:rPr lang="ru-RU" sz="2200" i="1" dirty="0"/>
              <a:t>Соглашения о взаимном признании, подписанные NRO и RPO, могут облегчить процесс, но в целом не подразумевают автоматического признания Компетентных лиц в «новой» юрисдикции.</a:t>
            </a:r>
            <a:endParaRPr lang="en-US" sz="2200" i="1" dirty="0"/>
          </a:p>
        </p:txBody>
      </p:sp>
    </p:spTree>
    <p:custDataLst>
      <p:tags r:id="rId2"/>
    </p:custDataLst>
    <p:extLst>
      <p:ext uri="{BB962C8B-B14F-4D97-AF65-F5344CB8AC3E}">
        <p14:creationId xmlns:p14="http://schemas.microsoft.com/office/powerpoint/2010/main" val="1859988864"/>
      </p:ext>
    </p:extLst>
  </p:cSld>
  <p:clrMapOvr>
    <a:masterClrMapping/>
  </p:clrMapOvr>
  <p:transition advTm="75993"/>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57" name="CaixaDeTexto 2"/>
          <p:cNvSpPr txBox="1">
            <a:spLocks noChangeArrowheads="1"/>
          </p:cNvSpPr>
          <p:nvPr/>
        </p:nvSpPr>
        <p:spPr bwMode="auto">
          <a:xfrm>
            <a:off x="2037904" y="196280"/>
            <a:ext cx="14699858" cy="830997"/>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lvl1pPr eaLnBrk="1" hangingPunct="1">
              <a:defRPr sz="4800">
                <a:solidFill>
                  <a:srgbClr val="D1C46D"/>
                </a:solidFill>
                <a:latin typeface="+mj-lt"/>
                <a:ea typeface="+mj-ea"/>
                <a:cs typeface="+mj-cs"/>
              </a:defRPr>
            </a:lvl1pPr>
            <a:lvl2pPr eaLnBrk="0" hangingPunct="0">
              <a:defRPr sz="4800">
                <a:solidFill>
                  <a:srgbClr val="D1C46D"/>
                </a:solidFill>
                <a:latin typeface="Gill Sans" charset="0"/>
                <a:ea typeface="ヒラギノ角ゴ ProN W3" charset="0"/>
                <a:cs typeface="ヒラギノ角ゴ ProN W3" charset="0"/>
              </a:defRPr>
            </a:lvl2pPr>
            <a:lvl3pPr eaLnBrk="0" hangingPunct="0">
              <a:defRPr sz="4800">
                <a:solidFill>
                  <a:srgbClr val="D1C46D"/>
                </a:solidFill>
                <a:latin typeface="Gill Sans" charset="0"/>
                <a:ea typeface="ヒラギノ角ゴ ProN W3" charset="0"/>
                <a:cs typeface="ヒラギノ角ゴ ProN W3" charset="0"/>
              </a:defRPr>
            </a:lvl3pPr>
            <a:lvl4pPr eaLnBrk="0" hangingPunct="0">
              <a:defRPr sz="4800">
                <a:solidFill>
                  <a:srgbClr val="D1C46D"/>
                </a:solidFill>
                <a:latin typeface="Gill Sans" charset="0"/>
                <a:ea typeface="ヒラギノ角ゴ ProN W3" charset="0"/>
                <a:cs typeface="ヒラギノ角ゴ ProN W3" charset="0"/>
              </a:defRPr>
            </a:lvl4pPr>
            <a:lvl5pPr eaLnBrk="0" hangingPunct="0">
              <a:defRPr sz="4800">
                <a:solidFill>
                  <a:srgbClr val="D1C46D"/>
                </a:solidFill>
                <a:latin typeface="Gill Sans" charset="0"/>
                <a:ea typeface="ヒラギノ角ゴ ProN W3" charset="0"/>
                <a:cs typeface="ヒラギノ角ゴ ProN W3" charset="0"/>
              </a:defRPr>
            </a:lvl5pPr>
            <a:lvl6pPr marL="4572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a:lstStyle>
          <a:p>
            <a:r>
              <a:rPr lang="ru-RU" altLang="pt-BR" dirty="0"/>
              <a:t>Минимальные требования к КЛ</a:t>
            </a:r>
            <a:endParaRPr lang="pt-BR" altLang="pt-BR" dirty="0"/>
          </a:p>
        </p:txBody>
      </p:sp>
      <p:graphicFrame>
        <p:nvGraphicFramePr>
          <p:cNvPr id="2" name="Tabela 1"/>
          <p:cNvGraphicFramePr>
            <a:graphicFrameLocks noGrp="1"/>
          </p:cNvGraphicFramePr>
          <p:nvPr>
            <p:extLst>
              <p:ext uri="{D42A27DB-BD31-4B8C-83A1-F6EECF244321}">
                <p14:modId xmlns:p14="http://schemas.microsoft.com/office/powerpoint/2010/main" val="3011938160"/>
              </p:ext>
            </p:extLst>
          </p:nvPr>
        </p:nvGraphicFramePr>
        <p:xfrm>
          <a:off x="237703" y="1996480"/>
          <a:ext cx="12623085" cy="6840760"/>
        </p:xfrm>
        <a:graphic>
          <a:graphicData uri="http://schemas.openxmlformats.org/drawingml/2006/table">
            <a:tbl>
              <a:tblPr firstRow="1" bandRow="1">
                <a:tableStyleId>{5C22544A-7EE6-4342-B048-85BDC9FD1C3A}</a:tableStyleId>
              </a:tblPr>
              <a:tblGrid>
                <a:gridCol w="1531324">
                  <a:extLst>
                    <a:ext uri="{9D8B030D-6E8A-4147-A177-3AD203B41FA5}">
                      <a16:colId xmlns:a16="http://schemas.microsoft.com/office/drawing/2014/main" val="20000"/>
                    </a:ext>
                  </a:extLst>
                </a:gridCol>
                <a:gridCol w="809348">
                  <a:extLst>
                    <a:ext uri="{9D8B030D-6E8A-4147-A177-3AD203B41FA5}">
                      <a16:colId xmlns:a16="http://schemas.microsoft.com/office/drawing/2014/main" val="20001"/>
                    </a:ext>
                  </a:extLst>
                </a:gridCol>
                <a:gridCol w="735771">
                  <a:extLst>
                    <a:ext uri="{9D8B030D-6E8A-4147-A177-3AD203B41FA5}">
                      <a16:colId xmlns:a16="http://schemas.microsoft.com/office/drawing/2014/main" val="20002"/>
                    </a:ext>
                  </a:extLst>
                </a:gridCol>
                <a:gridCol w="919715">
                  <a:extLst>
                    <a:ext uri="{9D8B030D-6E8A-4147-A177-3AD203B41FA5}">
                      <a16:colId xmlns:a16="http://schemas.microsoft.com/office/drawing/2014/main" val="20003"/>
                    </a:ext>
                  </a:extLst>
                </a:gridCol>
                <a:gridCol w="754165">
                  <a:extLst>
                    <a:ext uri="{9D8B030D-6E8A-4147-A177-3AD203B41FA5}">
                      <a16:colId xmlns:a16="http://schemas.microsoft.com/office/drawing/2014/main" val="20004"/>
                    </a:ext>
                  </a:extLst>
                </a:gridCol>
                <a:gridCol w="735771">
                  <a:extLst>
                    <a:ext uri="{9D8B030D-6E8A-4147-A177-3AD203B41FA5}">
                      <a16:colId xmlns:a16="http://schemas.microsoft.com/office/drawing/2014/main" val="20005"/>
                    </a:ext>
                  </a:extLst>
                </a:gridCol>
                <a:gridCol w="956502">
                  <a:extLst>
                    <a:ext uri="{9D8B030D-6E8A-4147-A177-3AD203B41FA5}">
                      <a16:colId xmlns:a16="http://schemas.microsoft.com/office/drawing/2014/main" val="20006"/>
                    </a:ext>
                  </a:extLst>
                </a:gridCol>
                <a:gridCol w="882927">
                  <a:extLst>
                    <a:ext uri="{9D8B030D-6E8A-4147-A177-3AD203B41FA5}">
                      <a16:colId xmlns:a16="http://schemas.microsoft.com/office/drawing/2014/main" val="20007"/>
                    </a:ext>
                  </a:extLst>
                </a:gridCol>
                <a:gridCol w="882927">
                  <a:extLst>
                    <a:ext uri="{9D8B030D-6E8A-4147-A177-3AD203B41FA5}">
                      <a16:colId xmlns:a16="http://schemas.microsoft.com/office/drawing/2014/main" val="20008"/>
                    </a:ext>
                  </a:extLst>
                </a:gridCol>
                <a:gridCol w="882927">
                  <a:extLst>
                    <a:ext uri="{9D8B030D-6E8A-4147-A177-3AD203B41FA5}">
                      <a16:colId xmlns:a16="http://schemas.microsoft.com/office/drawing/2014/main" val="20009"/>
                    </a:ext>
                  </a:extLst>
                </a:gridCol>
                <a:gridCol w="882927">
                  <a:extLst>
                    <a:ext uri="{9D8B030D-6E8A-4147-A177-3AD203B41FA5}">
                      <a16:colId xmlns:a16="http://schemas.microsoft.com/office/drawing/2014/main" val="20010"/>
                    </a:ext>
                  </a:extLst>
                </a:gridCol>
                <a:gridCol w="882927">
                  <a:extLst>
                    <a:ext uri="{9D8B030D-6E8A-4147-A177-3AD203B41FA5}">
                      <a16:colId xmlns:a16="http://schemas.microsoft.com/office/drawing/2014/main" val="20011"/>
                    </a:ext>
                  </a:extLst>
                </a:gridCol>
                <a:gridCol w="882927">
                  <a:extLst>
                    <a:ext uri="{9D8B030D-6E8A-4147-A177-3AD203B41FA5}">
                      <a16:colId xmlns:a16="http://schemas.microsoft.com/office/drawing/2014/main" val="20012"/>
                    </a:ext>
                  </a:extLst>
                </a:gridCol>
                <a:gridCol w="882927">
                  <a:extLst>
                    <a:ext uri="{9D8B030D-6E8A-4147-A177-3AD203B41FA5}">
                      <a16:colId xmlns:a16="http://schemas.microsoft.com/office/drawing/2014/main" val="20013"/>
                    </a:ext>
                  </a:extLst>
                </a:gridCol>
              </a:tblGrid>
              <a:tr h="550011">
                <a:tc>
                  <a:txBody>
                    <a:bodyPr/>
                    <a:lstStyle/>
                    <a:p>
                      <a:pPr algn="l" fontAlgn="t"/>
                      <a:r>
                        <a:rPr lang="pt-BR" sz="1800" u="none" strike="noStrike" dirty="0">
                          <a:effectLst/>
                        </a:rPr>
                        <a:t> </a:t>
                      </a:r>
                      <a:endParaRPr lang="pt-BR" sz="1800" b="0" i="0" u="none" strike="noStrike" dirty="0">
                        <a:solidFill>
                          <a:srgbClr val="000000"/>
                        </a:solidFill>
                        <a:effectLst/>
                        <a:latin typeface="Arial" panose="020B0604020202020204" pitchFamily="34" charset="0"/>
                      </a:endParaRPr>
                    </a:p>
                  </a:txBody>
                  <a:tcPr marL="9400" marR="9400" marT="9400" marB="0"/>
                </a:tc>
                <a:tc>
                  <a:txBody>
                    <a:bodyPr/>
                    <a:lstStyle/>
                    <a:p>
                      <a:pPr algn="ctr" rtl="0" fontAlgn="ctr"/>
                      <a:r>
                        <a:rPr lang="pt-BR" sz="1000" u="none" strike="noStrike" dirty="0">
                          <a:solidFill>
                            <a:schemeClr val="tx1"/>
                          </a:solidFill>
                          <a:effectLst/>
                        </a:rPr>
                        <a:t>CBRR (</a:t>
                      </a:r>
                      <a:r>
                        <a:rPr lang="pt-BR" sz="1000" u="none" strike="noStrike" dirty="0" err="1">
                          <a:solidFill>
                            <a:schemeClr val="tx1"/>
                          </a:solidFill>
                          <a:effectLst/>
                        </a:rPr>
                        <a:t>Brazil</a:t>
                      </a:r>
                      <a:r>
                        <a:rPr lang="pt-BR" sz="1000" u="none" strike="noStrike" dirty="0">
                          <a:solidFill>
                            <a:schemeClr val="tx1"/>
                          </a:solidFill>
                          <a:effectLst/>
                        </a:rPr>
                        <a:t>)</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SME</a:t>
                      </a:r>
                    </a:p>
                    <a:p>
                      <a:pPr algn="ctr" rtl="0" fontAlgn="ctr"/>
                      <a:r>
                        <a:rPr lang="pt-BR" sz="1000" u="none" strike="noStrike" dirty="0">
                          <a:solidFill>
                            <a:schemeClr val="tx1"/>
                          </a:solidFill>
                          <a:effectLst/>
                        </a:rPr>
                        <a:t>(USA)</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CM </a:t>
                      </a:r>
                    </a:p>
                    <a:p>
                      <a:pPr algn="ctr" rtl="0" fontAlgn="ctr"/>
                      <a:r>
                        <a:rPr lang="pt-BR" sz="1000" u="none" strike="noStrike" dirty="0">
                          <a:solidFill>
                            <a:schemeClr val="tx1"/>
                          </a:solidFill>
                          <a:effectLst/>
                        </a:rPr>
                        <a:t>(Chile)</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CIM (Canada)</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PERC (</a:t>
                      </a:r>
                      <a:r>
                        <a:rPr lang="pt-BR" sz="1000" u="none" strike="noStrike" dirty="0" err="1">
                          <a:solidFill>
                            <a:schemeClr val="tx1"/>
                          </a:solidFill>
                          <a:effectLst/>
                        </a:rPr>
                        <a:t>Europe</a:t>
                      </a:r>
                      <a:r>
                        <a:rPr lang="pt-BR" sz="1000" u="none" strike="noStrike" dirty="0">
                          <a:solidFill>
                            <a:schemeClr val="tx1"/>
                          </a:solidFill>
                          <a:effectLst/>
                        </a:rPr>
                        <a:t>)</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err="1">
                          <a:solidFill>
                            <a:schemeClr val="tx1"/>
                          </a:solidFill>
                          <a:effectLst/>
                        </a:rPr>
                        <a:t>Samrec</a:t>
                      </a:r>
                      <a:endParaRPr lang="pt-BR" sz="1000" u="none" strike="noStrike" dirty="0">
                        <a:solidFill>
                          <a:schemeClr val="tx1"/>
                        </a:solidFill>
                        <a:effectLst/>
                      </a:endParaRPr>
                    </a:p>
                    <a:p>
                      <a:pPr algn="ctr" rtl="0" fontAlgn="ctr"/>
                      <a:r>
                        <a:rPr lang="pt-BR" sz="1000" u="none" strike="noStrike" dirty="0">
                          <a:solidFill>
                            <a:schemeClr val="tx1"/>
                          </a:solidFill>
                          <a:effectLst/>
                        </a:rPr>
                        <a:t> (South </a:t>
                      </a:r>
                      <a:r>
                        <a:rPr lang="pt-BR" sz="1000" u="none" strike="noStrike" dirty="0" err="1">
                          <a:solidFill>
                            <a:schemeClr val="tx1"/>
                          </a:solidFill>
                          <a:effectLst/>
                        </a:rPr>
                        <a:t>Africa</a:t>
                      </a:r>
                      <a:r>
                        <a:rPr lang="pt-BR" sz="1000" u="none" strike="noStrike" dirty="0">
                          <a:solidFill>
                            <a:schemeClr val="tx1"/>
                          </a:solidFill>
                          <a:effectLst/>
                        </a:rPr>
                        <a:t>)</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JORC (</a:t>
                      </a:r>
                      <a:r>
                        <a:rPr lang="pt-BR" sz="1000" u="none" strike="noStrike" dirty="0" err="1">
                          <a:solidFill>
                            <a:schemeClr val="tx1"/>
                          </a:solidFill>
                          <a:effectLst/>
                        </a:rPr>
                        <a:t>Australasia</a:t>
                      </a:r>
                      <a:r>
                        <a:rPr lang="pt-BR" sz="1000" u="none" strike="noStrike" dirty="0">
                          <a:solidFill>
                            <a:schemeClr val="tx1"/>
                          </a:solidFill>
                          <a:effectLst/>
                        </a:rPr>
                        <a:t>)</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MRC (</a:t>
                      </a:r>
                      <a:r>
                        <a:rPr lang="pt-BR" sz="1000" u="none" strike="noStrike" dirty="0" err="1">
                          <a:solidFill>
                            <a:schemeClr val="tx1"/>
                          </a:solidFill>
                          <a:effectLst/>
                        </a:rPr>
                        <a:t>Mongolia</a:t>
                      </a:r>
                      <a:r>
                        <a:rPr lang="pt-BR" sz="1000" u="none" strike="noStrike" dirty="0">
                          <a:solidFill>
                            <a:schemeClr val="tx1"/>
                          </a:solidFill>
                          <a:effectLst/>
                        </a:rPr>
                        <a:t>)</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OERN (Russia)</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KAZRC (</a:t>
                      </a:r>
                      <a:r>
                        <a:rPr lang="pt-BR" sz="1000" u="none" strike="noStrike" dirty="0" err="1">
                          <a:solidFill>
                            <a:schemeClr val="tx1"/>
                          </a:solidFill>
                          <a:effectLst/>
                        </a:rPr>
                        <a:t>Kazakhstan</a:t>
                      </a:r>
                      <a:r>
                        <a:rPr lang="pt-BR" sz="1000" u="none" strike="noStrike" dirty="0">
                          <a:solidFill>
                            <a:schemeClr val="tx1"/>
                          </a:solidFill>
                          <a:effectLst/>
                        </a:rPr>
                        <a:t>)</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KCMI (</a:t>
                      </a:r>
                      <a:r>
                        <a:rPr lang="pt-BR" sz="1000" u="none" strike="noStrike" dirty="0" err="1">
                          <a:solidFill>
                            <a:schemeClr val="tx1"/>
                          </a:solidFill>
                          <a:effectLst/>
                        </a:rPr>
                        <a:t>Indonesia</a:t>
                      </a:r>
                      <a:r>
                        <a:rPr lang="pt-BR" sz="1000" u="none" strike="noStrike" dirty="0">
                          <a:solidFill>
                            <a:schemeClr val="tx1"/>
                          </a:solidFill>
                          <a:effectLst/>
                        </a:rPr>
                        <a:t>)</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CCCR (Colombia)</a:t>
                      </a:r>
                      <a:endParaRPr lang="pt-BR" sz="1000" b="1" i="0" u="none" strike="noStrike" dirty="0">
                        <a:solidFill>
                          <a:schemeClr val="tx1"/>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solidFill>
                            <a:schemeClr val="tx1"/>
                          </a:solidFill>
                          <a:effectLst/>
                        </a:rPr>
                        <a:t>UMREK (</a:t>
                      </a:r>
                      <a:r>
                        <a:rPr lang="pt-BR" sz="1000" u="none" strike="noStrike" dirty="0" err="1">
                          <a:solidFill>
                            <a:schemeClr val="tx1"/>
                          </a:solidFill>
                          <a:effectLst/>
                        </a:rPr>
                        <a:t>Turkey</a:t>
                      </a:r>
                      <a:r>
                        <a:rPr lang="pt-BR" sz="1000" u="none" strike="noStrike" dirty="0">
                          <a:solidFill>
                            <a:schemeClr val="tx1"/>
                          </a:solidFill>
                          <a:effectLst/>
                        </a:rPr>
                        <a:t>)</a:t>
                      </a:r>
                      <a:endParaRPr lang="pt-BR" sz="1000" b="1" i="0" u="none" strike="noStrike" dirty="0">
                        <a:solidFill>
                          <a:schemeClr val="tx1"/>
                        </a:solidFill>
                        <a:effectLst/>
                        <a:latin typeface="Arial" panose="020B0604020202020204" pitchFamily="34" charset="0"/>
                      </a:endParaRPr>
                    </a:p>
                  </a:txBody>
                  <a:tcPr marL="9400" marR="9400" marT="9400" marB="0" anchor="ctr"/>
                </a:tc>
                <a:extLst>
                  <a:ext uri="{0D108BD9-81ED-4DB2-BD59-A6C34878D82A}">
                    <a16:rowId xmlns:a16="http://schemas.microsoft.com/office/drawing/2014/main" val="10000"/>
                  </a:ext>
                </a:extLst>
              </a:tr>
              <a:tr h="1562281">
                <a:tc>
                  <a:txBody>
                    <a:bodyPr/>
                    <a:lstStyle/>
                    <a:p>
                      <a:pPr algn="l" rtl="0" fontAlgn="ctr"/>
                      <a:r>
                        <a:rPr lang="ru-RU" sz="1200" u="none" strike="noStrike" dirty="0">
                          <a:effectLst/>
                        </a:rPr>
                        <a:t>Производственный опыт в Горной индустрии, лет</a:t>
                      </a:r>
                      <a:endParaRPr lang="en-US" sz="1200" b="0"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10</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10</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dirty="0">
                          <a:effectLst/>
                        </a:rPr>
                        <a:t>5</a:t>
                      </a:r>
                      <a:endParaRPr lang="pt-BR" sz="16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dirty="0">
                          <a:effectLst/>
                        </a:rPr>
                        <a:t>10</a:t>
                      </a:r>
                      <a:endParaRPr lang="pt-BR" sz="16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dirty="0">
                          <a:effectLst/>
                        </a:rPr>
                        <a:t>10</a:t>
                      </a:r>
                      <a:endParaRPr lang="pt-BR" sz="1600" b="1" i="0" u="none" strike="noStrike" dirty="0">
                        <a:solidFill>
                          <a:srgbClr val="000000"/>
                        </a:solidFill>
                        <a:effectLst/>
                        <a:latin typeface="Arial" panose="020B0604020202020204" pitchFamily="34" charset="0"/>
                      </a:endParaRPr>
                    </a:p>
                  </a:txBody>
                  <a:tcPr marL="9400" marR="9400" marT="9400" marB="0" anchor="ctr"/>
                </a:tc>
                <a:extLst>
                  <a:ext uri="{0D108BD9-81ED-4DB2-BD59-A6C34878D82A}">
                    <a16:rowId xmlns:a16="http://schemas.microsoft.com/office/drawing/2014/main" val="10001"/>
                  </a:ext>
                </a:extLst>
              </a:tr>
              <a:tr h="2005478">
                <a:tc>
                  <a:txBody>
                    <a:bodyPr/>
                    <a:lstStyle/>
                    <a:p>
                      <a:pPr algn="l" rtl="0" fontAlgn="ctr"/>
                      <a:r>
                        <a:rPr lang="en-US" sz="1200" u="none" strike="noStrike" dirty="0">
                          <a:effectLst/>
                        </a:rPr>
                        <a:t> </a:t>
                      </a:r>
                      <a:r>
                        <a:rPr lang="ru-RU" sz="1200" u="none" strike="noStrike" dirty="0">
                          <a:effectLst/>
                        </a:rPr>
                        <a:t>Годы соответствующего опыта по типам месторождений и видам минерального сырья </a:t>
                      </a:r>
                      <a:endParaRPr lang="en-US" sz="1200" b="0"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ru-RU" sz="1600" b="0" i="0" u="none" strike="noStrike" dirty="0">
                          <a:solidFill>
                            <a:schemeClr val="dk1"/>
                          </a:solidFill>
                          <a:effectLst/>
                          <a:latin typeface="+mn-lt"/>
                        </a:rPr>
                        <a:t>?</a:t>
                      </a:r>
                      <a:endParaRPr lang="pt-BR" sz="16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5</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7</a:t>
                      </a:r>
                      <a:endParaRPr lang="pt-BR" sz="1600" b="1" i="0" u="none" strike="noStrike">
                        <a:solidFill>
                          <a:srgbClr val="000000"/>
                        </a:solidFill>
                        <a:effectLst/>
                        <a:latin typeface="Arial" panose="020B0604020202020204" pitchFamily="34" charset="0"/>
                      </a:endParaRPr>
                    </a:p>
                  </a:txBody>
                  <a:tcPr marL="9400" marR="9400" marT="9400" marB="0" anchor="ctr"/>
                </a:tc>
                <a:extLst>
                  <a:ext uri="{0D108BD9-81ED-4DB2-BD59-A6C34878D82A}">
                    <a16:rowId xmlns:a16="http://schemas.microsoft.com/office/drawing/2014/main" val="10002"/>
                  </a:ext>
                </a:extLst>
              </a:tr>
              <a:tr h="1340679">
                <a:tc>
                  <a:txBody>
                    <a:bodyPr/>
                    <a:lstStyle/>
                    <a:p>
                      <a:pPr algn="l" rtl="0" fontAlgn="ctr"/>
                      <a:r>
                        <a:rPr lang="en-US" sz="1200" u="none" strike="noStrike" dirty="0">
                          <a:effectLst/>
                        </a:rPr>
                        <a:t> </a:t>
                      </a:r>
                      <a:r>
                        <a:rPr lang="ru-RU" sz="1200" u="none" strike="noStrike" dirty="0">
                          <a:effectLst/>
                        </a:rPr>
                        <a:t>Количество лет на ответственных позициях</a:t>
                      </a:r>
                      <a:endParaRPr lang="en-US" sz="1200" b="0"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3</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3</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a:t>
                      </a:r>
                      <a:endParaRPr lang="pt-BR" sz="1600" b="1" i="0" u="none" strike="noStrike">
                        <a:solidFill>
                          <a:srgbClr val="000000"/>
                        </a:solidFill>
                        <a:effectLst/>
                        <a:latin typeface="Arial" panose="020B0604020202020204" pitchFamily="34" charset="0"/>
                      </a:endParaRPr>
                    </a:p>
                  </a:txBody>
                  <a:tcPr marL="9400" marR="9400" marT="9400" marB="0" anchor="ctr"/>
                </a:tc>
                <a:extLst>
                  <a:ext uri="{0D108BD9-81ED-4DB2-BD59-A6C34878D82A}">
                    <a16:rowId xmlns:a16="http://schemas.microsoft.com/office/drawing/2014/main" val="10003"/>
                  </a:ext>
                </a:extLst>
              </a:tr>
              <a:tr h="897479">
                <a:tc>
                  <a:txBody>
                    <a:bodyPr/>
                    <a:lstStyle/>
                    <a:p>
                      <a:pPr algn="l" rtl="0" fontAlgn="ctr"/>
                      <a:r>
                        <a:rPr lang="ru-RU" sz="1200" u="none" strike="noStrike" dirty="0">
                          <a:effectLst/>
                        </a:rPr>
                        <a:t>Области знаний</a:t>
                      </a:r>
                      <a:endParaRPr lang="pt-BR" sz="1200" b="0"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Yes</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Yes</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Yes</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No</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No</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No</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No</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No</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No</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No</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No</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No</a:t>
                      </a:r>
                      <a:endParaRPr lang="pt-BR" sz="1600" b="1" i="0" u="none" strike="noStrike">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600" u="none" strike="noStrike">
                          <a:effectLst/>
                        </a:rPr>
                        <a:t>Yes</a:t>
                      </a:r>
                      <a:endParaRPr lang="pt-BR" sz="1600" b="1" i="0" u="none" strike="noStrike">
                        <a:solidFill>
                          <a:srgbClr val="000000"/>
                        </a:solidFill>
                        <a:effectLst/>
                        <a:latin typeface="Arial" panose="020B0604020202020204" pitchFamily="34" charset="0"/>
                      </a:endParaRPr>
                    </a:p>
                  </a:txBody>
                  <a:tcPr marL="9400" marR="9400" marT="9400" marB="0" anchor="ctr"/>
                </a:tc>
                <a:extLst>
                  <a:ext uri="{0D108BD9-81ED-4DB2-BD59-A6C34878D82A}">
                    <a16:rowId xmlns:a16="http://schemas.microsoft.com/office/drawing/2014/main" val="10004"/>
                  </a:ext>
                </a:extLst>
              </a:tr>
              <a:tr h="484832">
                <a:tc>
                  <a:txBody>
                    <a:bodyPr/>
                    <a:lstStyle/>
                    <a:p>
                      <a:pPr marL="0" algn="l" defTabSz="914400" rtl="0" eaLnBrk="1" fontAlgn="ctr" latinLnBrk="0" hangingPunct="1"/>
                      <a:r>
                        <a:rPr lang="ru-RU" sz="1200" u="none" strike="noStrike" kern="1200" dirty="0">
                          <a:solidFill>
                            <a:schemeClr val="dk1"/>
                          </a:solidFill>
                          <a:effectLst/>
                          <a:latin typeface="+mn-lt"/>
                          <a:ea typeface="+mn-ea"/>
                          <a:cs typeface="+mn-cs"/>
                        </a:rPr>
                        <a:t>Наименование / Обозначение</a:t>
                      </a:r>
                      <a:endParaRPr lang="pt-BR" sz="1200" u="none" strike="noStrike" kern="1200" dirty="0">
                        <a:solidFill>
                          <a:schemeClr val="dk1"/>
                        </a:solidFill>
                        <a:effectLst/>
                        <a:latin typeface="+mn-lt"/>
                        <a:ea typeface="+mn-ea"/>
                        <a:cs typeface="+mn-cs"/>
                      </a:endParaRPr>
                    </a:p>
                  </a:txBody>
                  <a:tcPr marL="9400" marR="9400" marT="9400" marB="0" anchor="ctr"/>
                </a:tc>
                <a:tc>
                  <a:txBody>
                    <a:bodyPr/>
                    <a:lstStyle/>
                    <a:p>
                      <a:pPr algn="ctr" rtl="0" fontAlgn="ctr"/>
                      <a:r>
                        <a:rPr lang="pt-BR" sz="1000" u="none" strike="noStrike" dirty="0" err="1">
                          <a:effectLst/>
                        </a:rPr>
                        <a:t>Qualified</a:t>
                      </a:r>
                      <a:r>
                        <a:rPr lang="pt-BR" sz="1000" u="none" strike="noStrike" baseline="0" dirty="0">
                          <a:effectLst/>
                        </a:rPr>
                        <a:t> Professional</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err="1">
                          <a:effectLst/>
                        </a:rPr>
                        <a:t>Competent</a:t>
                      </a:r>
                      <a:r>
                        <a:rPr lang="pt-BR" sz="1000" u="none" strike="noStrike" baseline="0" dirty="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err="1">
                          <a:effectLst/>
                        </a:rPr>
                        <a:t>Qualified</a:t>
                      </a:r>
                      <a:r>
                        <a:rPr lang="pt-BR" sz="1000" u="none" strike="noStrike" baseline="0" dirty="0">
                          <a:effectLst/>
                        </a:rPr>
                        <a:t> </a:t>
                      </a:r>
                      <a:r>
                        <a:rPr lang="pt-BR" sz="1000" u="none" strike="noStrike" baseline="0" dirty="0" err="1">
                          <a:effectLst/>
                        </a:rPr>
                        <a:t>Competent</a:t>
                      </a:r>
                      <a:r>
                        <a:rPr lang="pt-BR" sz="1000" u="none" strike="noStrike" baseline="0" dirty="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err="1">
                          <a:effectLst/>
                        </a:rPr>
                        <a:t>Qualified</a:t>
                      </a:r>
                      <a:r>
                        <a:rPr lang="pt-BR" sz="1000" u="none" strike="noStrike" dirty="0">
                          <a:effectLst/>
                        </a:rPr>
                        <a:t> </a:t>
                      </a:r>
                      <a:r>
                        <a:rPr lang="pt-BR" sz="1000" u="none" strike="noStrike" baseline="0" dirty="0">
                          <a:effectLst/>
                        </a:rPr>
                        <a:t>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a:effectLst/>
                        </a:rPr>
                        <a:t>Competent</a:t>
                      </a:r>
                      <a:r>
                        <a:rPr lang="pt-BR" sz="1000" u="none" strike="noStrike" baseline="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a:effectLst/>
                        </a:rPr>
                        <a:t>Competent</a:t>
                      </a:r>
                      <a:r>
                        <a:rPr lang="pt-BR" sz="1000" u="none" strike="noStrike" baseline="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a:effectLst/>
                        </a:rPr>
                        <a:t>Competent</a:t>
                      </a:r>
                      <a:r>
                        <a:rPr lang="pt-BR" sz="1000" u="none" strike="noStrike" baseline="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a:effectLst/>
                        </a:rPr>
                        <a:t>Competent</a:t>
                      </a:r>
                      <a:r>
                        <a:rPr lang="pt-BR" sz="1000" u="none" strike="noStrike" baseline="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a:effectLst/>
                        </a:rPr>
                        <a:t>Competent</a:t>
                      </a:r>
                      <a:r>
                        <a:rPr lang="pt-BR" sz="1000" u="none" strike="noStrike" baseline="0" dirty="0">
                          <a:effectLst/>
                        </a:rPr>
                        <a:t> Person</a:t>
                      </a:r>
                      <a:r>
                        <a:rPr lang="ru-RU" sz="1000" u="none" strike="noStrike" baseline="0" dirty="0">
                          <a:effectLst/>
                        </a:rPr>
                        <a:t> / </a:t>
                      </a:r>
                      <a:r>
                        <a:rPr lang="en-US" sz="1000" u="none" strike="noStrike" baseline="0" dirty="0">
                          <a:effectLst/>
                        </a:rPr>
                        <a:t>Expert</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a:effectLst/>
                        </a:rPr>
                        <a:t>Competent</a:t>
                      </a:r>
                      <a:r>
                        <a:rPr lang="pt-BR" sz="1000" u="none" strike="noStrike" baseline="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a:effectLst/>
                        </a:rPr>
                        <a:t>Competent</a:t>
                      </a:r>
                      <a:r>
                        <a:rPr lang="pt-BR" sz="1000" u="none" strike="noStrike" baseline="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a:effectLst/>
                        </a:rPr>
                        <a:t>Competent</a:t>
                      </a:r>
                      <a:r>
                        <a:rPr lang="pt-BR" sz="1000" u="none" strike="noStrike" baseline="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tc>
                  <a:txBody>
                    <a:bodyPr/>
                    <a:lstStyle/>
                    <a:p>
                      <a:pPr algn="ctr" rtl="0" fontAlgn="ctr"/>
                      <a:r>
                        <a:rPr lang="pt-BR" sz="1000" u="none" strike="noStrike" dirty="0" err="1">
                          <a:effectLst/>
                        </a:rPr>
                        <a:t>Competent</a:t>
                      </a:r>
                      <a:r>
                        <a:rPr lang="pt-BR" sz="1000" u="none" strike="noStrike" baseline="0" dirty="0">
                          <a:effectLst/>
                        </a:rPr>
                        <a:t> Person</a:t>
                      </a:r>
                      <a:endParaRPr lang="pt-BR" sz="1000" b="1" i="0" u="none" strike="noStrike" dirty="0">
                        <a:solidFill>
                          <a:srgbClr val="000000"/>
                        </a:solidFill>
                        <a:effectLst/>
                        <a:latin typeface="Arial" panose="020B0604020202020204" pitchFamily="34" charset="0"/>
                      </a:endParaRPr>
                    </a:p>
                  </a:txBody>
                  <a:tcPr marL="9400" marR="9400" marT="9400" marB="0"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514436956"/>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ChangeArrowheads="1"/>
          </p:cNvSpPr>
          <p:nvPr>
            <p:ph type="title"/>
          </p:nvPr>
        </p:nvSpPr>
        <p:spPr/>
        <p:txBody>
          <a:bodyPr/>
          <a:lstStyle/>
          <a:p>
            <a:pPr eaLnBrk="1" hangingPunct="1"/>
            <a:r>
              <a:rPr lang="ru-RU" dirty="0"/>
              <a:t>Дорожная карта подачи заявки </a:t>
            </a:r>
            <a:endParaRPr lang="en-US" dirty="0"/>
          </a:p>
        </p:txBody>
      </p:sp>
      <p:sp>
        <p:nvSpPr>
          <p:cNvPr id="3" name="Rectangle 2"/>
          <p:cNvSpPr txBox="1">
            <a:spLocks noChangeArrowheads="1"/>
          </p:cNvSpPr>
          <p:nvPr/>
        </p:nvSpPr>
        <p:spPr bwMode="auto">
          <a:xfrm>
            <a:off x="309712" y="1996480"/>
            <a:ext cx="12313368" cy="6696744"/>
          </a:xfrm>
          <a:prstGeom prst="rect">
            <a:avLst/>
          </a:prstGeom>
          <a:noFill/>
          <a:ln w="12700">
            <a:noFill/>
            <a:miter lim="800000"/>
            <a:headEnd/>
            <a:tailEnd/>
          </a:ln>
        </p:spPr>
        <p:txBody>
          <a:bodyPr vert="horz" wrap="square" lIns="50800" tIns="50800" rIns="50800" bIns="50800" numCol="1" anchor="t" anchorCtr="0" compatLnSpc="1">
            <a:prstTxWarp prst="textNoShape">
              <a:avLst/>
            </a:prstTxWarp>
          </a:bodyPr>
          <a:lstStyle>
            <a:lvl1pPr marL="760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1pPr>
            <a:lvl2pPr marL="12049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2pPr>
            <a:lvl3pPr marL="1649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3pPr>
            <a:lvl4pPr marL="20939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4pPr>
            <a:lvl5pPr marL="2538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5pPr>
            <a:lvl6pPr marL="29956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6pPr>
            <a:lvl7pPr marL="34528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7pPr>
            <a:lvl8pPr marL="39100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8pPr>
            <a:lvl9pPr marL="43672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9pPr>
          </a:lstStyle>
          <a:p>
            <a:pPr marL="266700" indent="0">
              <a:buNone/>
            </a:pPr>
            <a:r>
              <a:rPr lang="ru-RU" sz="2400" b="1" i="1" kern="0" dirty="0"/>
              <a:t>Для того, чтобы осуществлять руководство для КЛ и РПО в процессах взаимного признания, CRIRSCO собирает информацию, которую можно обобщить по 6 ключевым вопросам:</a:t>
            </a:r>
          </a:p>
          <a:p>
            <a:pPr marL="900000">
              <a:spcBef>
                <a:spcPts val="3000"/>
              </a:spcBef>
              <a:buFont typeface="Courier New" panose="02070309020205020404" pitchFamily="49" charset="0"/>
              <a:buChar char="o"/>
            </a:pPr>
            <a:r>
              <a:rPr lang="ru-RU" sz="2200" i="1" dirty="0"/>
              <a:t>Контактные данные Организации?</a:t>
            </a:r>
          </a:p>
          <a:p>
            <a:pPr marL="900000">
              <a:spcBef>
                <a:spcPts val="3000"/>
              </a:spcBef>
              <a:buFont typeface="Courier New" panose="02070309020205020404" pitchFamily="49" charset="0"/>
              <a:buChar char="o"/>
            </a:pPr>
            <a:r>
              <a:rPr lang="ru-RU" sz="2200" i="1" dirty="0"/>
              <a:t>Кто будет рассматривать предоставленную информацию и примет решение?</a:t>
            </a:r>
          </a:p>
          <a:p>
            <a:pPr marL="900000">
              <a:spcBef>
                <a:spcPts val="3000"/>
              </a:spcBef>
              <a:buFont typeface="Courier New" panose="02070309020205020404" pitchFamily="49" charset="0"/>
              <a:buChar char="o"/>
            </a:pPr>
            <a:r>
              <a:rPr lang="ru-RU" sz="2200" i="1" dirty="0"/>
              <a:t>Что это признание будет означать для Иностранной Признанной Профессиональной Организации и ее членов / компетентных лиц?</a:t>
            </a:r>
          </a:p>
          <a:p>
            <a:pPr marL="900000">
              <a:spcBef>
                <a:spcPts val="3000"/>
              </a:spcBef>
              <a:buFont typeface="Courier New" panose="02070309020205020404" pitchFamily="49" charset="0"/>
              <a:buChar char="o"/>
            </a:pPr>
            <a:r>
              <a:rPr lang="ru-RU" sz="2200" i="1" dirty="0"/>
              <a:t>Какая минимальная документация будет представлена?</a:t>
            </a:r>
          </a:p>
          <a:p>
            <a:pPr marL="900000">
              <a:spcBef>
                <a:spcPts val="3000"/>
              </a:spcBef>
              <a:buFont typeface="Courier New" panose="02070309020205020404" pitchFamily="49" charset="0"/>
              <a:buChar char="o"/>
            </a:pPr>
            <a:r>
              <a:rPr lang="ru-RU" sz="2200" i="1" dirty="0"/>
              <a:t>После признания, будет ли возможность члену какой-либо Международной организации, признанной за рубежом, предоставлять отчетность в новой юрисдикции с использованием ее внутренних стандартов (иностранный кодекс, но семейство CRIRSCO)?</a:t>
            </a:r>
          </a:p>
          <a:p>
            <a:pPr marL="900000">
              <a:spcBef>
                <a:spcPts val="3000"/>
              </a:spcBef>
              <a:buFont typeface="Courier New" panose="02070309020205020404" pitchFamily="49" charset="0"/>
              <a:buChar char="o"/>
            </a:pPr>
            <a:r>
              <a:rPr lang="ru-RU" sz="2200" i="1" dirty="0"/>
              <a:t>Где можно найти список взаимного признания?</a:t>
            </a:r>
            <a:endParaRPr lang="pt-BR" sz="2200" i="1" dirty="0"/>
          </a:p>
        </p:txBody>
      </p:sp>
    </p:spTree>
    <p:custDataLst>
      <p:tags r:id="rId1"/>
    </p:custDataLst>
    <p:extLst>
      <p:ext uri="{BB962C8B-B14F-4D97-AF65-F5344CB8AC3E}">
        <p14:creationId xmlns:p14="http://schemas.microsoft.com/office/powerpoint/2010/main" val="2698123880"/>
      </p:ext>
    </p:extLst>
  </p:cSld>
  <p:clrMapOvr>
    <a:masterClrMapping/>
  </p:clrMapOvr>
  <p:transition advTm="148872"/>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
          <p:cNvSpPr>
            <a:spLocks noGrp="1" noChangeArrowheads="1"/>
          </p:cNvSpPr>
          <p:nvPr>
            <p:ph type="title"/>
          </p:nvPr>
        </p:nvSpPr>
        <p:spPr>
          <a:xfrm>
            <a:off x="1821880" y="63500"/>
            <a:ext cx="11120536" cy="1308100"/>
          </a:xfrm>
        </p:spPr>
        <p:txBody>
          <a:bodyPr/>
          <a:lstStyle/>
          <a:p>
            <a:pPr eaLnBrk="1" hangingPunct="1"/>
            <a:r>
              <a:rPr lang="ru-RU" dirty="0"/>
              <a:t>Дорожная карта для заявки: Бразилия</a:t>
            </a:r>
            <a:endParaRPr lang="en-US" dirty="0"/>
          </a:p>
        </p:txBody>
      </p:sp>
      <p:sp>
        <p:nvSpPr>
          <p:cNvPr id="3" name="Rectangle 2"/>
          <p:cNvSpPr txBox="1">
            <a:spLocks noChangeArrowheads="1"/>
          </p:cNvSpPr>
          <p:nvPr/>
        </p:nvSpPr>
        <p:spPr bwMode="auto">
          <a:xfrm>
            <a:off x="163316" y="2428528"/>
            <a:ext cx="12313368" cy="6192688"/>
          </a:xfrm>
          <a:prstGeom prst="rect">
            <a:avLst/>
          </a:prstGeom>
          <a:noFill/>
          <a:ln w="12700">
            <a:noFill/>
            <a:miter lim="800000"/>
            <a:headEnd/>
            <a:tailEnd/>
          </a:ln>
        </p:spPr>
        <p:txBody>
          <a:bodyPr vert="horz" wrap="square" lIns="50800" tIns="50800" rIns="50800" bIns="50800" numCol="1" anchor="t" anchorCtr="0" compatLnSpc="1">
            <a:prstTxWarp prst="textNoShape">
              <a:avLst/>
            </a:prstTxWarp>
          </a:bodyPr>
          <a:lstStyle>
            <a:lvl1pPr marL="760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1pPr>
            <a:lvl2pPr marL="12049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2pPr>
            <a:lvl3pPr marL="1649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3pPr>
            <a:lvl4pPr marL="20939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4pPr>
            <a:lvl5pPr marL="2538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5pPr>
            <a:lvl6pPr marL="29956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6pPr>
            <a:lvl7pPr marL="34528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7pPr>
            <a:lvl8pPr marL="39100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8pPr>
            <a:lvl9pPr marL="43672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9pPr>
          </a:lstStyle>
          <a:p>
            <a:pPr lvl="0">
              <a:spcBef>
                <a:spcPts val="1200"/>
              </a:spcBef>
            </a:pPr>
            <a:r>
              <a:rPr lang="ru-RU" sz="2200" b="1" i="1" dirty="0"/>
              <a:t>Чтобы запросить признание, с кем должна связаться профессиональная организация иностранного гражданина?</a:t>
            </a:r>
            <a:endParaRPr lang="en-US" sz="2200" b="1" i="1" dirty="0"/>
          </a:p>
          <a:p>
            <a:pPr marL="266700" indent="0">
              <a:spcBef>
                <a:spcPts val="1200"/>
              </a:spcBef>
              <a:buNone/>
            </a:pPr>
            <a:r>
              <a:rPr lang="en-US" sz="2200" dirty="0"/>
              <a:t>CBRR </a:t>
            </a:r>
            <a:r>
              <a:rPr lang="ru-RU" sz="2200" dirty="0"/>
              <a:t>с помощью </a:t>
            </a:r>
            <a:r>
              <a:rPr lang="en-US" sz="2200" dirty="0"/>
              <a:t>e-mail:  </a:t>
            </a:r>
            <a:r>
              <a:rPr lang="en-US" sz="2200" u="sng" dirty="0">
                <a:hlinkClick r:id="rId4"/>
              </a:rPr>
              <a:t>contato@cbrr.org.br</a:t>
            </a:r>
            <a:r>
              <a:rPr lang="en-US" sz="2200" dirty="0"/>
              <a:t> </a:t>
            </a:r>
            <a:r>
              <a:rPr lang="ru-RU" sz="2200" dirty="0"/>
              <a:t>или</a:t>
            </a:r>
            <a:r>
              <a:rPr lang="en-US" sz="2200" dirty="0"/>
              <a:t> </a:t>
            </a:r>
            <a:r>
              <a:rPr lang="en-US" sz="2200" u="sng" dirty="0">
                <a:hlinkClick r:id="rId5"/>
              </a:rPr>
              <a:t>registro@cbrr.org.br</a:t>
            </a:r>
            <a:endParaRPr lang="en-US" sz="2200" u="sng" dirty="0"/>
          </a:p>
          <a:p>
            <a:pPr marL="266700" indent="0">
              <a:spcBef>
                <a:spcPts val="1200"/>
              </a:spcBef>
              <a:buNone/>
            </a:pPr>
            <a:endParaRPr lang="pt-BR" sz="2200" dirty="0">
              <a:ea typeface="Calibri" panose="020F0502020204030204" pitchFamily="34" charset="0"/>
              <a:cs typeface="Times New Roman" panose="02020603050405020304" pitchFamily="18" charset="0"/>
            </a:endParaRPr>
          </a:p>
          <a:p>
            <a:pPr lvl="0">
              <a:spcBef>
                <a:spcPts val="1200"/>
              </a:spcBef>
            </a:pPr>
            <a:r>
              <a:rPr lang="ru-RU" sz="2200" b="1" i="1" dirty="0"/>
              <a:t>Кто рассмотрит предоставленную информацию и примет решение?</a:t>
            </a:r>
          </a:p>
          <a:p>
            <a:pPr marL="360000" lvl="0" indent="0">
              <a:spcBef>
                <a:spcPts val="1200"/>
              </a:spcBef>
              <a:buNone/>
            </a:pPr>
            <a:r>
              <a:rPr lang="ru-RU" sz="2200" dirty="0"/>
              <a:t>Правление </a:t>
            </a:r>
            <a:r>
              <a:rPr lang="en-US" sz="2200" dirty="0"/>
              <a:t>CBRR </a:t>
            </a:r>
            <a:r>
              <a:rPr lang="ru-RU" sz="2200" dirty="0"/>
              <a:t>с учетом рекомендации, подготовленной Комитетом по реестру, в состав которого входят квалифицированные специалисты</a:t>
            </a:r>
            <a:endParaRPr lang="en-US" sz="2200" dirty="0"/>
          </a:p>
          <a:p>
            <a:pPr marL="360000" lvl="0" indent="0">
              <a:spcBef>
                <a:spcPts val="1200"/>
              </a:spcBef>
              <a:buNone/>
            </a:pPr>
            <a:endParaRPr lang="pt-BR" sz="2200" dirty="0"/>
          </a:p>
          <a:p>
            <a:pPr lvl="0">
              <a:spcBef>
                <a:spcPts val="1200"/>
              </a:spcBef>
            </a:pPr>
            <a:r>
              <a:rPr lang="ru-RU" sz="2200" b="1" i="1" dirty="0"/>
              <a:t>Что это признание будет значить для Международной признанной профессиональной организации и ее членов / Компетентных лиц</a:t>
            </a:r>
            <a:r>
              <a:rPr lang="en-US" sz="2200" b="1" i="1" dirty="0"/>
              <a:t>?</a:t>
            </a:r>
            <a:endParaRPr lang="ru-RU" sz="2200" b="1" i="1" dirty="0"/>
          </a:p>
          <a:p>
            <a:pPr marL="266700" lvl="0" indent="0">
              <a:spcBef>
                <a:spcPts val="1200"/>
              </a:spcBef>
              <a:buNone/>
            </a:pPr>
            <a:r>
              <a:rPr lang="ru-RU" sz="2200" dirty="0"/>
              <a:t>Лицу, являющемуся членом RPO в другой юрисдикции, не потребуется регистрация в </a:t>
            </a:r>
            <a:r>
              <a:rPr lang="en-US" sz="2200" dirty="0"/>
              <a:t>CBRR</a:t>
            </a:r>
            <a:r>
              <a:rPr lang="ru-RU" sz="2200" dirty="0"/>
              <a:t> и будет разрешено подписать отчет в нашей юрисдикции при условии, что выполняются все требования </a:t>
            </a:r>
            <a:r>
              <a:rPr lang="en-US" sz="2200" dirty="0"/>
              <a:t>CBRR</a:t>
            </a:r>
            <a:r>
              <a:rPr lang="ru-RU" sz="2200" dirty="0"/>
              <a:t> для КЛ(QP). Утвержденные RPO будут нести ответственность за надзор и дисциплинарные меры в отношении КЛ(QP), прибывающих из-за рубежа, но работающих в Бразилии.</a:t>
            </a:r>
            <a:r>
              <a:rPr lang="pt-BR" sz="2200" dirty="0"/>
              <a:t> </a:t>
            </a:r>
          </a:p>
        </p:txBody>
      </p:sp>
    </p:spTree>
    <p:custDataLst>
      <p:tags r:id="rId1"/>
    </p:custDataLst>
    <p:extLst>
      <p:ext uri="{BB962C8B-B14F-4D97-AF65-F5344CB8AC3E}">
        <p14:creationId xmlns:p14="http://schemas.microsoft.com/office/powerpoint/2010/main" val="177573392"/>
      </p:ext>
    </p:extLst>
  </p:cSld>
  <p:clrMapOvr>
    <a:masterClrMapping/>
  </p:clrMapOvr>
  <p:transition advTm="148872"/>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163316" y="2500536"/>
            <a:ext cx="12313368" cy="6192688"/>
          </a:xfrm>
          <a:prstGeom prst="rect">
            <a:avLst/>
          </a:prstGeom>
          <a:noFill/>
          <a:ln w="12700">
            <a:noFill/>
            <a:miter lim="800000"/>
            <a:headEnd/>
            <a:tailEnd/>
          </a:ln>
        </p:spPr>
        <p:txBody>
          <a:bodyPr vert="horz" wrap="square" lIns="50800" tIns="50800" rIns="50800" bIns="50800" numCol="1" anchor="t" anchorCtr="0" compatLnSpc="1">
            <a:prstTxWarp prst="textNoShape">
              <a:avLst/>
            </a:prstTxWarp>
          </a:bodyPr>
          <a:lstStyle>
            <a:lvl1pPr marL="760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1pPr>
            <a:lvl2pPr marL="12049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2pPr>
            <a:lvl3pPr marL="1649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3pPr>
            <a:lvl4pPr marL="20939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4pPr>
            <a:lvl5pPr marL="2538413" indent="-493713" algn="l" rtl="0" eaLnBrk="0" fontAlgn="base" hangingPunct="0">
              <a:spcBef>
                <a:spcPts val="3800"/>
              </a:spcBef>
              <a:spcAft>
                <a:spcPct val="0"/>
              </a:spcAft>
              <a:buSzPct val="171000"/>
              <a:buFont typeface="Gill Sans"/>
              <a:buChar char="•"/>
              <a:defRPr sz="3200">
                <a:solidFill>
                  <a:srgbClr val="29325C"/>
                </a:solidFill>
                <a:latin typeface="+mn-lt"/>
                <a:ea typeface="+mn-ea"/>
                <a:cs typeface="+mn-cs"/>
                <a:sym typeface="Gill Sans"/>
              </a:defRPr>
            </a:lvl5pPr>
            <a:lvl6pPr marL="29956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6pPr>
            <a:lvl7pPr marL="34528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7pPr>
            <a:lvl8pPr marL="39100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8pPr>
            <a:lvl9pPr marL="43672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9pPr>
          </a:lstStyle>
          <a:p>
            <a:pPr lvl="0">
              <a:spcBef>
                <a:spcPts val="1200"/>
              </a:spcBef>
            </a:pPr>
            <a:r>
              <a:rPr lang="ru-RU" sz="2200" b="1" i="1" dirty="0"/>
              <a:t>Какая минимальная документация будет предоставлена</a:t>
            </a:r>
            <a:r>
              <a:rPr lang="en-US" sz="2200" b="1" i="1" dirty="0"/>
              <a:t>?</a:t>
            </a:r>
          </a:p>
          <a:p>
            <a:pPr marL="266700" lvl="0" indent="0">
              <a:spcBef>
                <a:spcPts val="1200"/>
              </a:spcBef>
              <a:buNone/>
            </a:pPr>
            <a:r>
              <a:rPr lang="ru-RU" sz="2200" dirty="0"/>
              <a:t>То же, что и для CRIRSCO: устав RPO, Кодекс этики, Дисциплинарная политика, критерии для приема нового члена.</a:t>
            </a:r>
            <a:endParaRPr lang="pt-BR" sz="2200" dirty="0"/>
          </a:p>
          <a:p>
            <a:pPr lvl="0">
              <a:spcBef>
                <a:spcPts val="1200"/>
              </a:spcBef>
            </a:pPr>
            <a:r>
              <a:rPr lang="ru-RU" sz="2200" b="1" i="1" dirty="0"/>
              <a:t>После признания, будет ли возможность члену Международной организации, признанной за рубежом, отчитываться в новой юрисдикции, используя ее домашние стандарты (иностранный кодекс, но семейство CRIRSCO)</a:t>
            </a:r>
            <a:r>
              <a:rPr lang="en-US" sz="2200" b="1" i="1" dirty="0"/>
              <a:t>?</a:t>
            </a:r>
          </a:p>
          <a:p>
            <a:pPr marL="266700" indent="0">
              <a:spcBef>
                <a:spcPts val="1200"/>
              </a:spcBef>
              <a:buNone/>
            </a:pPr>
            <a:r>
              <a:rPr lang="ru-RU" sz="2200" dirty="0"/>
              <a:t>На данный момент бразильская фондовая биржа не имеет стандарта, и любой международный код семейства CRIRSCO будет принят. В будущем правительство намеревается принять Руководящие принципы CBRR, которые являются частью семейства CRIRSCO, но со своими особенностями; Отчеты бразильскому правительству должны соответствовать бразильскому горному кодексу, который отличается от CRIRSCO и CBRR.</a:t>
            </a:r>
            <a:endParaRPr lang="pt-BR" sz="2200" dirty="0"/>
          </a:p>
          <a:p>
            <a:pPr lvl="0">
              <a:spcBef>
                <a:spcPts val="1200"/>
              </a:spcBef>
            </a:pPr>
            <a:r>
              <a:rPr lang="ru-RU" sz="2200" b="1" i="1" dirty="0"/>
              <a:t>Где можно найти список взаимного признания</a:t>
            </a:r>
            <a:r>
              <a:rPr lang="en-US" sz="2200" b="1" i="1" dirty="0"/>
              <a:t>?</a:t>
            </a:r>
          </a:p>
          <a:p>
            <a:pPr marL="266700" indent="0">
              <a:spcBef>
                <a:spcPts val="1200"/>
              </a:spcBef>
              <a:buNone/>
            </a:pPr>
            <a:r>
              <a:rPr lang="ru-RU" sz="2200" dirty="0"/>
              <a:t>Список признанных иностранных профессиональных организаций можно найти на веб-сайте CBRR. </a:t>
            </a:r>
            <a:r>
              <a:rPr lang="en-US" sz="2200" dirty="0">
                <a:hlinkClick r:id="rId4"/>
              </a:rPr>
              <a:t>www.cbrr.org.br</a:t>
            </a:r>
            <a:endParaRPr lang="pt-BR" sz="2200" dirty="0">
              <a:ea typeface="Calibri" panose="020F0502020204030204" pitchFamily="34" charset="0"/>
              <a:cs typeface="Times New Roman" panose="02020603050405020304" pitchFamily="18" charset="0"/>
            </a:endParaRPr>
          </a:p>
          <a:p>
            <a:pPr marL="266700" lvl="0" indent="0">
              <a:spcBef>
                <a:spcPts val="1200"/>
              </a:spcBef>
              <a:buNone/>
            </a:pPr>
            <a:endParaRPr lang="en-US" sz="2200" dirty="0"/>
          </a:p>
          <a:p>
            <a:pPr marL="266700" lvl="0" indent="0">
              <a:spcBef>
                <a:spcPts val="1200"/>
              </a:spcBef>
              <a:buNone/>
            </a:pPr>
            <a:endParaRPr lang="pt-BR" sz="2200" dirty="0"/>
          </a:p>
        </p:txBody>
      </p:sp>
      <p:sp>
        <p:nvSpPr>
          <p:cNvPr id="6" name="Rectangle 1">
            <a:extLst>
              <a:ext uri="{FF2B5EF4-FFF2-40B4-BE49-F238E27FC236}">
                <a16:creationId xmlns:a16="http://schemas.microsoft.com/office/drawing/2014/main" id="{8B6B3A05-D5A8-4DD1-A5C7-866D71B39A7F}"/>
              </a:ext>
            </a:extLst>
          </p:cNvPr>
          <p:cNvSpPr>
            <a:spLocks noGrp="1" noChangeArrowheads="1"/>
          </p:cNvSpPr>
          <p:nvPr>
            <p:ph type="title"/>
          </p:nvPr>
        </p:nvSpPr>
        <p:spPr>
          <a:xfrm>
            <a:off x="1821880" y="63500"/>
            <a:ext cx="11120536" cy="1308100"/>
          </a:xfrm>
        </p:spPr>
        <p:txBody>
          <a:bodyPr/>
          <a:lstStyle/>
          <a:p>
            <a:pPr eaLnBrk="1" hangingPunct="1"/>
            <a:r>
              <a:rPr lang="ru-RU" dirty="0"/>
              <a:t>Дорожная карта для заявки: Бразилия</a:t>
            </a:r>
            <a:endParaRPr lang="en-US" dirty="0"/>
          </a:p>
        </p:txBody>
      </p:sp>
    </p:spTree>
    <p:custDataLst>
      <p:tags r:id="rId1"/>
    </p:custDataLst>
    <p:extLst>
      <p:ext uri="{BB962C8B-B14F-4D97-AF65-F5344CB8AC3E}">
        <p14:creationId xmlns:p14="http://schemas.microsoft.com/office/powerpoint/2010/main" val="422990137"/>
      </p:ext>
    </p:extLst>
  </p:cSld>
  <p:clrMapOvr>
    <a:masterClrMapping/>
  </p:clrMapOvr>
  <p:transition advTm="148872"/>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01800" y="4516760"/>
            <a:ext cx="10464800" cy="1532136"/>
          </a:xfrm>
        </p:spPr>
        <p:txBody>
          <a:bodyPr/>
          <a:lstStyle/>
          <a:p>
            <a:pPr marL="266700" indent="0" algn="ctr">
              <a:buNone/>
            </a:pPr>
            <a:r>
              <a:rPr lang="ru-RU" sz="6000" b="1" dirty="0">
                <a:latin typeface="Arial" panose="020B0604020202020204" pitchFamily="34" charset="0"/>
                <a:cs typeface="Arial" panose="020B0604020202020204" pitchFamily="34" charset="0"/>
              </a:rPr>
              <a:t>Благодарю за внимание</a:t>
            </a:r>
            <a:endParaRPr lang="en-ZA" sz="6000" b="1"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380871905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a 2"/>
          <p:cNvGraphicFramePr>
            <a:graphicFrameLocks noGrp="1"/>
          </p:cNvGraphicFramePr>
          <p:nvPr>
            <p:extLst/>
          </p:nvPr>
        </p:nvGraphicFramePr>
        <p:xfrm>
          <a:off x="597744" y="1996479"/>
          <a:ext cx="12025338" cy="6768752"/>
        </p:xfrm>
        <a:graphic>
          <a:graphicData uri="http://schemas.openxmlformats.org/drawingml/2006/table">
            <a:tbl>
              <a:tblPr firstRow="1" firstCol="1" bandRow="1">
                <a:tableStyleId>{5C22544A-7EE6-4342-B048-85BDC9FD1C3A}</a:tableStyleId>
              </a:tblPr>
              <a:tblGrid>
                <a:gridCol w="940563">
                  <a:extLst>
                    <a:ext uri="{9D8B030D-6E8A-4147-A177-3AD203B41FA5}">
                      <a16:colId xmlns:a16="http://schemas.microsoft.com/office/drawing/2014/main" val="20000"/>
                    </a:ext>
                  </a:extLst>
                </a:gridCol>
                <a:gridCol w="1094251">
                  <a:extLst>
                    <a:ext uri="{9D8B030D-6E8A-4147-A177-3AD203B41FA5}">
                      <a16:colId xmlns:a16="http://schemas.microsoft.com/office/drawing/2014/main" val="20001"/>
                    </a:ext>
                  </a:extLst>
                </a:gridCol>
                <a:gridCol w="1264624">
                  <a:extLst>
                    <a:ext uri="{9D8B030D-6E8A-4147-A177-3AD203B41FA5}">
                      <a16:colId xmlns:a16="http://schemas.microsoft.com/office/drawing/2014/main" val="20002"/>
                    </a:ext>
                  </a:extLst>
                </a:gridCol>
                <a:gridCol w="1975974">
                  <a:extLst>
                    <a:ext uri="{9D8B030D-6E8A-4147-A177-3AD203B41FA5}">
                      <a16:colId xmlns:a16="http://schemas.microsoft.com/office/drawing/2014/main" val="20003"/>
                    </a:ext>
                  </a:extLst>
                </a:gridCol>
                <a:gridCol w="1975974">
                  <a:extLst>
                    <a:ext uri="{9D8B030D-6E8A-4147-A177-3AD203B41FA5}">
                      <a16:colId xmlns:a16="http://schemas.microsoft.com/office/drawing/2014/main" val="20004"/>
                    </a:ext>
                  </a:extLst>
                </a:gridCol>
                <a:gridCol w="3003480">
                  <a:extLst>
                    <a:ext uri="{9D8B030D-6E8A-4147-A177-3AD203B41FA5}">
                      <a16:colId xmlns:a16="http://schemas.microsoft.com/office/drawing/2014/main" val="20005"/>
                    </a:ext>
                  </a:extLst>
                </a:gridCol>
                <a:gridCol w="1770472">
                  <a:extLst>
                    <a:ext uri="{9D8B030D-6E8A-4147-A177-3AD203B41FA5}">
                      <a16:colId xmlns:a16="http://schemas.microsoft.com/office/drawing/2014/main" val="20006"/>
                    </a:ext>
                  </a:extLst>
                </a:gridCol>
              </a:tblGrid>
              <a:tr h="510255">
                <a:tc>
                  <a:txBody>
                    <a:bodyPr/>
                    <a:lstStyle/>
                    <a:p>
                      <a:pPr>
                        <a:lnSpc>
                          <a:spcPct val="115000"/>
                        </a:lnSpc>
                        <a:spcAft>
                          <a:spcPts val="0"/>
                        </a:spcAft>
                      </a:pPr>
                      <a:r>
                        <a:rPr lang="en-US" sz="1100">
                          <a:effectLst/>
                        </a:rPr>
                        <a:t>Country</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Contact</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Approvers</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Meaning</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Documentation</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Use of alternate code in country</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Reciprocity List</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1037440">
                <a:tc>
                  <a:txBody>
                    <a:bodyPr/>
                    <a:lstStyle/>
                    <a:p>
                      <a:pPr>
                        <a:lnSpc>
                          <a:spcPct val="115000"/>
                        </a:lnSpc>
                        <a:spcAft>
                          <a:spcPts val="0"/>
                        </a:spcAft>
                      </a:pPr>
                      <a:r>
                        <a:rPr lang="en-US" sz="1100">
                          <a:effectLst/>
                        </a:rPr>
                        <a:t>Russia</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OERN</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OERN</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CP can act as CP w/in Russian Federation</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Interchange of formal letters or signed reciprocity agreements</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Yes, but not for governmental reporting</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Website:</a:t>
                      </a:r>
                      <a:endParaRPr lang="pt-BR" sz="1100">
                        <a:effectLst/>
                      </a:endParaRPr>
                    </a:p>
                    <a:p>
                      <a:pPr>
                        <a:lnSpc>
                          <a:spcPct val="115000"/>
                        </a:lnSpc>
                        <a:spcAft>
                          <a:spcPts val="0"/>
                        </a:spcAft>
                      </a:pPr>
                      <a:r>
                        <a:rPr lang="en-US" sz="1100">
                          <a:effectLst/>
                        </a:rPr>
                        <a:t>http://oern.expert</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r h="1564624">
                <a:tc>
                  <a:txBody>
                    <a:bodyPr/>
                    <a:lstStyle/>
                    <a:p>
                      <a:pPr>
                        <a:lnSpc>
                          <a:spcPct val="115000"/>
                        </a:lnSpc>
                        <a:spcAft>
                          <a:spcPts val="0"/>
                        </a:spcAft>
                      </a:pPr>
                      <a:r>
                        <a:rPr lang="en-US" sz="1100">
                          <a:effectLst/>
                        </a:rPr>
                        <a:t>Mongolia</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Gerlee Bayanjargal,  MPIGM/MRC</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Bat-Erdene Dash, MPIGM/MRC</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CP can act as CP to the MRC Cod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Reciprocity request letter, RPO membership requirements and classes, code of ethics</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No, only MRC Code is useable in Mongolia</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Website: www.mpigm.com</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1564624">
                <a:tc>
                  <a:txBody>
                    <a:bodyPr/>
                    <a:lstStyle/>
                    <a:p>
                      <a:pPr>
                        <a:lnSpc>
                          <a:spcPct val="115000"/>
                        </a:lnSpc>
                        <a:spcAft>
                          <a:spcPts val="0"/>
                        </a:spcAft>
                      </a:pPr>
                      <a:r>
                        <a:rPr lang="en-US" sz="1100">
                          <a:effectLst/>
                        </a:rPr>
                        <a:t>Chil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s-PE" sz="1100">
                          <a:effectLst/>
                        </a:rPr>
                        <a:t>Comision Minera (gladys.hernandez@ comisionminera.cl</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Board of Comision Minera</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CP can act as CP to the Chilean Cod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Interchange of formal letters or signed reciprocity agreement</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No</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Website:</a:t>
                      </a:r>
                      <a:endParaRPr lang="pt-BR" sz="1100">
                        <a:effectLst/>
                      </a:endParaRPr>
                    </a:p>
                    <a:p>
                      <a:pPr>
                        <a:lnSpc>
                          <a:spcPct val="115000"/>
                        </a:lnSpc>
                        <a:spcAft>
                          <a:spcPts val="0"/>
                        </a:spcAft>
                      </a:pPr>
                      <a:r>
                        <a:rPr lang="en-US" sz="1100">
                          <a:effectLst/>
                        </a:rPr>
                        <a:t>www.comisionminera.cl</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3"/>
                  </a:ext>
                </a:extLst>
              </a:tr>
              <a:tr h="2091809">
                <a:tc>
                  <a:txBody>
                    <a:bodyPr/>
                    <a:lstStyle/>
                    <a:p>
                      <a:pPr>
                        <a:lnSpc>
                          <a:spcPct val="115000"/>
                        </a:lnSpc>
                        <a:spcAft>
                          <a:spcPts val="0"/>
                        </a:spcAft>
                      </a:pPr>
                      <a:r>
                        <a:rPr lang="en-US" sz="1100">
                          <a:effectLst/>
                        </a:rPr>
                        <a:t>USA</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SME Registered Member (RM) Committe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SME RM Committee and SME Reserves Committe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CP not yet recognized in USA</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Reciprocity request letter, RPO membership requirements and classes, code of ethics</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dirty="0">
                          <a:effectLst/>
                        </a:rPr>
                        <a:t>No, must report under IG7 rules, but this can be by any person</a:t>
                      </a:r>
                      <a:endParaRPr lang="pt-B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dirty="0">
                          <a:effectLst/>
                        </a:rPr>
                        <a:t>Appendix A of SME Guide:</a:t>
                      </a:r>
                      <a:endParaRPr lang="pt-BR" sz="1100" dirty="0">
                        <a:effectLst/>
                      </a:endParaRPr>
                    </a:p>
                    <a:p>
                      <a:pPr>
                        <a:lnSpc>
                          <a:spcPct val="115000"/>
                        </a:lnSpc>
                        <a:spcAft>
                          <a:spcPts val="0"/>
                        </a:spcAft>
                      </a:pPr>
                      <a:r>
                        <a:rPr lang="en-US" sz="1100" u="sng" dirty="0">
                          <a:effectLst/>
                          <a:hlinkClick r:id="rId2"/>
                        </a:rPr>
                        <a:t>http://www.smenet.org/</a:t>
                      </a:r>
                      <a:r>
                        <a:rPr lang="en-US" sz="1100" dirty="0">
                          <a:effectLst/>
                        </a:rPr>
                        <a:t> publications-resources/ resources/</a:t>
                      </a:r>
                      <a:r>
                        <a:rPr lang="en-US" sz="1100" dirty="0" err="1">
                          <a:effectLst/>
                        </a:rPr>
                        <a:t>sme</a:t>
                      </a:r>
                      <a:r>
                        <a:rPr lang="en-US" sz="1100" dirty="0">
                          <a:effectLst/>
                        </a:rPr>
                        <a:t>-guide-for-reporting</a:t>
                      </a:r>
                      <a:endParaRPr lang="pt-B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4"/>
                  </a:ext>
                </a:extLst>
              </a:tr>
            </a:tbl>
          </a:graphicData>
        </a:graphic>
      </p:graphicFrame>
      <p:sp>
        <p:nvSpPr>
          <p:cNvPr id="4" name="Rectangle 1"/>
          <p:cNvSpPr txBox="1">
            <a:spLocks noChangeArrowheads="1"/>
          </p:cNvSpPr>
          <p:nvPr/>
        </p:nvSpPr>
        <p:spPr>
          <a:xfrm>
            <a:off x="2006600" y="63500"/>
            <a:ext cx="10464800" cy="1308100"/>
          </a:xfrm>
          <a:prstGeom prst="rect">
            <a:avLst/>
          </a:prstGeom>
        </p:spPr>
        <p:txBody>
          <a:bodyPr/>
          <a:lstStyle>
            <a:lvl1pPr algn="l" rtl="0" eaLnBrk="0" fontAlgn="base" hangingPunct="0">
              <a:spcBef>
                <a:spcPct val="0"/>
              </a:spcBef>
              <a:spcAft>
                <a:spcPct val="0"/>
              </a:spcAft>
              <a:defRPr sz="4800">
                <a:solidFill>
                  <a:srgbClr val="D1C46D"/>
                </a:solidFill>
                <a:latin typeface="+mj-lt"/>
                <a:ea typeface="+mj-ea"/>
                <a:cs typeface="+mj-cs"/>
                <a:sym typeface="Gill Sans"/>
              </a:defRPr>
            </a:lvl1pPr>
            <a:lvl2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2pPr>
            <a:lvl3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3pPr>
            <a:lvl4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4pPr>
            <a:lvl5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5pPr>
            <a:lvl6pPr marL="4572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a:lstStyle>
          <a:p>
            <a:pPr eaLnBrk="1" hangingPunct="1"/>
            <a:r>
              <a:rPr lang="ru-RU" kern="0" dirty="0"/>
              <a:t>Дорожная карта для заявки</a:t>
            </a:r>
            <a:endParaRPr lang="en-US" kern="0" dirty="0"/>
          </a:p>
        </p:txBody>
      </p:sp>
    </p:spTree>
    <p:extLst>
      <p:ext uri="{BB962C8B-B14F-4D97-AF65-F5344CB8AC3E}">
        <p14:creationId xmlns:p14="http://schemas.microsoft.com/office/powerpoint/2010/main" val="80058402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3782538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bwMode="auto">
          <a:xfrm>
            <a:off x="0" y="0"/>
            <a:ext cx="158750" cy="158750"/>
          </a:xfrm>
          <a:prstGeom prst="rect">
            <a:avLst/>
          </a:prstGeom>
          <a:blipFill dpi="0" rotWithShape="0">
            <a:blip r:embed="rId9"/>
            <a:srcRect/>
            <a:tile tx="0" ty="0" sx="100000" sy="100000" flip="none" algn="tl"/>
          </a:blipFill>
          <a:ln w="254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a:endParaRPr kumimoji="0" lang="en-US" sz="4800" u="none" strike="noStrike" cap="none" normalizeH="0" dirty="0">
              <a:ln>
                <a:noFill/>
              </a:ln>
              <a:solidFill>
                <a:srgbClr val="000000"/>
              </a:solidFill>
              <a:effectLst/>
              <a:ea typeface="ヒラギノ角ゴ ProN W3" charset="0"/>
              <a:cs typeface="ヒラギノ角ゴ ProN W3" charset="0"/>
            </a:endParaRPr>
          </a:p>
        </p:txBody>
      </p:sp>
      <p:sp>
        <p:nvSpPr>
          <p:cNvPr id="15362" name="Rectangle 1"/>
          <p:cNvSpPr>
            <a:spLocks noGrp="1" noChangeArrowheads="1"/>
          </p:cNvSpPr>
          <p:nvPr>
            <p:ph type="title"/>
          </p:nvPr>
        </p:nvSpPr>
        <p:spPr>
          <a:xfrm>
            <a:off x="1969200" y="176400"/>
            <a:ext cx="10464800" cy="831600"/>
          </a:xfrm>
        </p:spPr>
        <p:txBody>
          <a:bodyPr/>
          <a:lstStyle/>
          <a:p>
            <a:pPr eaLnBrk="1" hangingPunct="1"/>
            <a:r>
              <a:rPr lang="ru-RU" dirty="0"/>
              <a:t>Содержание презентации</a:t>
            </a:r>
            <a:endParaRPr lang="en-US" dirty="0"/>
          </a:p>
        </p:txBody>
      </p:sp>
      <p:sp>
        <p:nvSpPr>
          <p:cNvPr id="15363" name="Rectangle 2"/>
          <p:cNvSpPr>
            <a:spLocks noGrp="1" noChangeArrowheads="1"/>
          </p:cNvSpPr>
          <p:nvPr>
            <p:ph type="body" idx="1"/>
          </p:nvPr>
        </p:nvSpPr>
        <p:spPr>
          <a:xfrm>
            <a:off x="1270000" y="2500536"/>
            <a:ext cx="10464800" cy="5996632"/>
          </a:xfrm>
        </p:spPr>
        <p:txBody>
          <a:bodyPr/>
          <a:lstStyle/>
          <a:p>
            <a:pPr marL="774700" indent="-457200" eaLnBrk="1" hangingPunct="1">
              <a:buFont typeface="Courier New" panose="02070309020205020404" pitchFamily="49" charset="0"/>
              <a:buChar char="o"/>
            </a:pPr>
            <a:r>
              <a:rPr lang="ru-RU" i="1" dirty="0">
                <a:latin typeface="Calibri" panose="020F0502020204030204" pitchFamily="34" charset="0"/>
              </a:rPr>
              <a:t>Цели и задачи комитета </a:t>
            </a:r>
            <a:r>
              <a:rPr lang="en-US" i="1" dirty="0">
                <a:latin typeface="Calibri" panose="020F0502020204030204" pitchFamily="34" charset="0"/>
              </a:rPr>
              <a:t>CRIRSCO</a:t>
            </a:r>
          </a:p>
          <a:p>
            <a:pPr marL="774700" indent="-457200" eaLnBrk="1" hangingPunct="1">
              <a:buFont typeface="Courier New" panose="02070309020205020404" pitchFamily="49" charset="0"/>
              <a:buChar char="o"/>
            </a:pPr>
            <a:r>
              <a:rPr lang="ru-RU" i="1" dirty="0">
                <a:latin typeface="Calibri" panose="020F0502020204030204" pitchFamily="34" charset="0"/>
              </a:rPr>
              <a:t>Члены </a:t>
            </a:r>
            <a:r>
              <a:rPr lang="en-US" i="1" dirty="0">
                <a:latin typeface="Calibri" panose="020F0502020204030204" pitchFamily="34" charset="0"/>
              </a:rPr>
              <a:t>CRIRSCO</a:t>
            </a:r>
          </a:p>
          <a:p>
            <a:pPr marL="774700" indent="-457200" eaLnBrk="1" hangingPunct="1">
              <a:buFont typeface="Courier New" panose="02070309020205020404" pitchFamily="49" charset="0"/>
              <a:buChar char="o"/>
            </a:pPr>
            <a:r>
              <a:rPr lang="ru-RU" i="1" dirty="0">
                <a:latin typeface="Calibri" panose="020F0502020204030204" pitchFamily="34" charset="0"/>
              </a:rPr>
              <a:t>Национальные Отчетные Организации</a:t>
            </a:r>
            <a:r>
              <a:rPr lang="en-US" i="1" dirty="0">
                <a:latin typeface="Calibri" panose="020F0502020204030204" pitchFamily="34" charset="0"/>
              </a:rPr>
              <a:t> – NROs</a:t>
            </a:r>
            <a:r>
              <a:rPr lang="ru-RU" i="1" dirty="0">
                <a:latin typeface="Calibri" panose="020F0502020204030204" pitchFamily="34" charset="0"/>
              </a:rPr>
              <a:t>  (</a:t>
            </a:r>
            <a:r>
              <a:rPr lang="en-US" i="1" dirty="0">
                <a:latin typeface="Calibri" panose="020F0502020204030204" pitchFamily="34" charset="0"/>
              </a:rPr>
              <a:t>National Reporting Organizations</a:t>
            </a:r>
            <a:r>
              <a:rPr lang="ru-RU" i="1" dirty="0">
                <a:latin typeface="Calibri" panose="020F0502020204030204" pitchFamily="34" charset="0"/>
              </a:rPr>
              <a:t>)</a:t>
            </a:r>
            <a:endParaRPr lang="en-US" i="1" dirty="0">
              <a:latin typeface="Calibri" panose="020F0502020204030204" pitchFamily="34" charset="0"/>
            </a:endParaRPr>
          </a:p>
          <a:p>
            <a:pPr marL="774700" indent="-457200" eaLnBrk="1" hangingPunct="1">
              <a:buFont typeface="Courier New" panose="02070309020205020404" pitchFamily="49" charset="0"/>
              <a:buChar char="o"/>
            </a:pPr>
            <a:r>
              <a:rPr lang="ru-RU" i="1" dirty="0">
                <a:latin typeface="Calibri" panose="020F0502020204030204" pitchFamily="34" charset="0"/>
              </a:rPr>
              <a:t>Признанные Профессиональные Организации</a:t>
            </a:r>
            <a:r>
              <a:rPr lang="en-US" i="1" dirty="0">
                <a:latin typeface="Calibri" panose="020F0502020204030204" pitchFamily="34" charset="0"/>
              </a:rPr>
              <a:t>- RPOs</a:t>
            </a:r>
            <a:r>
              <a:rPr lang="ru-RU" i="1" dirty="0">
                <a:latin typeface="Calibri" panose="020F0502020204030204" pitchFamily="34" charset="0"/>
              </a:rPr>
              <a:t> (</a:t>
            </a:r>
            <a:r>
              <a:rPr lang="en-US" i="1" dirty="0">
                <a:latin typeface="Calibri" panose="020F0502020204030204" pitchFamily="34" charset="0"/>
              </a:rPr>
              <a:t>Recognized Professional Organizations </a:t>
            </a:r>
            <a:r>
              <a:rPr lang="ru-RU" i="1" dirty="0">
                <a:latin typeface="Calibri" panose="020F0502020204030204" pitchFamily="34" charset="0"/>
              </a:rPr>
              <a:t>)</a:t>
            </a:r>
            <a:endParaRPr lang="en-US" i="1" dirty="0">
              <a:latin typeface="Calibri" panose="020F0502020204030204" pitchFamily="34" charset="0"/>
            </a:endParaRPr>
          </a:p>
          <a:p>
            <a:pPr marL="774700" indent="-457200" eaLnBrk="1" hangingPunct="1">
              <a:buFont typeface="Courier New" panose="02070309020205020404" pitchFamily="49" charset="0"/>
              <a:buChar char="o"/>
            </a:pPr>
            <a:r>
              <a:rPr lang="ru-RU" i="1" dirty="0">
                <a:latin typeface="Calibri" panose="020F0502020204030204" pitchFamily="34" charset="0"/>
              </a:rPr>
              <a:t>Признание и </a:t>
            </a:r>
            <a:r>
              <a:rPr lang="ru-RU" i="1" dirty="0" err="1">
                <a:latin typeface="Calibri" panose="020F0502020204030204" pitchFamily="34" charset="0"/>
              </a:rPr>
              <a:t>Взаимопризнание</a:t>
            </a:r>
            <a:r>
              <a:rPr lang="ru-RU" i="1" dirty="0">
                <a:latin typeface="Calibri" panose="020F0502020204030204" pitchFamily="34" charset="0"/>
              </a:rPr>
              <a:t> Компетентных лиц</a:t>
            </a:r>
            <a:endParaRPr lang="en-US" i="1" dirty="0">
              <a:latin typeface="Calibri" panose="020F0502020204030204" pitchFamily="34" charset="0"/>
            </a:endParaRPr>
          </a:p>
        </p:txBody>
      </p:sp>
    </p:spTree>
    <p:custDataLst>
      <p:tags r:id="rId2"/>
    </p:custDataLst>
  </p:cSld>
  <p:clrMapOvr>
    <a:masterClrMapping/>
  </p:clrMapOvr>
  <p:transition advTm="26671"/>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a 1"/>
          <p:cNvGraphicFramePr>
            <a:graphicFrameLocks noGrp="1"/>
          </p:cNvGraphicFramePr>
          <p:nvPr>
            <p:extLst/>
          </p:nvPr>
        </p:nvGraphicFramePr>
        <p:xfrm>
          <a:off x="525738" y="1996481"/>
          <a:ext cx="12097343" cy="6912766"/>
        </p:xfrm>
        <a:graphic>
          <a:graphicData uri="http://schemas.openxmlformats.org/drawingml/2006/table">
            <a:tbl>
              <a:tblPr firstRow="1" firstCol="1" bandRow="1">
                <a:tableStyleId>{5C22544A-7EE6-4342-B048-85BDC9FD1C3A}</a:tableStyleId>
              </a:tblPr>
              <a:tblGrid>
                <a:gridCol w="946196">
                  <a:extLst>
                    <a:ext uri="{9D8B030D-6E8A-4147-A177-3AD203B41FA5}">
                      <a16:colId xmlns:a16="http://schemas.microsoft.com/office/drawing/2014/main" val="20000"/>
                    </a:ext>
                  </a:extLst>
                </a:gridCol>
                <a:gridCol w="1100802">
                  <a:extLst>
                    <a:ext uri="{9D8B030D-6E8A-4147-A177-3AD203B41FA5}">
                      <a16:colId xmlns:a16="http://schemas.microsoft.com/office/drawing/2014/main" val="20001"/>
                    </a:ext>
                  </a:extLst>
                </a:gridCol>
                <a:gridCol w="1272196">
                  <a:extLst>
                    <a:ext uri="{9D8B030D-6E8A-4147-A177-3AD203B41FA5}">
                      <a16:colId xmlns:a16="http://schemas.microsoft.com/office/drawing/2014/main" val="20002"/>
                    </a:ext>
                  </a:extLst>
                </a:gridCol>
                <a:gridCol w="1987806">
                  <a:extLst>
                    <a:ext uri="{9D8B030D-6E8A-4147-A177-3AD203B41FA5}">
                      <a16:colId xmlns:a16="http://schemas.microsoft.com/office/drawing/2014/main" val="20003"/>
                    </a:ext>
                  </a:extLst>
                </a:gridCol>
                <a:gridCol w="1987806">
                  <a:extLst>
                    <a:ext uri="{9D8B030D-6E8A-4147-A177-3AD203B41FA5}">
                      <a16:colId xmlns:a16="http://schemas.microsoft.com/office/drawing/2014/main" val="20004"/>
                    </a:ext>
                  </a:extLst>
                </a:gridCol>
                <a:gridCol w="3021464">
                  <a:extLst>
                    <a:ext uri="{9D8B030D-6E8A-4147-A177-3AD203B41FA5}">
                      <a16:colId xmlns:a16="http://schemas.microsoft.com/office/drawing/2014/main" val="20005"/>
                    </a:ext>
                  </a:extLst>
                </a:gridCol>
                <a:gridCol w="1781073">
                  <a:extLst>
                    <a:ext uri="{9D8B030D-6E8A-4147-A177-3AD203B41FA5}">
                      <a16:colId xmlns:a16="http://schemas.microsoft.com/office/drawing/2014/main" val="20006"/>
                    </a:ext>
                  </a:extLst>
                </a:gridCol>
              </a:tblGrid>
              <a:tr h="399901">
                <a:tc>
                  <a:txBody>
                    <a:bodyPr/>
                    <a:lstStyle/>
                    <a:p>
                      <a:pPr>
                        <a:lnSpc>
                          <a:spcPct val="115000"/>
                        </a:lnSpc>
                        <a:spcAft>
                          <a:spcPts val="0"/>
                        </a:spcAft>
                      </a:pPr>
                      <a:r>
                        <a:rPr lang="en-US" sz="1100">
                          <a:effectLst/>
                        </a:rPr>
                        <a:t>Country</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Contact</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Approvers</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Meaning</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Documentation</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Use of alternate code in country</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Reciprocity List</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extLst>
                  <a:ext uri="{0D108BD9-81ED-4DB2-BD59-A6C34878D82A}">
                    <a16:rowId xmlns:a16="http://schemas.microsoft.com/office/drawing/2014/main" val="10000"/>
                  </a:ext>
                </a:extLst>
              </a:tr>
              <a:tr h="3428174">
                <a:tc>
                  <a:txBody>
                    <a:bodyPr/>
                    <a:lstStyle/>
                    <a:p>
                      <a:pPr>
                        <a:lnSpc>
                          <a:spcPct val="115000"/>
                        </a:lnSpc>
                        <a:spcAft>
                          <a:spcPts val="0"/>
                        </a:spcAft>
                      </a:pPr>
                      <a:r>
                        <a:rPr lang="en-US" sz="1100">
                          <a:effectLst/>
                        </a:rPr>
                        <a:t>Canada</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1000"/>
                        </a:spcAft>
                      </a:pPr>
                      <a:r>
                        <a:rPr lang="en-US" sz="1100">
                          <a:effectLst/>
                        </a:rPr>
                        <a:t>Ontario Securities Commission </a:t>
                      </a:r>
                      <a:r>
                        <a:rPr lang="en-US" sz="1100" u="sng">
                          <a:effectLst/>
                          <a:hlinkClick r:id="rId2"/>
                        </a:rPr>
                        <a:t>cwaldie@osc.gov.on.ca</a:t>
                      </a:r>
                      <a:r>
                        <a:rPr lang="en-US" sz="1100">
                          <a:effectLst/>
                        </a:rPr>
                        <a:t>) or BCSC (</a:t>
                      </a:r>
                      <a:r>
                        <a:rPr lang="en-US" sz="1100" u="sng">
                          <a:effectLst/>
                          <a:hlinkClick r:id="rId3"/>
                        </a:rPr>
                        <a:t>ccollins@bcsc.bc.ca</a:t>
                      </a:r>
                      <a:r>
                        <a:rPr lang="en-US" sz="1100">
                          <a:effectLst/>
                        </a:rPr>
                        <a:t>) or AMF (</a:t>
                      </a:r>
                      <a:r>
                        <a:rPr lang="en-US" sz="1100" u="sng">
                          <a:effectLst/>
                          <a:hlinkClick r:id="rId4"/>
                        </a:rPr>
                        <a:t>luc.arsenault@lautorite.qc.ca</a:t>
                      </a:r>
                      <a:r>
                        <a:rPr lang="en-US" sz="1100">
                          <a:effectLst/>
                        </a:rPr>
                        <a:t>)</a:t>
                      </a:r>
                      <a:endParaRPr lang="pt-BR" sz="1100">
                        <a:effectLst/>
                      </a:endParaRPr>
                    </a:p>
                    <a:p>
                      <a:pPr>
                        <a:lnSpc>
                          <a:spcPct val="115000"/>
                        </a:lnSpc>
                        <a:spcAft>
                          <a:spcPts val="0"/>
                        </a:spcAft>
                      </a:pPr>
                      <a:r>
                        <a:rPr lang="en-US" sz="1100">
                          <a:effectLst/>
                        </a:rPr>
                        <a:t> </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1000"/>
                        </a:spcAft>
                      </a:pPr>
                      <a:r>
                        <a:rPr lang="en-US" sz="1100">
                          <a:effectLst/>
                        </a:rPr>
                        <a:t>Canadian Securities Administrators (CSA), based on the recommendation of OSC, BCSC, and AMF staff </a:t>
                      </a:r>
                      <a:endParaRPr lang="pt-BR" sz="1100">
                        <a:effectLst/>
                      </a:endParaRPr>
                    </a:p>
                    <a:p>
                      <a:pPr>
                        <a:lnSpc>
                          <a:spcPct val="115000"/>
                        </a:lnSpc>
                        <a:spcAft>
                          <a:spcPts val="0"/>
                        </a:spcAft>
                      </a:pPr>
                      <a:r>
                        <a:rPr lang="en-US" sz="1100">
                          <a:effectLst/>
                        </a:rPr>
                        <a:t> </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1000"/>
                        </a:spcAft>
                      </a:pPr>
                      <a:r>
                        <a:rPr lang="en-US" sz="1100">
                          <a:effectLst/>
                        </a:rPr>
                        <a:t>Qualified Person can act as a QP for disclosure and technical reports prepared under NI 43-101</a:t>
                      </a:r>
                      <a:endParaRPr lang="pt-BR" sz="1100">
                        <a:effectLst/>
                      </a:endParaRPr>
                    </a:p>
                    <a:p>
                      <a:pPr>
                        <a:lnSpc>
                          <a:spcPct val="115000"/>
                        </a:lnSpc>
                        <a:spcAft>
                          <a:spcPts val="0"/>
                        </a:spcAft>
                      </a:pPr>
                      <a:r>
                        <a:rPr lang="en-US" sz="1100">
                          <a:effectLst/>
                        </a:rPr>
                        <a:t> </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Formal application to the CSA (through the OSC, BCSC, or AMF) with supporting documentation</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1000"/>
                        </a:spcAft>
                      </a:pPr>
                      <a:r>
                        <a:rPr lang="en-US" sz="1100">
                          <a:effectLst/>
                        </a:rPr>
                        <a:t>Yes, but only an “acceptable foreign code” as defined in NI 43-101 which includes the JORC Code, PERC Code, SAMREC Code, Certification Code, and the NAEN Code. </a:t>
                      </a:r>
                      <a:endParaRPr lang="pt-BR" sz="1100">
                        <a:effectLst/>
                      </a:endParaRPr>
                    </a:p>
                    <a:p>
                      <a:pPr>
                        <a:lnSpc>
                          <a:spcPct val="115000"/>
                        </a:lnSpc>
                        <a:spcAft>
                          <a:spcPts val="0"/>
                        </a:spcAft>
                      </a:pPr>
                      <a:r>
                        <a:rPr lang="en-US" sz="1100">
                          <a:effectLst/>
                        </a:rPr>
                        <a:t> </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1000"/>
                        </a:spcAft>
                      </a:pPr>
                      <a:r>
                        <a:rPr lang="en-US" sz="1100">
                          <a:effectLst/>
                        </a:rPr>
                        <a:t>Appendix A of Companion Policy 43-101CP. The current list is here: </a:t>
                      </a:r>
                      <a:r>
                        <a:rPr lang="en-US" sz="1100" u="sng">
                          <a:effectLst/>
                          <a:hlinkClick r:id="rId5"/>
                        </a:rPr>
                        <a:t>http://www.osc.gov.on.ca/documents/en/Securities-Category4/csa_20160225_43-101_changes-cp-mineral-projects.pdf</a:t>
                      </a:r>
                      <a:endParaRPr lang="pt-BR" sz="1100">
                        <a:effectLst/>
                      </a:endParaRPr>
                    </a:p>
                    <a:p>
                      <a:pPr>
                        <a:lnSpc>
                          <a:spcPct val="115000"/>
                        </a:lnSpc>
                        <a:spcAft>
                          <a:spcPts val="0"/>
                        </a:spcAft>
                      </a:pPr>
                      <a:r>
                        <a:rPr lang="en-US" sz="1100">
                          <a:effectLst/>
                        </a:rPr>
                        <a:t> </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extLst>
                  <a:ext uri="{0D108BD9-81ED-4DB2-BD59-A6C34878D82A}">
                    <a16:rowId xmlns:a16="http://schemas.microsoft.com/office/drawing/2014/main" val="10001"/>
                  </a:ext>
                </a:extLst>
              </a:tr>
              <a:tr h="1651868">
                <a:tc>
                  <a:txBody>
                    <a:bodyPr/>
                    <a:lstStyle/>
                    <a:p>
                      <a:pPr>
                        <a:lnSpc>
                          <a:spcPct val="115000"/>
                        </a:lnSpc>
                        <a:spcAft>
                          <a:spcPts val="0"/>
                        </a:spcAft>
                      </a:pPr>
                      <a:r>
                        <a:rPr lang="en-US" sz="1100">
                          <a:effectLst/>
                        </a:rPr>
                        <a:t>Europ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Chair PERC Committee</a:t>
                      </a:r>
                      <a:endParaRPr lang="pt-BR" sz="1100">
                        <a:effectLst/>
                      </a:endParaRPr>
                    </a:p>
                    <a:p>
                      <a:pPr>
                        <a:lnSpc>
                          <a:spcPct val="115000"/>
                        </a:lnSpc>
                        <a:spcAft>
                          <a:spcPts val="0"/>
                        </a:spcAft>
                      </a:pPr>
                      <a:r>
                        <a:rPr lang="en-US" sz="1100">
                          <a:effectLst/>
                        </a:rPr>
                        <a:t> </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PERC Committee Executiv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CP can act as CP for reports prepared using PERC</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Reciprocity request letter, details of RPO membership requirements and classes, code of ethics &amp; disciplinary procedures</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Any CRIRSCO Standards or Code allowed by individual national markets or included in ESMA recommendations dated 23 March 2011 Appendix I, p45 </a:t>
                      </a:r>
                      <a:r>
                        <a:rPr lang="en-US" sz="1100" u="sng">
                          <a:effectLst/>
                          <a:hlinkClick r:id="rId6"/>
                        </a:rPr>
                        <a:t>https://www.esma.europa.eu/sites/default/files/library/2015/11/11_81.pdf</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u="sng">
                          <a:effectLst/>
                          <a:hlinkClick r:id="rId7"/>
                        </a:rPr>
                        <a:t>http://www.percstandard.eu/</a:t>
                      </a:r>
                      <a:endParaRPr lang="pt-BR" sz="1100">
                        <a:effectLst/>
                      </a:endParaRPr>
                    </a:p>
                    <a:p>
                      <a:pPr>
                        <a:lnSpc>
                          <a:spcPct val="115000"/>
                        </a:lnSpc>
                        <a:spcAft>
                          <a:spcPts val="0"/>
                        </a:spcAft>
                      </a:pPr>
                      <a:r>
                        <a:rPr lang="en-US" sz="1100">
                          <a:effectLst/>
                        </a:rPr>
                        <a:t>List of RPOs</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extLst>
                  <a:ext uri="{0D108BD9-81ED-4DB2-BD59-A6C34878D82A}">
                    <a16:rowId xmlns:a16="http://schemas.microsoft.com/office/drawing/2014/main" val="10002"/>
                  </a:ext>
                </a:extLst>
              </a:tr>
              <a:tr h="1432823">
                <a:tc>
                  <a:txBody>
                    <a:bodyPr/>
                    <a:lstStyle/>
                    <a:p>
                      <a:pPr>
                        <a:lnSpc>
                          <a:spcPct val="115000"/>
                        </a:lnSpc>
                        <a:spcAft>
                          <a:spcPts val="0"/>
                        </a:spcAft>
                      </a:pPr>
                      <a:r>
                        <a:rPr lang="en-US" sz="1100">
                          <a:effectLst/>
                        </a:rPr>
                        <a:t>South Africa</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Chairperson SAMCODES Standards Committee (SSC)</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SSC</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CP can act as a CP for reports under the SAMREC Code submitted to the Johannesburg Stock Exchange (JS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Reciprocity Request letter. (Assume already a member of CRIRSCO) </a:t>
                      </a:r>
                      <a:endParaRPr lang="pt-BR" sz="1100">
                        <a:effectLst/>
                      </a:endParaRPr>
                    </a:p>
                    <a:p>
                      <a:pPr>
                        <a:lnSpc>
                          <a:spcPct val="115000"/>
                        </a:lnSpc>
                        <a:spcAft>
                          <a:spcPts val="0"/>
                        </a:spcAft>
                      </a:pPr>
                      <a:r>
                        <a:rPr lang="en-US" sz="1100">
                          <a:effectLst/>
                        </a:rPr>
                        <a:t>Annual request required.</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a:effectLst/>
                        </a:rPr>
                        <a:t>No unless it is a secondary listing then there is no requirement for a CPR and the primary listing is accepted.</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tc>
                  <a:txBody>
                    <a:bodyPr/>
                    <a:lstStyle/>
                    <a:p>
                      <a:pPr>
                        <a:lnSpc>
                          <a:spcPct val="115000"/>
                        </a:lnSpc>
                        <a:spcAft>
                          <a:spcPts val="0"/>
                        </a:spcAft>
                      </a:pPr>
                      <a:r>
                        <a:rPr lang="en-US" sz="1100" dirty="0">
                          <a:effectLst/>
                        </a:rPr>
                        <a:t>SAMCODE website</a:t>
                      </a:r>
                      <a:endParaRPr lang="pt-BR" sz="1100" dirty="0">
                        <a:effectLst/>
                      </a:endParaRPr>
                    </a:p>
                    <a:p>
                      <a:pPr>
                        <a:lnSpc>
                          <a:spcPct val="115000"/>
                        </a:lnSpc>
                        <a:spcAft>
                          <a:spcPts val="0"/>
                        </a:spcAft>
                      </a:pPr>
                      <a:r>
                        <a:rPr lang="en-US" sz="1100" dirty="0">
                          <a:effectLst/>
                        </a:rPr>
                        <a:t>www.samcode.co.za</a:t>
                      </a:r>
                      <a:endParaRPr lang="pt-BR" sz="1100" dirty="0">
                        <a:effectLst/>
                      </a:endParaRPr>
                    </a:p>
                    <a:p>
                      <a:pPr>
                        <a:lnSpc>
                          <a:spcPct val="115000"/>
                        </a:lnSpc>
                        <a:spcAft>
                          <a:spcPts val="0"/>
                        </a:spcAft>
                      </a:pPr>
                      <a:r>
                        <a:rPr lang="en-US" sz="1100" dirty="0">
                          <a:effectLst/>
                        </a:rPr>
                        <a:t> </a:t>
                      </a:r>
                      <a:endParaRPr lang="pt-B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46" marR="68546" marT="0" marB="0"/>
                </a:tc>
                <a:extLst>
                  <a:ext uri="{0D108BD9-81ED-4DB2-BD59-A6C34878D82A}">
                    <a16:rowId xmlns:a16="http://schemas.microsoft.com/office/drawing/2014/main" val="10003"/>
                  </a:ext>
                </a:extLst>
              </a:tr>
            </a:tbl>
          </a:graphicData>
        </a:graphic>
      </p:graphicFrame>
      <p:sp>
        <p:nvSpPr>
          <p:cNvPr id="4" name="Rectangle 1">
            <a:extLst>
              <a:ext uri="{FF2B5EF4-FFF2-40B4-BE49-F238E27FC236}">
                <a16:creationId xmlns:a16="http://schemas.microsoft.com/office/drawing/2014/main" id="{E57C6379-82D4-44C9-8087-68633EBE376F}"/>
              </a:ext>
            </a:extLst>
          </p:cNvPr>
          <p:cNvSpPr txBox="1">
            <a:spLocks noChangeArrowheads="1"/>
          </p:cNvSpPr>
          <p:nvPr/>
        </p:nvSpPr>
        <p:spPr>
          <a:xfrm>
            <a:off x="1821880" y="63500"/>
            <a:ext cx="11120536" cy="1308100"/>
          </a:xfrm>
          <a:prstGeom prst="rect">
            <a:avLst/>
          </a:prstGeom>
        </p:spPr>
        <p:txBody>
          <a:bodyPr/>
          <a:lstStyle>
            <a:lvl1pPr algn="l" rtl="0" eaLnBrk="0" fontAlgn="base" hangingPunct="0">
              <a:spcBef>
                <a:spcPct val="0"/>
              </a:spcBef>
              <a:spcAft>
                <a:spcPct val="0"/>
              </a:spcAft>
              <a:defRPr sz="4800">
                <a:solidFill>
                  <a:srgbClr val="D1C46D"/>
                </a:solidFill>
                <a:latin typeface="+mj-lt"/>
                <a:ea typeface="+mj-ea"/>
                <a:cs typeface="+mj-cs"/>
                <a:sym typeface="Gill Sans"/>
              </a:defRPr>
            </a:lvl1pPr>
            <a:lvl2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2pPr>
            <a:lvl3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3pPr>
            <a:lvl4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4pPr>
            <a:lvl5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5pPr>
            <a:lvl6pPr marL="4572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a:lstStyle>
          <a:p>
            <a:pPr eaLnBrk="1" hangingPunct="1"/>
            <a:r>
              <a:rPr lang="ru-RU" kern="0" dirty="0"/>
              <a:t>Дорожная карта для заявки</a:t>
            </a:r>
            <a:endParaRPr lang="en-US" kern="0" dirty="0"/>
          </a:p>
        </p:txBody>
      </p:sp>
    </p:spTree>
    <p:extLst>
      <p:ext uri="{BB962C8B-B14F-4D97-AF65-F5344CB8AC3E}">
        <p14:creationId xmlns:p14="http://schemas.microsoft.com/office/powerpoint/2010/main" val="316838246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a 1"/>
          <p:cNvGraphicFramePr>
            <a:graphicFrameLocks noGrp="1"/>
          </p:cNvGraphicFramePr>
          <p:nvPr>
            <p:extLst/>
          </p:nvPr>
        </p:nvGraphicFramePr>
        <p:xfrm>
          <a:off x="669753" y="1924472"/>
          <a:ext cx="11953326" cy="6840759"/>
        </p:xfrm>
        <a:graphic>
          <a:graphicData uri="http://schemas.openxmlformats.org/drawingml/2006/table">
            <a:tbl>
              <a:tblPr firstRow="1" firstCol="1" bandRow="1">
                <a:tableStyleId>{5C22544A-7EE6-4342-B048-85BDC9FD1C3A}</a:tableStyleId>
              </a:tblPr>
              <a:tblGrid>
                <a:gridCol w="871953">
                  <a:extLst>
                    <a:ext uri="{9D8B030D-6E8A-4147-A177-3AD203B41FA5}">
                      <a16:colId xmlns:a16="http://schemas.microsoft.com/office/drawing/2014/main" val="20000"/>
                    </a:ext>
                  </a:extLst>
                </a:gridCol>
                <a:gridCol w="1014429">
                  <a:extLst>
                    <a:ext uri="{9D8B030D-6E8A-4147-A177-3AD203B41FA5}">
                      <a16:colId xmlns:a16="http://schemas.microsoft.com/office/drawing/2014/main" val="20001"/>
                    </a:ext>
                  </a:extLst>
                </a:gridCol>
                <a:gridCol w="1172374">
                  <a:extLst>
                    <a:ext uri="{9D8B030D-6E8A-4147-A177-3AD203B41FA5}">
                      <a16:colId xmlns:a16="http://schemas.microsoft.com/office/drawing/2014/main" val="20002"/>
                    </a:ext>
                  </a:extLst>
                </a:gridCol>
                <a:gridCol w="2429418">
                  <a:extLst>
                    <a:ext uri="{9D8B030D-6E8A-4147-A177-3AD203B41FA5}">
                      <a16:colId xmlns:a16="http://schemas.microsoft.com/office/drawing/2014/main" val="20003"/>
                    </a:ext>
                  </a:extLst>
                </a:gridCol>
                <a:gridCol w="1615269">
                  <a:extLst>
                    <a:ext uri="{9D8B030D-6E8A-4147-A177-3AD203B41FA5}">
                      <a16:colId xmlns:a16="http://schemas.microsoft.com/office/drawing/2014/main" val="20004"/>
                    </a:ext>
                  </a:extLst>
                </a:gridCol>
                <a:gridCol w="2772176">
                  <a:extLst>
                    <a:ext uri="{9D8B030D-6E8A-4147-A177-3AD203B41FA5}">
                      <a16:colId xmlns:a16="http://schemas.microsoft.com/office/drawing/2014/main" val="20005"/>
                    </a:ext>
                  </a:extLst>
                </a:gridCol>
                <a:gridCol w="2077707">
                  <a:extLst>
                    <a:ext uri="{9D8B030D-6E8A-4147-A177-3AD203B41FA5}">
                      <a16:colId xmlns:a16="http://schemas.microsoft.com/office/drawing/2014/main" val="20006"/>
                    </a:ext>
                  </a:extLst>
                </a:gridCol>
              </a:tblGrid>
              <a:tr h="324478">
                <a:tc>
                  <a:txBody>
                    <a:bodyPr/>
                    <a:lstStyle/>
                    <a:p>
                      <a:pPr>
                        <a:lnSpc>
                          <a:spcPct val="115000"/>
                        </a:lnSpc>
                        <a:spcAft>
                          <a:spcPts val="0"/>
                        </a:spcAft>
                      </a:pPr>
                      <a:r>
                        <a:rPr lang="en-US" sz="900" dirty="0">
                          <a:effectLst/>
                        </a:rPr>
                        <a:t>Country</a:t>
                      </a:r>
                      <a:endParaRPr lang="pt-B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Contact</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Approvers</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Meaning</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Documentation</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Use of alternate code in country</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Reciprocity List</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extLst>
                  <a:ext uri="{0D108BD9-81ED-4DB2-BD59-A6C34878D82A}">
                    <a16:rowId xmlns:a16="http://schemas.microsoft.com/office/drawing/2014/main" val="10000"/>
                  </a:ext>
                </a:extLst>
              </a:tr>
              <a:tr h="2000856">
                <a:tc>
                  <a:txBody>
                    <a:bodyPr/>
                    <a:lstStyle/>
                    <a:p>
                      <a:pPr>
                        <a:lnSpc>
                          <a:spcPct val="115000"/>
                        </a:lnSpc>
                        <a:spcAft>
                          <a:spcPts val="0"/>
                        </a:spcAft>
                      </a:pPr>
                      <a:r>
                        <a:rPr lang="en-US" sz="900">
                          <a:effectLst/>
                        </a:rPr>
                        <a:t>Australia</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Chair JORC Committee</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1. JORC,        2. JORC’s three parent bodies, AusIMM, AIG &amp; MCA. </a:t>
                      </a:r>
                      <a:endParaRPr lang="pt-BR" sz="900">
                        <a:effectLst/>
                      </a:endParaRPr>
                    </a:p>
                    <a:p>
                      <a:pPr>
                        <a:lnSpc>
                          <a:spcPct val="115000"/>
                        </a:lnSpc>
                        <a:spcAft>
                          <a:spcPts val="0"/>
                        </a:spcAft>
                      </a:pPr>
                      <a:r>
                        <a:rPr lang="en-US" sz="900">
                          <a:effectLst/>
                        </a:rPr>
                        <a:t>3. Then ASX </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Competent Person can act as a competent Person for Reports under the JORC Code to ASX, and more generally wherever JORC is accepted</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Formal application to JORC with  supporting documentation and agreement to annual reviews. See</a:t>
                      </a:r>
                      <a:endParaRPr lang="pt-BR" sz="900">
                        <a:effectLst/>
                      </a:endParaRPr>
                    </a:p>
                    <a:p>
                      <a:pPr>
                        <a:lnSpc>
                          <a:spcPct val="115000"/>
                        </a:lnSpc>
                        <a:spcAft>
                          <a:spcPts val="0"/>
                        </a:spcAft>
                      </a:pPr>
                      <a:r>
                        <a:rPr lang="en-US" sz="900" u="sng">
                          <a:effectLst/>
                          <a:hlinkClick r:id="rId2"/>
                        </a:rPr>
                        <a:t>http://www.jorc.org/competent.asp</a:t>
                      </a:r>
                      <a:endParaRPr lang="pt-BR" sz="900">
                        <a:effectLst/>
                      </a:endParaRPr>
                    </a:p>
                    <a:p>
                      <a:pPr>
                        <a:lnSpc>
                          <a:spcPct val="115000"/>
                        </a:lnSpc>
                        <a:spcAft>
                          <a:spcPts val="0"/>
                        </a:spcAft>
                      </a:pPr>
                      <a:r>
                        <a:rPr lang="en-US" sz="900">
                          <a:effectLst/>
                        </a:rPr>
                        <a:t> </a:t>
                      </a:r>
                      <a:endParaRPr lang="pt-BR" sz="900">
                        <a:effectLst/>
                      </a:endParaRPr>
                    </a:p>
                    <a:p>
                      <a:pPr>
                        <a:lnSpc>
                          <a:spcPct val="115000"/>
                        </a:lnSpc>
                        <a:spcAft>
                          <a:spcPts val="0"/>
                        </a:spcAft>
                      </a:pPr>
                      <a:r>
                        <a:rPr lang="en-US" sz="900">
                          <a:effectLst/>
                        </a:rPr>
                        <a:t>  </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No, except for specifically defined foreign codes in ASX listing rules 5.10 to 5.14, see:</a:t>
                      </a:r>
                      <a:endParaRPr lang="pt-BR" sz="900">
                        <a:effectLst/>
                      </a:endParaRPr>
                    </a:p>
                    <a:p>
                      <a:pPr>
                        <a:lnSpc>
                          <a:spcPct val="115000"/>
                        </a:lnSpc>
                        <a:spcAft>
                          <a:spcPts val="0"/>
                        </a:spcAft>
                      </a:pPr>
                      <a:r>
                        <a:rPr lang="en-US" sz="900" u="sng">
                          <a:effectLst/>
                          <a:hlinkClick r:id="rId3"/>
                        </a:rPr>
                        <a:t>http://www.asx.com.au/documents/rules/Chapter05.pdf</a:t>
                      </a:r>
                      <a:endParaRPr lang="pt-BR" sz="900">
                        <a:effectLst/>
                      </a:endParaRPr>
                    </a:p>
                    <a:p>
                      <a:pPr>
                        <a:lnSpc>
                          <a:spcPct val="115000"/>
                        </a:lnSpc>
                        <a:spcAft>
                          <a:spcPts val="0"/>
                        </a:spcAft>
                      </a:pPr>
                      <a:r>
                        <a:rPr lang="en-US" sz="900">
                          <a:effectLst/>
                        </a:rPr>
                        <a:t> </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a:effectLst/>
                        </a:rPr>
                        <a:t>JORC website: </a:t>
                      </a:r>
                      <a:r>
                        <a:rPr lang="en-US" sz="900" u="sng">
                          <a:effectLst/>
                          <a:hlinkClick r:id="rId2"/>
                        </a:rPr>
                        <a:t>http://www.jorc.org/competent.asp</a:t>
                      </a:r>
                      <a:endParaRPr lang="pt-BR" sz="900">
                        <a:effectLst/>
                      </a:endParaRPr>
                    </a:p>
                    <a:p>
                      <a:pPr>
                        <a:lnSpc>
                          <a:spcPct val="115000"/>
                        </a:lnSpc>
                        <a:spcAft>
                          <a:spcPts val="0"/>
                        </a:spcAft>
                      </a:pPr>
                      <a:r>
                        <a:rPr lang="en-US" sz="900">
                          <a:effectLst/>
                        </a:rPr>
                        <a:t> </a:t>
                      </a:r>
                      <a:endParaRPr lang="pt-BR" sz="900">
                        <a:effectLst/>
                      </a:endParaRPr>
                    </a:p>
                    <a:p>
                      <a:pPr>
                        <a:lnSpc>
                          <a:spcPct val="115000"/>
                        </a:lnSpc>
                        <a:spcAft>
                          <a:spcPts val="0"/>
                        </a:spcAft>
                        <a:tabLst>
                          <a:tab pos="1531620" algn="l"/>
                        </a:tabLst>
                      </a:pPr>
                      <a:r>
                        <a:rPr lang="en-US" sz="900">
                          <a:effectLst/>
                        </a:rPr>
                        <a:t>Also ASX website:</a:t>
                      </a:r>
                      <a:endParaRPr lang="pt-BR" sz="900">
                        <a:effectLst/>
                      </a:endParaRPr>
                    </a:p>
                    <a:p>
                      <a:pPr>
                        <a:lnSpc>
                          <a:spcPct val="115000"/>
                        </a:lnSpc>
                        <a:spcAft>
                          <a:spcPts val="0"/>
                        </a:spcAft>
                        <a:tabLst>
                          <a:tab pos="1531620" algn="l"/>
                        </a:tabLst>
                      </a:pPr>
                      <a:r>
                        <a:rPr lang="en-US" sz="900" u="sng">
                          <a:effectLst/>
                          <a:hlinkClick r:id="rId4"/>
                        </a:rPr>
                        <a:t>http://www.asx.com.au/documents/regulation/list-recognised-professional-orgs-march-2014.pdf</a:t>
                      </a:r>
                      <a:endParaRPr lang="pt-BR" sz="900">
                        <a:effectLst/>
                      </a:endParaRPr>
                    </a:p>
                    <a:p>
                      <a:pPr>
                        <a:lnSpc>
                          <a:spcPct val="115000"/>
                        </a:lnSpc>
                        <a:spcAft>
                          <a:spcPts val="0"/>
                        </a:spcAft>
                        <a:tabLst>
                          <a:tab pos="1531620" algn="l"/>
                        </a:tabLst>
                      </a:pPr>
                      <a:r>
                        <a:rPr lang="en-US" sz="900">
                          <a:effectLst/>
                        </a:rPr>
                        <a:t> </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extLst>
                  <a:ext uri="{0D108BD9-81ED-4DB2-BD59-A6C34878D82A}">
                    <a16:rowId xmlns:a16="http://schemas.microsoft.com/office/drawing/2014/main" val="10001"/>
                  </a:ext>
                </a:extLst>
              </a:tr>
              <a:tr h="4515425">
                <a:tc>
                  <a:txBody>
                    <a:bodyPr/>
                    <a:lstStyle/>
                    <a:p>
                      <a:pPr>
                        <a:lnSpc>
                          <a:spcPct val="115000"/>
                        </a:lnSpc>
                        <a:spcAft>
                          <a:spcPts val="0"/>
                        </a:spcAft>
                      </a:pPr>
                      <a:r>
                        <a:rPr lang="en-US" sz="900">
                          <a:effectLst/>
                        </a:rPr>
                        <a:t>Brazil</a:t>
                      </a:r>
                      <a:endParaRPr lang="pt-BR" sz="90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dirty="0">
                          <a:effectLst/>
                        </a:rPr>
                        <a:t>CBRR through the e-mail addresses:  </a:t>
                      </a:r>
                      <a:r>
                        <a:rPr lang="en-US" sz="900" u="sng" dirty="0">
                          <a:effectLst/>
                          <a:hlinkClick r:id="rId5"/>
                        </a:rPr>
                        <a:t>contato@cbrr.org.br</a:t>
                      </a:r>
                      <a:r>
                        <a:rPr lang="en-US" sz="900" dirty="0">
                          <a:effectLst/>
                        </a:rPr>
                        <a:t> or </a:t>
                      </a:r>
                      <a:r>
                        <a:rPr lang="en-US" sz="900" u="sng" dirty="0">
                          <a:effectLst/>
                          <a:hlinkClick r:id="rId6"/>
                        </a:rPr>
                        <a:t>registro@cbrr.org.br</a:t>
                      </a:r>
                      <a:endParaRPr lang="pt-B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dirty="0">
                          <a:effectLst/>
                        </a:rPr>
                        <a:t>Management Council of CBRR, composed by six members appointed by the founder institutions IBRAM, ADIMB and ABPM (two members each). The Management Council will consider the recommendation prepared by the Register Committee, composed by Qualified Professionals</a:t>
                      </a:r>
                      <a:endParaRPr lang="pt-B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dirty="0">
                          <a:effectLst/>
                        </a:rPr>
                        <a:t>An individual that is a member of a RPO in another jurisdiction will not need his/her registration with CBRR and he/she will be allowed to sign a report under our jurisdiction provided that he/she fulfills all our own requirements. In other words, not all members of a foreigner RPO will have the same benefit, but only those that have the minimum requirements to become a registered qualified professional with CBRR.</a:t>
                      </a:r>
                      <a:endParaRPr lang="pt-BR" sz="900" dirty="0">
                        <a:effectLst/>
                      </a:endParaRPr>
                    </a:p>
                    <a:p>
                      <a:pPr>
                        <a:lnSpc>
                          <a:spcPct val="115000"/>
                        </a:lnSpc>
                        <a:spcAft>
                          <a:spcPts val="0"/>
                        </a:spcAft>
                      </a:pPr>
                      <a:r>
                        <a:rPr lang="en-US" sz="900" dirty="0">
                          <a:effectLst/>
                        </a:rPr>
                        <a:t>Approved RPOs will be responsible for the surveillance and disciplinary measures for QPs coming from overseas but working in Brazil.</a:t>
                      </a:r>
                      <a:endParaRPr lang="pt-B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dirty="0">
                          <a:effectLst/>
                        </a:rPr>
                        <a:t>Same as for CRIRSCO: RPO by-laws, Code of Ethics, Disciplinary Policy, criteria for admission of new members.</a:t>
                      </a:r>
                      <a:endParaRPr lang="pt-B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dirty="0">
                          <a:effectLst/>
                        </a:rPr>
                        <a:t>At the moment B3 (the Brazilian Stock exchange and formerly BOVESPA) does not have a standard, and any international code of the CRIRSCO family will be accepted. In the future BOVESPA intends to adopt the CBRR Guidelines, that are part of the CRIRSCO family but with its own specificities; Reports to the Brazilian Government must follow the Brazilian Mining Code, which is distinct from CRIRSCO and CBRR.</a:t>
                      </a:r>
                      <a:endParaRPr lang="pt-B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tc>
                  <a:txBody>
                    <a:bodyPr/>
                    <a:lstStyle/>
                    <a:p>
                      <a:pPr>
                        <a:lnSpc>
                          <a:spcPct val="115000"/>
                        </a:lnSpc>
                        <a:spcAft>
                          <a:spcPts val="0"/>
                        </a:spcAft>
                      </a:pPr>
                      <a:r>
                        <a:rPr lang="en-US" sz="900" dirty="0">
                          <a:effectLst/>
                        </a:rPr>
                        <a:t>The list of Foreign Recognized Professional Associations can be found at the CBRR website www.cbrr.org.br</a:t>
                      </a:r>
                      <a:endParaRPr lang="pt-BR" sz="900" dirty="0">
                        <a:effectLst/>
                        <a:latin typeface="Calibri" panose="020F0502020204030204" pitchFamily="34" charset="0"/>
                        <a:ea typeface="Calibri" panose="020F0502020204030204" pitchFamily="34" charset="0"/>
                        <a:cs typeface="Times New Roman" panose="02020603050405020304" pitchFamily="18" charset="0"/>
                      </a:endParaRPr>
                    </a:p>
                  </a:txBody>
                  <a:tcPr marL="56472" marR="56472" marT="0" marB="0"/>
                </a:tc>
                <a:extLst>
                  <a:ext uri="{0D108BD9-81ED-4DB2-BD59-A6C34878D82A}">
                    <a16:rowId xmlns:a16="http://schemas.microsoft.com/office/drawing/2014/main" val="10002"/>
                  </a:ext>
                </a:extLst>
              </a:tr>
            </a:tbl>
          </a:graphicData>
        </a:graphic>
      </p:graphicFrame>
      <p:sp>
        <p:nvSpPr>
          <p:cNvPr id="4" name="Rectangle 1">
            <a:extLst>
              <a:ext uri="{FF2B5EF4-FFF2-40B4-BE49-F238E27FC236}">
                <a16:creationId xmlns:a16="http://schemas.microsoft.com/office/drawing/2014/main" id="{8CB156A6-D3E6-4B32-80A2-402716B3F0FB}"/>
              </a:ext>
            </a:extLst>
          </p:cNvPr>
          <p:cNvSpPr txBox="1">
            <a:spLocks noChangeArrowheads="1"/>
          </p:cNvSpPr>
          <p:nvPr/>
        </p:nvSpPr>
        <p:spPr>
          <a:xfrm>
            <a:off x="1821880" y="63500"/>
            <a:ext cx="9073008" cy="1308100"/>
          </a:xfrm>
          <a:prstGeom prst="rect">
            <a:avLst/>
          </a:prstGeom>
        </p:spPr>
        <p:txBody>
          <a:bodyPr/>
          <a:lstStyle>
            <a:lvl1pPr algn="l" rtl="0" eaLnBrk="0" fontAlgn="base" hangingPunct="0">
              <a:spcBef>
                <a:spcPct val="0"/>
              </a:spcBef>
              <a:spcAft>
                <a:spcPct val="0"/>
              </a:spcAft>
              <a:defRPr sz="4800">
                <a:solidFill>
                  <a:srgbClr val="D1C46D"/>
                </a:solidFill>
                <a:latin typeface="+mj-lt"/>
                <a:ea typeface="+mj-ea"/>
                <a:cs typeface="+mj-cs"/>
                <a:sym typeface="Gill Sans"/>
              </a:defRPr>
            </a:lvl1pPr>
            <a:lvl2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2pPr>
            <a:lvl3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3pPr>
            <a:lvl4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4pPr>
            <a:lvl5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5pPr>
            <a:lvl6pPr marL="4572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a:lstStyle>
          <a:p>
            <a:pPr eaLnBrk="1" hangingPunct="1"/>
            <a:r>
              <a:rPr lang="ru-RU" kern="0" dirty="0"/>
              <a:t>Дорожная карта для заявки</a:t>
            </a:r>
            <a:endParaRPr lang="en-US" kern="0" dirty="0"/>
          </a:p>
        </p:txBody>
      </p:sp>
    </p:spTree>
    <p:extLst>
      <p:ext uri="{BB962C8B-B14F-4D97-AF65-F5344CB8AC3E}">
        <p14:creationId xmlns:p14="http://schemas.microsoft.com/office/powerpoint/2010/main" val="180298325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a 2"/>
          <p:cNvGraphicFramePr>
            <a:graphicFrameLocks noGrp="1"/>
          </p:cNvGraphicFramePr>
          <p:nvPr>
            <p:extLst/>
          </p:nvPr>
        </p:nvGraphicFramePr>
        <p:xfrm>
          <a:off x="309712" y="2212504"/>
          <a:ext cx="12025336" cy="2880320"/>
        </p:xfrm>
        <a:graphic>
          <a:graphicData uri="http://schemas.openxmlformats.org/drawingml/2006/table">
            <a:tbl>
              <a:tblPr firstRow="1" firstCol="1" bandRow="1">
                <a:tableStyleId>{5C22544A-7EE6-4342-B048-85BDC9FD1C3A}</a:tableStyleId>
              </a:tblPr>
              <a:tblGrid>
                <a:gridCol w="1108998">
                  <a:extLst>
                    <a:ext uri="{9D8B030D-6E8A-4147-A177-3AD203B41FA5}">
                      <a16:colId xmlns:a16="http://schemas.microsoft.com/office/drawing/2014/main" val="20000"/>
                    </a:ext>
                  </a:extLst>
                </a:gridCol>
                <a:gridCol w="788748">
                  <a:extLst>
                    <a:ext uri="{9D8B030D-6E8A-4147-A177-3AD203B41FA5}">
                      <a16:colId xmlns:a16="http://schemas.microsoft.com/office/drawing/2014/main" val="20001"/>
                    </a:ext>
                  </a:extLst>
                </a:gridCol>
                <a:gridCol w="1179437">
                  <a:extLst>
                    <a:ext uri="{9D8B030D-6E8A-4147-A177-3AD203B41FA5}">
                      <a16:colId xmlns:a16="http://schemas.microsoft.com/office/drawing/2014/main" val="20002"/>
                    </a:ext>
                  </a:extLst>
                </a:gridCol>
                <a:gridCol w="2444054">
                  <a:extLst>
                    <a:ext uri="{9D8B030D-6E8A-4147-A177-3AD203B41FA5}">
                      <a16:colId xmlns:a16="http://schemas.microsoft.com/office/drawing/2014/main" val="20003"/>
                    </a:ext>
                  </a:extLst>
                </a:gridCol>
                <a:gridCol w="1625001">
                  <a:extLst>
                    <a:ext uri="{9D8B030D-6E8A-4147-A177-3AD203B41FA5}">
                      <a16:colId xmlns:a16="http://schemas.microsoft.com/office/drawing/2014/main" val="20004"/>
                    </a:ext>
                  </a:extLst>
                </a:gridCol>
                <a:gridCol w="2788875">
                  <a:extLst>
                    <a:ext uri="{9D8B030D-6E8A-4147-A177-3AD203B41FA5}">
                      <a16:colId xmlns:a16="http://schemas.microsoft.com/office/drawing/2014/main" val="20005"/>
                    </a:ext>
                  </a:extLst>
                </a:gridCol>
                <a:gridCol w="2090223">
                  <a:extLst>
                    <a:ext uri="{9D8B030D-6E8A-4147-A177-3AD203B41FA5}">
                      <a16:colId xmlns:a16="http://schemas.microsoft.com/office/drawing/2014/main" val="20006"/>
                    </a:ext>
                  </a:extLst>
                </a:gridCol>
              </a:tblGrid>
              <a:tr h="433176">
                <a:tc>
                  <a:txBody>
                    <a:bodyPr/>
                    <a:lstStyle/>
                    <a:p>
                      <a:pPr>
                        <a:lnSpc>
                          <a:spcPct val="115000"/>
                        </a:lnSpc>
                        <a:spcAft>
                          <a:spcPts val="0"/>
                        </a:spcAft>
                      </a:pPr>
                      <a:r>
                        <a:rPr lang="en-US" sz="1100" dirty="0">
                          <a:solidFill>
                            <a:srgbClr val="FFC000"/>
                          </a:solidFill>
                          <a:effectLst/>
                        </a:rPr>
                        <a:t>Country</a:t>
                      </a:r>
                      <a:endParaRPr lang="pt-BR" sz="1100"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dirty="0">
                          <a:solidFill>
                            <a:srgbClr val="FFC000"/>
                          </a:solidFill>
                          <a:effectLst/>
                        </a:rPr>
                        <a:t>Contact</a:t>
                      </a:r>
                      <a:endParaRPr lang="pt-BR" sz="1100"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dirty="0">
                          <a:solidFill>
                            <a:srgbClr val="FFC000"/>
                          </a:solidFill>
                          <a:effectLst/>
                        </a:rPr>
                        <a:t>Approvers</a:t>
                      </a:r>
                      <a:endParaRPr lang="pt-BR" sz="1100"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dirty="0">
                          <a:solidFill>
                            <a:srgbClr val="FFC000"/>
                          </a:solidFill>
                          <a:effectLst/>
                        </a:rPr>
                        <a:t>Meaning</a:t>
                      </a:r>
                      <a:endParaRPr lang="pt-BR" sz="1100"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dirty="0">
                          <a:solidFill>
                            <a:srgbClr val="FFC000"/>
                          </a:solidFill>
                          <a:effectLst/>
                        </a:rPr>
                        <a:t>Documentation</a:t>
                      </a:r>
                      <a:endParaRPr lang="pt-BR" sz="1100"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dirty="0">
                          <a:solidFill>
                            <a:srgbClr val="FFC000"/>
                          </a:solidFill>
                          <a:effectLst/>
                        </a:rPr>
                        <a:t>Use of alternate code in country</a:t>
                      </a:r>
                      <a:endParaRPr lang="pt-BR" sz="1100"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dirty="0">
                          <a:solidFill>
                            <a:srgbClr val="FFC000"/>
                          </a:solidFill>
                          <a:effectLst/>
                        </a:rPr>
                        <a:t>Reciprocity List</a:t>
                      </a:r>
                      <a:endParaRPr lang="pt-BR" sz="1100"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0"/>
                  </a:ext>
                </a:extLst>
              </a:tr>
              <a:tr h="2447144">
                <a:tc>
                  <a:txBody>
                    <a:bodyPr/>
                    <a:lstStyle/>
                    <a:p>
                      <a:pPr>
                        <a:lnSpc>
                          <a:spcPct val="115000"/>
                        </a:lnSpc>
                        <a:spcAft>
                          <a:spcPts val="0"/>
                        </a:spcAft>
                      </a:pPr>
                      <a:r>
                        <a:rPr lang="en-US" sz="1100" dirty="0">
                          <a:solidFill>
                            <a:srgbClr val="FFC000"/>
                          </a:solidFill>
                          <a:effectLst/>
                        </a:rPr>
                        <a:t>Kazakhstan</a:t>
                      </a:r>
                      <a:endParaRPr lang="pt-BR" sz="1100" dirty="0">
                        <a:solidFill>
                          <a:srgbClr val="FFC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PONEN</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PONEN</a:t>
                      </a:r>
                      <a:endParaRPr lang="pt-BR" sz="1100">
                        <a:effectLst/>
                      </a:endParaRPr>
                    </a:p>
                    <a:p>
                      <a:pPr>
                        <a:lnSpc>
                          <a:spcPct val="115000"/>
                        </a:lnSpc>
                        <a:spcAft>
                          <a:spcPts val="0"/>
                        </a:spcAft>
                      </a:pPr>
                      <a:r>
                        <a:rPr lang="en-US" sz="1600">
                          <a:effectLst/>
                        </a:rPr>
                        <a:t> </a:t>
                      </a:r>
                      <a:r>
                        <a:rPr lang="en-US" sz="1100">
                          <a:effectLst/>
                        </a:rPr>
                        <a:t>Executive Committe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CP not yet recognized in KZ. Сan act as CP to the KAZRC  Code.</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Reciprocity request letter, RPO membership requirements and classes, code of ethics &amp; disciplinary procedures.</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a:effectLst/>
                        </a:rPr>
                        <a:t>Yes, by now there is GKZ standards for governmental reporting in RK.</a:t>
                      </a:r>
                      <a:endParaRPr lang="pt-BR" sz="1100">
                        <a:effectLst/>
                      </a:endParaRPr>
                    </a:p>
                    <a:p>
                      <a:pPr>
                        <a:lnSpc>
                          <a:spcPct val="115000"/>
                        </a:lnSpc>
                        <a:spcAft>
                          <a:spcPts val="0"/>
                        </a:spcAft>
                      </a:pPr>
                      <a:r>
                        <a:rPr lang="en-US" sz="1100">
                          <a:effectLst/>
                        </a:rPr>
                        <a:t>After new Subsoil Code come in force, KAZRC will be the only official national standard for governmental reporting on ER and MR. </a:t>
                      </a:r>
                      <a:endParaRPr lang="pt-BR" sz="1100">
                        <a:effectLst/>
                      </a:endParaRPr>
                    </a:p>
                    <a:p>
                      <a:pPr>
                        <a:lnSpc>
                          <a:spcPct val="115000"/>
                        </a:lnSpc>
                        <a:spcAft>
                          <a:spcPts val="0"/>
                        </a:spcAft>
                      </a:pPr>
                      <a:r>
                        <a:rPr lang="en-US" sz="1100">
                          <a:effectLst/>
                        </a:rPr>
                        <a:t>KASE will recognize all CRIRSCO codes since July 2018.</a:t>
                      </a:r>
                      <a:endParaRPr lang="pt-BR"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15000"/>
                        </a:lnSpc>
                        <a:spcAft>
                          <a:spcPts val="0"/>
                        </a:spcAft>
                      </a:pPr>
                      <a:r>
                        <a:rPr lang="en-US" sz="1100" u="sng" dirty="0">
                          <a:effectLst/>
                          <a:hlinkClick r:id="rId2"/>
                        </a:rPr>
                        <a:t>http://ponen.kz/</a:t>
                      </a:r>
                      <a:endParaRPr lang="pt-BR" sz="1100" dirty="0">
                        <a:effectLst/>
                      </a:endParaRPr>
                    </a:p>
                    <a:p>
                      <a:pPr>
                        <a:lnSpc>
                          <a:spcPct val="115000"/>
                        </a:lnSpc>
                        <a:spcAft>
                          <a:spcPts val="0"/>
                        </a:spcAft>
                      </a:pPr>
                      <a:r>
                        <a:rPr lang="en-US" sz="1100" dirty="0">
                          <a:effectLst/>
                        </a:rPr>
                        <a:t> </a:t>
                      </a:r>
                      <a:endParaRPr lang="pt-BR" sz="1100" dirty="0">
                        <a:effectLst/>
                      </a:endParaRPr>
                    </a:p>
                    <a:p>
                      <a:pPr>
                        <a:lnSpc>
                          <a:spcPct val="115000"/>
                        </a:lnSpc>
                        <a:spcAft>
                          <a:spcPts val="0"/>
                        </a:spcAft>
                      </a:pPr>
                      <a:r>
                        <a:rPr lang="en-US" sz="1100" u="sng" dirty="0">
                          <a:effectLst/>
                          <a:hlinkClick r:id="rId3"/>
                        </a:rPr>
                        <a:t>http://ponen.kz/biblioteka/?lang=en&amp;category=7</a:t>
                      </a:r>
                      <a:endParaRPr lang="pt-BR" sz="1100" dirty="0">
                        <a:effectLst/>
                      </a:endParaRPr>
                    </a:p>
                    <a:p>
                      <a:pPr>
                        <a:lnSpc>
                          <a:spcPct val="115000"/>
                        </a:lnSpc>
                        <a:spcAft>
                          <a:spcPts val="0"/>
                        </a:spcAft>
                      </a:pPr>
                      <a:r>
                        <a:rPr lang="en-US" sz="1100" dirty="0">
                          <a:effectLst/>
                        </a:rPr>
                        <a:t> </a:t>
                      </a:r>
                      <a:endParaRPr lang="pt-BR" sz="1100" dirty="0">
                        <a:effectLst/>
                      </a:endParaRPr>
                    </a:p>
                    <a:p>
                      <a:pPr>
                        <a:lnSpc>
                          <a:spcPct val="115000"/>
                        </a:lnSpc>
                        <a:spcAft>
                          <a:spcPts val="0"/>
                        </a:spcAft>
                      </a:pPr>
                      <a:r>
                        <a:rPr lang="en-US" sz="1100" dirty="0">
                          <a:effectLst/>
                        </a:rPr>
                        <a:t> </a:t>
                      </a:r>
                      <a:endParaRPr lang="pt-BR"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001"/>
                  </a:ext>
                </a:extLst>
              </a:tr>
            </a:tbl>
          </a:graphicData>
        </a:graphic>
      </p:graphicFrame>
      <p:sp>
        <p:nvSpPr>
          <p:cNvPr id="5" name="Rectangle 1">
            <a:extLst>
              <a:ext uri="{FF2B5EF4-FFF2-40B4-BE49-F238E27FC236}">
                <a16:creationId xmlns:a16="http://schemas.microsoft.com/office/drawing/2014/main" id="{37564639-310D-4E40-9CA6-A2E422BCDEC8}"/>
              </a:ext>
            </a:extLst>
          </p:cNvPr>
          <p:cNvSpPr txBox="1">
            <a:spLocks noChangeArrowheads="1"/>
          </p:cNvSpPr>
          <p:nvPr/>
        </p:nvSpPr>
        <p:spPr>
          <a:xfrm>
            <a:off x="1821880" y="63500"/>
            <a:ext cx="11120536" cy="1308100"/>
          </a:xfrm>
          <a:prstGeom prst="rect">
            <a:avLst/>
          </a:prstGeom>
        </p:spPr>
        <p:txBody>
          <a:bodyPr/>
          <a:lstStyle>
            <a:lvl1pPr algn="l" rtl="0" eaLnBrk="0" fontAlgn="base" hangingPunct="0">
              <a:spcBef>
                <a:spcPct val="0"/>
              </a:spcBef>
              <a:spcAft>
                <a:spcPct val="0"/>
              </a:spcAft>
              <a:defRPr sz="4800">
                <a:solidFill>
                  <a:srgbClr val="D1C46D"/>
                </a:solidFill>
                <a:latin typeface="+mj-lt"/>
                <a:ea typeface="+mj-ea"/>
                <a:cs typeface="+mj-cs"/>
                <a:sym typeface="Gill Sans"/>
              </a:defRPr>
            </a:lvl1pPr>
            <a:lvl2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2pPr>
            <a:lvl3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3pPr>
            <a:lvl4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4pPr>
            <a:lvl5pPr algn="l" rtl="0" eaLnBrk="0" fontAlgn="base" hangingPunct="0">
              <a:spcBef>
                <a:spcPct val="0"/>
              </a:spcBef>
              <a:spcAft>
                <a:spcPct val="0"/>
              </a:spcAft>
              <a:defRPr sz="4800">
                <a:solidFill>
                  <a:srgbClr val="D1C46D"/>
                </a:solidFill>
                <a:latin typeface="Gill Sans" charset="0"/>
                <a:ea typeface="ヒラギノ角ゴ ProN W3" charset="0"/>
                <a:cs typeface="ヒラギノ角ゴ ProN W3" charset="0"/>
                <a:sym typeface="Gill Sans"/>
              </a:defRPr>
            </a:lvl5pPr>
            <a:lvl6pPr marL="4572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algn="l" rtl="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a:lstStyle>
          <a:p>
            <a:pPr eaLnBrk="1" hangingPunct="1"/>
            <a:r>
              <a:rPr lang="ru-RU" kern="0" dirty="0"/>
              <a:t>Дорожная карта для заявки</a:t>
            </a:r>
            <a:endParaRPr lang="en-US" kern="0" dirty="0"/>
          </a:p>
        </p:txBody>
      </p:sp>
    </p:spTree>
    <p:extLst>
      <p:ext uri="{BB962C8B-B14F-4D97-AF65-F5344CB8AC3E}">
        <p14:creationId xmlns:p14="http://schemas.microsoft.com/office/powerpoint/2010/main" val="174893820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cSld>
  <p:clrMapOvr>
    <a:masterClrMapping/>
  </p:clrMapOvr>
  <p:transition advTm="6089"/>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95552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bwMode="auto">
          <a:xfrm>
            <a:off x="0" y="0"/>
            <a:ext cx="158750" cy="158750"/>
          </a:xfrm>
          <a:prstGeom prst="rect">
            <a:avLst/>
          </a:prstGeom>
          <a:blipFill dpi="0" rotWithShape="0">
            <a:blip r:embed="rId9"/>
            <a:srcRect/>
            <a:tile tx="0" ty="0" sx="100000" sy="100000" flip="none" algn="tl"/>
          </a:blipFill>
          <a:ln w="254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a:endParaRPr kumimoji="0" lang="en-US" sz="4800" u="none" strike="noStrike" cap="none" normalizeH="0" dirty="0">
              <a:ln>
                <a:noFill/>
              </a:ln>
              <a:solidFill>
                <a:srgbClr val="000000"/>
              </a:solidFill>
              <a:effectLst/>
              <a:ea typeface="ヒラギノ角ゴ ProN W3" charset="0"/>
              <a:cs typeface="ヒラギノ角ゴ ProN W3" charset="0"/>
            </a:endParaRPr>
          </a:p>
        </p:txBody>
      </p:sp>
      <p:sp>
        <p:nvSpPr>
          <p:cNvPr id="16386" name="Rectangle 1"/>
          <p:cNvSpPr>
            <a:spLocks noGrp="1" noChangeArrowheads="1"/>
          </p:cNvSpPr>
          <p:nvPr>
            <p:ph type="title"/>
          </p:nvPr>
        </p:nvSpPr>
        <p:spPr>
          <a:xfrm>
            <a:off x="1969200" y="176400"/>
            <a:ext cx="10464800" cy="831600"/>
          </a:xfrm>
        </p:spPr>
        <p:txBody>
          <a:bodyPr/>
          <a:lstStyle/>
          <a:p>
            <a:pPr eaLnBrk="1" hangingPunct="1"/>
            <a:r>
              <a:rPr lang="en-US" dirty="0"/>
              <a:t>CRIRSCO – </a:t>
            </a:r>
            <a:r>
              <a:rPr lang="ru-RU" dirty="0"/>
              <a:t>Основная задача</a:t>
            </a:r>
            <a:endParaRPr lang="en-US" dirty="0"/>
          </a:p>
        </p:txBody>
      </p:sp>
      <p:sp>
        <p:nvSpPr>
          <p:cNvPr id="15363" name="Rectangle 2"/>
          <p:cNvSpPr>
            <a:spLocks noGrp="1" noChangeArrowheads="1"/>
          </p:cNvSpPr>
          <p:nvPr>
            <p:ph type="body" idx="1"/>
          </p:nvPr>
        </p:nvSpPr>
        <p:spPr>
          <a:xfrm>
            <a:off x="1029792" y="2356520"/>
            <a:ext cx="10464800" cy="6120680"/>
          </a:xfrm>
        </p:spPr>
        <p:txBody>
          <a:bodyPr/>
          <a:lstStyle/>
          <a:p>
            <a:pPr marL="265113" indent="1588" algn="just">
              <a:buFont typeface="Gill Sans" charset="0"/>
              <a:buNone/>
              <a:defRPr/>
            </a:pPr>
            <a:r>
              <a:rPr lang="ru-RU" sz="2800" i="1" dirty="0">
                <a:solidFill>
                  <a:srgbClr val="FF0000"/>
                </a:solidFill>
                <a:latin typeface="Calibri" panose="020F0502020204030204" pitchFamily="34" charset="0"/>
                <a:sym typeface="Gill Sans" charset="0"/>
              </a:rPr>
              <a:t>Содействовать продвижению «лучшей практики» в международной публичной отчетности о результатах разведки полезных ископаемых, минеральных ресурсов и рудных запасов.</a:t>
            </a:r>
          </a:p>
          <a:p>
            <a:pPr marL="265113" indent="1588" algn="just">
              <a:buFont typeface="Gill Sans" charset="0"/>
              <a:buNone/>
              <a:defRPr/>
            </a:pPr>
            <a:r>
              <a:rPr lang="en-AU" sz="2800" i="1" dirty="0">
                <a:latin typeface="Calibri" panose="020F0502020204030204" pitchFamily="34" charset="0"/>
                <a:sym typeface="Gill Sans" charset="0"/>
              </a:rPr>
              <a:t>CRIRSCO </a:t>
            </a:r>
            <a:r>
              <a:rPr lang="ru-RU" sz="2800" i="1" dirty="0">
                <a:latin typeface="Calibri" panose="020F0502020204030204" pitchFamily="34" charset="0"/>
                <a:sym typeface="Gill Sans" charset="0"/>
              </a:rPr>
              <a:t>является международным консультативным органом без юридических полномочий; опирается на своих постоянных членов для обеспечения регулирующего и дисциплинарного надзора на национальном уровне.</a:t>
            </a:r>
            <a:r>
              <a:rPr lang="en-AU" sz="2800" i="1" dirty="0">
                <a:latin typeface="Calibri" panose="020F0502020204030204" pitchFamily="34" charset="0"/>
                <a:sym typeface="Gill Sans" charset="0"/>
              </a:rPr>
              <a:t> </a:t>
            </a:r>
          </a:p>
          <a:p>
            <a:pPr marL="265113" indent="1588" algn="just">
              <a:buFont typeface="Gill Sans" charset="0"/>
              <a:buNone/>
              <a:defRPr/>
            </a:pPr>
            <a:r>
              <a:rPr lang="en-AU" sz="2800" i="1" dirty="0">
                <a:latin typeface="Calibri" panose="020F0502020204030204" pitchFamily="34" charset="0"/>
                <a:sym typeface="Gill Sans" charset="0"/>
              </a:rPr>
              <a:t>CRIRSCO</a:t>
            </a:r>
            <a:r>
              <a:rPr lang="ru-RU" sz="2800" i="1" dirty="0">
                <a:latin typeface="Calibri" panose="020F0502020204030204" pitchFamily="34" charset="0"/>
                <a:sym typeface="Gill Sans" charset="0"/>
              </a:rPr>
              <a:t> признает подлинно глобальный характер минерально-сырьевой отрасли и согласованную необходимость международного консенсуса по стандартам отчетности.</a:t>
            </a:r>
            <a:endParaRPr lang="en-US" sz="2800" i="1" dirty="0">
              <a:latin typeface="Calibri" panose="020F0502020204030204" pitchFamily="34" charset="0"/>
              <a:sym typeface="Gill Sans" charset="0"/>
            </a:endParaRPr>
          </a:p>
          <a:p>
            <a:pPr marL="266700" indent="0">
              <a:buNone/>
              <a:defRPr/>
            </a:pPr>
            <a:endParaRPr lang="en-US" sz="2800" i="1" dirty="0">
              <a:latin typeface="Calibri" panose="020F0502020204030204" pitchFamily="34" charset="0"/>
              <a:sym typeface="Gill Sans" charset="0"/>
            </a:endParaRPr>
          </a:p>
          <a:p>
            <a:pPr marL="811213" eaLnBrk="1" hangingPunct="1">
              <a:buFont typeface="Gill Sans" charset="0"/>
              <a:buChar char="•"/>
              <a:defRPr/>
            </a:pPr>
            <a:endParaRPr lang="en-US" sz="2800" i="1" dirty="0">
              <a:latin typeface="Calibri" panose="020F0502020204030204" pitchFamily="34" charset="0"/>
              <a:sym typeface="Gill Sans" charset="0"/>
            </a:endParaRPr>
          </a:p>
        </p:txBody>
      </p:sp>
    </p:spTree>
    <p:custDataLst>
      <p:tags r:id="rId2"/>
    </p:custDataLst>
  </p:cSld>
  <p:clrMapOvr>
    <a:masterClrMapping/>
  </p:clrMapOvr>
  <p:transition advTm="41535"/>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 name="TextBox 438"/>
          <p:cNvSpPr txBox="1"/>
          <p:nvPr/>
        </p:nvSpPr>
        <p:spPr>
          <a:xfrm>
            <a:off x="1970093" y="174735"/>
            <a:ext cx="10716197" cy="830997"/>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lvl1pPr eaLnBrk="1" hangingPunct="1">
              <a:defRPr sz="4800">
                <a:solidFill>
                  <a:srgbClr val="D1C46D"/>
                </a:solidFill>
                <a:latin typeface="+mj-lt"/>
                <a:ea typeface="+mj-ea"/>
                <a:cs typeface="+mj-cs"/>
              </a:defRPr>
            </a:lvl1pPr>
            <a:lvl2pPr eaLnBrk="0" hangingPunct="0">
              <a:defRPr sz="4800">
                <a:solidFill>
                  <a:srgbClr val="D1C46D"/>
                </a:solidFill>
                <a:latin typeface="Gill Sans" charset="0"/>
                <a:ea typeface="ヒラギノ角ゴ ProN W3" charset="0"/>
                <a:cs typeface="ヒラギノ角ゴ ProN W3" charset="0"/>
              </a:defRPr>
            </a:lvl2pPr>
            <a:lvl3pPr eaLnBrk="0" hangingPunct="0">
              <a:defRPr sz="4800">
                <a:solidFill>
                  <a:srgbClr val="D1C46D"/>
                </a:solidFill>
                <a:latin typeface="Gill Sans" charset="0"/>
                <a:ea typeface="ヒラギノ角ゴ ProN W3" charset="0"/>
                <a:cs typeface="ヒラギノ角ゴ ProN W3" charset="0"/>
              </a:defRPr>
            </a:lvl3pPr>
            <a:lvl4pPr eaLnBrk="0" hangingPunct="0">
              <a:defRPr sz="4800">
                <a:solidFill>
                  <a:srgbClr val="D1C46D"/>
                </a:solidFill>
                <a:latin typeface="Gill Sans" charset="0"/>
                <a:ea typeface="ヒラギノ角ゴ ProN W3" charset="0"/>
                <a:cs typeface="ヒラギノ角ゴ ProN W3" charset="0"/>
              </a:defRPr>
            </a:lvl4pPr>
            <a:lvl5pPr eaLnBrk="0" hangingPunct="0">
              <a:defRPr sz="4800">
                <a:solidFill>
                  <a:srgbClr val="D1C46D"/>
                </a:solidFill>
                <a:latin typeface="Gill Sans" charset="0"/>
                <a:ea typeface="ヒラギノ角ゴ ProN W3" charset="0"/>
                <a:cs typeface="ヒラギノ角ゴ ProN W3" charset="0"/>
              </a:defRPr>
            </a:lvl5pPr>
            <a:lvl6pPr marL="4572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a:lstStyle>
          <a:p>
            <a:r>
              <a:rPr lang="ru-RU" dirty="0"/>
              <a:t>Глобальный охват стран и континентов, </a:t>
            </a:r>
            <a:r>
              <a:rPr lang="ru-RU" sz="2800" dirty="0"/>
              <a:t>обеспечивающий единый методический подход </a:t>
            </a:r>
            <a:endParaRPr lang="en-GB" sz="2800" dirty="0"/>
          </a:p>
        </p:txBody>
      </p:sp>
      <p:grpSp>
        <p:nvGrpSpPr>
          <p:cNvPr id="293" name="Group 292"/>
          <p:cNvGrpSpPr/>
          <p:nvPr/>
        </p:nvGrpSpPr>
        <p:grpSpPr>
          <a:xfrm>
            <a:off x="1072229" y="1995241"/>
            <a:ext cx="10716197" cy="7268167"/>
            <a:chOff x="0" y="439387"/>
            <a:chExt cx="8981014" cy="6309320"/>
          </a:xfrm>
        </p:grpSpPr>
        <p:grpSp>
          <p:nvGrpSpPr>
            <p:cNvPr id="440" name="Group 439"/>
            <p:cNvGrpSpPr/>
            <p:nvPr/>
          </p:nvGrpSpPr>
          <p:grpSpPr>
            <a:xfrm>
              <a:off x="0" y="439387"/>
              <a:ext cx="8981014" cy="6309320"/>
              <a:chOff x="0" y="439387"/>
              <a:chExt cx="8981014" cy="6309320"/>
            </a:xfrm>
          </p:grpSpPr>
          <p:grpSp>
            <p:nvGrpSpPr>
              <p:cNvPr id="442" name="Group 441"/>
              <p:cNvGrpSpPr/>
              <p:nvPr/>
            </p:nvGrpSpPr>
            <p:grpSpPr>
              <a:xfrm>
                <a:off x="0" y="439387"/>
                <a:ext cx="8981014" cy="6309320"/>
                <a:chOff x="107504" y="548680"/>
                <a:chExt cx="8873510" cy="5760640"/>
              </a:xfrm>
            </p:grpSpPr>
            <p:sp>
              <p:nvSpPr>
                <p:cNvPr id="449" name="Rectangle 448"/>
                <p:cNvSpPr/>
                <p:nvPr/>
              </p:nvSpPr>
              <p:spPr>
                <a:xfrm>
                  <a:off x="107504" y="548680"/>
                  <a:ext cx="8873510" cy="5760640"/>
                </a:xfrm>
                <a:prstGeom prst="rect">
                  <a:avLst/>
                </a:prstGeom>
                <a:noFill/>
                <a:ln w="25400" cap="flat" cmpd="sng" algn="ctr">
                  <a:noFill/>
                  <a:prstDash val="solid"/>
                </a:ln>
                <a:effectLst/>
              </p:spPr>
              <p:txBody>
                <a:bodyPr rtlCol="0" anchor="ctr"/>
                <a:lstStyle/>
                <a:p>
                  <a:pPr algn="ctr">
                    <a:defRPr/>
                  </a:pPr>
                  <a:endParaRPr lang="en-GB" kern="0">
                    <a:solidFill>
                      <a:prstClr val="white"/>
                    </a:solidFill>
                    <a:latin typeface="Calibri"/>
                  </a:endParaRPr>
                </a:p>
              </p:txBody>
            </p:sp>
            <p:grpSp>
              <p:nvGrpSpPr>
                <p:cNvPr id="450" name="Group 449"/>
                <p:cNvGrpSpPr/>
                <p:nvPr/>
              </p:nvGrpSpPr>
              <p:grpSpPr>
                <a:xfrm>
                  <a:off x="220664" y="881256"/>
                  <a:ext cx="8654121" cy="4924008"/>
                  <a:chOff x="220664" y="881256"/>
                  <a:chExt cx="8654121" cy="4924008"/>
                </a:xfrm>
              </p:grpSpPr>
              <p:sp>
                <p:nvSpPr>
                  <p:cNvPr id="456" name="Freeform 321"/>
                  <p:cNvSpPr>
                    <a:spLocks/>
                  </p:cNvSpPr>
                  <p:nvPr/>
                </p:nvSpPr>
                <p:spPr bwMode="auto">
                  <a:xfrm rot="730076">
                    <a:off x="4177992" y="2812028"/>
                    <a:ext cx="355909" cy="296822"/>
                  </a:xfrm>
                  <a:custGeom>
                    <a:avLst/>
                    <a:gdLst>
                      <a:gd name="T0" fmla="*/ 2147483647 w 10000"/>
                      <a:gd name="T1" fmla="*/ 2147483647 h 10009"/>
                      <a:gd name="T2" fmla="*/ 2147483647 w 10000"/>
                      <a:gd name="T3" fmla="*/ 2147483647 h 10009"/>
                      <a:gd name="T4" fmla="*/ 2147483647 w 10000"/>
                      <a:gd name="T5" fmla="*/ 2147483647 h 10009"/>
                      <a:gd name="T6" fmla="*/ 2147483647 w 10000"/>
                      <a:gd name="T7" fmla="*/ 2147483647 h 10009"/>
                      <a:gd name="T8" fmla="*/ 2147483647 w 10000"/>
                      <a:gd name="T9" fmla="*/ 2147483647 h 10009"/>
                      <a:gd name="T10" fmla="*/ 2147483647 w 10000"/>
                      <a:gd name="T11" fmla="*/ 2147483647 h 10009"/>
                      <a:gd name="T12" fmla="*/ 2147483647 w 10000"/>
                      <a:gd name="T13" fmla="*/ 161364554 h 10009"/>
                      <a:gd name="T14" fmla="*/ 2147483647 w 10000"/>
                      <a:gd name="T15" fmla="*/ 2147483647 h 10009"/>
                      <a:gd name="T16" fmla="*/ 2147483647 w 10000"/>
                      <a:gd name="T17" fmla="*/ 161364554 h 10009"/>
                      <a:gd name="T18" fmla="*/ 2147483647 w 10000"/>
                      <a:gd name="T19" fmla="*/ 2147483647 h 10009"/>
                      <a:gd name="T20" fmla="*/ 0 w 10000"/>
                      <a:gd name="T21" fmla="*/ 2147483647 h 10009"/>
                      <a:gd name="T22" fmla="*/ 2147483647 w 10000"/>
                      <a:gd name="T23" fmla="*/ 2147483647 h 10009"/>
                      <a:gd name="T24" fmla="*/ 2147483647 w 10000"/>
                      <a:gd name="T25" fmla="*/ 2147483647 h 10009"/>
                      <a:gd name="T26" fmla="*/ 2147483647 w 10000"/>
                      <a:gd name="T27" fmla="*/ 2147483647 h 10009"/>
                      <a:gd name="T28" fmla="*/ 2147483647 w 10000"/>
                      <a:gd name="T29" fmla="*/ 2147483647 h 10009"/>
                      <a:gd name="T30" fmla="*/ 2147483647 w 10000"/>
                      <a:gd name="T31" fmla="*/ 2147483647 h 10009"/>
                      <a:gd name="T32" fmla="*/ 2147483647 w 10000"/>
                      <a:gd name="T33" fmla="*/ 2147483647 h 10009"/>
                      <a:gd name="T34" fmla="*/ 2147483647 w 10000"/>
                      <a:gd name="T35" fmla="*/ 2147483647 h 10009"/>
                      <a:gd name="T36" fmla="*/ 2147483647 w 10000"/>
                      <a:gd name="T37" fmla="*/ 2147483647 h 10009"/>
                      <a:gd name="T38" fmla="*/ 2147483647 w 10000"/>
                      <a:gd name="T39" fmla="*/ 2147483647 h 10009"/>
                      <a:gd name="T40" fmla="*/ 2147483647 w 10000"/>
                      <a:gd name="T41" fmla="*/ 2147483647 h 10009"/>
                      <a:gd name="T42" fmla="*/ 2147483647 w 10000"/>
                      <a:gd name="T43" fmla="*/ 2147483647 h 10009"/>
                      <a:gd name="T44" fmla="*/ 2147483647 w 10000"/>
                      <a:gd name="T45" fmla="*/ 2147483647 h 10009"/>
                      <a:gd name="T46" fmla="*/ 2147483647 w 10000"/>
                      <a:gd name="T47" fmla="*/ 2147483647 h 10009"/>
                      <a:gd name="T48" fmla="*/ 2147483647 w 10000"/>
                      <a:gd name="T49" fmla="*/ 2147483647 h 10009"/>
                      <a:gd name="T50" fmla="*/ 2147483647 w 10000"/>
                      <a:gd name="T51" fmla="*/ 2147483647 h 10009"/>
                      <a:gd name="T52" fmla="*/ 2147483647 w 10000"/>
                      <a:gd name="T53" fmla="*/ 2147483647 h 10009"/>
                      <a:gd name="T54" fmla="*/ 2147483647 w 10000"/>
                      <a:gd name="T55" fmla="*/ 2147483647 h 10009"/>
                      <a:gd name="T56" fmla="*/ 2147483647 w 10000"/>
                      <a:gd name="T57" fmla="*/ 2147483647 h 10009"/>
                      <a:gd name="T58" fmla="*/ 2147483647 w 10000"/>
                      <a:gd name="T59" fmla="*/ 2147483647 h 10009"/>
                      <a:gd name="T60" fmla="*/ 2147483647 w 10000"/>
                      <a:gd name="T61" fmla="*/ 2147483647 h 10009"/>
                      <a:gd name="T62" fmla="*/ 2147483647 w 10000"/>
                      <a:gd name="T63" fmla="*/ 2147483647 h 10009"/>
                      <a:gd name="T64" fmla="*/ 2147483647 w 10000"/>
                      <a:gd name="T65" fmla="*/ 2147483647 h 10009"/>
                      <a:gd name="T66" fmla="*/ 2147483647 w 10000"/>
                      <a:gd name="T67" fmla="*/ 2147483647 h 10009"/>
                      <a:gd name="T68" fmla="*/ 2147483647 w 10000"/>
                      <a:gd name="T69" fmla="*/ 2147483647 h 10009"/>
                      <a:gd name="T70" fmla="*/ 2147483647 w 10000"/>
                      <a:gd name="T71" fmla="*/ 2147483647 h 10009"/>
                      <a:gd name="T72" fmla="*/ 2147483647 w 10000"/>
                      <a:gd name="T73" fmla="*/ 2147483647 h 10009"/>
                      <a:gd name="T74" fmla="*/ 2147483647 w 10000"/>
                      <a:gd name="T75" fmla="*/ 2147483647 h 10009"/>
                      <a:gd name="T76" fmla="*/ 2147483647 w 10000"/>
                      <a:gd name="T77" fmla="*/ 2147483647 h 10009"/>
                      <a:gd name="T78" fmla="*/ 2147483647 w 10000"/>
                      <a:gd name="T79" fmla="*/ 2147483647 h 10009"/>
                      <a:gd name="T80" fmla="*/ 2147483647 w 10000"/>
                      <a:gd name="T81" fmla="*/ 2147483647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57" name="Freeform 322"/>
                  <p:cNvSpPr>
                    <a:spLocks/>
                  </p:cNvSpPr>
                  <p:nvPr/>
                </p:nvSpPr>
                <p:spPr bwMode="auto">
                  <a:xfrm rot="926903">
                    <a:off x="4187400" y="2832038"/>
                    <a:ext cx="89369" cy="208442"/>
                  </a:xfrm>
                  <a:custGeom>
                    <a:avLst/>
                    <a:gdLst>
                      <a:gd name="T0" fmla="*/ 426029799 w 10000"/>
                      <a:gd name="T1" fmla="*/ 2147483647 h 10437"/>
                      <a:gd name="T2" fmla="*/ 426029799 w 10000"/>
                      <a:gd name="T3" fmla="*/ 2147483647 h 10437"/>
                      <a:gd name="T4" fmla="*/ 441127138 w 10000"/>
                      <a:gd name="T5" fmla="*/ 2147483647 h 10437"/>
                      <a:gd name="T6" fmla="*/ 486896829 w 10000"/>
                      <a:gd name="T7" fmla="*/ 2147483647 h 10437"/>
                      <a:gd name="T8" fmla="*/ 486896829 w 10000"/>
                      <a:gd name="T9" fmla="*/ 2147483647 h 10437"/>
                      <a:gd name="T10" fmla="*/ 505393367 w 10000"/>
                      <a:gd name="T11" fmla="*/ 2147483647 h 10437"/>
                      <a:gd name="T12" fmla="*/ 547757218 w 10000"/>
                      <a:gd name="T13" fmla="*/ 2147483647 h 10437"/>
                      <a:gd name="T14" fmla="*/ 556948788 w 10000"/>
                      <a:gd name="T15" fmla="*/ 2147483647 h 10437"/>
                      <a:gd name="T16" fmla="*/ 608617535 w 10000"/>
                      <a:gd name="T17" fmla="*/ 2147483647 h 10437"/>
                      <a:gd name="T18" fmla="*/ 547757218 w 10000"/>
                      <a:gd name="T19" fmla="*/ 2147483647 h 10437"/>
                      <a:gd name="T20" fmla="*/ 486896829 w 10000"/>
                      <a:gd name="T21" fmla="*/ 1175804211 h 10437"/>
                      <a:gd name="T22" fmla="*/ 304309174 w 10000"/>
                      <a:gd name="T23" fmla="*/ 0 h 10437"/>
                      <a:gd name="T24" fmla="*/ 182587736 w 10000"/>
                      <a:gd name="T25" fmla="*/ 1175804211 h 10437"/>
                      <a:gd name="T26" fmla="*/ 121720705 w 10000"/>
                      <a:gd name="T27" fmla="*/ 2147483647 h 10437"/>
                      <a:gd name="T28" fmla="*/ 75167108 w 10000"/>
                      <a:gd name="T29" fmla="*/ 2147483647 h 10437"/>
                      <a:gd name="T30" fmla="*/ 121720705 w 10000"/>
                      <a:gd name="T31" fmla="*/ 2147483647 h 10437"/>
                      <a:gd name="T32" fmla="*/ 121720705 w 10000"/>
                      <a:gd name="T33" fmla="*/ 2147483647 h 10437"/>
                      <a:gd name="T34" fmla="*/ 13937767 w 10000"/>
                      <a:gd name="T35" fmla="*/ 2147483647 h 10437"/>
                      <a:gd name="T36" fmla="*/ 0 w 10000"/>
                      <a:gd name="T37" fmla="*/ 2147483647 h 10437"/>
                      <a:gd name="T38" fmla="*/ 39560971 w 10000"/>
                      <a:gd name="T39" fmla="*/ 2147483647 h 10437"/>
                      <a:gd name="T40" fmla="*/ 121720705 w 10000"/>
                      <a:gd name="T41" fmla="*/ 2147483647 h 10437"/>
                      <a:gd name="T42" fmla="*/ 68959129 w 10000"/>
                      <a:gd name="T43" fmla="*/ 2147483647 h 10437"/>
                      <a:gd name="T44" fmla="*/ 394566826 w 10000"/>
                      <a:gd name="T45" fmla="*/ 2147483647 h 10437"/>
                      <a:gd name="T46" fmla="*/ 436863210 w 10000"/>
                      <a:gd name="T47" fmla="*/ 2147483647 h 10437"/>
                      <a:gd name="T48" fmla="*/ 426029799 w 10000"/>
                      <a:gd name="T49" fmla="*/ 2147483647 h 10437"/>
                      <a:gd name="T50" fmla="*/ 426029799 w 10000"/>
                      <a:gd name="T51" fmla="*/ 2147483647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58" name="Freeform 341"/>
                  <p:cNvSpPr>
                    <a:spLocks/>
                  </p:cNvSpPr>
                  <p:nvPr/>
                </p:nvSpPr>
                <p:spPr bwMode="auto">
                  <a:xfrm>
                    <a:off x="4711071" y="2700302"/>
                    <a:ext cx="188146" cy="88380"/>
                  </a:xfrm>
                  <a:custGeom>
                    <a:avLst/>
                    <a:gdLst>
                      <a:gd name="T0" fmla="*/ 2147483647 w 10000"/>
                      <a:gd name="T1" fmla="*/ 230353942 h 10000"/>
                      <a:gd name="T2" fmla="*/ 2147483647 w 10000"/>
                      <a:gd name="T3" fmla="*/ 153542679 h 10000"/>
                      <a:gd name="T4" fmla="*/ 2147483647 w 10000"/>
                      <a:gd name="T5" fmla="*/ 153542679 h 10000"/>
                      <a:gd name="T6" fmla="*/ 2147483647 w 10000"/>
                      <a:gd name="T7" fmla="*/ 76771339 h 10000"/>
                      <a:gd name="T8" fmla="*/ 2147483647 w 10000"/>
                      <a:gd name="T9" fmla="*/ 38383015 h 10000"/>
                      <a:gd name="T10" fmla="*/ 2147483647 w 10000"/>
                      <a:gd name="T11" fmla="*/ 38383015 h 10000"/>
                      <a:gd name="T12" fmla="*/ 2147483647 w 10000"/>
                      <a:gd name="T13" fmla="*/ 0 h 10000"/>
                      <a:gd name="T14" fmla="*/ 2147483647 w 10000"/>
                      <a:gd name="T15" fmla="*/ 38383015 h 10000"/>
                      <a:gd name="T16" fmla="*/ 2147483647 w 10000"/>
                      <a:gd name="T17" fmla="*/ 38383015 h 10000"/>
                      <a:gd name="T18" fmla="*/ 2147483647 w 10000"/>
                      <a:gd name="T19" fmla="*/ 76771339 h 10000"/>
                      <a:gd name="T20" fmla="*/ 2147483647 w 10000"/>
                      <a:gd name="T21" fmla="*/ 115154355 h 10000"/>
                      <a:gd name="T22" fmla="*/ 2147483647 w 10000"/>
                      <a:gd name="T23" fmla="*/ 191925686 h 10000"/>
                      <a:gd name="T24" fmla="*/ 2147483647 w 10000"/>
                      <a:gd name="T25" fmla="*/ 230353942 h 10000"/>
                      <a:gd name="T26" fmla="*/ 2147483647 w 10000"/>
                      <a:gd name="T27" fmla="*/ 230353942 h 10000"/>
                      <a:gd name="T28" fmla="*/ 2147483647 w 10000"/>
                      <a:gd name="T29" fmla="*/ 268737521 h 10000"/>
                      <a:gd name="T30" fmla="*/ 2147483647 w 10000"/>
                      <a:gd name="T31" fmla="*/ 268737521 h 10000"/>
                      <a:gd name="T32" fmla="*/ 1048843394 w 10000"/>
                      <a:gd name="T33" fmla="*/ 268737521 h 10000"/>
                      <a:gd name="T34" fmla="*/ 0 w 10000"/>
                      <a:gd name="T35" fmla="*/ 268737521 h 10000"/>
                      <a:gd name="T36" fmla="*/ 1048843394 w 10000"/>
                      <a:gd name="T37" fmla="*/ 307125281 h 10000"/>
                      <a:gd name="T38" fmla="*/ 2147483647 w 10000"/>
                      <a:gd name="T39" fmla="*/ 383896612 h 10000"/>
                      <a:gd name="T40" fmla="*/ 2147483647 w 10000"/>
                      <a:gd name="T41" fmla="*/ 422280200 h 10000"/>
                      <a:gd name="T42" fmla="*/ 2147483647 w 10000"/>
                      <a:gd name="T43" fmla="*/ 383896612 h 10000"/>
                      <a:gd name="T44" fmla="*/ 2147483647 w 10000"/>
                      <a:gd name="T45" fmla="*/ 383896612 h 10000"/>
                      <a:gd name="T46" fmla="*/ 2147483647 w 10000"/>
                      <a:gd name="T47" fmla="*/ 422280200 h 10000"/>
                      <a:gd name="T48" fmla="*/ 2147483647 w 10000"/>
                      <a:gd name="T49" fmla="*/ 422280200 h 10000"/>
                      <a:gd name="T50" fmla="*/ 2147483647 w 10000"/>
                      <a:gd name="T51" fmla="*/ 422280200 h 10000"/>
                      <a:gd name="T52" fmla="*/ 2147483647 w 10000"/>
                      <a:gd name="T53" fmla="*/ 345508860 h 10000"/>
                      <a:gd name="T54" fmla="*/ 2147483647 w 10000"/>
                      <a:gd name="T55" fmla="*/ 345508860 h 10000"/>
                      <a:gd name="T56" fmla="*/ 2147483647 w 10000"/>
                      <a:gd name="T57" fmla="*/ 230353942 h 100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0000" h="10000">
                        <a:moveTo>
                          <a:pt x="9583" y="5455"/>
                        </a:moveTo>
                        <a:lnTo>
                          <a:pt x="10000" y="3636"/>
                        </a:lnTo>
                        <a:lnTo>
                          <a:pt x="9583" y="1818"/>
                        </a:lnTo>
                        <a:lnTo>
                          <a:pt x="9583" y="909"/>
                        </a:lnTo>
                        <a:lnTo>
                          <a:pt x="9167" y="909"/>
                        </a:lnTo>
                        <a:lnTo>
                          <a:pt x="7500" y="0"/>
                        </a:lnTo>
                        <a:lnTo>
                          <a:pt x="7083" y="909"/>
                        </a:lnTo>
                        <a:lnTo>
                          <a:pt x="5833" y="909"/>
                        </a:lnTo>
                        <a:lnTo>
                          <a:pt x="5417" y="1818"/>
                        </a:lnTo>
                        <a:lnTo>
                          <a:pt x="4583" y="2727"/>
                        </a:lnTo>
                        <a:lnTo>
                          <a:pt x="5000" y="4545"/>
                        </a:lnTo>
                        <a:cubicBezTo>
                          <a:pt x="5000" y="4545"/>
                          <a:pt x="5000" y="5455"/>
                          <a:pt x="4583" y="5455"/>
                        </a:cubicBezTo>
                        <a:lnTo>
                          <a:pt x="4167" y="5455"/>
                        </a:lnTo>
                        <a:lnTo>
                          <a:pt x="2500" y="6364"/>
                        </a:lnTo>
                        <a:lnTo>
                          <a:pt x="1667" y="6364"/>
                        </a:lnTo>
                        <a:lnTo>
                          <a:pt x="417" y="6364"/>
                        </a:lnTo>
                        <a:lnTo>
                          <a:pt x="0" y="6364"/>
                        </a:lnTo>
                        <a:lnTo>
                          <a:pt x="417" y="7273"/>
                        </a:lnTo>
                        <a:lnTo>
                          <a:pt x="1250" y="9091"/>
                        </a:lnTo>
                        <a:lnTo>
                          <a:pt x="1667" y="10000"/>
                        </a:lnTo>
                        <a:lnTo>
                          <a:pt x="2083" y="9091"/>
                        </a:lnTo>
                        <a:lnTo>
                          <a:pt x="3750" y="9091"/>
                        </a:lnTo>
                        <a:lnTo>
                          <a:pt x="5417" y="10000"/>
                        </a:lnTo>
                        <a:lnTo>
                          <a:pt x="5833" y="10000"/>
                        </a:lnTo>
                        <a:lnTo>
                          <a:pt x="7500" y="10000"/>
                        </a:lnTo>
                        <a:lnTo>
                          <a:pt x="8750" y="8182"/>
                        </a:lnTo>
                        <a:lnTo>
                          <a:pt x="9167" y="8182"/>
                        </a:lnTo>
                        <a:cubicBezTo>
                          <a:pt x="9306" y="7273"/>
                          <a:pt x="9444" y="6364"/>
                          <a:pt x="9583" y="5455"/>
                        </a:cubicBez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59" name="Freeform 342"/>
                  <p:cNvSpPr>
                    <a:spLocks/>
                  </p:cNvSpPr>
                  <p:nvPr/>
                </p:nvSpPr>
                <p:spPr bwMode="auto">
                  <a:xfrm rot="471028">
                    <a:off x="4388089" y="2590245"/>
                    <a:ext cx="301033" cy="308495"/>
                  </a:xfrm>
                  <a:custGeom>
                    <a:avLst/>
                    <a:gdLst>
                      <a:gd name="T0" fmla="*/ 2147483647 w 10043"/>
                      <a:gd name="T1" fmla="*/ 2147483647 h 10000"/>
                      <a:gd name="T2" fmla="*/ 2147483647 w 10043"/>
                      <a:gd name="T3" fmla="*/ 2147483647 h 10000"/>
                      <a:gd name="T4" fmla="*/ 2147483647 w 10043"/>
                      <a:gd name="T5" fmla="*/ 2147483647 h 10000"/>
                      <a:gd name="T6" fmla="*/ 2147483647 w 10043"/>
                      <a:gd name="T7" fmla="*/ 2147483647 h 10000"/>
                      <a:gd name="T8" fmla="*/ 2147483647 w 10043"/>
                      <a:gd name="T9" fmla="*/ 2147483647 h 10000"/>
                      <a:gd name="T10" fmla="*/ 2147483647 w 10043"/>
                      <a:gd name="T11" fmla="*/ 2147483647 h 10000"/>
                      <a:gd name="T12" fmla="*/ 2147483647 w 10043"/>
                      <a:gd name="T13" fmla="*/ 2147483647 h 10000"/>
                      <a:gd name="T14" fmla="*/ 2147483647 w 10043"/>
                      <a:gd name="T15" fmla="*/ 2147483647 h 10000"/>
                      <a:gd name="T16" fmla="*/ 2147483647 w 10043"/>
                      <a:gd name="T17" fmla="*/ 2147483647 h 10000"/>
                      <a:gd name="T18" fmla="*/ 2147483647 w 10043"/>
                      <a:gd name="T19" fmla="*/ 2147483647 h 10000"/>
                      <a:gd name="T20" fmla="*/ 2147483647 w 10043"/>
                      <a:gd name="T21" fmla="*/ 2147483647 h 10000"/>
                      <a:gd name="T22" fmla="*/ 2147483647 w 10043"/>
                      <a:gd name="T23" fmla="*/ 2147483647 h 10000"/>
                      <a:gd name="T24" fmla="*/ 2147483647 w 10043"/>
                      <a:gd name="T25" fmla="*/ 2147483647 h 10000"/>
                      <a:gd name="T26" fmla="*/ 2147483647 w 10043"/>
                      <a:gd name="T27" fmla="*/ 2147483647 h 10000"/>
                      <a:gd name="T28" fmla="*/ 2147483647 w 10043"/>
                      <a:gd name="T29" fmla="*/ 2147483647 h 10000"/>
                      <a:gd name="T30" fmla="*/ 2147483647 w 10043"/>
                      <a:gd name="T31" fmla="*/ 2147483647 h 10000"/>
                      <a:gd name="T32" fmla="*/ 2147483647 w 10043"/>
                      <a:gd name="T33" fmla="*/ 2147483647 h 10000"/>
                      <a:gd name="T34" fmla="*/ 2147483647 w 10043"/>
                      <a:gd name="T35" fmla="*/ 2147483647 h 10000"/>
                      <a:gd name="T36" fmla="*/ 2147483647 w 10043"/>
                      <a:gd name="T37" fmla="*/ 2147483647 h 10000"/>
                      <a:gd name="T38" fmla="*/ 2147483647 w 10043"/>
                      <a:gd name="T39" fmla="*/ 2147483647 h 10000"/>
                      <a:gd name="T40" fmla="*/ 2147483647 w 10043"/>
                      <a:gd name="T41" fmla="*/ 0 h 10000"/>
                      <a:gd name="T42" fmla="*/ 2147483647 w 10043"/>
                      <a:gd name="T43" fmla="*/ 2147483647 h 10000"/>
                      <a:gd name="T44" fmla="*/ 2147483647 w 10043"/>
                      <a:gd name="T45" fmla="*/ 2147483647 h 10000"/>
                      <a:gd name="T46" fmla="*/ 2147483647 w 10043"/>
                      <a:gd name="T47" fmla="*/ 2147483647 h 10000"/>
                      <a:gd name="T48" fmla="*/ 2147483647 w 10043"/>
                      <a:gd name="T49" fmla="*/ 2147483647 h 10000"/>
                      <a:gd name="T50" fmla="*/ 2147483647 w 10043"/>
                      <a:gd name="T51" fmla="*/ 2147483647 h 10000"/>
                      <a:gd name="T52" fmla="*/ 2147483647 w 10043"/>
                      <a:gd name="T53" fmla="*/ 2147483647 h 10000"/>
                      <a:gd name="T54" fmla="*/ 2147483647 w 10043"/>
                      <a:gd name="T55" fmla="*/ 2147483647 h 10000"/>
                      <a:gd name="T56" fmla="*/ 2147483647 w 10043"/>
                      <a:gd name="T57" fmla="*/ 2147483647 h 10000"/>
                      <a:gd name="T58" fmla="*/ 2147483647 w 10043"/>
                      <a:gd name="T59" fmla="*/ 2147483647 h 10000"/>
                      <a:gd name="T60" fmla="*/ 2147483647 w 10043"/>
                      <a:gd name="T61" fmla="*/ 2147483647 h 10000"/>
                      <a:gd name="T62" fmla="*/ 2147483647 w 10043"/>
                      <a:gd name="T63" fmla="*/ 2147483647 h 10000"/>
                      <a:gd name="T64" fmla="*/ 2147483647 w 10043"/>
                      <a:gd name="T65" fmla="*/ 2147483647 h 10000"/>
                      <a:gd name="T66" fmla="*/ 852645632 w 10043"/>
                      <a:gd name="T67" fmla="*/ 2147483647 h 10000"/>
                      <a:gd name="T68" fmla="*/ 2147483647 w 10043"/>
                      <a:gd name="T69" fmla="*/ 2147483647 h 10000"/>
                      <a:gd name="T70" fmla="*/ 2147483647 w 10043"/>
                      <a:gd name="T71" fmla="*/ 2147483647 h 10000"/>
                      <a:gd name="T72" fmla="*/ 2147483647 w 10043"/>
                      <a:gd name="T73" fmla="*/ 2147483647 h 10000"/>
                      <a:gd name="T74" fmla="*/ 2147483647 w 10043"/>
                      <a:gd name="T75" fmla="*/ 2147483647 h 10000"/>
                      <a:gd name="T76" fmla="*/ 2147483647 w 10043"/>
                      <a:gd name="T77" fmla="*/ 2147483647 h 10000"/>
                      <a:gd name="T78" fmla="*/ 2147483647 w 10043"/>
                      <a:gd name="T79" fmla="*/ 2147483647 h 10000"/>
                      <a:gd name="T80" fmla="*/ 2147483647 w 10043"/>
                      <a:gd name="T81" fmla="*/ 2147483647 h 10000"/>
                      <a:gd name="T82" fmla="*/ 2147483647 w 10043"/>
                      <a:gd name="T83" fmla="*/ 2147483647 h 10000"/>
                      <a:gd name="T84" fmla="*/ 2147483647 w 10043"/>
                      <a:gd name="T85" fmla="*/ 2147483647 h 10000"/>
                      <a:gd name="T86" fmla="*/ 2147483647 w 10043"/>
                      <a:gd name="T87" fmla="*/ 2147483647 h 10000"/>
                      <a:gd name="T88" fmla="*/ 2147483647 w 10043"/>
                      <a:gd name="T89" fmla="*/ 2147483647 h 10000"/>
                      <a:gd name="T90" fmla="*/ 2147483647 w 10043"/>
                      <a:gd name="T91" fmla="*/ 2147483647 h 10000"/>
                      <a:gd name="T92" fmla="*/ 2147483647 w 10043"/>
                      <a:gd name="T93" fmla="*/ 2147483647 h 10000"/>
                      <a:gd name="T94" fmla="*/ 2147483647 w 10043"/>
                      <a:gd name="T95" fmla="*/ 2147483647 h 10000"/>
                      <a:gd name="T96" fmla="*/ 2147483647 w 10043"/>
                      <a:gd name="T97" fmla="*/ 2147483647 h 10000"/>
                      <a:gd name="T98" fmla="*/ 2147483647 w 10043"/>
                      <a:gd name="T99" fmla="*/ 2147483647 h 10000"/>
                      <a:gd name="T100" fmla="*/ 2147483647 w 10043"/>
                      <a:gd name="T101" fmla="*/ 2147483647 h 10000"/>
                      <a:gd name="T102" fmla="*/ 2147483647 w 10043"/>
                      <a:gd name="T103" fmla="*/ 2147483647 h 10000"/>
                      <a:gd name="T104" fmla="*/ 2147483647 w 10043"/>
                      <a:gd name="T105" fmla="*/ 2147483647 h 10000"/>
                      <a:gd name="T106" fmla="*/ 2147483647 w 10043"/>
                      <a:gd name="T107" fmla="*/ 2147483647 h 10000"/>
                      <a:gd name="T108" fmla="*/ 2147483647 w 10043"/>
                      <a:gd name="T109" fmla="*/ 2147483647 h 10000"/>
                      <a:gd name="T110" fmla="*/ 2147483647 w 10043"/>
                      <a:gd name="T111" fmla="*/ 2147483647 h 10000"/>
                      <a:gd name="T112" fmla="*/ 2147483647 w 10043"/>
                      <a:gd name="T113" fmla="*/ 2147483647 h 10000"/>
                      <a:gd name="T114" fmla="*/ 2147483647 w 10043"/>
                      <a:gd name="T115" fmla="*/ 2147483647 h 10000"/>
                      <a:gd name="T116" fmla="*/ 2147483647 w 10043"/>
                      <a:gd name="T117" fmla="*/ 2147483647 h 10000"/>
                      <a:gd name="T118" fmla="*/ 2147483647 w 10043"/>
                      <a:gd name="T119" fmla="*/ 2147483647 h 10000"/>
                      <a:gd name="T120" fmla="*/ 2147483647 w 10043"/>
                      <a:gd name="T121" fmla="*/ 2147483647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0" name="Freeform 343"/>
                  <p:cNvSpPr>
                    <a:spLocks/>
                  </p:cNvSpPr>
                  <p:nvPr/>
                </p:nvSpPr>
                <p:spPr bwMode="auto">
                  <a:xfrm>
                    <a:off x="4643653" y="2775343"/>
                    <a:ext cx="307305" cy="331840"/>
                  </a:xfrm>
                  <a:custGeom>
                    <a:avLst/>
                    <a:gdLst>
                      <a:gd name="T0" fmla="*/ 2147483647 w 154"/>
                      <a:gd name="T1" fmla="*/ 2147483647 h 154"/>
                      <a:gd name="T2" fmla="*/ 2147483647 w 154"/>
                      <a:gd name="T3" fmla="*/ 0 h 154"/>
                      <a:gd name="T4" fmla="*/ 2147483647 w 154"/>
                      <a:gd name="T5" fmla="*/ 0 h 154"/>
                      <a:gd name="T6" fmla="*/ 2147483647 w 154"/>
                      <a:gd name="T7" fmla="*/ 2147483647 h 154"/>
                      <a:gd name="T8" fmla="*/ 2147483647 w 154"/>
                      <a:gd name="T9" fmla="*/ 2147483647 h 154"/>
                      <a:gd name="T10" fmla="*/ 2147483647 w 154"/>
                      <a:gd name="T11" fmla="*/ 2147483647 h 154"/>
                      <a:gd name="T12" fmla="*/ 2147483647 w 154"/>
                      <a:gd name="T13" fmla="*/ 2147483647 h 154"/>
                      <a:gd name="T14" fmla="*/ 2147483647 w 154"/>
                      <a:gd name="T15" fmla="*/ 2147483647 h 154"/>
                      <a:gd name="T16" fmla="*/ 2147483647 w 154"/>
                      <a:gd name="T17" fmla="*/ 2147483647 h 154"/>
                      <a:gd name="T18" fmla="*/ 2147483647 w 154"/>
                      <a:gd name="T19" fmla="*/ 2147483647 h 154"/>
                      <a:gd name="T20" fmla="*/ 2147483647 w 154"/>
                      <a:gd name="T21" fmla="*/ 2147483647 h 154"/>
                      <a:gd name="T22" fmla="*/ 0 w 154"/>
                      <a:gd name="T23" fmla="*/ 2147483647 h 154"/>
                      <a:gd name="T24" fmla="*/ 2147483647 w 154"/>
                      <a:gd name="T25" fmla="*/ 2147483647 h 154"/>
                      <a:gd name="T26" fmla="*/ 2147483647 w 154"/>
                      <a:gd name="T27" fmla="*/ 2147483647 h 154"/>
                      <a:gd name="T28" fmla="*/ 2147483647 w 154"/>
                      <a:gd name="T29" fmla="*/ 2147483647 h 154"/>
                      <a:gd name="T30" fmla="*/ 2147483647 w 154"/>
                      <a:gd name="T31" fmla="*/ 2147483647 h 154"/>
                      <a:gd name="T32" fmla="*/ 2147483647 w 154"/>
                      <a:gd name="T33" fmla="*/ 2147483647 h 154"/>
                      <a:gd name="T34" fmla="*/ 2147483647 w 154"/>
                      <a:gd name="T35" fmla="*/ 2147483647 h 154"/>
                      <a:gd name="T36" fmla="*/ 2147483647 w 154"/>
                      <a:gd name="T37" fmla="*/ 2147483647 h 154"/>
                      <a:gd name="T38" fmla="*/ 2147483647 w 154"/>
                      <a:gd name="T39" fmla="*/ 2147483647 h 154"/>
                      <a:gd name="T40" fmla="*/ 2147483647 w 154"/>
                      <a:gd name="T41" fmla="*/ 2147483647 h 154"/>
                      <a:gd name="T42" fmla="*/ 2147483647 w 154"/>
                      <a:gd name="T43" fmla="*/ 2147483647 h 154"/>
                      <a:gd name="T44" fmla="*/ 2147483647 w 154"/>
                      <a:gd name="T45" fmla="*/ 2147483647 h 154"/>
                      <a:gd name="T46" fmla="*/ 2147483647 w 154"/>
                      <a:gd name="T47" fmla="*/ 2147483647 h 154"/>
                      <a:gd name="T48" fmla="*/ 2147483647 w 154"/>
                      <a:gd name="T49" fmla="*/ 2147483647 h 154"/>
                      <a:gd name="T50" fmla="*/ 2147483647 w 154"/>
                      <a:gd name="T51" fmla="*/ 2147483647 h 154"/>
                      <a:gd name="T52" fmla="*/ 2147483647 w 154"/>
                      <a:gd name="T53" fmla="*/ 2147483647 h 154"/>
                      <a:gd name="T54" fmla="*/ 2147483647 w 154"/>
                      <a:gd name="T55" fmla="*/ 2147483647 h 154"/>
                      <a:gd name="T56" fmla="*/ 2147483647 w 154"/>
                      <a:gd name="T57" fmla="*/ 2147483647 h 154"/>
                      <a:gd name="T58" fmla="*/ 2147483647 w 154"/>
                      <a:gd name="T59" fmla="*/ 2147483647 h 154"/>
                      <a:gd name="T60" fmla="*/ 2147483647 w 154"/>
                      <a:gd name="T61" fmla="*/ 2147483647 h 154"/>
                      <a:gd name="T62" fmla="*/ 2147483647 w 154"/>
                      <a:gd name="T63" fmla="*/ 2147483647 h 154"/>
                      <a:gd name="T64" fmla="*/ 2147483647 w 154"/>
                      <a:gd name="T65" fmla="*/ 2147483647 h 154"/>
                      <a:gd name="T66" fmla="*/ 2147483647 w 154"/>
                      <a:gd name="T67" fmla="*/ 2147483647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1" name="Freeform 344"/>
                  <p:cNvSpPr>
                    <a:spLocks/>
                  </p:cNvSpPr>
                  <p:nvPr/>
                </p:nvSpPr>
                <p:spPr bwMode="auto">
                  <a:xfrm>
                    <a:off x="4635813" y="2451840"/>
                    <a:ext cx="197553" cy="306827"/>
                  </a:xfrm>
                  <a:custGeom>
                    <a:avLst/>
                    <a:gdLst>
                      <a:gd name="T0" fmla="*/ 2147483647 w 10045"/>
                      <a:gd name="T1" fmla="*/ 2147483647 h 10019"/>
                      <a:gd name="T2" fmla="*/ 2147483647 w 10045"/>
                      <a:gd name="T3" fmla="*/ 2147483647 h 10019"/>
                      <a:gd name="T4" fmla="*/ 2147483647 w 10045"/>
                      <a:gd name="T5" fmla="*/ 2147483647 h 10019"/>
                      <a:gd name="T6" fmla="*/ 2147483647 w 10045"/>
                      <a:gd name="T7" fmla="*/ 2147483647 h 10019"/>
                      <a:gd name="T8" fmla="*/ 2147483647 w 10045"/>
                      <a:gd name="T9" fmla="*/ 2147483647 h 10019"/>
                      <a:gd name="T10" fmla="*/ 1081275730 w 10045"/>
                      <a:gd name="T11" fmla="*/ 2147483647 h 10019"/>
                      <a:gd name="T12" fmla="*/ 1081275730 w 10045"/>
                      <a:gd name="T13" fmla="*/ 2147483647 h 10019"/>
                      <a:gd name="T14" fmla="*/ 2147483647 w 10045"/>
                      <a:gd name="T15" fmla="*/ 2147483647 h 10019"/>
                      <a:gd name="T16" fmla="*/ 1081275730 w 10045"/>
                      <a:gd name="T17" fmla="*/ 2147483647 h 10019"/>
                      <a:gd name="T18" fmla="*/ 0 w 10045"/>
                      <a:gd name="T19" fmla="*/ 2147483647 h 10019"/>
                      <a:gd name="T20" fmla="*/ 2147483647 w 10045"/>
                      <a:gd name="T21" fmla="*/ 2147483647 h 10019"/>
                      <a:gd name="T22" fmla="*/ 2147483647 w 10045"/>
                      <a:gd name="T23" fmla="*/ 2147483647 h 10019"/>
                      <a:gd name="T24" fmla="*/ 2147483647 w 10045"/>
                      <a:gd name="T25" fmla="*/ 2147483647 h 10019"/>
                      <a:gd name="T26" fmla="*/ 2147483647 w 10045"/>
                      <a:gd name="T27" fmla="*/ 2147483647 h 10019"/>
                      <a:gd name="T28" fmla="*/ 2147483647 w 10045"/>
                      <a:gd name="T29" fmla="*/ 2147483647 h 10019"/>
                      <a:gd name="T30" fmla="*/ 2147483647 w 10045"/>
                      <a:gd name="T31" fmla="*/ 2147483647 h 10019"/>
                      <a:gd name="T32" fmla="*/ 2147483647 w 10045"/>
                      <a:gd name="T33" fmla="*/ 2147483647 h 10019"/>
                      <a:gd name="T34" fmla="*/ 2147483647 w 10045"/>
                      <a:gd name="T35" fmla="*/ 2147483647 h 10019"/>
                      <a:gd name="T36" fmla="*/ 2147483647 w 10045"/>
                      <a:gd name="T37" fmla="*/ 2147483647 h 10019"/>
                      <a:gd name="T38" fmla="*/ 2147483647 w 10045"/>
                      <a:gd name="T39" fmla="*/ 2147483647 h 10019"/>
                      <a:gd name="T40" fmla="*/ 2147483647 w 10045"/>
                      <a:gd name="T41" fmla="*/ 2147483647 h 10019"/>
                      <a:gd name="T42" fmla="*/ 2147483647 w 10045"/>
                      <a:gd name="T43" fmla="*/ 2147483647 h 10019"/>
                      <a:gd name="T44" fmla="*/ 2147483647 w 10045"/>
                      <a:gd name="T45" fmla="*/ 2147483647 h 10019"/>
                      <a:gd name="T46" fmla="*/ 2147483647 w 10045"/>
                      <a:gd name="T47" fmla="*/ 2147483647 h 10019"/>
                      <a:gd name="T48" fmla="*/ 2147483647 w 10045"/>
                      <a:gd name="T49" fmla="*/ 2147483647 h 10019"/>
                      <a:gd name="T50" fmla="*/ 2147483647 w 10045"/>
                      <a:gd name="T51" fmla="*/ 2147483647 h 10019"/>
                      <a:gd name="T52" fmla="*/ 2147483647 w 10045"/>
                      <a:gd name="T53" fmla="*/ 2147483647 h 10019"/>
                      <a:gd name="T54" fmla="*/ 2147483647 w 10045"/>
                      <a:gd name="T55" fmla="*/ 2147483647 h 10019"/>
                      <a:gd name="T56" fmla="*/ 2147483647 w 10045"/>
                      <a:gd name="T57" fmla="*/ 2147483647 h 10019"/>
                      <a:gd name="T58" fmla="*/ 2147483647 w 10045"/>
                      <a:gd name="T59" fmla="*/ 2147483647 h 10019"/>
                      <a:gd name="T60" fmla="*/ 2147483647 w 10045"/>
                      <a:gd name="T61" fmla="*/ 2147483647 h 10019"/>
                      <a:gd name="T62" fmla="*/ 2147483647 w 10045"/>
                      <a:gd name="T63" fmla="*/ 2147483647 h 10019"/>
                      <a:gd name="T64" fmla="*/ 2147483647 w 10045"/>
                      <a:gd name="T65" fmla="*/ 2147483647 h 10019"/>
                      <a:gd name="T66" fmla="*/ 2147483647 w 10045"/>
                      <a:gd name="T67" fmla="*/ 2147483647 h 10019"/>
                      <a:gd name="T68" fmla="*/ 2147483647 w 10045"/>
                      <a:gd name="T69" fmla="*/ 2147483647 h 10019"/>
                      <a:gd name="T70" fmla="*/ 2147483647 w 10045"/>
                      <a:gd name="T71" fmla="*/ 2147483647 h 10019"/>
                      <a:gd name="T72" fmla="*/ 2147483647 w 10045"/>
                      <a:gd name="T73" fmla="*/ 2147483647 h 10019"/>
                      <a:gd name="T74" fmla="*/ 2147483647 w 10045"/>
                      <a:gd name="T75" fmla="*/ 2147483647 h 10019"/>
                      <a:gd name="T76" fmla="*/ 2147483647 w 10045"/>
                      <a:gd name="T77" fmla="*/ 2147483647 h 10019"/>
                      <a:gd name="T78" fmla="*/ 2147483647 w 10045"/>
                      <a:gd name="T79" fmla="*/ 2147483647 h 10019"/>
                      <a:gd name="T80" fmla="*/ 2147483647 w 10045"/>
                      <a:gd name="T81" fmla="*/ 2147483647 h 10019"/>
                      <a:gd name="T82" fmla="*/ 2147483647 w 10045"/>
                      <a:gd name="T83" fmla="*/ 2147483647 h 10019"/>
                      <a:gd name="T84" fmla="*/ 2147483647 w 10045"/>
                      <a:gd name="T85" fmla="*/ 2147483647 h 10019"/>
                      <a:gd name="T86" fmla="*/ 2147483647 w 10045"/>
                      <a:gd name="T87" fmla="*/ 2147483647 h 10019"/>
                      <a:gd name="T88" fmla="*/ 2147483647 w 10045"/>
                      <a:gd name="T89" fmla="*/ 2147483647 h 10019"/>
                      <a:gd name="T90" fmla="*/ 2147483647 w 10045"/>
                      <a:gd name="T91" fmla="*/ 2147483647 h 10019"/>
                      <a:gd name="T92" fmla="*/ 2147483647 w 10045"/>
                      <a:gd name="T93" fmla="*/ 2147483647 h 10019"/>
                      <a:gd name="T94" fmla="*/ 2147483647 w 10045"/>
                      <a:gd name="T95" fmla="*/ 2147483647 h 10019"/>
                      <a:gd name="T96" fmla="*/ 2147483647 w 10045"/>
                      <a:gd name="T97" fmla="*/ 2147483647 h 10019"/>
                      <a:gd name="T98" fmla="*/ 2147483647 w 10045"/>
                      <a:gd name="T99" fmla="*/ 2147483647 h 10019"/>
                      <a:gd name="T100" fmla="*/ 2147483647 w 10045"/>
                      <a:gd name="T101" fmla="*/ 2147483647 h 10019"/>
                      <a:gd name="T102" fmla="*/ 2147483647 w 10045"/>
                      <a:gd name="T103" fmla="*/ 0 h 10019"/>
                      <a:gd name="T104" fmla="*/ 2147483647 w 10045"/>
                      <a:gd name="T105" fmla="*/ 2147483647 h 10019"/>
                      <a:gd name="T106" fmla="*/ 2147483647 w 10045"/>
                      <a:gd name="T107" fmla="*/ 2147483647 h 10019"/>
                      <a:gd name="T108" fmla="*/ 2147483647 w 10045"/>
                      <a:gd name="T109" fmla="*/ 2147483647 h 10019"/>
                      <a:gd name="T110" fmla="*/ 2147483647 w 10045"/>
                      <a:gd name="T111" fmla="*/ 2147483647 h 10019"/>
                      <a:gd name="T112" fmla="*/ 2147483647 w 10045"/>
                      <a:gd name="T113" fmla="*/ 2147483647 h 10019"/>
                      <a:gd name="T114" fmla="*/ 2147483647 w 10045"/>
                      <a:gd name="T115" fmla="*/ 2147483647 h 10019"/>
                      <a:gd name="T116" fmla="*/ 2147483647 w 10045"/>
                      <a:gd name="T117" fmla="*/ 2147483647 h 10019"/>
                      <a:gd name="T118" fmla="*/ 2147483647 w 10045"/>
                      <a:gd name="T119" fmla="*/ 2147483647 h 100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045" h="10019">
                        <a:moveTo>
                          <a:pt x="1724" y="2609"/>
                        </a:moveTo>
                        <a:lnTo>
                          <a:pt x="1379" y="3132"/>
                        </a:lnTo>
                        <a:lnTo>
                          <a:pt x="1379" y="3915"/>
                        </a:lnTo>
                        <a:lnTo>
                          <a:pt x="690" y="4436"/>
                        </a:lnTo>
                        <a:lnTo>
                          <a:pt x="690" y="5219"/>
                        </a:lnTo>
                        <a:lnTo>
                          <a:pt x="345" y="5741"/>
                        </a:lnTo>
                        <a:lnTo>
                          <a:pt x="690" y="6263"/>
                        </a:lnTo>
                        <a:lnTo>
                          <a:pt x="345" y="6786"/>
                        </a:lnTo>
                        <a:lnTo>
                          <a:pt x="0" y="7306"/>
                        </a:lnTo>
                        <a:lnTo>
                          <a:pt x="1034" y="7568"/>
                        </a:lnTo>
                        <a:lnTo>
                          <a:pt x="1724" y="7829"/>
                        </a:lnTo>
                        <a:cubicBezTo>
                          <a:pt x="2069" y="7916"/>
                          <a:pt x="2675" y="8005"/>
                          <a:pt x="2759" y="8090"/>
                        </a:cubicBezTo>
                        <a:cubicBezTo>
                          <a:pt x="2843" y="8175"/>
                          <a:pt x="2382" y="8117"/>
                          <a:pt x="2230" y="8339"/>
                        </a:cubicBezTo>
                        <a:cubicBezTo>
                          <a:pt x="2078" y="8560"/>
                          <a:pt x="1874" y="9189"/>
                          <a:pt x="1848" y="9422"/>
                        </a:cubicBezTo>
                        <a:cubicBezTo>
                          <a:pt x="1822" y="9656"/>
                          <a:pt x="1806" y="9700"/>
                          <a:pt x="2073" y="9738"/>
                        </a:cubicBezTo>
                        <a:cubicBezTo>
                          <a:pt x="2340" y="9777"/>
                          <a:pt x="3104" y="9626"/>
                          <a:pt x="3448" y="9656"/>
                        </a:cubicBezTo>
                        <a:cubicBezTo>
                          <a:pt x="3792" y="9686"/>
                          <a:pt x="3969" y="9858"/>
                          <a:pt x="4138" y="9917"/>
                        </a:cubicBezTo>
                        <a:cubicBezTo>
                          <a:pt x="4307" y="9976"/>
                          <a:pt x="4368" y="9999"/>
                          <a:pt x="4463" y="10013"/>
                        </a:cubicBezTo>
                        <a:cubicBezTo>
                          <a:pt x="4558" y="10027"/>
                          <a:pt x="4532" y="10015"/>
                          <a:pt x="4708" y="9999"/>
                        </a:cubicBezTo>
                        <a:cubicBezTo>
                          <a:pt x="4884" y="9983"/>
                          <a:pt x="5267" y="9931"/>
                          <a:pt x="5517" y="9917"/>
                        </a:cubicBezTo>
                        <a:cubicBezTo>
                          <a:pt x="5767" y="9903"/>
                          <a:pt x="5977" y="9917"/>
                          <a:pt x="6207" y="9917"/>
                        </a:cubicBezTo>
                        <a:cubicBezTo>
                          <a:pt x="6667" y="9830"/>
                          <a:pt x="7228" y="9704"/>
                          <a:pt x="7586" y="9656"/>
                        </a:cubicBezTo>
                        <a:cubicBezTo>
                          <a:pt x="7944" y="9608"/>
                          <a:pt x="8185" y="9677"/>
                          <a:pt x="8353" y="9629"/>
                        </a:cubicBezTo>
                        <a:cubicBezTo>
                          <a:pt x="8521" y="9581"/>
                          <a:pt x="8604" y="9494"/>
                          <a:pt x="8597" y="9368"/>
                        </a:cubicBezTo>
                        <a:cubicBezTo>
                          <a:pt x="8590" y="9242"/>
                          <a:pt x="8278" y="8989"/>
                          <a:pt x="8312" y="8872"/>
                        </a:cubicBezTo>
                        <a:cubicBezTo>
                          <a:pt x="8346" y="8755"/>
                          <a:pt x="8653" y="8734"/>
                          <a:pt x="8802" y="8668"/>
                        </a:cubicBezTo>
                        <a:cubicBezTo>
                          <a:pt x="8951" y="8602"/>
                          <a:pt x="9106" y="8518"/>
                          <a:pt x="9207" y="8474"/>
                        </a:cubicBezTo>
                        <a:cubicBezTo>
                          <a:pt x="9308" y="8430"/>
                          <a:pt x="9462" y="8479"/>
                          <a:pt x="9408" y="8406"/>
                        </a:cubicBezTo>
                        <a:cubicBezTo>
                          <a:pt x="9354" y="8333"/>
                          <a:pt x="9101" y="8223"/>
                          <a:pt x="8882" y="8035"/>
                        </a:cubicBezTo>
                        <a:cubicBezTo>
                          <a:pt x="8663" y="7847"/>
                          <a:pt x="8352" y="7492"/>
                          <a:pt x="8092" y="7279"/>
                        </a:cubicBezTo>
                        <a:cubicBezTo>
                          <a:pt x="7832" y="7066"/>
                          <a:pt x="7487" y="6889"/>
                          <a:pt x="7321" y="6759"/>
                        </a:cubicBezTo>
                        <a:cubicBezTo>
                          <a:pt x="7155" y="6629"/>
                          <a:pt x="7054" y="6580"/>
                          <a:pt x="7098" y="6497"/>
                        </a:cubicBezTo>
                        <a:cubicBezTo>
                          <a:pt x="7142" y="6414"/>
                          <a:pt x="7390" y="6345"/>
                          <a:pt x="7586" y="6263"/>
                        </a:cubicBezTo>
                        <a:cubicBezTo>
                          <a:pt x="7782" y="6181"/>
                          <a:pt x="8026" y="6082"/>
                          <a:pt x="8276" y="6002"/>
                        </a:cubicBezTo>
                        <a:cubicBezTo>
                          <a:pt x="8526" y="5922"/>
                          <a:pt x="8900" y="5853"/>
                          <a:pt x="9086" y="5782"/>
                        </a:cubicBezTo>
                        <a:cubicBezTo>
                          <a:pt x="9272" y="5711"/>
                          <a:pt x="9238" y="5584"/>
                          <a:pt x="9390" y="5577"/>
                        </a:cubicBezTo>
                        <a:cubicBezTo>
                          <a:pt x="9542" y="5570"/>
                          <a:pt x="9898" y="5757"/>
                          <a:pt x="10000" y="5741"/>
                        </a:cubicBezTo>
                        <a:cubicBezTo>
                          <a:pt x="10102" y="5725"/>
                          <a:pt x="10000" y="5568"/>
                          <a:pt x="10000" y="5481"/>
                        </a:cubicBezTo>
                        <a:lnTo>
                          <a:pt x="10000" y="4697"/>
                        </a:lnTo>
                        <a:cubicBezTo>
                          <a:pt x="9655" y="4697"/>
                          <a:pt x="9655" y="3654"/>
                          <a:pt x="9655" y="3654"/>
                        </a:cubicBezTo>
                        <a:lnTo>
                          <a:pt x="9655" y="2871"/>
                        </a:lnTo>
                        <a:lnTo>
                          <a:pt x="9655" y="2609"/>
                        </a:lnTo>
                        <a:lnTo>
                          <a:pt x="9310" y="1827"/>
                        </a:lnTo>
                        <a:lnTo>
                          <a:pt x="9310" y="1305"/>
                        </a:lnTo>
                        <a:lnTo>
                          <a:pt x="7931" y="783"/>
                        </a:lnTo>
                        <a:lnTo>
                          <a:pt x="6552" y="1305"/>
                        </a:lnTo>
                        <a:cubicBezTo>
                          <a:pt x="6552" y="1305"/>
                          <a:pt x="6207" y="1305"/>
                          <a:pt x="5862" y="1044"/>
                        </a:cubicBezTo>
                        <a:lnTo>
                          <a:pt x="5862" y="522"/>
                        </a:lnTo>
                        <a:lnTo>
                          <a:pt x="4828" y="261"/>
                        </a:lnTo>
                        <a:lnTo>
                          <a:pt x="4138" y="0"/>
                        </a:lnTo>
                        <a:lnTo>
                          <a:pt x="3793" y="261"/>
                        </a:lnTo>
                        <a:lnTo>
                          <a:pt x="3448" y="1305"/>
                        </a:lnTo>
                        <a:lnTo>
                          <a:pt x="3103" y="1827"/>
                        </a:lnTo>
                        <a:lnTo>
                          <a:pt x="2414" y="1827"/>
                        </a:lnTo>
                        <a:lnTo>
                          <a:pt x="1724" y="1827"/>
                        </a:lnTo>
                        <a:lnTo>
                          <a:pt x="1724" y="2088"/>
                        </a:lnTo>
                        <a:lnTo>
                          <a:pt x="1724" y="2609"/>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2" name="Freeform 345"/>
                  <p:cNvSpPr>
                    <a:spLocks/>
                  </p:cNvSpPr>
                  <p:nvPr/>
                </p:nvSpPr>
                <p:spPr bwMode="auto">
                  <a:xfrm>
                    <a:off x="4610728" y="2515206"/>
                    <a:ext cx="75258" cy="106723"/>
                  </a:xfrm>
                  <a:custGeom>
                    <a:avLst/>
                    <a:gdLst>
                      <a:gd name="T0" fmla="*/ 2147483647 w 66"/>
                      <a:gd name="T1" fmla="*/ 2147483647 h 90"/>
                      <a:gd name="T2" fmla="*/ 2147483647 w 66"/>
                      <a:gd name="T3" fmla="*/ 2147483647 h 90"/>
                      <a:gd name="T4" fmla="*/ 2147483647 w 66"/>
                      <a:gd name="T5" fmla="*/ 2147483647 h 90"/>
                      <a:gd name="T6" fmla="*/ 2147483647 w 66"/>
                      <a:gd name="T7" fmla="*/ 2147483647 h 90"/>
                      <a:gd name="T8" fmla="*/ 2147483647 w 66"/>
                      <a:gd name="T9" fmla="*/ 2147483647 h 90"/>
                      <a:gd name="T10" fmla="*/ 2147483647 w 66"/>
                      <a:gd name="T11" fmla="*/ 2147483647 h 90"/>
                      <a:gd name="T12" fmla="*/ 2147483647 w 66"/>
                      <a:gd name="T13" fmla="*/ 2147483647 h 90"/>
                      <a:gd name="T14" fmla="*/ 2147483647 w 66"/>
                      <a:gd name="T15" fmla="*/ 2147483647 h 90"/>
                      <a:gd name="T16" fmla="*/ 2147483647 w 66"/>
                      <a:gd name="T17" fmla="*/ 2147483647 h 90"/>
                      <a:gd name="T18" fmla="*/ 2147483647 w 66"/>
                      <a:gd name="T19" fmla="*/ 2147483647 h 90"/>
                      <a:gd name="T20" fmla="*/ 2147483647 w 66"/>
                      <a:gd name="T21" fmla="*/ 0 h 90"/>
                      <a:gd name="T22" fmla="*/ 2147483647 w 66"/>
                      <a:gd name="T23" fmla="*/ 2147483647 h 90"/>
                      <a:gd name="T24" fmla="*/ 2147483647 w 66"/>
                      <a:gd name="T25" fmla="*/ 2147483647 h 90"/>
                      <a:gd name="T26" fmla="*/ 2147483647 w 66"/>
                      <a:gd name="T27" fmla="*/ 2147483647 h 90"/>
                      <a:gd name="T28" fmla="*/ 2147483647 w 66"/>
                      <a:gd name="T29" fmla="*/ 2147483647 h 90"/>
                      <a:gd name="T30" fmla="*/ 2147483647 w 66"/>
                      <a:gd name="T31" fmla="*/ 2147483647 h 90"/>
                      <a:gd name="T32" fmla="*/ 0 w 66"/>
                      <a:gd name="T33" fmla="*/ 2147483647 h 90"/>
                      <a:gd name="T34" fmla="*/ 2147483647 w 66"/>
                      <a:gd name="T35" fmla="*/ 2147483647 h 90"/>
                      <a:gd name="T36" fmla="*/ 2147483647 w 66"/>
                      <a:gd name="T37" fmla="*/ 2147483647 h 9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90">
                        <a:moveTo>
                          <a:pt x="18" y="72"/>
                        </a:moveTo>
                        <a:lnTo>
                          <a:pt x="30" y="78"/>
                        </a:lnTo>
                        <a:lnTo>
                          <a:pt x="36" y="84"/>
                        </a:lnTo>
                        <a:lnTo>
                          <a:pt x="42" y="90"/>
                        </a:lnTo>
                        <a:lnTo>
                          <a:pt x="48" y="78"/>
                        </a:lnTo>
                        <a:lnTo>
                          <a:pt x="48" y="60"/>
                        </a:lnTo>
                        <a:lnTo>
                          <a:pt x="60" y="48"/>
                        </a:lnTo>
                        <a:lnTo>
                          <a:pt x="60" y="30"/>
                        </a:lnTo>
                        <a:lnTo>
                          <a:pt x="66" y="18"/>
                        </a:lnTo>
                        <a:lnTo>
                          <a:pt x="66" y="6"/>
                        </a:lnTo>
                        <a:lnTo>
                          <a:pt x="66" y="0"/>
                        </a:lnTo>
                        <a:lnTo>
                          <a:pt x="54" y="6"/>
                        </a:lnTo>
                        <a:lnTo>
                          <a:pt x="36" y="12"/>
                        </a:lnTo>
                        <a:lnTo>
                          <a:pt x="36" y="30"/>
                        </a:lnTo>
                        <a:lnTo>
                          <a:pt x="24" y="18"/>
                        </a:lnTo>
                        <a:lnTo>
                          <a:pt x="12" y="54"/>
                        </a:lnTo>
                        <a:lnTo>
                          <a:pt x="0" y="66"/>
                        </a:lnTo>
                        <a:lnTo>
                          <a:pt x="6" y="72"/>
                        </a:lnTo>
                        <a:lnTo>
                          <a:pt x="18" y="72"/>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3" name="Freeform 346"/>
                  <p:cNvSpPr>
                    <a:spLocks/>
                  </p:cNvSpPr>
                  <p:nvPr/>
                </p:nvSpPr>
                <p:spPr bwMode="auto">
                  <a:xfrm rot="20966185">
                    <a:off x="4987018" y="2970444"/>
                    <a:ext cx="156788" cy="171757"/>
                  </a:xfrm>
                  <a:custGeom>
                    <a:avLst/>
                    <a:gdLst>
                      <a:gd name="T0" fmla="*/ 2147483647 w 9874"/>
                      <a:gd name="T1" fmla="*/ 861456484 h 10000"/>
                      <a:gd name="T2" fmla="*/ 2147483647 w 9874"/>
                      <a:gd name="T3" fmla="*/ 573160271 h 10000"/>
                      <a:gd name="T4" fmla="*/ 2147483647 w 9874"/>
                      <a:gd name="T5" fmla="*/ 571945092 h 10000"/>
                      <a:gd name="T6" fmla="*/ 2147483647 w 9874"/>
                      <a:gd name="T7" fmla="*/ 0 h 10000"/>
                      <a:gd name="T8" fmla="*/ 2147483647 w 9874"/>
                      <a:gd name="T9" fmla="*/ 350414474 h 10000"/>
                      <a:gd name="T10" fmla="*/ 2147483647 w 9874"/>
                      <a:gd name="T11" fmla="*/ 1282208266 h 10000"/>
                      <a:gd name="T12" fmla="*/ 1792679761 w 9874"/>
                      <a:gd name="T13" fmla="*/ 1861231051 h 10000"/>
                      <a:gd name="T14" fmla="*/ 1792679761 w 9874"/>
                      <a:gd name="T15" fmla="*/ 2147483647 h 10000"/>
                      <a:gd name="T16" fmla="*/ 1194741583 w 9874"/>
                      <a:gd name="T17" fmla="*/ 2147483647 h 10000"/>
                      <a:gd name="T18" fmla="*/ 0 w 9874"/>
                      <a:gd name="T19" fmla="*/ 2147483647 h 10000"/>
                      <a:gd name="T20" fmla="*/ 1194741583 w 9874"/>
                      <a:gd name="T21" fmla="*/ 2147483647 h 10000"/>
                      <a:gd name="T22" fmla="*/ 2147483647 w 9874"/>
                      <a:gd name="T23" fmla="*/ 2147483647 h 10000"/>
                      <a:gd name="T24" fmla="*/ 2147483647 w 9874"/>
                      <a:gd name="T25" fmla="*/ 2147483647 h 10000"/>
                      <a:gd name="T26" fmla="*/ 2147483647 w 9874"/>
                      <a:gd name="T27" fmla="*/ 2147483647 h 10000"/>
                      <a:gd name="T28" fmla="*/ 2147483647 w 9874"/>
                      <a:gd name="T29" fmla="*/ 2147483647 h 10000"/>
                      <a:gd name="T30" fmla="*/ 2147483647 w 9874"/>
                      <a:gd name="T31" fmla="*/ 2147483647 h 10000"/>
                      <a:gd name="T32" fmla="*/ 2147483647 w 9874"/>
                      <a:gd name="T33" fmla="*/ 2147483647 h 10000"/>
                      <a:gd name="T34" fmla="*/ 2147483647 w 9874"/>
                      <a:gd name="T35" fmla="*/ 2147483647 h 10000"/>
                      <a:gd name="T36" fmla="*/ 2147483647 w 9874"/>
                      <a:gd name="T37" fmla="*/ 2147483647 h 10000"/>
                      <a:gd name="T38" fmla="*/ 2147483647 w 9874"/>
                      <a:gd name="T39" fmla="*/ 2147483647 h 10000"/>
                      <a:gd name="T40" fmla="*/ 2147483647 w 9874"/>
                      <a:gd name="T41" fmla="*/ 2147483647 h 10000"/>
                      <a:gd name="T42" fmla="*/ 2147483647 w 9874"/>
                      <a:gd name="T43" fmla="*/ 2147483647 h 10000"/>
                      <a:gd name="T44" fmla="*/ 2147483647 w 9874"/>
                      <a:gd name="T45" fmla="*/ 2083902531 h 10000"/>
                      <a:gd name="T46" fmla="*/ 2147483647 w 9874"/>
                      <a:gd name="T47" fmla="*/ 1331460655 h 10000"/>
                      <a:gd name="T48" fmla="*/ 2147483647 w 9874"/>
                      <a:gd name="T49" fmla="*/ 1056034845 h 10000"/>
                      <a:gd name="T50" fmla="*/ 2147483647 w 9874"/>
                      <a:gd name="T51" fmla="*/ 861456484 h 100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9874" h="10000">
                        <a:moveTo>
                          <a:pt x="9677" y="735"/>
                        </a:moveTo>
                        <a:lnTo>
                          <a:pt x="9874" y="489"/>
                        </a:lnTo>
                        <a:lnTo>
                          <a:pt x="9223" y="488"/>
                        </a:lnTo>
                        <a:lnTo>
                          <a:pt x="8813" y="0"/>
                        </a:lnTo>
                        <a:lnTo>
                          <a:pt x="5802" y="299"/>
                        </a:lnTo>
                        <a:lnTo>
                          <a:pt x="3889" y="1094"/>
                        </a:lnTo>
                        <a:lnTo>
                          <a:pt x="1667" y="1588"/>
                        </a:lnTo>
                        <a:lnTo>
                          <a:pt x="1667" y="2083"/>
                        </a:lnTo>
                        <a:lnTo>
                          <a:pt x="1111" y="3073"/>
                        </a:lnTo>
                        <a:lnTo>
                          <a:pt x="0" y="4062"/>
                        </a:lnTo>
                        <a:lnTo>
                          <a:pt x="1111" y="5547"/>
                        </a:lnTo>
                        <a:lnTo>
                          <a:pt x="3333" y="6042"/>
                        </a:lnTo>
                        <a:lnTo>
                          <a:pt x="2222" y="7031"/>
                        </a:lnTo>
                        <a:lnTo>
                          <a:pt x="2222" y="9010"/>
                        </a:lnTo>
                        <a:lnTo>
                          <a:pt x="4445" y="10000"/>
                        </a:lnTo>
                        <a:lnTo>
                          <a:pt x="5555" y="9010"/>
                        </a:lnTo>
                        <a:lnTo>
                          <a:pt x="5555" y="8021"/>
                        </a:lnTo>
                        <a:lnTo>
                          <a:pt x="7777" y="7031"/>
                        </a:lnTo>
                        <a:lnTo>
                          <a:pt x="5555" y="5052"/>
                        </a:lnTo>
                        <a:lnTo>
                          <a:pt x="5555" y="4062"/>
                        </a:lnTo>
                        <a:lnTo>
                          <a:pt x="4445" y="2578"/>
                        </a:lnTo>
                        <a:lnTo>
                          <a:pt x="7777" y="2083"/>
                        </a:lnTo>
                        <a:lnTo>
                          <a:pt x="9152" y="1778"/>
                        </a:lnTo>
                        <a:lnTo>
                          <a:pt x="9179" y="1136"/>
                        </a:lnTo>
                        <a:lnTo>
                          <a:pt x="9413" y="901"/>
                        </a:lnTo>
                        <a:lnTo>
                          <a:pt x="9677" y="735"/>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4" name="Freeform 351"/>
                  <p:cNvSpPr>
                    <a:spLocks/>
                  </p:cNvSpPr>
                  <p:nvPr/>
                </p:nvSpPr>
                <p:spPr bwMode="auto">
                  <a:xfrm>
                    <a:off x="4977611" y="2703638"/>
                    <a:ext cx="202255" cy="176759"/>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0 h 10000"/>
                      <a:gd name="T8" fmla="*/ 2147483647 w 10000"/>
                      <a:gd name="T9" fmla="*/ 962987830 h 10000"/>
                      <a:gd name="T10" fmla="*/ 2147483647 w 10000"/>
                      <a:gd name="T11" fmla="*/ 1505821189 h 10000"/>
                      <a:gd name="T12" fmla="*/ 2147483647 w 10000"/>
                      <a:gd name="T13" fmla="*/ 962987830 h 10000"/>
                      <a:gd name="T14" fmla="*/ 2147483647 w 10000"/>
                      <a:gd name="T15" fmla="*/ 2147483647 h 10000"/>
                      <a:gd name="T16" fmla="*/ 1839321513 w 10000"/>
                      <a:gd name="T17" fmla="*/ 2147483647 h 10000"/>
                      <a:gd name="T18" fmla="*/ 1728171895 w 10000"/>
                      <a:gd name="T19" fmla="*/ 2147483647 h 10000"/>
                      <a:gd name="T20" fmla="*/ 1513069159 w 10000"/>
                      <a:gd name="T21" fmla="*/ 2147483647 h 10000"/>
                      <a:gd name="T22" fmla="*/ 7214134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2147483647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000" h="10000">
                        <a:moveTo>
                          <a:pt x="8952" y="4746"/>
                        </a:moveTo>
                        <a:cubicBezTo>
                          <a:pt x="8952" y="4746"/>
                          <a:pt x="9789" y="4438"/>
                          <a:pt x="9789" y="4036"/>
                        </a:cubicBezTo>
                        <a:cubicBezTo>
                          <a:pt x="10125" y="3229"/>
                          <a:pt x="10054" y="3000"/>
                          <a:pt x="9628" y="2328"/>
                        </a:cubicBezTo>
                        <a:cubicBezTo>
                          <a:pt x="9201" y="1655"/>
                          <a:pt x="8028" y="776"/>
                          <a:pt x="7229" y="0"/>
                        </a:cubicBezTo>
                        <a:cubicBezTo>
                          <a:pt x="6677" y="239"/>
                          <a:pt x="6358" y="529"/>
                          <a:pt x="5576" y="715"/>
                        </a:cubicBezTo>
                        <a:cubicBezTo>
                          <a:pt x="4794" y="901"/>
                          <a:pt x="3551" y="983"/>
                          <a:pt x="2539" y="1118"/>
                        </a:cubicBezTo>
                        <a:lnTo>
                          <a:pt x="2201" y="715"/>
                        </a:lnTo>
                        <a:lnTo>
                          <a:pt x="1188" y="2730"/>
                        </a:lnTo>
                        <a:cubicBezTo>
                          <a:pt x="963" y="3268"/>
                          <a:pt x="631" y="4031"/>
                          <a:pt x="513" y="4343"/>
                        </a:cubicBezTo>
                        <a:cubicBezTo>
                          <a:pt x="396" y="4654"/>
                          <a:pt x="496" y="4524"/>
                          <a:pt x="482" y="4603"/>
                        </a:cubicBezTo>
                        <a:cubicBezTo>
                          <a:pt x="467" y="4681"/>
                          <a:pt x="503" y="4723"/>
                          <a:pt x="422" y="4817"/>
                        </a:cubicBezTo>
                        <a:cubicBezTo>
                          <a:pt x="342" y="4911"/>
                          <a:pt x="-28" y="5153"/>
                          <a:pt x="2" y="5165"/>
                        </a:cubicBezTo>
                        <a:cubicBezTo>
                          <a:pt x="871" y="6361"/>
                          <a:pt x="1309" y="7628"/>
                          <a:pt x="1789" y="8230"/>
                        </a:cubicBezTo>
                        <a:cubicBezTo>
                          <a:pt x="2266" y="8832"/>
                          <a:pt x="2645" y="8558"/>
                          <a:pt x="2875" y="8776"/>
                        </a:cubicBezTo>
                        <a:cubicBezTo>
                          <a:pt x="3105" y="8994"/>
                          <a:pt x="2722" y="9336"/>
                          <a:pt x="3174" y="9539"/>
                        </a:cubicBezTo>
                        <a:cubicBezTo>
                          <a:pt x="3626" y="9742"/>
                          <a:pt x="4682" y="10053"/>
                          <a:pt x="5588" y="9993"/>
                        </a:cubicBezTo>
                        <a:cubicBezTo>
                          <a:pt x="6494" y="9933"/>
                          <a:pt x="8055" y="9717"/>
                          <a:pt x="8615" y="9179"/>
                        </a:cubicBezTo>
                        <a:cubicBezTo>
                          <a:pt x="9175" y="8641"/>
                          <a:pt x="8840" y="7567"/>
                          <a:pt x="8952" y="6761"/>
                        </a:cubicBezTo>
                        <a:lnTo>
                          <a:pt x="9628" y="6358"/>
                        </a:lnTo>
                        <a:cubicBezTo>
                          <a:pt x="9591" y="6168"/>
                          <a:pt x="9555" y="5977"/>
                          <a:pt x="9518" y="5787"/>
                        </a:cubicBezTo>
                        <a:cubicBezTo>
                          <a:pt x="9629" y="5384"/>
                          <a:pt x="8840" y="5149"/>
                          <a:pt x="8952" y="4746"/>
                        </a:cubicBez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5" name="Freeform 353"/>
                  <p:cNvSpPr>
                    <a:spLocks/>
                  </p:cNvSpPr>
                  <p:nvPr/>
                </p:nvSpPr>
                <p:spPr bwMode="auto">
                  <a:xfrm>
                    <a:off x="4773787" y="2621929"/>
                    <a:ext cx="156788" cy="86713"/>
                  </a:xfrm>
                  <a:custGeom>
                    <a:avLst/>
                    <a:gdLst>
                      <a:gd name="T0" fmla="*/ 2147483647 w 10569"/>
                      <a:gd name="T1" fmla="*/ 218132199 h 10092"/>
                      <a:gd name="T2" fmla="*/ 2147483647 w 10569"/>
                      <a:gd name="T3" fmla="*/ 122706788 h 10092"/>
                      <a:gd name="T4" fmla="*/ 2147483647 w 10569"/>
                      <a:gd name="T5" fmla="*/ 61371189 h 10092"/>
                      <a:gd name="T6" fmla="*/ 2147483647 w 10569"/>
                      <a:gd name="T7" fmla="*/ 0 h 10092"/>
                      <a:gd name="T8" fmla="*/ 2147483647 w 10569"/>
                      <a:gd name="T9" fmla="*/ 30665321 h 10092"/>
                      <a:gd name="T10" fmla="*/ 2147483647 w 10569"/>
                      <a:gd name="T11" fmla="*/ 0 h 10092"/>
                      <a:gd name="T12" fmla="*/ 2097951320 w 10569"/>
                      <a:gd name="T13" fmla="*/ 30665321 h 10092"/>
                      <a:gd name="T14" fmla="*/ 1401434486 w 10569"/>
                      <a:gd name="T15" fmla="*/ 61371189 h 10092"/>
                      <a:gd name="T16" fmla="*/ 704917667 w 10569"/>
                      <a:gd name="T17" fmla="*/ 92041467 h 10092"/>
                      <a:gd name="T18" fmla="*/ 8448222 w 10569"/>
                      <a:gd name="T19" fmla="*/ 122706788 h 10092"/>
                      <a:gd name="T20" fmla="*/ 357065685 w 10569"/>
                      <a:gd name="T21" fmla="*/ 164160932 h 10092"/>
                      <a:gd name="T22" fmla="*/ 1012965140 w 10569"/>
                      <a:gd name="T23" fmla="*/ 220119984 h 10092"/>
                      <a:gd name="T24" fmla="*/ 1750099564 w 10569"/>
                      <a:gd name="T25" fmla="*/ 306784830 h 10092"/>
                      <a:gd name="T26" fmla="*/ 2097951320 w 10569"/>
                      <a:gd name="T27" fmla="*/ 337490632 h 10092"/>
                      <a:gd name="T28" fmla="*/ 2147483647 w 10569"/>
                      <a:gd name="T29" fmla="*/ 371544855 h 10092"/>
                      <a:gd name="T30" fmla="*/ 2147483647 w 10569"/>
                      <a:gd name="T31" fmla="*/ 367936564 h 10092"/>
                      <a:gd name="T32" fmla="*/ 2147483647 w 10569"/>
                      <a:gd name="T33" fmla="*/ 337230696 h 10092"/>
                      <a:gd name="T34" fmla="*/ 2147483647 w 10569"/>
                      <a:gd name="T35" fmla="*/ 346435062 h 10092"/>
                      <a:gd name="T36" fmla="*/ 2147483647 w 10569"/>
                      <a:gd name="T37" fmla="*/ 347321125 h 10092"/>
                      <a:gd name="T38" fmla="*/ 2147483647 w 10569"/>
                      <a:gd name="T39" fmla="*/ 353615522 h 10092"/>
                      <a:gd name="T40" fmla="*/ 2147483647 w 10569"/>
                      <a:gd name="T41" fmla="*/ 369740943 h 10092"/>
                      <a:gd name="T42" fmla="*/ 2147483647 w 10569"/>
                      <a:gd name="T43" fmla="*/ 344411753 h 10092"/>
                      <a:gd name="T44" fmla="*/ 2147483647 w 10569"/>
                      <a:gd name="T45" fmla="*/ 359211597 h 100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69" h="10092">
                        <a:moveTo>
                          <a:pt x="10569" y="5925"/>
                        </a:moveTo>
                        <a:cubicBezTo>
                          <a:pt x="10249" y="5077"/>
                          <a:pt x="8682" y="4197"/>
                          <a:pt x="7738" y="3333"/>
                        </a:cubicBezTo>
                        <a:lnTo>
                          <a:pt x="5920" y="1667"/>
                        </a:lnTo>
                        <a:lnTo>
                          <a:pt x="4102" y="0"/>
                        </a:lnTo>
                        <a:lnTo>
                          <a:pt x="4102" y="833"/>
                        </a:lnTo>
                        <a:lnTo>
                          <a:pt x="3193" y="0"/>
                        </a:lnTo>
                        <a:lnTo>
                          <a:pt x="2738" y="833"/>
                        </a:lnTo>
                        <a:lnTo>
                          <a:pt x="1829" y="1667"/>
                        </a:lnTo>
                        <a:lnTo>
                          <a:pt x="920" y="2500"/>
                        </a:lnTo>
                        <a:cubicBezTo>
                          <a:pt x="617" y="2778"/>
                          <a:pt x="87" y="3007"/>
                          <a:pt x="11" y="3333"/>
                        </a:cubicBezTo>
                        <a:cubicBezTo>
                          <a:pt x="-65" y="3659"/>
                          <a:pt x="248" y="4018"/>
                          <a:pt x="466" y="4459"/>
                        </a:cubicBezTo>
                        <a:cubicBezTo>
                          <a:pt x="684" y="4900"/>
                          <a:pt x="1019" y="5333"/>
                          <a:pt x="1322" y="5979"/>
                        </a:cubicBezTo>
                        <a:cubicBezTo>
                          <a:pt x="1625" y="6625"/>
                          <a:pt x="2048" y="7802"/>
                          <a:pt x="2284" y="8333"/>
                        </a:cubicBezTo>
                        <a:cubicBezTo>
                          <a:pt x="2520" y="8864"/>
                          <a:pt x="2583" y="8874"/>
                          <a:pt x="2738" y="9167"/>
                        </a:cubicBezTo>
                        <a:cubicBezTo>
                          <a:pt x="2893" y="9460"/>
                          <a:pt x="3217" y="10092"/>
                          <a:pt x="3217" y="10092"/>
                        </a:cubicBezTo>
                        <a:cubicBezTo>
                          <a:pt x="4581" y="10092"/>
                          <a:pt x="4900" y="9994"/>
                          <a:pt x="4900" y="9994"/>
                        </a:cubicBezTo>
                        <a:cubicBezTo>
                          <a:pt x="4785" y="9440"/>
                          <a:pt x="5654" y="9714"/>
                          <a:pt x="5539" y="9160"/>
                        </a:cubicBezTo>
                        <a:cubicBezTo>
                          <a:pt x="5853" y="9260"/>
                          <a:pt x="6250" y="9364"/>
                          <a:pt x="6402" y="9410"/>
                        </a:cubicBezTo>
                        <a:cubicBezTo>
                          <a:pt x="6554" y="9456"/>
                          <a:pt x="6377" y="9434"/>
                          <a:pt x="6453" y="9434"/>
                        </a:cubicBezTo>
                        <a:cubicBezTo>
                          <a:pt x="6529" y="9434"/>
                          <a:pt x="6505" y="9504"/>
                          <a:pt x="6723" y="9605"/>
                        </a:cubicBezTo>
                        <a:cubicBezTo>
                          <a:pt x="6941" y="9707"/>
                          <a:pt x="7421" y="10085"/>
                          <a:pt x="7759" y="10043"/>
                        </a:cubicBezTo>
                        <a:cubicBezTo>
                          <a:pt x="8097" y="10001"/>
                          <a:pt x="8436" y="9626"/>
                          <a:pt x="8753" y="9355"/>
                        </a:cubicBezTo>
                        <a:cubicBezTo>
                          <a:pt x="9070" y="9084"/>
                          <a:pt x="8347" y="9964"/>
                          <a:pt x="10391" y="9757"/>
                        </a:cubicBezTo>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6" name="Freeform 354"/>
                  <p:cNvSpPr>
                    <a:spLocks/>
                  </p:cNvSpPr>
                  <p:nvPr/>
                </p:nvSpPr>
                <p:spPr bwMode="auto">
                  <a:xfrm>
                    <a:off x="4885106" y="2711976"/>
                    <a:ext cx="136406" cy="100052"/>
                  </a:xfrm>
                  <a:custGeom>
                    <a:avLst/>
                    <a:gdLst>
                      <a:gd name="T0" fmla="*/ 2147483647 w 9980"/>
                      <a:gd name="T1" fmla="*/ 0 h 10000"/>
                      <a:gd name="T2" fmla="*/ 2147483647 w 9980"/>
                      <a:gd name="T3" fmla="*/ 120347451 h 10000"/>
                      <a:gd name="T4" fmla="*/ 2048295641 w 9980"/>
                      <a:gd name="T5" fmla="*/ 174854502 h 10000"/>
                      <a:gd name="T6" fmla="*/ 1295790420 w 9980"/>
                      <a:gd name="T7" fmla="*/ 229369258 h 10000"/>
                      <a:gd name="T8" fmla="*/ 794318046 w 9980"/>
                      <a:gd name="T9" fmla="*/ 209556601 h 10000"/>
                      <a:gd name="T10" fmla="*/ 543839063 w 9980"/>
                      <a:gd name="T11" fmla="*/ 174854502 h 10000"/>
                      <a:gd name="T12" fmla="*/ 292843180 w 9980"/>
                      <a:gd name="T13" fmla="*/ 283793289 h 10000"/>
                      <a:gd name="T14" fmla="*/ 41849789 w 9980"/>
                      <a:gd name="T15" fmla="*/ 447321156 h 10000"/>
                      <a:gd name="T16" fmla="*/ 11224449 w 9980"/>
                      <a:gd name="T17" fmla="*/ 470376980 h 10000"/>
                      <a:gd name="T18" fmla="*/ 159185930 w 9980"/>
                      <a:gd name="T19" fmla="*/ 536612402 h 10000"/>
                      <a:gd name="T20" fmla="*/ 838699122 w 9980"/>
                      <a:gd name="T21" fmla="*/ 744424260 h 10000"/>
                      <a:gd name="T22" fmla="*/ 1841683506 w 9980"/>
                      <a:gd name="T23" fmla="*/ 792279756 h 10000"/>
                      <a:gd name="T24" fmla="*/ 2147483647 w 9980"/>
                      <a:gd name="T25" fmla="*/ 746169002 h 10000"/>
                      <a:gd name="T26" fmla="*/ 2147483647 w 9980"/>
                      <a:gd name="T27" fmla="*/ 678509460 h 10000"/>
                      <a:gd name="T28" fmla="*/ 2147483647 w 9980"/>
                      <a:gd name="T29" fmla="*/ 678509460 h 10000"/>
                      <a:gd name="T30" fmla="*/ 2147483647 w 9980"/>
                      <a:gd name="T31" fmla="*/ 610766908 h 10000"/>
                      <a:gd name="T32" fmla="*/ 2147483647 w 9980"/>
                      <a:gd name="T33" fmla="*/ 392815010 h 10000"/>
                      <a:gd name="T34" fmla="*/ 2147483647 w 9980"/>
                      <a:gd name="T35" fmla="*/ 120347451 h 10000"/>
                      <a:gd name="T36" fmla="*/ 2147483647 w 9980"/>
                      <a:gd name="T37" fmla="*/ 9902428 h 10000"/>
                      <a:gd name="T38" fmla="*/ 2147483647 w 9980"/>
                      <a:gd name="T39" fmla="*/ 26306802 h 10000"/>
                      <a:gd name="T40" fmla="*/ 2147483647 w 9980"/>
                      <a:gd name="T41" fmla="*/ 0 h 100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980" h="10000">
                        <a:moveTo>
                          <a:pt x="7338" y="0"/>
                        </a:moveTo>
                        <a:cubicBezTo>
                          <a:pt x="6885" y="506"/>
                          <a:pt x="6535" y="1151"/>
                          <a:pt x="5980" y="1519"/>
                        </a:cubicBezTo>
                        <a:cubicBezTo>
                          <a:pt x="5426" y="1887"/>
                          <a:pt x="4670" y="1978"/>
                          <a:pt x="4015" y="2207"/>
                        </a:cubicBezTo>
                        <a:cubicBezTo>
                          <a:pt x="2540" y="2895"/>
                          <a:pt x="2950" y="2822"/>
                          <a:pt x="2540" y="2895"/>
                        </a:cubicBezTo>
                        <a:cubicBezTo>
                          <a:pt x="2130" y="2968"/>
                          <a:pt x="1557" y="2645"/>
                          <a:pt x="1557" y="2645"/>
                        </a:cubicBezTo>
                        <a:cubicBezTo>
                          <a:pt x="1066" y="1958"/>
                          <a:pt x="1230" y="2051"/>
                          <a:pt x="1066" y="2207"/>
                        </a:cubicBezTo>
                        <a:cubicBezTo>
                          <a:pt x="902" y="2363"/>
                          <a:pt x="574" y="3582"/>
                          <a:pt x="574" y="3582"/>
                        </a:cubicBezTo>
                        <a:cubicBezTo>
                          <a:pt x="409" y="4270"/>
                          <a:pt x="174" y="5254"/>
                          <a:pt x="82" y="5646"/>
                        </a:cubicBezTo>
                        <a:cubicBezTo>
                          <a:pt x="-10" y="6038"/>
                          <a:pt x="-16" y="5749"/>
                          <a:pt x="22" y="5937"/>
                        </a:cubicBezTo>
                        <a:cubicBezTo>
                          <a:pt x="60" y="6125"/>
                          <a:pt x="42" y="6197"/>
                          <a:pt x="312" y="6773"/>
                        </a:cubicBezTo>
                        <a:cubicBezTo>
                          <a:pt x="583" y="7349"/>
                          <a:pt x="1094" y="8858"/>
                          <a:pt x="1644" y="9396"/>
                        </a:cubicBezTo>
                        <a:cubicBezTo>
                          <a:pt x="2194" y="9934"/>
                          <a:pt x="3153" y="9997"/>
                          <a:pt x="3610" y="10000"/>
                        </a:cubicBezTo>
                        <a:cubicBezTo>
                          <a:pt x="4068" y="10003"/>
                          <a:pt x="3989" y="9657"/>
                          <a:pt x="4389" y="9418"/>
                        </a:cubicBezTo>
                        <a:cubicBezTo>
                          <a:pt x="4788" y="9179"/>
                          <a:pt x="5720" y="8707"/>
                          <a:pt x="6009" y="8564"/>
                        </a:cubicBezTo>
                        <a:cubicBezTo>
                          <a:pt x="6298" y="8421"/>
                          <a:pt x="5883" y="8706"/>
                          <a:pt x="6124" y="8564"/>
                        </a:cubicBezTo>
                        <a:cubicBezTo>
                          <a:pt x="6364" y="8422"/>
                          <a:pt x="7069" y="8310"/>
                          <a:pt x="7455" y="7709"/>
                        </a:cubicBezTo>
                        <a:cubicBezTo>
                          <a:pt x="7841" y="7109"/>
                          <a:pt x="8111" y="5875"/>
                          <a:pt x="8438" y="4958"/>
                        </a:cubicBezTo>
                        <a:cubicBezTo>
                          <a:pt x="8929" y="3812"/>
                          <a:pt x="9701" y="2324"/>
                          <a:pt x="9913" y="1519"/>
                        </a:cubicBezTo>
                        <a:cubicBezTo>
                          <a:pt x="10125" y="713"/>
                          <a:pt x="9778" y="589"/>
                          <a:pt x="9710" y="125"/>
                        </a:cubicBezTo>
                        <a:lnTo>
                          <a:pt x="9128" y="332"/>
                        </a:lnTo>
                        <a:lnTo>
                          <a:pt x="7338" y="0"/>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7" name="Freeform 355"/>
                  <p:cNvSpPr>
                    <a:spLocks/>
                  </p:cNvSpPr>
                  <p:nvPr/>
                </p:nvSpPr>
                <p:spPr bwMode="auto">
                  <a:xfrm>
                    <a:off x="4889810" y="2670287"/>
                    <a:ext cx="131703" cy="73372"/>
                  </a:xfrm>
                  <a:custGeom>
                    <a:avLst/>
                    <a:gdLst>
                      <a:gd name="T0" fmla="*/ 2147483647 w 10000"/>
                      <a:gd name="T1" fmla="*/ 11717197 h 9595"/>
                      <a:gd name="T2" fmla="*/ 2117831042 w 10000"/>
                      <a:gd name="T3" fmla="*/ 1864984 h 9595"/>
                      <a:gd name="T4" fmla="*/ 1670018673 w 10000"/>
                      <a:gd name="T5" fmla="*/ 1985706 h 9595"/>
                      <a:gd name="T6" fmla="*/ 1192608324 w 10000"/>
                      <a:gd name="T7" fmla="*/ 11717197 h 9595"/>
                      <a:gd name="T8" fmla="*/ 954346452 w 10000"/>
                      <a:gd name="T9" fmla="*/ 56295023 h 9595"/>
                      <a:gd name="T10" fmla="*/ 0 w 10000"/>
                      <a:gd name="T11" fmla="*/ 100895271 h 9595"/>
                      <a:gd name="T12" fmla="*/ 238705181 w 10000"/>
                      <a:gd name="T13" fmla="*/ 145472777 h 9595"/>
                      <a:gd name="T14" fmla="*/ 413599734 w 10000"/>
                      <a:gd name="T15" fmla="*/ 172255509 h 9595"/>
                      <a:gd name="T16" fmla="*/ 852527046 w 10000"/>
                      <a:gd name="T17" fmla="*/ 192499706 h 9595"/>
                      <a:gd name="T18" fmla="*/ 1872358309 w 10000"/>
                      <a:gd name="T19" fmla="*/ 165736637 h 9595"/>
                      <a:gd name="T20" fmla="*/ 2147483647 w 10000"/>
                      <a:gd name="T21" fmla="*/ 153539079 h 9595"/>
                      <a:gd name="T22" fmla="*/ 2147483647 w 10000"/>
                      <a:gd name="T23" fmla="*/ 109902201 h 9595"/>
                      <a:gd name="T24" fmla="*/ 2147483647 w 10000"/>
                      <a:gd name="T25" fmla="*/ 118909553 h 9595"/>
                      <a:gd name="T26" fmla="*/ 2147483647 w 10000"/>
                      <a:gd name="T27" fmla="*/ 99771804 h 9595"/>
                      <a:gd name="T28" fmla="*/ 2147483647 w 10000"/>
                      <a:gd name="T29" fmla="*/ 78603679 h 9595"/>
                      <a:gd name="T30" fmla="*/ 2147483647 w 10000"/>
                      <a:gd name="T31" fmla="*/ 43215616 h 9595"/>
                      <a:gd name="T32" fmla="*/ 2147483647 w 10000"/>
                      <a:gd name="T33" fmla="*/ 24356051 h 9595"/>
                      <a:gd name="T34" fmla="*/ 2147483647 w 10000"/>
                      <a:gd name="T35" fmla="*/ 11717197 h 9595"/>
                      <a:gd name="T36" fmla="*/ 2147483647 w 10000"/>
                      <a:gd name="T37" fmla="*/ 11717197 h 95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0000" h="9595">
                        <a:moveTo>
                          <a:pt x="6210" y="584"/>
                        </a:moveTo>
                        <a:cubicBezTo>
                          <a:pt x="5554" y="325"/>
                          <a:pt x="5389" y="258"/>
                          <a:pt x="5013" y="93"/>
                        </a:cubicBezTo>
                        <a:cubicBezTo>
                          <a:pt x="4637" y="-72"/>
                          <a:pt x="4318" y="17"/>
                          <a:pt x="3953" y="99"/>
                        </a:cubicBezTo>
                        <a:lnTo>
                          <a:pt x="2823" y="584"/>
                        </a:lnTo>
                        <a:lnTo>
                          <a:pt x="2259" y="2806"/>
                        </a:lnTo>
                        <a:lnTo>
                          <a:pt x="0" y="5029"/>
                        </a:lnTo>
                        <a:lnTo>
                          <a:pt x="565" y="7251"/>
                        </a:lnTo>
                        <a:lnTo>
                          <a:pt x="979" y="8586"/>
                        </a:lnTo>
                        <a:lnTo>
                          <a:pt x="2018" y="9595"/>
                        </a:lnTo>
                        <a:lnTo>
                          <a:pt x="4432" y="8261"/>
                        </a:lnTo>
                        <a:lnTo>
                          <a:pt x="6240" y="7653"/>
                        </a:lnTo>
                        <a:lnTo>
                          <a:pt x="7130" y="5478"/>
                        </a:lnTo>
                        <a:lnTo>
                          <a:pt x="9214" y="5927"/>
                        </a:lnTo>
                        <a:lnTo>
                          <a:pt x="9803" y="4973"/>
                        </a:lnTo>
                        <a:cubicBezTo>
                          <a:pt x="9735" y="4622"/>
                          <a:pt x="9905" y="4270"/>
                          <a:pt x="9837" y="3918"/>
                        </a:cubicBezTo>
                        <a:cubicBezTo>
                          <a:pt x="9758" y="2807"/>
                          <a:pt x="10067" y="3265"/>
                          <a:pt x="9987" y="2154"/>
                        </a:cubicBezTo>
                        <a:cubicBezTo>
                          <a:pt x="9527" y="1653"/>
                          <a:pt x="9037" y="1714"/>
                          <a:pt x="8578" y="1214"/>
                        </a:cubicBezTo>
                        <a:cubicBezTo>
                          <a:pt x="8542" y="1004"/>
                          <a:pt x="8505" y="794"/>
                          <a:pt x="8469" y="584"/>
                        </a:cubicBezTo>
                        <a:lnTo>
                          <a:pt x="6210" y="584"/>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8" name="Freeform 356"/>
                  <p:cNvSpPr>
                    <a:spLocks/>
                  </p:cNvSpPr>
                  <p:nvPr/>
                </p:nvSpPr>
                <p:spPr bwMode="auto">
                  <a:xfrm>
                    <a:off x="5037190" y="2860387"/>
                    <a:ext cx="180306" cy="148412"/>
                  </a:xfrm>
                  <a:custGeom>
                    <a:avLst/>
                    <a:gdLst>
                      <a:gd name="T0" fmla="*/ 2147483647 w 10000"/>
                      <a:gd name="T1" fmla="*/ 293810106 h 10000"/>
                      <a:gd name="T2" fmla="*/ 1846282842 w 10000"/>
                      <a:gd name="T3" fmla="*/ 293810106 h 10000"/>
                      <a:gd name="T4" fmla="*/ 0 w 10000"/>
                      <a:gd name="T5" fmla="*/ 0 h 10000"/>
                      <a:gd name="T6" fmla="*/ 0 w 10000"/>
                      <a:gd name="T7" fmla="*/ 587019553 h 10000"/>
                      <a:gd name="T8" fmla="*/ 924200281 w 10000"/>
                      <a:gd name="T9" fmla="*/ 1468447271 h 10000"/>
                      <a:gd name="T10" fmla="*/ 1379187541 w 10000"/>
                      <a:gd name="T11" fmla="*/ 2147483647 h 10000"/>
                      <a:gd name="T12" fmla="*/ 924200281 w 10000"/>
                      <a:gd name="T13" fmla="*/ 2147483647 h 10000"/>
                      <a:gd name="T14" fmla="*/ 1846282842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2147483647 h 10000"/>
                      <a:gd name="T32" fmla="*/ 2147483647 w 10000"/>
                      <a:gd name="T33" fmla="*/ 2147483647 h 10000"/>
                      <a:gd name="T34" fmla="*/ 2147483647 w 10000"/>
                      <a:gd name="T35" fmla="*/ 2147483647 h 10000"/>
                      <a:gd name="T36" fmla="*/ 2147483647 w 10000"/>
                      <a:gd name="T37" fmla="*/ 2147483647 h 10000"/>
                      <a:gd name="T38" fmla="*/ 2147483647 w 10000"/>
                      <a:gd name="T39" fmla="*/ 2147483647 h 10000"/>
                      <a:gd name="T40" fmla="*/ 2147483647 w 10000"/>
                      <a:gd name="T41" fmla="*/ 1761659502 h 10000"/>
                      <a:gd name="T42" fmla="*/ 2147483647 w 10000"/>
                      <a:gd name="T43" fmla="*/ 587019553 h 10000"/>
                      <a:gd name="T44" fmla="*/ 2147483647 w 10000"/>
                      <a:gd name="T45" fmla="*/ 0 h 10000"/>
                      <a:gd name="T46" fmla="*/ 2147483647 w 10000"/>
                      <a:gd name="T47" fmla="*/ 293810106 h 100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00" h="10000">
                        <a:moveTo>
                          <a:pt x="3636" y="522"/>
                        </a:moveTo>
                        <a:lnTo>
                          <a:pt x="909" y="522"/>
                        </a:lnTo>
                        <a:lnTo>
                          <a:pt x="0" y="0"/>
                        </a:lnTo>
                        <a:lnTo>
                          <a:pt x="0" y="1043"/>
                        </a:lnTo>
                        <a:lnTo>
                          <a:pt x="455" y="2609"/>
                        </a:lnTo>
                        <a:cubicBezTo>
                          <a:pt x="530" y="3171"/>
                          <a:pt x="604" y="3733"/>
                          <a:pt x="679" y="4295"/>
                        </a:cubicBezTo>
                        <a:cubicBezTo>
                          <a:pt x="604" y="4631"/>
                          <a:pt x="530" y="4968"/>
                          <a:pt x="455" y="5304"/>
                        </a:cubicBezTo>
                        <a:lnTo>
                          <a:pt x="909" y="6348"/>
                        </a:lnTo>
                        <a:lnTo>
                          <a:pt x="1598" y="7682"/>
                        </a:lnTo>
                        <a:cubicBezTo>
                          <a:pt x="2779" y="7328"/>
                          <a:pt x="2976" y="7157"/>
                          <a:pt x="4110" y="6712"/>
                        </a:cubicBezTo>
                        <a:lnTo>
                          <a:pt x="4448" y="7069"/>
                        </a:lnTo>
                        <a:lnTo>
                          <a:pt x="5010" y="7076"/>
                        </a:lnTo>
                        <a:cubicBezTo>
                          <a:pt x="5007" y="7181"/>
                          <a:pt x="5003" y="7286"/>
                          <a:pt x="5000" y="7391"/>
                        </a:cubicBezTo>
                        <a:lnTo>
                          <a:pt x="4545" y="7913"/>
                        </a:lnTo>
                        <a:lnTo>
                          <a:pt x="5000" y="10000"/>
                        </a:lnTo>
                        <a:lnTo>
                          <a:pt x="6818" y="8435"/>
                        </a:lnTo>
                        <a:lnTo>
                          <a:pt x="8636" y="8435"/>
                        </a:lnTo>
                        <a:lnTo>
                          <a:pt x="9545" y="6870"/>
                        </a:lnTo>
                        <a:lnTo>
                          <a:pt x="10000" y="6870"/>
                        </a:lnTo>
                        <a:lnTo>
                          <a:pt x="7273" y="5826"/>
                        </a:lnTo>
                        <a:cubicBezTo>
                          <a:pt x="7121" y="4927"/>
                          <a:pt x="6970" y="4029"/>
                          <a:pt x="6818" y="3130"/>
                        </a:cubicBezTo>
                        <a:lnTo>
                          <a:pt x="8636" y="1043"/>
                        </a:lnTo>
                        <a:lnTo>
                          <a:pt x="5909" y="0"/>
                        </a:lnTo>
                        <a:lnTo>
                          <a:pt x="3636" y="522"/>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69" name="Freeform 361"/>
                  <p:cNvSpPr>
                    <a:spLocks/>
                  </p:cNvSpPr>
                  <p:nvPr/>
                </p:nvSpPr>
                <p:spPr bwMode="auto">
                  <a:xfrm>
                    <a:off x="4635813" y="2740323"/>
                    <a:ext cx="112887" cy="68369"/>
                  </a:xfrm>
                  <a:custGeom>
                    <a:avLst/>
                    <a:gdLst>
                      <a:gd name="T0" fmla="*/ 1523412940 w 10000"/>
                      <a:gd name="T1" fmla="*/ 20703172 h 11466"/>
                      <a:gd name="T2" fmla="*/ 1384973249 w 10000"/>
                      <a:gd name="T3" fmla="*/ 13260037 h 11466"/>
                      <a:gd name="T4" fmla="*/ 1107889269 w 10000"/>
                      <a:gd name="T5" fmla="*/ 5816929 h 11466"/>
                      <a:gd name="T6" fmla="*/ 705952907 w 10000"/>
                      <a:gd name="T7" fmla="*/ 11598732 h 11466"/>
                      <a:gd name="T8" fmla="*/ 629180878 w 10000"/>
                      <a:gd name="T9" fmla="*/ 0 h 11466"/>
                      <a:gd name="T10" fmla="*/ 415505657 w 10000"/>
                      <a:gd name="T11" fmla="*/ 11182239 h 11466"/>
                      <a:gd name="T12" fmla="*/ 0 w 10000"/>
                      <a:gd name="T13" fmla="*/ 35589387 h 11466"/>
                      <a:gd name="T14" fmla="*/ 0 w 10000"/>
                      <a:gd name="T15" fmla="*/ 50474506 h 11466"/>
                      <a:gd name="T16" fmla="*/ 277065955 w 10000"/>
                      <a:gd name="T17" fmla="*/ 50474506 h 11466"/>
                      <a:gd name="T18" fmla="*/ 408729233 w 10000"/>
                      <a:gd name="T19" fmla="*/ 68272305 h 11466"/>
                      <a:gd name="T20" fmla="*/ 553945349 w 10000"/>
                      <a:gd name="T21" fmla="*/ 65360750 h 11466"/>
                      <a:gd name="T22" fmla="*/ 860112323 w 10000"/>
                      <a:gd name="T23" fmla="*/ 53797304 h 11466"/>
                      <a:gd name="T24" fmla="*/ 1019100903 w 10000"/>
                      <a:gd name="T25" fmla="*/ 60412870 h 11466"/>
                      <a:gd name="T26" fmla="*/ 1523412940 w 10000"/>
                      <a:gd name="T27" fmla="*/ 50474506 h 11466"/>
                      <a:gd name="T28" fmla="*/ 1800478906 w 10000"/>
                      <a:gd name="T29" fmla="*/ 43031399 h 11466"/>
                      <a:gd name="T30" fmla="*/ 1938918597 w 10000"/>
                      <a:gd name="T31" fmla="*/ 43031399 h 11466"/>
                      <a:gd name="T32" fmla="*/ 1800478906 w 10000"/>
                      <a:gd name="T33" fmla="*/ 35589387 h 11466"/>
                      <a:gd name="T34" fmla="*/ 1523412940 w 10000"/>
                      <a:gd name="T35" fmla="*/ 20703172 h 114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000" h="11466">
                        <a:moveTo>
                          <a:pt x="7857" y="3477"/>
                        </a:moveTo>
                        <a:lnTo>
                          <a:pt x="7143" y="2227"/>
                        </a:lnTo>
                        <a:lnTo>
                          <a:pt x="5714" y="977"/>
                        </a:lnTo>
                        <a:lnTo>
                          <a:pt x="3641" y="1948"/>
                        </a:lnTo>
                        <a:cubicBezTo>
                          <a:pt x="3532" y="1206"/>
                          <a:pt x="3354" y="742"/>
                          <a:pt x="3245" y="0"/>
                        </a:cubicBezTo>
                        <a:lnTo>
                          <a:pt x="2143" y="1878"/>
                        </a:lnTo>
                        <a:lnTo>
                          <a:pt x="0" y="5977"/>
                        </a:lnTo>
                        <a:lnTo>
                          <a:pt x="0" y="8477"/>
                        </a:lnTo>
                        <a:lnTo>
                          <a:pt x="1429" y="8477"/>
                        </a:lnTo>
                        <a:lnTo>
                          <a:pt x="2108" y="11466"/>
                        </a:lnTo>
                        <a:lnTo>
                          <a:pt x="2857" y="10977"/>
                        </a:lnTo>
                        <a:lnTo>
                          <a:pt x="4436" y="9035"/>
                        </a:lnTo>
                        <a:lnTo>
                          <a:pt x="5256" y="10146"/>
                        </a:lnTo>
                        <a:lnTo>
                          <a:pt x="7857" y="8477"/>
                        </a:lnTo>
                        <a:lnTo>
                          <a:pt x="9286" y="7227"/>
                        </a:lnTo>
                        <a:lnTo>
                          <a:pt x="10000" y="7227"/>
                        </a:lnTo>
                        <a:lnTo>
                          <a:pt x="9286" y="5977"/>
                        </a:lnTo>
                        <a:lnTo>
                          <a:pt x="7857" y="3477"/>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0" name="Freeform 363"/>
                  <p:cNvSpPr>
                    <a:spLocks/>
                  </p:cNvSpPr>
                  <p:nvPr/>
                </p:nvSpPr>
                <p:spPr bwMode="auto">
                  <a:xfrm>
                    <a:off x="4579370" y="2586910"/>
                    <a:ext cx="70554" cy="78375"/>
                  </a:xfrm>
                  <a:custGeom>
                    <a:avLst/>
                    <a:gdLst>
                      <a:gd name="T0" fmla="*/ 43091458 w 10056"/>
                      <a:gd name="T1" fmla="*/ 105833347 h 10000"/>
                      <a:gd name="T2" fmla="*/ 60516545 w 10056"/>
                      <a:gd name="T3" fmla="*/ 148181948 h 10000"/>
                      <a:gd name="T4" fmla="*/ 95382098 w 10056"/>
                      <a:gd name="T5" fmla="*/ 169343381 h 10000"/>
                      <a:gd name="T6" fmla="*/ 127165973 w 10056"/>
                      <a:gd name="T7" fmla="*/ 196710131 h 10000"/>
                      <a:gd name="T8" fmla="*/ 159904912 w 10056"/>
                      <a:gd name="T9" fmla="*/ 231533339 h 10000"/>
                      <a:gd name="T10" fmla="*/ 180375846 w 10056"/>
                      <a:gd name="T11" fmla="*/ 174299266 h 10000"/>
                      <a:gd name="T12" fmla="*/ 168237950 w 10056"/>
                      <a:gd name="T13" fmla="*/ 131951061 h 10000"/>
                      <a:gd name="T14" fmla="*/ 181386826 w 10056"/>
                      <a:gd name="T15" fmla="*/ 75990916 h 10000"/>
                      <a:gd name="T16" fmla="*/ 155827284 w 10056"/>
                      <a:gd name="T17" fmla="*/ 54825744 h 10000"/>
                      <a:gd name="T18" fmla="*/ 130232265 w 10056"/>
                      <a:gd name="T19" fmla="*/ 42323709 h 10000"/>
                      <a:gd name="T20" fmla="*/ 95382098 w 10056"/>
                      <a:gd name="T21" fmla="*/ 21161829 h 10000"/>
                      <a:gd name="T22" fmla="*/ 60516545 w 10056"/>
                      <a:gd name="T23" fmla="*/ 21161829 h 10000"/>
                      <a:gd name="T24" fmla="*/ 43091458 w 10056"/>
                      <a:gd name="T25" fmla="*/ 0 h 10000"/>
                      <a:gd name="T26" fmla="*/ 8243820 w 10056"/>
                      <a:gd name="T27" fmla="*/ 21161829 h 10000"/>
                      <a:gd name="T28" fmla="*/ 0 w 10056"/>
                      <a:gd name="T29" fmla="*/ 22481897 h 10000"/>
                      <a:gd name="T30" fmla="*/ 16414107 w 10056"/>
                      <a:gd name="T31" fmla="*/ 79716022 h 10000"/>
                      <a:gd name="T32" fmla="*/ 43091458 w 10056"/>
                      <a:gd name="T33" fmla="*/ 105833347 h 1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56" h="10000">
                        <a:moveTo>
                          <a:pt x="2389" y="4571"/>
                        </a:moveTo>
                        <a:lnTo>
                          <a:pt x="3355" y="6400"/>
                        </a:lnTo>
                        <a:lnTo>
                          <a:pt x="5288" y="7314"/>
                        </a:lnTo>
                        <a:lnTo>
                          <a:pt x="7050" y="8496"/>
                        </a:lnTo>
                        <a:lnTo>
                          <a:pt x="8865" y="10000"/>
                        </a:lnTo>
                        <a:cubicBezTo>
                          <a:pt x="8961" y="9105"/>
                          <a:pt x="9904" y="8423"/>
                          <a:pt x="10000" y="7528"/>
                        </a:cubicBezTo>
                        <a:lnTo>
                          <a:pt x="9327" y="5699"/>
                        </a:lnTo>
                        <a:cubicBezTo>
                          <a:pt x="9382" y="4965"/>
                          <a:pt x="10001" y="4016"/>
                          <a:pt x="10056" y="3282"/>
                        </a:cubicBezTo>
                        <a:lnTo>
                          <a:pt x="8639" y="2368"/>
                        </a:lnTo>
                        <a:lnTo>
                          <a:pt x="7220" y="1828"/>
                        </a:lnTo>
                        <a:lnTo>
                          <a:pt x="5288" y="914"/>
                        </a:lnTo>
                        <a:lnTo>
                          <a:pt x="3355" y="914"/>
                        </a:lnTo>
                        <a:lnTo>
                          <a:pt x="2389" y="0"/>
                        </a:lnTo>
                        <a:lnTo>
                          <a:pt x="457" y="914"/>
                        </a:lnTo>
                        <a:lnTo>
                          <a:pt x="0" y="971"/>
                        </a:lnTo>
                        <a:cubicBezTo>
                          <a:pt x="152" y="1866"/>
                          <a:pt x="757" y="2548"/>
                          <a:pt x="910" y="3443"/>
                        </a:cubicBezTo>
                        <a:lnTo>
                          <a:pt x="2389" y="4571"/>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1" name="Freeform 252"/>
                  <p:cNvSpPr>
                    <a:spLocks/>
                  </p:cNvSpPr>
                  <p:nvPr/>
                </p:nvSpPr>
                <p:spPr bwMode="auto">
                  <a:xfrm rot="21133526">
                    <a:off x="4808281" y="2772007"/>
                    <a:ext cx="87801" cy="50026"/>
                  </a:xfrm>
                  <a:custGeom>
                    <a:avLst/>
                    <a:gdLst>
                      <a:gd name="T0" fmla="*/ 0 w 1912593"/>
                      <a:gd name="T1" fmla="*/ 0 h 1229193"/>
                      <a:gd name="T2" fmla="*/ 0 w 1912593"/>
                      <a:gd name="T3" fmla="*/ 0 h 1229193"/>
                      <a:gd name="T4" fmla="*/ 0 w 1912593"/>
                      <a:gd name="T5" fmla="*/ 0 h 1229193"/>
                      <a:gd name="T6" fmla="*/ 0 w 1912593"/>
                      <a:gd name="T7" fmla="*/ 0 h 1229193"/>
                      <a:gd name="T8" fmla="*/ 0 w 1912593"/>
                      <a:gd name="T9" fmla="*/ 0 h 1229193"/>
                      <a:gd name="T10" fmla="*/ 0 w 1912593"/>
                      <a:gd name="T11" fmla="*/ 0 h 1229193"/>
                      <a:gd name="T12" fmla="*/ 0 w 1912593"/>
                      <a:gd name="T13" fmla="*/ 0 h 1229193"/>
                      <a:gd name="T14" fmla="*/ 0 w 1912593"/>
                      <a:gd name="T15" fmla="*/ 0 h 1229193"/>
                      <a:gd name="T16" fmla="*/ 0 w 1912593"/>
                      <a:gd name="T17" fmla="*/ 0 h 1229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12593" h="1229193">
                        <a:moveTo>
                          <a:pt x="0" y="233280"/>
                        </a:moveTo>
                        <a:lnTo>
                          <a:pt x="83793" y="1154242"/>
                        </a:lnTo>
                        <a:lnTo>
                          <a:pt x="1103124" y="1229193"/>
                        </a:lnTo>
                        <a:lnTo>
                          <a:pt x="1912593" y="314793"/>
                        </a:lnTo>
                        <a:lnTo>
                          <a:pt x="1792672" y="0"/>
                        </a:lnTo>
                        <a:lnTo>
                          <a:pt x="1124055" y="252554"/>
                        </a:lnTo>
                        <a:cubicBezTo>
                          <a:pt x="892871" y="224853"/>
                          <a:pt x="379360" y="273001"/>
                          <a:pt x="148176" y="245300"/>
                        </a:cubicBezTo>
                        <a:lnTo>
                          <a:pt x="128763" y="242675"/>
                        </a:lnTo>
                        <a:lnTo>
                          <a:pt x="0" y="233280"/>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2" name="Freeform 253"/>
                  <p:cNvSpPr>
                    <a:spLocks/>
                  </p:cNvSpPr>
                  <p:nvPr/>
                </p:nvSpPr>
                <p:spPr bwMode="auto">
                  <a:xfrm>
                    <a:off x="4812983" y="2782012"/>
                    <a:ext cx="141110" cy="156749"/>
                  </a:xfrm>
                  <a:custGeom>
                    <a:avLst/>
                    <a:gdLst>
                      <a:gd name="T0" fmla="*/ 0 w 3644175"/>
                      <a:gd name="T1" fmla="*/ 0 h 3780713"/>
                      <a:gd name="T2" fmla="*/ 0 w 3644175"/>
                      <a:gd name="T3" fmla="*/ 0 h 3780713"/>
                      <a:gd name="T4" fmla="*/ 0 w 3644175"/>
                      <a:gd name="T5" fmla="*/ 0 h 3780713"/>
                      <a:gd name="T6" fmla="*/ 0 w 3644175"/>
                      <a:gd name="T7" fmla="*/ 0 h 3780713"/>
                      <a:gd name="T8" fmla="*/ 0 w 3644175"/>
                      <a:gd name="T9" fmla="*/ 0 h 3780713"/>
                      <a:gd name="T10" fmla="*/ 0 w 3644175"/>
                      <a:gd name="T11" fmla="*/ 0 h 3780713"/>
                      <a:gd name="T12" fmla="*/ 0 w 3644175"/>
                      <a:gd name="T13" fmla="*/ 0 h 3780713"/>
                      <a:gd name="T14" fmla="*/ 0 w 3644175"/>
                      <a:gd name="T15" fmla="*/ 0 h 3780713"/>
                      <a:gd name="T16" fmla="*/ 0 w 3644175"/>
                      <a:gd name="T17" fmla="*/ 0 h 3780713"/>
                      <a:gd name="T18" fmla="*/ 0 w 3644175"/>
                      <a:gd name="T19" fmla="*/ 0 h 3780713"/>
                      <a:gd name="T20" fmla="*/ 0 w 3644175"/>
                      <a:gd name="T21" fmla="*/ 0 h 3780713"/>
                      <a:gd name="T22" fmla="*/ 0 w 3644175"/>
                      <a:gd name="T23" fmla="*/ 0 h 3780713"/>
                      <a:gd name="T24" fmla="*/ 0 w 3644175"/>
                      <a:gd name="T25" fmla="*/ 0 h 3780713"/>
                      <a:gd name="T26" fmla="*/ 0 w 3644175"/>
                      <a:gd name="T27" fmla="*/ 0 h 3780713"/>
                      <a:gd name="T28" fmla="*/ 0 w 3644175"/>
                      <a:gd name="T29" fmla="*/ 0 h 3780713"/>
                      <a:gd name="T30" fmla="*/ 0 w 3644175"/>
                      <a:gd name="T31" fmla="*/ 0 h 3780713"/>
                      <a:gd name="T32" fmla="*/ 0 w 3644175"/>
                      <a:gd name="T33" fmla="*/ 0 h 3780713"/>
                      <a:gd name="T34" fmla="*/ 0 w 3644175"/>
                      <a:gd name="T35" fmla="*/ 0 h 3780713"/>
                      <a:gd name="T36" fmla="*/ 0 w 3644175"/>
                      <a:gd name="T37" fmla="*/ 0 h 3780713"/>
                      <a:gd name="T38" fmla="*/ 0 w 3644175"/>
                      <a:gd name="T39" fmla="*/ 0 h 378071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644175" h="3780713">
                        <a:moveTo>
                          <a:pt x="2018109" y="0"/>
                        </a:moveTo>
                        <a:lnTo>
                          <a:pt x="1131347" y="970851"/>
                        </a:lnTo>
                        <a:lnTo>
                          <a:pt x="106496" y="992543"/>
                        </a:lnTo>
                        <a:lnTo>
                          <a:pt x="0" y="1285960"/>
                        </a:lnTo>
                        <a:lnTo>
                          <a:pt x="250657" y="1838746"/>
                        </a:lnTo>
                        <a:lnTo>
                          <a:pt x="476240" y="1522355"/>
                        </a:lnTo>
                        <a:lnTo>
                          <a:pt x="637449" y="1360281"/>
                        </a:lnTo>
                        <a:lnTo>
                          <a:pt x="900975" y="1622129"/>
                        </a:lnTo>
                        <a:lnTo>
                          <a:pt x="1125827" y="2401618"/>
                        </a:lnTo>
                        <a:lnTo>
                          <a:pt x="1614428" y="2951232"/>
                        </a:lnTo>
                        <a:cubicBezTo>
                          <a:pt x="2156362" y="3074631"/>
                          <a:pt x="2677783" y="3504219"/>
                          <a:pt x="3209460" y="3780713"/>
                        </a:cubicBezTo>
                        <a:lnTo>
                          <a:pt x="1455611" y="1667100"/>
                        </a:lnTo>
                        <a:lnTo>
                          <a:pt x="1543203" y="1366330"/>
                        </a:lnTo>
                        <a:lnTo>
                          <a:pt x="1755414" y="1517198"/>
                        </a:lnTo>
                        <a:lnTo>
                          <a:pt x="3644175" y="1622129"/>
                        </a:lnTo>
                        <a:lnTo>
                          <a:pt x="3394079" y="610450"/>
                        </a:lnTo>
                        <a:lnTo>
                          <a:pt x="3170007" y="750786"/>
                        </a:lnTo>
                        <a:lnTo>
                          <a:pt x="2480463" y="641709"/>
                        </a:lnTo>
                        <a:lnTo>
                          <a:pt x="2078068" y="137463"/>
                        </a:lnTo>
                        <a:lnTo>
                          <a:pt x="2018109" y="0"/>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3" name="Freeform 254"/>
                  <p:cNvSpPr>
                    <a:spLocks/>
                  </p:cNvSpPr>
                  <p:nvPr/>
                </p:nvSpPr>
                <p:spPr bwMode="auto">
                  <a:xfrm>
                    <a:off x="4870995" y="2837041"/>
                    <a:ext cx="97208" cy="103387"/>
                  </a:xfrm>
                  <a:custGeom>
                    <a:avLst/>
                    <a:gdLst>
                      <a:gd name="T0" fmla="*/ 0 w 2398426"/>
                      <a:gd name="T1" fmla="*/ 0 h 2488994"/>
                      <a:gd name="T2" fmla="*/ 0 w 2398426"/>
                      <a:gd name="T3" fmla="*/ 0 h 2488994"/>
                      <a:gd name="T4" fmla="*/ 0 w 2398426"/>
                      <a:gd name="T5" fmla="*/ 0 h 2488994"/>
                      <a:gd name="T6" fmla="*/ 0 w 2398426"/>
                      <a:gd name="T7" fmla="*/ 0 h 2488994"/>
                      <a:gd name="T8" fmla="*/ 0 w 2398426"/>
                      <a:gd name="T9" fmla="*/ 0 h 2488994"/>
                      <a:gd name="T10" fmla="*/ 0 w 2398426"/>
                      <a:gd name="T11" fmla="*/ 0 h 2488994"/>
                      <a:gd name="T12" fmla="*/ 0 w 2398426"/>
                      <a:gd name="T13" fmla="*/ 0 h 2488994"/>
                      <a:gd name="T14" fmla="*/ 0 w 2398426"/>
                      <a:gd name="T15" fmla="*/ 0 h 248899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98426" h="2488994">
                        <a:moveTo>
                          <a:pt x="2113613" y="269822"/>
                        </a:moveTo>
                        <a:lnTo>
                          <a:pt x="254833" y="149901"/>
                        </a:lnTo>
                        <a:lnTo>
                          <a:pt x="74951" y="0"/>
                        </a:lnTo>
                        <a:lnTo>
                          <a:pt x="0" y="329783"/>
                        </a:lnTo>
                        <a:lnTo>
                          <a:pt x="1691048" y="2488994"/>
                        </a:lnTo>
                        <a:lnTo>
                          <a:pt x="2177788" y="1556144"/>
                        </a:lnTo>
                        <a:lnTo>
                          <a:pt x="2398426" y="1439055"/>
                        </a:lnTo>
                        <a:lnTo>
                          <a:pt x="2113613" y="269822"/>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4" name="Freeform 255"/>
                  <p:cNvSpPr>
                    <a:spLocks/>
                  </p:cNvSpPr>
                  <p:nvPr/>
                </p:nvSpPr>
                <p:spPr bwMode="auto">
                  <a:xfrm rot="286500">
                    <a:off x="4941549" y="2900408"/>
                    <a:ext cx="43901" cy="61700"/>
                  </a:xfrm>
                  <a:custGeom>
                    <a:avLst/>
                    <a:gdLst>
                      <a:gd name="T0" fmla="*/ 0 w 1259245"/>
                      <a:gd name="T1" fmla="*/ 0 h 1506961"/>
                      <a:gd name="T2" fmla="*/ 0 w 1259245"/>
                      <a:gd name="T3" fmla="*/ 0 h 1506961"/>
                      <a:gd name="T4" fmla="*/ 0 w 1259245"/>
                      <a:gd name="T5" fmla="*/ 0 h 1506961"/>
                      <a:gd name="T6" fmla="*/ 0 w 1259245"/>
                      <a:gd name="T7" fmla="*/ 0 h 1506961"/>
                      <a:gd name="T8" fmla="*/ 0 w 1259245"/>
                      <a:gd name="T9" fmla="*/ 0 h 150696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59245" h="1506961">
                        <a:moveTo>
                          <a:pt x="459998" y="0"/>
                        </a:moveTo>
                        <a:lnTo>
                          <a:pt x="0" y="967315"/>
                        </a:lnTo>
                        <a:lnTo>
                          <a:pt x="599606" y="1506961"/>
                        </a:lnTo>
                        <a:lnTo>
                          <a:pt x="1259243" y="571259"/>
                        </a:lnTo>
                        <a:lnTo>
                          <a:pt x="459998" y="0"/>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5" name="Freeform 256"/>
                  <p:cNvSpPr>
                    <a:spLocks/>
                  </p:cNvSpPr>
                  <p:nvPr/>
                </p:nvSpPr>
                <p:spPr bwMode="auto">
                  <a:xfrm>
                    <a:off x="4943118" y="2793685"/>
                    <a:ext cx="70554" cy="60031"/>
                  </a:xfrm>
                  <a:custGeom>
                    <a:avLst/>
                    <a:gdLst>
                      <a:gd name="T0" fmla="*/ 0 w 1678899"/>
                      <a:gd name="T1" fmla="*/ 0 h 1259174"/>
                      <a:gd name="T2" fmla="*/ 0 w 1678899"/>
                      <a:gd name="T3" fmla="*/ 0 h 1259174"/>
                      <a:gd name="T4" fmla="*/ 0 w 1678899"/>
                      <a:gd name="T5" fmla="*/ 0 h 1259174"/>
                      <a:gd name="T6" fmla="*/ 0 w 1678899"/>
                      <a:gd name="T7" fmla="*/ 0 h 1259174"/>
                      <a:gd name="T8" fmla="*/ 0 w 1678899"/>
                      <a:gd name="T9" fmla="*/ 0 h 1259174"/>
                      <a:gd name="T10" fmla="*/ 0 w 1678899"/>
                      <a:gd name="T11" fmla="*/ 0 h 125917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78899" h="1259174">
                        <a:moveTo>
                          <a:pt x="209862" y="1154242"/>
                        </a:moveTo>
                        <a:lnTo>
                          <a:pt x="1678899" y="1259174"/>
                        </a:lnTo>
                        <a:lnTo>
                          <a:pt x="1663908" y="899410"/>
                        </a:lnTo>
                        <a:lnTo>
                          <a:pt x="854439" y="0"/>
                        </a:lnTo>
                        <a:lnTo>
                          <a:pt x="0" y="269823"/>
                        </a:lnTo>
                        <a:lnTo>
                          <a:pt x="209862" y="1154242"/>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6" name="Freeform 257"/>
                  <p:cNvSpPr>
                    <a:spLocks/>
                  </p:cNvSpPr>
                  <p:nvPr/>
                </p:nvSpPr>
                <p:spPr bwMode="auto">
                  <a:xfrm>
                    <a:off x="4955660" y="2848715"/>
                    <a:ext cx="98776" cy="101719"/>
                  </a:xfrm>
                  <a:custGeom>
                    <a:avLst/>
                    <a:gdLst>
                      <a:gd name="T0" fmla="*/ 0 w 2578308"/>
                      <a:gd name="T1" fmla="*/ 0 h 2368446"/>
                      <a:gd name="T2" fmla="*/ 0 w 2578308"/>
                      <a:gd name="T3" fmla="*/ 0 h 2368446"/>
                      <a:gd name="T4" fmla="*/ 0 w 2578308"/>
                      <a:gd name="T5" fmla="*/ 0 h 2368446"/>
                      <a:gd name="T6" fmla="*/ 0 w 2578308"/>
                      <a:gd name="T7" fmla="*/ 0 h 2368446"/>
                      <a:gd name="T8" fmla="*/ 0 w 2578308"/>
                      <a:gd name="T9" fmla="*/ 0 h 2368446"/>
                      <a:gd name="T10" fmla="*/ 0 w 2578308"/>
                      <a:gd name="T11" fmla="*/ 0 h 2368446"/>
                      <a:gd name="T12" fmla="*/ 0 w 2578308"/>
                      <a:gd name="T13" fmla="*/ 0 h 2368446"/>
                      <a:gd name="T14" fmla="*/ 0 w 2578308"/>
                      <a:gd name="T15" fmla="*/ 0 h 2368446"/>
                      <a:gd name="T16" fmla="*/ 0 w 2578308"/>
                      <a:gd name="T17" fmla="*/ 0 h 2368446"/>
                      <a:gd name="T18" fmla="*/ 0 w 2578308"/>
                      <a:gd name="T19" fmla="*/ 0 h 2368446"/>
                      <a:gd name="T20" fmla="*/ 0 w 2578308"/>
                      <a:gd name="T21" fmla="*/ 0 h 2368446"/>
                      <a:gd name="T22" fmla="*/ 0 w 2578308"/>
                      <a:gd name="T23" fmla="*/ 0 h 23684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578308" h="2368446">
                        <a:moveTo>
                          <a:pt x="0" y="0"/>
                        </a:moveTo>
                        <a:lnTo>
                          <a:pt x="254833" y="1154242"/>
                        </a:lnTo>
                        <a:lnTo>
                          <a:pt x="104931" y="1259173"/>
                        </a:lnTo>
                        <a:lnTo>
                          <a:pt x="855821" y="1873287"/>
                        </a:lnTo>
                        <a:lnTo>
                          <a:pt x="1111621" y="1524299"/>
                        </a:lnTo>
                        <a:lnTo>
                          <a:pt x="1734645" y="2033965"/>
                        </a:lnTo>
                        <a:lnTo>
                          <a:pt x="1633928" y="2368446"/>
                        </a:lnTo>
                        <a:lnTo>
                          <a:pt x="2338465" y="2263514"/>
                        </a:lnTo>
                        <a:lnTo>
                          <a:pt x="2578308" y="1514006"/>
                        </a:lnTo>
                        <a:lnTo>
                          <a:pt x="2113613" y="224852"/>
                        </a:lnTo>
                        <a:lnTo>
                          <a:pt x="1439056" y="14990"/>
                        </a:lnTo>
                        <a:lnTo>
                          <a:pt x="0" y="0"/>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7" name="Freeform 258"/>
                  <p:cNvSpPr>
                    <a:spLocks/>
                  </p:cNvSpPr>
                  <p:nvPr/>
                </p:nvSpPr>
                <p:spPr bwMode="auto">
                  <a:xfrm>
                    <a:off x="4982314" y="2912081"/>
                    <a:ext cx="39198" cy="51693"/>
                  </a:xfrm>
                  <a:custGeom>
                    <a:avLst/>
                    <a:gdLst>
                      <a:gd name="T0" fmla="*/ 0 w 1097536"/>
                      <a:gd name="T1" fmla="*/ 0 h 1184223"/>
                      <a:gd name="T2" fmla="*/ 0 w 1097536"/>
                      <a:gd name="T3" fmla="*/ 0 h 1184223"/>
                      <a:gd name="T4" fmla="*/ 0 w 1097536"/>
                      <a:gd name="T5" fmla="*/ 0 h 1184223"/>
                      <a:gd name="T6" fmla="*/ 0 w 1097536"/>
                      <a:gd name="T7" fmla="*/ 0 h 1184223"/>
                      <a:gd name="T8" fmla="*/ 0 w 1097536"/>
                      <a:gd name="T9" fmla="*/ 0 h 1184223"/>
                      <a:gd name="T10" fmla="*/ 0 w 1097536"/>
                      <a:gd name="T11" fmla="*/ 0 h 11842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97536" h="1184223">
                        <a:moveTo>
                          <a:pt x="482939" y="0"/>
                        </a:moveTo>
                        <a:lnTo>
                          <a:pt x="0" y="416160"/>
                        </a:lnTo>
                        <a:lnTo>
                          <a:pt x="452959" y="1184223"/>
                        </a:lnTo>
                        <a:lnTo>
                          <a:pt x="1067555" y="824459"/>
                        </a:lnTo>
                        <a:lnTo>
                          <a:pt x="1097536" y="509666"/>
                        </a:lnTo>
                        <a:lnTo>
                          <a:pt x="482939" y="0"/>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8" name="Freeform 259"/>
                  <p:cNvSpPr>
                    <a:spLocks/>
                  </p:cNvSpPr>
                  <p:nvPr/>
                </p:nvSpPr>
                <p:spPr bwMode="auto">
                  <a:xfrm>
                    <a:off x="4999561" y="2940428"/>
                    <a:ext cx="64283" cy="63367"/>
                  </a:xfrm>
                  <a:custGeom>
                    <a:avLst/>
                    <a:gdLst>
                      <a:gd name="T0" fmla="*/ 0 w 1852882"/>
                      <a:gd name="T1" fmla="*/ 0 h 1521018"/>
                      <a:gd name="T2" fmla="*/ 0 w 1852882"/>
                      <a:gd name="T3" fmla="*/ 0 h 1521018"/>
                      <a:gd name="T4" fmla="*/ 0 w 1852882"/>
                      <a:gd name="T5" fmla="*/ 0 h 1521018"/>
                      <a:gd name="T6" fmla="*/ 0 w 1852882"/>
                      <a:gd name="T7" fmla="*/ 0 h 1521018"/>
                      <a:gd name="T8" fmla="*/ 0 w 1852882"/>
                      <a:gd name="T9" fmla="*/ 0 h 1521018"/>
                      <a:gd name="T10" fmla="*/ 0 w 1852882"/>
                      <a:gd name="T11" fmla="*/ 0 h 1521018"/>
                      <a:gd name="T12" fmla="*/ 0 w 1852882"/>
                      <a:gd name="T13" fmla="*/ 0 h 1521018"/>
                      <a:gd name="T14" fmla="*/ 0 w 1852882"/>
                      <a:gd name="T15" fmla="*/ 0 h 1521018"/>
                      <a:gd name="T16" fmla="*/ 0 w 1852882"/>
                      <a:gd name="T17" fmla="*/ 0 h 1521018"/>
                      <a:gd name="T18" fmla="*/ 0 w 1852882"/>
                      <a:gd name="T19" fmla="*/ 0 h 1521018"/>
                      <a:gd name="T20" fmla="*/ 0 w 1852882"/>
                      <a:gd name="T21" fmla="*/ 0 h 15210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52882" h="1521018">
                        <a:moveTo>
                          <a:pt x="0" y="507061"/>
                        </a:moveTo>
                        <a:lnTo>
                          <a:pt x="0" y="1211599"/>
                        </a:lnTo>
                        <a:lnTo>
                          <a:pt x="435424" y="1521018"/>
                        </a:lnTo>
                        <a:lnTo>
                          <a:pt x="839449" y="1391481"/>
                        </a:lnTo>
                        <a:lnTo>
                          <a:pt x="1763339" y="952692"/>
                        </a:lnTo>
                        <a:lnTo>
                          <a:pt x="1852882" y="743963"/>
                        </a:lnTo>
                        <a:lnTo>
                          <a:pt x="1756379" y="372784"/>
                        </a:lnTo>
                        <a:lnTo>
                          <a:pt x="1563372" y="307281"/>
                        </a:lnTo>
                        <a:lnTo>
                          <a:pt x="1370668" y="0"/>
                        </a:lnTo>
                        <a:lnTo>
                          <a:pt x="644577" y="177278"/>
                        </a:lnTo>
                        <a:lnTo>
                          <a:pt x="0" y="507061"/>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79" name="Freeform 260"/>
                  <p:cNvSpPr>
                    <a:spLocks/>
                  </p:cNvSpPr>
                  <p:nvPr/>
                </p:nvSpPr>
                <p:spPr bwMode="auto">
                  <a:xfrm>
                    <a:off x="4960364" y="2930423"/>
                    <a:ext cx="53309" cy="115061"/>
                  </a:xfrm>
                  <a:custGeom>
                    <a:avLst/>
                    <a:gdLst>
                      <a:gd name="T0" fmla="*/ 0 w 444747"/>
                      <a:gd name="T1" fmla="*/ 6 h 900169"/>
                      <a:gd name="T2" fmla="*/ 3 w 444747"/>
                      <a:gd name="T3" fmla="*/ 8 h 900169"/>
                      <a:gd name="T4" fmla="*/ 3 w 444747"/>
                      <a:gd name="T5" fmla="*/ 19 h 900169"/>
                      <a:gd name="T6" fmla="*/ 7 w 444747"/>
                      <a:gd name="T7" fmla="*/ 24 h 900169"/>
                      <a:gd name="T8" fmla="*/ 8 w 444747"/>
                      <a:gd name="T9" fmla="*/ 22 h 900169"/>
                      <a:gd name="T10" fmla="*/ 10 w 444747"/>
                      <a:gd name="T11" fmla="*/ 18 h 900169"/>
                      <a:gd name="T12" fmla="*/ 9 w 444747"/>
                      <a:gd name="T13" fmla="*/ 16 h 900169"/>
                      <a:gd name="T14" fmla="*/ 12 w 444747"/>
                      <a:gd name="T15" fmla="*/ 15 h 900169"/>
                      <a:gd name="T16" fmla="*/ 8 w 444747"/>
                      <a:gd name="T17" fmla="*/ 13 h 900169"/>
                      <a:gd name="T18" fmla="*/ 8 w 444747"/>
                      <a:gd name="T19" fmla="*/ 7 h 900169"/>
                      <a:gd name="T20" fmla="*/ 5 w 444747"/>
                      <a:gd name="T21" fmla="*/ 0 h 900169"/>
                      <a:gd name="T22" fmla="*/ 0 w 444747"/>
                      <a:gd name="T23" fmla="*/ 6 h 9001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44747" h="900169">
                        <a:moveTo>
                          <a:pt x="0" y="238385"/>
                        </a:moveTo>
                        <a:lnTo>
                          <a:pt x="99623" y="298870"/>
                        </a:lnTo>
                        <a:lnTo>
                          <a:pt x="99623" y="715154"/>
                        </a:lnTo>
                        <a:lnTo>
                          <a:pt x="263290" y="900169"/>
                        </a:lnTo>
                        <a:lnTo>
                          <a:pt x="327333" y="836125"/>
                        </a:lnTo>
                        <a:lnTo>
                          <a:pt x="384261" y="683132"/>
                        </a:lnTo>
                        <a:lnTo>
                          <a:pt x="362913" y="608414"/>
                        </a:lnTo>
                        <a:lnTo>
                          <a:pt x="444747" y="576393"/>
                        </a:lnTo>
                        <a:lnTo>
                          <a:pt x="327333" y="476769"/>
                        </a:lnTo>
                        <a:lnTo>
                          <a:pt x="327333" y="266849"/>
                        </a:lnTo>
                        <a:lnTo>
                          <a:pt x="185014" y="0"/>
                        </a:lnTo>
                        <a:lnTo>
                          <a:pt x="0" y="238385"/>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80" name="Freeform 257"/>
                  <p:cNvSpPr>
                    <a:spLocks/>
                  </p:cNvSpPr>
                  <p:nvPr/>
                </p:nvSpPr>
                <p:spPr bwMode="auto">
                  <a:xfrm>
                    <a:off x="4203078" y="2420155"/>
                    <a:ext cx="108183" cy="171757"/>
                  </a:xfrm>
                  <a:custGeom>
                    <a:avLst/>
                    <a:gdLst>
                      <a:gd name="T0" fmla="*/ 2147483647 w 84"/>
                      <a:gd name="T1" fmla="*/ 2147483647 h 126"/>
                      <a:gd name="T2" fmla="*/ 0 w 84"/>
                      <a:gd name="T3" fmla="*/ 2147483647 h 126"/>
                      <a:gd name="T4" fmla="*/ 0 w 84"/>
                      <a:gd name="T5" fmla="*/ 2147483647 h 126"/>
                      <a:gd name="T6" fmla="*/ 2147483647 w 84"/>
                      <a:gd name="T7" fmla="*/ 2147483647 h 126"/>
                      <a:gd name="T8" fmla="*/ 2147483647 w 84"/>
                      <a:gd name="T9" fmla="*/ 2147483647 h 126"/>
                      <a:gd name="T10" fmla="*/ 2147483647 w 84"/>
                      <a:gd name="T11" fmla="*/ 2147483647 h 126"/>
                      <a:gd name="T12" fmla="*/ 2147483647 w 84"/>
                      <a:gd name="T13" fmla="*/ 2147483647 h 126"/>
                      <a:gd name="T14" fmla="*/ 2147483647 w 84"/>
                      <a:gd name="T15" fmla="*/ 2147483647 h 126"/>
                      <a:gd name="T16" fmla="*/ 2147483647 w 84"/>
                      <a:gd name="T17" fmla="*/ 2147483647 h 126"/>
                      <a:gd name="T18" fmla="*/ 2147483647 w 84"/>
                      <a:gd name="T19" fmla="*/ 2147483647 h 126"/>
                      <a:gd name="T20" fmla="*/ 2147483647 w 84"/>
                      <a:gd name="T21" fmla="*/ 2147483647 h 126"/>
                      <a:gd name="T22" fmla="*/ 2147483647 w 84"/>
                      <a:gd name="T23" fmla="*/ 0 h 126"/>
                      <a:gd name="T24" fmla="*/ 2147483647 w 84"/>
                      <a:gd name="T25" fmla="*/ 2147483647 h 126"/>
                      <a:gd name="T26" fmla="*/ 2147483647 w 84"/>
                      <a:gd name="T27" fmla="*/ 2147483647 h 126"/>
                      <a:gd name="T28" fmla="*/ 2147483647 w 84"/>
                      <a:gd name="T29" fmla="*/ 2147483647 h 126"/>
                      <a:gd name="T30" fmla="*/ 2147483647 w 84"/>
                      <a:gd name="T31" fmla="*/ 2147483647 h 126"/>
                      <a:gd name="T32" fmla="*/ 2147483647 w 84"/>
                      <a:gd name="T33" fmla="*/ 2147483647 h 126"/>
                      <a:gd name="T34" fmla="*/ 2147483647 w 84"/>
                      <a:gd name="T35" fmla="*/ 2147483647 h 126"/>
                      <a:gd name="T36" fmla="*/ 2147483647 w 84"/>
                      <a:gd name="T37" fmla="*/ 2147483647 h 126"/>
                      <a:gd name="T38" fmla="*/ 2147483647 w 84"/>
                      <a:gd name="T39" fmla="*/ 2147483647 h 126"/>
                      <a:gd name="T40" fmla="*/ 2147483647 w 84"/>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81" name="Freeform 258"/>
                  <p:cNvSpPr>
                    <a:spLocks/>
                  </p:cNvSpPr>
                  <p:nvPr/>
                </p:nvSpPr>
                <p:spPr bwMode="auto">
                  <a:xfrm>
                    <a:off x="5761551" y="1017754"/>
                    <a:ext cx="431166" cy="585307"/>
                  </a:xfrm>
                  <a:custGeom>
                    <a:avLst/>
                    <a:gdLst>
                      <a:gd name="T0" fmla="*/ 2147483647 w 336"/>
                      <a:gd name="T1" fmla="*/ 2147483647 h 427"/>
                      <a:gd name="T2" fmla="*/ 2147483647 w 336"/>
                      <a:gd name="T3" fmla="*/ 2147483647 h 427"/>
                      <a:gd name="T4" fmla="*/ 2147483647 w 336"/>
                      <a:gd name="T5" fmla="*/ 2147483647 h 427"/>
                      <a:gd name="T6" fmla="*/ 2147483647 w 336"/>
                      <a:gd name="T7" fmla="*/ 2147483647 h 427"/>
                      <a:gd name="T8" fmla="*/ 2147483647 w 336"/>
                      <a:gd name="T9" fmla="*/ 2147483647 h 427"/>
                      <a:gd name="T10" fmla="*/ 2147483647 w 336"/>
                      <a:gd name="T11" fmla="*/ 2147483647 h 427"/>
                      <a:gd name="T12" fmla="*/ 2147483647 w 336"/>
                      <a:gd name="T13" fmla="*/ 2147483647 h 427"/>
                      <a:gd name="T14" fmla="*/ 2147483647 w 336"/>
                      <a:gd name="T15" fmla="*/ 2147483647 h 427"/>
                      <a:gd name="T16" fmla="*/ 2147483647 w 336"/>
                      <a:gd name="T17" fmla="*/ 2147483647 h 427"/>
                      <a:gd name="T18" fmla="*/ 2147483647 w 336"/>
                      <a:gd name="T19" fmla="*/ 2147483647 h 427"/>
                      <a:gd name="T20" fmla="*/ 2147483647 w 336"/>
                      <a:gd name="T21" fmla="*/ 2147483647 h 427"/>
                      <a:gd name="T22" fmla="*/ 2147483647 w 336"/>
                      <a:gd name="T23" fmla="*/ 0 h 427"/>
                      <a:gd name="T24" fmla="*/ 2147483647 w 336"/>
                      <a:gd name="T25" fmla="*/ 2147483647 h 427"/>
                      <a:gd name="T26" fmla="*/ 2147483647 w 336"/>
                      <a:gd name="T27" fmla="*/ 2147483647 h 427"/>
                      <a:gd name="T28" fmla="*/ 2147483647 w 336"/>
                      <a:gd name="T29" fmla="*/ 2147483647 h 427"/>
                      <a:gd name="T30" fmla="*/ 2147483647 w 336"/>
                      <a:gd name="T31" fmla="*/ 2147483647 h 427"/>
                      <a:gd name="T32" fmla="*/ 2147483647 w 336"/>
                      <a:gd name="T33" fmla="*/ 2147483647 h 427"/>
                      <a:gd name="T34" fmla="*/ 2147483647 w 336"/>
                      <a:gd name="T35" fmla="*/ 2147483647 h 427"/>
                      <a:gd name="T36" fmla="*/ 2147483647 w 336"/>
                      <a:gd name="T37" fmla="*/ 2147483647 h 427"/>
                      <a:gd name="T38" fmla="*/ 2147483647 w 336"/>
                      <a:gd name="T39" fmla="*/ 2147483647 h 427"/>
                      <a:gd name="T40" fmla="*/ 2147483647 w 336"/>
                      <a:gd name="T41" fmla="*/ 2147483647 h 427"/>
                      <a:gd name="T42" fmla="*/ 2147483647 w 336"/>
                      <a:gd name="T43" fmla="*/ 2147483647 h 427"/>
                      <a:gd name="T44" fmla="*/ 2147483647 w 336"/>
                      <a:gd name="T45" fmla="*/ 2147483647 h 427"/>
                      <a:gd name="T46" fmla="*/ 2147483647 w 336"/>
                      <a:gd name="T47" fmla="*/ 2147483647 h 427"/>
                      <a:gd name="T48" fmla="*/ 2147483647 w 336"/>
                      <a:gd name="T49" fmla="*/ 2147483647 h 427"/>
                      <a:gd name="T50" fmla="*/ 2147483647 w 336"/>
                      <a:gd name="T51" fmla="*/ 2147483647 h 427"/>
                      <a:gd name="T52" fmla="*/ 2147483647 w 336"/>
                      <a:gd name="T53" fmla="*/ 2147483647 h 427"/>
                      <a:gd name="T54" fmla="*/ 0 w 336"/>
                      <a:gd name="T55" fmla="*/ 2147483647 h 427"/>
                      <a:gd name="T56" fmla="*/ 2147483647 w 336"/>
                      <a:gd name="T57" fmla="*/ 2147483647 h 427"/>
                      <a:gd name="T58" fmla="*/ 2147483647 w 336"/>
                      <a:gd name="T59" fmla="*/ 2147483647 h 427"/>
                      <a:gd name="T60" fmla="*/ 2147483647 w 336"/>
                      <a:gd name="T61" fmla="*/ 2147483647 h 427"/>
                      <a:gd name="T62" fmla="*/ 2147483647 w 336"/>
                      <a:gd name="T63" fmla="*/ 2147483647 h 427"/>
                      <a:gd name="T64" fmla="*/ 2147483647 w 336"/>
                      <a:gd name="T65" fmla="*/ 2147483647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rgbClr val="C00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82" name="Freeform 259"/>
                  <p:cNvSpPr>
                    <a:spLocks/>
                  </p:cNvSpPr>
                  <p:nvPr/>
                </p:nvSpPr>
                <p:spPr bwMode="auto">
                  <a:xfrm>
                    <a:off x="5505986" y="4461227"/>
                    <a:ext cx="164628" cy="363524"/>
                  </a:xfrm>
                  <a:custGeom>
                    <a:avLst/>
                    <a:gdLst>
                      <a:gd name="T0" fmla="*/ 2147483647 w 126"/>
                      <a:gd name="T1" fmla="*/ 2147483647 h 265"/>
                      <a:gd name="T2" fmla="*/ 0 w 126"/>
                      <a:gd name="T3" fmla="*/ 2147483647 h 265"/>
                      <a:gd name="T4" fmla="*/ 2147483647 w 126"/>
                      <a:gd name="T5" fmla="*/ 2147483647 h 265"/>
                      <a:gd name="T6" fmla="*/ 2147483647 w 126"/>
                      <a:gd name="T7" fmla="*/ 2147483647 h 265"/>
                      <a:gd name="T8" fmla="*/ 2147483647 w 126"/>
                      <a:gd name="T9" fmla="*/ 2147483647 h 265"/>
                      <a:gd name="T10" fmla="*/ 2147483647 w 126"/>
                      <a:gd name="T11" fmla="*/ 2147483647 h 265"/>
                      <a:gd name="T12" fmla="*/ 2147483647 w 126"/>
                      <a:gd name="T13" fmla="*/ 2147483647 h 265"/>
                      <a:gd name="T14" fmla="*/ 2147483647 w 126"/>
                      <a:gd name="T15" fmla="*/ 2147483647 h 265"/>
                      <a:gd name="T16" fmla="*/ 2147483647 w 126"/>
                      <a:gd name="T17" fmla="*/ 0 h 265"/>
                      <a:gd name="T18" fmla="*/ 2147483647 w 126"/>
                      <a:gd name="T19" fmla="*/ 2147483647 h 265"/>
                      <a:gd name="T20" fmla="*/ 2147483647 w 126"/>
                      <a:gd name="T21" fmla="*/ 2147483647 h 265"/>
                      <a:gd name="T22" fmla="*/ 2147483647 w 126"/>
                      <a:gd name="T23" fmla="*/ 2147483647 h 265"/>
                      <a:gd name="T24" fmla="*/ 2147483647 w 126"/>
                      <a:gd name="T25" fmla="*/ 2147483647 h 265"/>
                      <a:gd name="T26" fmla="*/ 2147483647 w 126"/>
                      <a:gd name="T27" fmla="*/ 2147483647 h 265"/>
                      <a:gd name="T28" fmla="*/ 2147483647 w 126"/>
                      <a:gd name="T29" fmla="*/ 2147483647 h 265"/>
                      <a:gd name="T30" fmla="*/ 2147483647 w 126"/>
                      <a:gd name="T31" fmla="*/ 2147483647 h 265"/>
                      <a:gd name="T32" fmla="*/ 2147483647 w 126"/>
                      <a:gd name="T33" fmla="*/ 2147483647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83" name="Freeform 266"/>
                  <p:cNvSpPr>
                    <a:spLocks/>
                  </p:cNvSpPr>
                  <p:nvPr/>
                </p:nvSpPr>
                <p:spPr bwMode="auto">
                  <a:xfrm>
                    <a:off x="8546105" y="5298332"/>
                    <a:ext cx="177170" cy="215113"/>
                  </a:xfrm>
                  <a:custGeom>
                    <a:avLst/>
                    <a:gdLst>
                      <a:gd name="T0" fmla="*/ 0 w 138"/>
                      <a:gd name="T1" fmla="*/ 2147483647 h 157"/>
                      <a:gd name="T2" fmla="*/ 2147483647 w 138"/>
                      <a:gd name="T3" fmla="*/ 2147483647 h 157"/>
                      <a:gd name="T4" fmla="*/ 2147483647 w 138"/>
                      <a:gd name="T5" fmla="*/ 2147483647 h 157"/>
                      <a:gd name="T6" fmla="*/ 2147483647 w 138"/>
                      <a:gd name="T7" fmla="*/ 2147483647 h 157"/>
                      <a:gd name="T8" fmla="*/ 2147483647 w 138"/>
                      <a:gd name="T9" fmla="*/ 2147483647 h 157"/>
                      <a:gd name="T10" fmla="*/ 2147483647 w 138"/>
                      <a:gd name="T11" fmla="*/ 2147483647 h 157"/>
                      <a:gd name="T12" fmla="*/ 2147483647 w 138"/>
                      <a:gd name="T13" fmla="*/ 0 h 157"/>
                      <a:gd name="T14" fmla="*/ 2147483647 w 138"/>
                      <a:gd name="T15" fmla="*/ 2147483647 h 157"/>
                      <a:gd name="T16" fmla="*/ 2147483647 w 138"/>
                      <a:gd name="T17" fmla="*/ 2147483647 h 157"/>
                      <a:gd name="T18" fmla="*/ 2147483647 w 138"/>
                      <a:gd name="T19" fmla="*/ 2147483647 h 157"/>
                      <a:gd name="T20" fmla="*/ 2147483647 w 138"/>
                      <a:gd name="T21" fmla="*/ 2147483647 h 157"/>
                      <a:gd name="T22" fmla="*/ 2147483647 w 138"/>
                      <a:gd name="T23" fmla="*/ 2147483647 h 157"/>
                      <a:gd name="T24" fmla="*/ 2147483647 w 138"/>
                      <a:gd name="T25" fmla="*/ 2147483647 h 157"/>
                      <a:gd name="T26" fmla="*/ 2147483647 w 138"/>
                      <a:gd name="T27" fmla="*/ 2147483647 h 157"/>
                      <a:gd name="T28" fmla="*/ 2147483647 w 138"/>
                      <a:gd name="T29" fmla="*/ 2147483647 h 157"/>
                      <a:gd name="T30" fmla="*/ 2147483647 w 138"/>
                      <a:gd name="T31" fmla="*/ 2147483647 h 157"/>
                      <a:gd name="T32" fmla="*/ 2147483647 w 138"/>
                      <a:gd name="T33" fmla="*/ 2147483647 h 157"/>
                      <a:gd name="T34" fmla="*/ 0 w 138"/>
                      <a:gd name="T35" fmla="*/ 2147483647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rgbClr val="8EB4E3"/>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84" name="Freeform 267"/>
                  <p:cNvSpPr>
                    <a:spLocks/>
                  </p:cNvSpPr>
                  <p:nvPr/>
                </p:nvSpPr>
                <p:spPr bwMode="auto">
                  <a:xfrm>
                    <a:off x="8699757" y="5104896"/>
                    <a:ext cx="123863" cy="211778"/>
                  </a:xfrm>
                  <a:custGeom>
                    <a:avLst/>
                    <a:gdLst>
                      <a:gd name="T0" fmla="*/ 2147483647 w 96"/>
                      <a:gd name="T1" fmla="*/ 2147483647 h 156"/>
                      <a:gd name="T2" fmla="*/ 2147483647 w 96"/>
                      <a:gd name="T3" fmla="*/ 2147483647 h 156"/>
                      <a:gd name="T4" fmla="*/ 2147483647 w 96"/>
                      <a:gd name="T5" fmla="*/ 2147483647 h 156"/>
                      <a:gd name="T6" fmla="*/ 0 w 96"/>
                      <a:gd name="T7" fmla="*/ 0 h 156"/>
                      <a:gd name="T8" fmla="*/ 2147483647 w 96"/>
                      <a:gd name="T9" fmla="*/ 2147483647 h 156"/>
                      <a:gd name="T10" fmla="*/ 2147483647 w 96"/>
                      <a:gd name="T11" fmla="*/ 2147483647 h 156"/>
                      <a:gd name="T12" fmla="*/ 2147483647 w 96"/>
                      <a:gd name="T13" fmla="*/ 2147483647 h 156"/>
                      <a:gd name="T14" fmla="*/ 2147483647 w 96"/>
                      <a:gd name="T15" fmla="*/ 2147483647 h 156"/>
                      <a:gd name="T16" fmla="*/ 2147483647 w 96"/>
                      <a:gd name="T17" fmla="*/ 2147483647 h 156"/>
                      <a:gd name="T18" fmla="*/ 2147483647 w 96"/>
                      <a:gd name="T19" fmla="*/ 2147483647 h 156"/>
                      <a:gd name="T20" fmla="*/ 2147483647 w 96"/>
                      <a:gd name="T21" fmla="*/ 2147483647 h 156"/>
                      <a:gd name="T22" fmla="*/ 2147483647 w 96"/>
                      <a:gd name="T23" fmla="*/ 2147483647 h 156"/>
                      <a:gd name="T24" fmla="*/ 2147483647 w 96"/>
                      <a:gd name="T25" fmla="*/ 2147483647 h 156"/>
                      <a:gd name="T26" fmla="*/ 2147483647 w 96"/>
                      <a:gd name="T27" fmla="*/ 2147483647 h 156"/>
                      <a:gd name="T28" fmla="*/ 2147483647 w 96"/>
                      <a:gd name="T29" fmla="*/ 2147483647 h 156"/>
                      <a:gd name="T30" fmla="*/ 2147483647 w 96"/>
                      <a:gd name="T31" fmla="*/ 2147483647 h 156"/>
                      <a:gd name="T32" fmla="*/ 2147483647 w 96"/>
                      <a:gd name="T33" fmla="*/ 2147483647 h 156"/>
                      <a:gd name="T34" fmla="*/ 2147483647 w 96"/>
                      <a:gd name="T35" fmla="*/ 2147483647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rgbClr val="8EB4E3"/>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85" name="Freeform 268"/>
                  <p:cNvSpPr>
                    <a:spLocks/>
                  </p:cNvSpPr>
                  <p:nvPr/>
                </p:nvSpPr>
                <p:spPr bwMode="auto">
                  <a:xfrm>
                    <a:off x="7235358" y="4446219"/>
                    <a:ext cx="976788" cy="788746"/>
                  </a:xfrm>
                  <a:custGeom>
                    <a:avLst/>
                    <a:gdLst>
                      <a:gd name="T0" fmla="*/ 2147483647 w 757"/>
                      <a:gd name="T1" fmla="*/ 2147483647 h 577"/>
                      <a:gd name="T2" fmla="*/ 2147483647 w 757"/>
                      <a:gd name="T3" fmla="*/ 2147483647 h 577"/>
                      <a:gd name="T4" fmla="*/ 0 w 757"/>
                      <a:gd name="T5" fmla="*/ 2147483647 h 577"/>
                      <a:gd name="T6" fmla="*/ 2147483647 w 757"/>
                      <a:gd name="T7" fmla="*/ 2147483647 h 577"/>
                      <a:gd name="T8" fmla="*/ 2147483647 w 757"/>
                      <a:gd name="T9" fmla="*/ 2147483647 h 577"/>
                      <a:gd name="T10" fmla="*/ 2147483647 w 757"/>
                      <a:gd name="T11" fmla="*/ 2147483647 h 577"/>
                      <a:gd name="T12" fmla="*/ 2147483647 w 757"/>
                      <a:gd name="T13" fmla="*/ 2147483647 h 577"/>
                      <a:gd name="T14" fmla="*/ 2147483647 w 757"/>
                      <a:gd name="T15" fmla="*/ 2147483647 h 577"/>
                      <a:gd name="T16" fmla="*/ 2147483647 w 757"/>
                      <a:gd name="T17" fmla="*/ 2147483647 h 577"/>
                      <a:gd name="T18" fmla="*/ 2147483647 w 757"/>
                      <a:gd name="T19" fmla="*/ 2147483647 h 577"/>
                      <a:gd name="T20" fmla="*/ 2147483647 w 757"/>
                      <a:gd name="T21" fmla="*/ 0 h 577"/>
                      <a:gd name="T22" fmla="*/ 2147483647 w 757"/>
                      <a:gd name="T23" fmla="*/ 2147483647 h 577"/>
                      <a:gd name="T24" fmla="*/ 2147483647 w 757"/>
                      <a:gd name="T25" fmla="*/ 2147483647 h 577"/>
                      <a:gd name="T26" fmla="*/ 2147483647 w 757"/>
                      <a:gd name="T27" fmla="*/ 2147483647 h 577"/>
                      <a:gd name="T28" fmla="*/ 2147483647 w 757"/>
                      <a:gd name="T29" fmla="*/ 2147483647 h 577"/>
                      <a:gd name="T30" fmla="*/ 2147483647 w 757"/>
                      <a:gd name="T31" fmla="*/ 2147483647 h 577"/>
                      <a:gd name="T32" fmla="*/ 2147483647 w 757"/>
                      <a:gd name="T33" fmla="*/ 2147483647 h 577"/>
                      <a:gd name="T34" fmla="*/ 2147483647 w 757"/>
                      <a:gd name="T35" fmla="*/ 2147483647 h 577"/>
                      <a:gd name="T36" fmla="*/ 2147483647 w 757"/>
                      <a:gd name="T37" fmla="*/ 2147483647 h 577"/>
                      <a:gd name="T38" fmla="*/ 2147483647 w 757"/>
                      <a:gd name="T39" fmla="*/ 2147483647 h 577"/>
                      <a:gd name="T40" fmla="*/ 2147483647 w 757"/>
                      <a:gd name="T41" fmla="*/ 2147483647 h 577"/>
                      <a:gd name="T42" fmla="*/ 2147483647 w 757"/>
                      <a:gd name="T43" fmla="*/ 2147483647 h 577"/>
                      <a:gd name="T44" fmla="*/ 2147483647 w 757"/>
                      <a:gd name="T45" fmla="*/ 2147483647 h 577"/>
                      <a:gd name="T46" fmla="*/ 2147483647 w 757"/>
                      <a:gd name="T47" fmla="*/ 2147483647 h 577"/>
                      <a:gd name="T48" fmla="*/ 2147483647 w 757"/>
                      <a:gd name="T49" fmla="*/ 2147483647 h 577"/>
                      <a:gd name="T50" fmla="*/ 2147483647 w 757"/>
                      <a:gd name="T51" fmla="*/ 2147483647 h 577"/>
                      <a:gd name="T52" fmla="*/ 2147483647 w 757"/>
                      <a:gd name="T53" fmla="*/ 2147483647 h 577"/>
                      <a:gd name="T54" fmla="*/ 2147483647 w 757"/>
                      <a:gd name="T55" fmla="*/ 2147483647 h 577"/>
                      <a:gd name="T56" fmla="*/ 2147483647 w 757"/>
                      <a:gd name="T57" fmla="*/ 2147483647 h 577"/>
                      <a:gd name="T58" fmla="*/ 2147483647 w 757"/>
                      <a:gd name="T59" fmla="*/ 2147483647 h 577"/>
                      <a:gd name="T60" fmla="*/ 2147483647 w 757"/>
                      <a:gd name="T61" fmla="*/ 2147483647 h 577"/>
                      <a:gd name="T62" fmla="*/ 2147483647 w 757"/>
                      <a:gd name="T63" fmla="*/ 2147483647 h 577"/>
                      <a:gd name="T64" fmla="*/ 2147483647 w 757"/>
                      <a:gd name="T65" fmla="*/ 2147483647 h 577"/>
                      <a:gd name="T66" fmla="*/ 2147483647 w 757"/>
                      <a:gd name="T67" fmla="*/ 2147483647 h 577"/>
                      <a:gd name="T68" fmla="*/ 2147483647 w 757"/>
                      <a:gd name="T69" fmla="*/ 2147483647 h 577"/>
                      <a:gd name="T70" fmla="*/ 2147483647 w 757"/>
                      <a:gd name="T71" fmla="*/ 2147483647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rgbClr val="1F497D">
                      <a:lumMod val="40000"/>
                      <a:lumOff val="60000"/>
                    </a:srgbClr>
                  </a:solidFill>
                  <a:ln w="9525" cap="flat" cmpd="sng">
                    <a:solidFill>
                      <a:sysClr val="window" lastClr="FFFFFF">
                        <a:lumMod val="50000"/>
                      </a:sysClr>
                    </a:solidFill>
                    <a:prstDash val="solid"/>
                    <a:round/>
                    <a:headEnd type="none" w="med" len="med"/>
                    <a:tailEnd type="none" w="med" len="med"/>
                  </a:ln>
                  <a:effectLst/>
                </p:spPr>
                <p:txBody>
                  <a:bodyPr/>
                  <a:lstStyle/>
                  <a:p>
                    <a:pPr>
                      <a:defRPr/>
                    </a:pPr>
                    <a:endParaRPr lang="en-GB" kern="0">
                      <a:solidFill>
                        <a:prstClr val="black"/>
                      </a:solidFill>
                      <a:latin typeface="Calibri"/>
                    </a:endParaRPr>
                  </a:p>
                </p:txBody>
              </p:sp>
              <p:sp>
                <p:nvSpPr>
                  <p:cNvPr id="486" name="Freeform 269"/>
                  <p:cNvSpPr>
                    <a:spLocks/>
                  </p:cNvSpPr>
                  <p:nvPr/>
                </p:nvSpPr>
                <p:spPr bwMode="auto">
                  <a:xfrm>
                    <a:off x="8002051" y="5281655"/>
                    <a:ext cx="86234" cy="125067"/>
                  </a:xfrm>
                  <a:custGeom>
                    <a:avLst/>
                    <a:gdLst>
                      <a:gd name="T0" fmla="*/ 0 w 66"/>
                      <a:gd name="T1" fmla="*/ 2147483647 h 91"/>
                      <a:gd name="T2" fmla="*/ 2147483647 w 66"/>
                      <a:gd name="T3" fmla="*/ 2147483647 h 91"/>
                      <a:gd name="T4" fmla="*/ 2147483647 w 66"/>
                      <a:gd name="T5" fmla="*/ 2147483647 h 91"/>
                      <a:gd name="T6" fmla="*/ 2147483647 w 66"/>
                      <a:gd name="T7" fmla="*/ 2147483647 h 91"/>
                      <a:gd name="T8" fmla="*/ 2147483647 w 66"/>
                      <a:gd name="T9" fmla="*/ 2147483647 h 91"/>
                      <a:gd name="T10" fmla="*/ 2147483647 w 66"/>
                      <a:gd name="T11" fmla="*/ 2147483647 h 91"/>
                      <a:gd name="T12" fmla="*/ 2147483647 w 66"/>
                      <a:gd name="T13" fmla="*/ 0 h 91"/>
                      <a:gd name="T14" fmla="*/ 2147483647 w 66"/>
                      <a:gd name="T15" fmla="*/ 2147483647 h 91"/>
                      <a:gd name="T16" fmla="*/ 0 w 66"/>
                      <a:gd name="T17" fmla="*/ 2147483647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rgbClr val="1F497D">
                      <a:lumMod val="40000"/>
                      <a:lumOff val="60000"/>
                    </a:srgb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87" name="Freeform 271"/>
                  <p:cNvSpPr>
                    <a:spLocks/>
                  </p:cNvSpPr>
                  <p:nvPr/>
                </p:nvSpPr>
                <p:spPr bwMode="auto">
                  <a:xfrm>
                    <a:off x="7172643" y="3970969"/>
                    <a:ext cx="224206" cy="278480"/>
                  </a:xfrm>
                  <a:custGeom>
                    <a:avLst/>
                    <a:gdLst>
                      <a:gd name="T0" fmla="*/ 2147483647 w 174"/>
                      <a:gd name="T1" fmla="*/ 2147483647 h 204"/>
                      <a:gd name="T2" fmla="*/ 0 w 174"/>
                      <a:gd name="T3" fmla="*/ 2147483647 h 204"/>
                      <a:gd name="T4" fmla="*/ 0 w 174"/>
                      <a:gd name="T5" fmla="*/ 2147483647 h 204"/>
                      <a:gd name="T6" fmla="*/ 2147483647 w 174"/>
                      <a:gd name="T7" fmla="*/ 2147483647 h 204"/>
                      <a:gd name="T8" fmla="*/ 2147483647 w 174"/>
                      <a:gd name="T9" fmla="*/ 2147483647 h 204"/>
                      <a:gd name="T10" fmla="*/ 2147483647 w 174"/>
                      <a:gd name="T11" fmla="*/ 2147483647 h 204"/>
                      <a:gd name="T12" fmla="*/ 2147483647 w 174"/>
                      <a:gd name="T13" fmla="*/ 2147483647 h 204"/>
                      <a:gd name="T14" fmla="*/ 2147483647 w 174"/>
                      <a:gd name="T15" fmla="*/ 0 h 204"/>
                      <a:gd name="T16" fmla="*/ 2147483647 w 174"/>
                      <a:gd name="T17" fmla="*/ 2147483647 h 204"/>
                      <a:gd name="T18" fmla="*/ 2147483647 w 174"/>
                      <a:gd name="T19" fmla="*/ 2147483647 h 204"/>
                      <a:gd name="T20" fmla="*/ 2147483647 w 174"/>
                      <a:gd name="T21" fmla="*/ 2147483647 h 204"/>
                      <a:gd name="T22" fmla="*/ 2147483647 w 174"/>
                      <a:gd name="T23" fmla="*/ 2147483647 h 204"/>
                      <a:gd name="T24" fmla="*/ 2147483647 w 174"/>
                      <a:gd name="T25" fmla="*/ 2147483647 h 204"/>
                      <a:gd name="T26" fmla="*/ 2147483647 w 174"/>
                      <a:gd name="T27" fmla="*/ 2147483647 h 204"/>
                      <a:gd name="T28" fmla="*/ 2147483647 w 174"/>
                      <a:gd name="T29" fmla="*/ 2147483647 h 204"/>
                      <a:gd name="T30" fmla="*/ 2147483647 w 174"/>
                      <a:gd name="T31" fmla="*/ 2147483647 h 204"/>
                      <a:gd name="T32" fmla="*/ 2147483647 w 174"/>
                      <a:gd name="T33" fmla="*/ 2147483647 h 204"/>
                      <a:gd name="T34" fmla="*/ 2147483647 w 174"/>
                      <a:gd name="T35" fmla="*/ 2147483647 h 204"/>
                      <a:gd name="T36" fmla="*/ 2147483647 w 174"/>
                      <a:gd name="T37" fmla="*/ 2147483647 h 204"/>
                      <a:gd name="T38" fmla="*/ 2147483647 w 174"/>
                      <a:gd name="T39" fmla="*/ 2147483647 h 204"/>
                      <a:gd name="T40" fmla="*/ 2147483647 w 174"/>
                      <a:gd name="T41" fmla="*/ 2147483647 h 204"/>
                      <a:gd name="T42" fmla="*/ 2147483647 w 174"/>
                      <a:gd name="T43" fmla="*/ 2147483647 h 204"/>
                      <a:gd name="T44" fmla="*/ 2147483647 w 174"/>
                      <a:gd name="T45" fmla="*/ 2147483647 h 204"/>
                      <a:gd name="T46" fmla="*/ 2147483647 w 174"/>
                      <a:gd name="T47" fmla="*/ 2147483647 h 2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74" h="204">
                        <a:moveTo>
                          <a:pt x="12" y="168"/>
                        </a:moveTo>
                        <a:lnTo>
                          <a:pt x="0" y="144"/>
                        </a:lnTo>
                        <a:lnTo>
                          <a:pt x="0" y="108"/>
                        </a:lnTo>
                        <a:lnTo>
                          <a:pt x="12" y="90"/>
                        </a:lnTo>
                        <a:lnTo>
                          <a:pt x="36" y="84"/>
                        </a:lnTo>
                        <a:lnTo>
                          <a:pt x="60" y="66"/>
                        </a:lnTo>
                        <a:lnTo>
                          <a:pt x="96" y="24"/>
                        </a:lnTo>
                        <a:lnTo>
                          <a:pt x="138" y="0"/>
                        </a:lnTo>
                        <a:lnTo>
                          <a:pt x="162" y="12"/>
                        </a:lnTo>
                        <a:lnTo>
                          <a:pt x="174" y="30"/>
                        </a:lnTo>
                        <a:lnTo>
                          <a:pt x="156" y="48"/>
                        </a:lnTo>
                        <a:lnTo>
                          <a:pt x="150" y="66"/>
                        </a:lnTo>
                        <a:lnTo>
                          <a:pt x="156" y="90"/>
                        </a:lnTo>
                        <a:lnTo>
                          <a:pt x="174" y="108"/>
                        </a:lnTo>
                        <a:lnTo>
                          <a:pt x="156" y="120"/>
                        </a:lnTo>
                        <a:lnTo>
                          <a:pt x="150" y="132"/>
                        </a:lnTo>
                        <a:lnTo>
                          <a:pt x="138" y="150"/>
                        </a:lnTo>
                        <a:lnTo>
                          <a:pt x="126" y="168"/>
                        </a:lnTo>
                        <a:lnTo>
                          <a:pt x="114" y="198"/>
                        </a:lnTo>
                        <a:lnTo>
                          <a:pt x="90" y="204"/>
                        </a:lnTo>
                        <a:lnTo>
                          <a:pt x="72" y="192"/>
                        </a:lnTo>
                        <a:lnTo>
                          <a:pt x="42" y="192"/>
                        </a:lnTo>
                        <a:lnTo>
                          <a:pt x="24" y="192"/>
                        </a:lnTo>
                        <a:lnTo>
                          <a:pt x="12" y="168"/>
                        </a:lnTo>
                        <a:close/>
                      </a:path>
                    </a:pathLst>
                  </a:custGeom>
                  <a:solidFill>
                    <a:srgbClr val="0076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88" name="Freeform 274"/>
                  <p:cNvSpPr>
                    <a:spLocks/>
                  </p:cNvSpPr>
                  <p:nvPr/>
                </p:nvSpPr>
                <p:spPr bwMode="auto">
                  <a:xfrm>
                    <a:off x="7367060" y="4109375"/>
                    <a:ext cx="139541" cy="181762"/>
                  </a:xfrm>
                  <a:custGeom>
                    <a:avLst/>
                    <a:gdLst>
                      <a:gd name="T0" fmla="*/ 2147483647 w 108"/>
                      <a:gd name="T1" fmla="*/ 2147483647 h 132"/>
                      <a:gd name="T2" fmla="*/ 2147483647 w 108"/>
                      <a:gd name="T3" fmla="*/ 2147483647 h 132"/>
                      <a:gd name="T4" fmla="*/ 0 w 108"/>
                      <a:gd name="T5" fmla="*/ 2147483647 h 132"/>
                      <a:gd name="T6" fmla="*/ 2147483647 w 108"/>
                      <a:gd name="T7" fmla="*/ 2147483647 h 132"/>
                      <a:gd name="T8" fmla="*/ 2147483647 w 108"/>
                      <a:gd name="T9" fmla="*/ 2147483647 h 132"/>
                      <a:gd name="T10" fmla="*/ 2147483647 w 108"/>
                      <a:gd name="T11" fmla="*/ 2147483647 h 132"/>
                      <a:gd name="T12" fmla="*/ 2147483647 w 108"/>
                      <a:gd name="T13" fmla="*/ 2147483647 h 132"/>
                      <a:gd name="T14" fmla="*/ 2147483647 w 108"/>
                      <a:gd name="T15" fmla="*/ 0 h 132"/>
                      <a:gd name="T16" fmla="*/ 2147483647 w 108"/>
                      <a:gd name="T17" fmla="*/ 2147483647 h 132"/>
                      <a:gd name="T18" fmla="*/ 2147483647 w 108"/>
                      <a:gd name="T19" fmla="*/ 2147483647 h 132"/>
                      <a:gd name="T20" fmla="*/ 2147483647 w 108"/>
                      <a:gd name="T21" fmla="*/ 2147483647 h 132"/>
                      <a:gd name="T22" fmla="*/ 2147483647 w 108"/>
                      <a:gd name="T23" fmla="*/ 2147483647 h 132"/>
                      <a:gd name="T24" fmla="*/ 2147483647 w 108"/>
                      <a:gd name="T25" fmla="*/ 2147483647 h 132"/>
                      <a:gd name="T26" fmla="*/ 2147483647 w 108"/>
                      <a:gd name="T27" fmla="*/ 2147483647 h 132"/>
                      <a:gd name="T28" fmla="*/ 2147483647 w 108"/>
                      <a:gd name="T29" fmla="*/ 2147483647 h 132"/>
                      <a:gd name="T30" fmla="*/ 2147483647 w 108"/>
                      <a:gd name="T31" fmla="*/ 2147483647 h 132"/>
                      <a:gd name="T32" fmla="*/ 2147483647 w 108"/>
                      <a:gd name="T33" fmla="*/ 2147483647 h 132"/>
                      <a:gd name="T34" fmla="*/ 2147483647 w 108"/>
                      <a:gd name="T35" fmla="*/ 2147483647 h 132"/>
                      <a:gd name="T36" fmla="*/ 2147483647 w 108"/>
                      <a:gd name="T37" fmla="*/ 2147483647 h 132"/>
                      <a:gd name="T38" fmla="*/ 2147483647 w 108"/>
                      <a:gd name="T39" fmla="*/ 2147483647 h 132"/>
                      <a:gd name="T40" fmla="*/ 2147483647 w 108"/>
                      <a:gd name="T41" fmla="*/ 2147483647 h 132"/>
                      <a:gd name="T42" fmla="*/ 2147483647 w 108"/>
                      <a:gd name="T43" fmla="*/ 2147483647 h 132"/>
                      <a:gd name="T44" fmla="*/ 2147483647 w 108"/>
                      <a:gd name="T45" fmla="*/ 2147483647 h 132"/>
                      <a:gd name="T46" fmla="*/ 2147483647 w 108"/>
                      <a:gd name="T47" fmla="*/ 2147483647 h 13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8" h="132">
                        <a:moveTo>
                          <a:pt x="12" y="126"/>
                        </a:moveTo>
                        <a:lnTo>
                          <a:pt x="12" y="108"/>
                        </a:lnTo>
                        <a:lnTo>
                          <a:pt x="0" y="84"/>
                        </a:lnTo>
                        <a:lnTo>
                          <a:pt x="6" y="66"/>
                        </a:lnTo>
                        <a:lnTo>
                          <a:pt x="24" y="24"/>
                        </a:lnTo>
                        <a:lnTo>
                          <a:pt x="36" y="12"/>
                        </a:lnTo>
                        <a:lnTo>
                          <a:pt x="66" y="6"/>
                        </a:lnTo>
                        <a:lnTo>
                          <a:pt x="108" y="0"/>
                        </a:lnTo>
                        <a:lnTo>
                          <a:pt x="108" y="12"/>
                        </a:lnTo>
                        <a:lnTo>
                          <a:pt x="90" y="12"/>
                        </a:lnTo>
                        <a:lnTo>
                          <a:pt x="54" y="24"/>
                        </a:lnTo>
                        <a:lnTo>
                          <a:pt x="42" y="42"/>
                        </a:lnTo>
                        <a:lnTo>
                          <a:pt x="84" y="42"/>
                        </a:lnTo>
                        <a:lnTo>
                          <a:pt x="90" y="60"/>
                        </a:lnTo>
                        <a:lnTo>
                          <a:pt x="78" y="66"/>
                        </a:lnTo>
                        <a:lnTo>
                          <a:pt x="66" y="78"/>
                        </a:lnTo>
                        <a:lnTo>
                          <a:pt x="90" y="102"/>
                        </a:lnTo>
                        <a:lnTo>
                          <a:pt x="96" y="126"/>
                        </a:lnTo>
                        <a:lnTo>
                          <a:pt x="72" y="126"/>
                        </a:lnTo>
                        <a:lnTo>
                          <a:pt x="54" y="108"/>
                        </a:lnTo>
                        <a:lnTo>
                          <a:pt x="36" y="84"/>
                        </a:lnTo>
                        <a:lnTo>
                          <a:pt x="36" y="114"/>
                        </a:lnTo>
                        <a:lnTo>
                          <a:pt x="36" y="132"/>
                        </a:lnTo>
                        <a:lnTo>
                          <a:pt x="12" y="126"/>
                        </a:lnTo>
                        <a:close/>
                      </a:path>
                    </a:pathLst>
                  </a:custGeom>
                  <a:solidFill>
                    <a:srgbClr val="0076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89" name="Freeform 275"/>
                  <p:cNvSpPr>
                    <a:spLocks/>
                  </p:cNvSpPr>
                  <p:nvPr/>
                </p:nvSpPr>
                <p:spPr bwMode="auto">
                  <a:xfrm>
                    <a:off x="7050348" y="4316150"/>
                    <a:ext cx="261835" cy="63367"/>
                  </a:xfrm>
                  <a:custGeom>
                    <a:avLst/>
                    <a:gdLst>
                      <a:gd name="T0" fmla="*/ 0 w 34"/>
                      <a:gd name="T1" fmla="*/ 2147483647 h 8"/>
                      <a:gd name="T2" fmla="*/ 2147483647 w 34"/>
                      <a:gd name="T3" fmla="*/ 0 h 8"/>
                      <a:gd name="T4" fmla="*/ 2147483647 w 34"/>
                      <a:gd name="T5" fmla="*/ 0 h 8"/>
                      <a:gd name="T6" fmla="*/ 2147483647 w 34"/>
                      <a:gd name="T7" fmla="*/ 2147483647 h 8"/>
                      <a:gd name="T8" fmla="*/ 2147483647 w 34"/>
                      <a:gd name="T9" fmla="*/ 2147483647 h 8"/>
                      <a:gd name="T10" fmla="*/ 2147483647 w 34"/>
                      <a:gd name="T11" fmla="*/ 2147483647 h 8"/>
                      <a:gd name="T12" fmla="*/ 2147483647 w 34"/>
                      <a:gd name="T13" fmla="*/ 2147483647 h 8"/>
                      <a:gd name="T14" fmla="*/ 2147483647 w 34"/>
                      <a:gd name="T15" fmla="*/ 2147483647 h 8"/>
                      <a:gd name="T16" fmla="*/ 2147483647 w 34"/>
                      <a:gd name="T17" fmla="*/ 2147483647 h 8"/>
                      <a:gd name="T18" fmla="*/ 2147483647 w 34"/>
                      <a:gd name="T19" fmla="*/ 2147483647 h 8"/>
                      <a:gd name="T20" fmla="*/ 0 w 34"/>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 h="8">
                        <a:moveTo>
                          <a:pt x="0" y="1"/>
                        </a:moveTo>
                        <a:cubicBezTo>
                          <a:pt x="9" y="0"/>
                          <a:pt x="9" y="0"/>
                          <a:pt x="9" y="0"/>
                        </a:cubicBezTo>
                        <a:cubicBezTo>
                          <a:pt x="16" y="0"/>
                          <a:pt x="16" y="0"/>
                          <a:pt x="16" y="0"/>
                        </a:cubicBezTo>
                        <a:cubicBezTo>
                          <a:pt x="20" y="1"/>
                          <a:pt x="20" y="1"/>
                          <a:pt x="20" y="1"/>
                        </a:cubicBezTo>
                        <a:cubicBezTo>
                          <a:pt x="23" y="3"/>
                          <a:pt x="23" y="3"/>
                          <a:pt x="23" y="3"/>
                        </a:cubicBezTo>
                        <a:cubicBezTo>
                          <a:pt x="31" y="5"/>
                          <a:pt x="31" y="5"/>
                          <a:pt x="31" y="5"/>
                        </a:cubicBezTo>
                        <a:cubicBezTo>
                          <a:pt x="34" y="8"/>
                          <a:pt x="34" y="8"/>
                          <a:pt x="34" y="8"/>
                        </a:cubicBezTo>
                        <a:cubicBezTo>
                          <a:pt x="26" y="7"/>
                          <a:pt x="26" y="7"/>
                          <a:pt x="26" y="7"/>
                        </a:cubicBezTo>
                        <a:cubicBezTo>
                          <a:pt x="19" y="6"/>
                          <a:pt x="19" y="6"/>
                          <a:pt x="19" y="6"/>
                        </a:cubicBezTo>
                        <a:cubicBezTo>
                          <a:pt x="19" y="6"/>
                          <a:pt x="10" y="4"/>
                          <a:pt x="8" y="4"/>
                        </a:cubicBezTo>
                        <a:cubicBezTo>
                          <a:pt x="7" y="3"/>
                          <a:pt x="0" y="1"/>
                          <a:pt x="0" y="1"/>
                        </a:cubicBezTo>
                        <a:close/>
                      </a:path>
                    </a:pathLst>
                  </a:custGeom>
                  <a:solidFill>
                    <a:srgbClr val="0076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90" name="Freeform 276"/>
                  <p:cNvSpPr>
                    <a:spLocks/>
                  </p:cNvSpPr>
                  <p:nvPr/>
                </p:nvSpPr>
                <p:spPr bwMode="auto">
                  <a:xfrm>
                    <a:off x="2895466" y="2596915"/>
                    <a:ext cx="156788" cy="188433"/>
                  </a:xfrm>
                  <a:custGeom>
                    <a:avLst/>
                    <a:gdLst>
                      <a:gd name="T0" fmla="*/ 0 w 120"/>
                      <a:gd name="T1" fmla="*/ 2147483647 h 138"/>
                      <a:gd name="T2" fmla="*/ 0 w 120"/>
                      <a:gd name="T3" fmla="*/ 2147483647 h 138"/>
                      <a:gd name="T4" fmla="*/ 2147483647 w 120"/>
                      <a:gd name="T5" fmla="*/ 2147483647 h 138"/>
                      <a:gd name="T6" fmla="*/ 2147483647 w 120"/>
                      <a:gd name="T7" fmla="*/ 2147483647 h 138"/>
                      <a:gd name="T8" fmla="*/ 2147483647 w 120"/>
                      <a:gd name="T9" fmla="*/ 0 h 138"/>
                      <a:gd name="T10" fmla="*/ 2147483647 w 120"/>
                      <a:gd name="T11" fmla="*/ 2147483647 h 138"/>
                      <a:gd name="T12" fmla="*/ 2147483647 w 120"/>
                      <a:gd name="T13" fmla="*/ 2147483647 h 138"/>
                      <a:gd name="T14" fmla="*/ 2147483647 w 120"/>
                      <a:gd name="T15" fmla="*/ 2147483647 h 138"/>
                      <a:gd name="T16" fmla="*/ 2147483647 w 120"/>
                      <a:gd name="T17" fmla="*/ 2147483647 h 138"/>
                      <a:gd name="T18" fmla="*/ 2147483647 w 120"/>
                      <a:gd name="T19" fmla="*/ 2147483647 h 138"/>
                      <a:gd name="T20" fmla="*/ 2147483647 w 120"/>
                      <a:gd name="T21" fmla="*/ 2147483647 h 138"/>
                      <a:gd name="T22" fmla="*/ 2147483647 w 120"/>
                      <a:gd name="T23" fmla="*/ 2147483647 h 138"/>
                      <a:gd name="T24" fmla="*/ 2147483647 w 120"/>
                      <a:gd name="T25" fmla="*/ 2147483647 h 138"/>
                      <a:gd name="T26" fmla="*/ 2147483647 w 120"/>
                      <a:gd name="T27" fmla="*/ 2147483647 h 138"/>
                      <a:gd name="T28" fmla="*/ 2147483647 w 120"/>
                      <a:gd name="T29" fmla="*/ 2147483647 h 138"/>
                      <a:gd name="T30" fmla="*/ 2147483647 w 120"/>
                      <a:gd name="T31" fmla="*/ 2147483647 h 138"/>
                      <a:gd name="T32" fmla="*/ 0 w 120"/>
                      <a:gd name="T33" fmla="*/ 2147483647 h 1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38">
                        <a:moveTo>
                          <a:pt x="0" y="114"/>
                        </a:moveTo>
                        <a:lnTo>
                          <a:pt x="0" y="90"/>
                        </a:lnTo>
                        <a:lnTo>
                          <a:pt x="6" y="72"/>
                        </a:lnTo>
                        <a:lnTo>
                          <a:pt x="36" y="24"/>
                        </a:lnTo>
                        <a:lnTo>
                          <a:pt x="66" y="0"/>
                        </a:lnTo>
                        <a:lnTo>
                          <a:pt x="66" y="18"/>
                        </a:lnTo>
                        <a:lnTo>
                          <a:pt x="54" y="42"/>
                        </a:lnTo>
                        <a:lnTo>
                          <a:pt x="60" y="54"/>
                        </a:lnTo>
                        <a:lnTo>
                          <a:pt x="108" y="78"/>
                        </a:lnTo>
                        <a:lnTo>
                          <a:pt x="120" y="108"/>
                        </a:lnTo>
                        <a:lnTo>
                          <a:pt x="120" y="132"/>
                        </a:lnTo>
                        <a:lnTo>
                          <a:pt x="96" y="138"/>
                        </a:lnTo>
                        <a:lnTo>
                          <a:pt x="84" y="120"/>
                        </a:lnTo>
                        <a:lnTo>
                          <a:pt x="66" y="126"/>
                        </a:lnTo>
                        <a:lnTo>
                          <a:pt x="48" y="114"/>
                        </a:lnTo>
                        <a:lnTo>
                          <a:pt x="18" y="108"/>
                        </a:lnTo>
                        <a:lnTo>
                          <a:pt x="0" y="114"/>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91" name="Freeform 277"/>
                  <p:cNvSpPr>
                    <a:spLocks/>
                  </p:cNvSpPr>
                  <p:nvPr/>
                </p:nvSpPr>
                <p:spPr bwMode="auto">
                  <a:xfrm>
                    <a:off x="2251067" y="3549081"/>
                    <a:ext cx="272811" cy="81708"/>
                  </a:xfrm>
                  <a:custGeom>
                    <a:avLst/>
                    <a:gdLst>
                      <a:gd name="T0" fmla="*/ 2147483647 w 35"/>
                      <a:gd name="T1" fmla="*/ 2147483647 h 10"/>
                      <a:gd name="T2" fmla="*/ 2147483647 w 35"/>
                      <a:gd name="T3" fmla="*/ 0 h 10"/>
                      <a:gd name="T4" fmla="*/ 2147483647 w 35"/>
                      <a:gd name="T5" fmla="*/ 0 h 10"/>
                      <a:gd name="T6" fmla="*/ 2147483647 w 35"/>
                      <a:gd name="T7" fmla="*/ 2147483647 h 10"/>
                      <a:gd name="T8" fmla="*/ 2147483647 w 35"/>
                      <a:gd name="T9" fmla="*/ 2147483647 h 10"/>
                      <a:gd name="T10" fmla="*/ 2147483647 w 35"/>
                      <a:gd name="T11" fmla="*/ 2147483647 h 10"/>
                      <a:gd name="T12" fmla="*/ 2147483647 w 35"/>
                      <a:gd name="T13" fmla="*/ 2147483647 h 10"/>
                      <a:gd name="T14" fmla="*/ 2147483647 w 35"/>
                      <a:gd name="T15" fmla="*/ 2147483647 h 10"/>
                      <a:gd name="T16" fmla="*/ 2147483647 w 35"/>
                      <a:gd name="T17" fmla="*/ 2147483647 h 10"/>
                      <a:gd name="T18" fmla="*/ 2147483647 w 35"/>
                      <a:gd name="T19" fmla="*/ 2147483647 h 10"/>
                      <a:gd name="T20" fmla="*/ 2147483647 w 35"/>
                      <a:gd name="T21" fmla="*/ 2147483647 h 10"/>
                      <a:gd name="T22" fmla="*/ 2147483647 w 35"/>
                      <a:gd name="T23" fmla="*/ 2147483647 h 10"/>
                      <a:gd name="T24" fmla="*/ 2147483647 w 35"/>
                      <a:gd name="T25" fmla="*/ 2147483647 h 10"/>
                      <a:gd name="T26" fmla="*/ 2147483647 w 35"/>
                      <a:gd name="T27" fmla="*/ 2147483647 h 10"/>
                      <a:gd name="T28" fmla="*/ 0 w 35"/>
                      <a:gd name="T29" fmla="*/ 2147483647 h 10"/>
                      <a:gd name="T30" fmla="*/ 2147483647 w 35"/>
                      <a:gd name="T31" fmla="*/ 2147483647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no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92" name="Freeform 278"/>
                  <p:cNvSpPr>
                    <a:spLocks/>
                  </p:cNvSpPr>
                  <p:nvPr/>
                </p:nvSpPr>
                <p:spPr bwMode="auto">
                  <a:xfrm>
                    <a:off x="2523878" y="3639129"/>
                    <a:ext cx="169332" cy="50026"/>
                  </a:xfrm>
                  <a:custGeom>
                    <a:avLst/>
                    <a:gdLst>
                      <a:gd name="T0" fmla="*/ 2147483647 w 132"/>
                      <a:gd name="T1" fmla="*/ 0 h 36"/>
                      <a:gd name="T2" fmla="*/ 2147483647 w 132"/>
                      <a:gd name="T3" fmla="*/ 2147483647 h 36"/>
                      <a:gd name="T4" fmla="*/ 0 w 132"/>
                      <a:gd name="T5" fmla="*/ 2147483647 h 36"/>
                      <a:gd name="T6" fmla="*/ 2147483647 w 132"/>
                      <a:gd name="T7" fmla="*/ 2147483647 h 36"/>
                      <a:gd name="T8" fmla="*/ 2147483647 w 132"/>
                      <a:gd name="T9" fmla="*/ 2147483647 h 36"/>
                      <a:gd name="T10" fmla="*/ 2147483647 w 132"/>
                      <a:gd name="T11" fmla="*/ 2147483647 h 36"/>
                      <a:gd name="T12" fmla="*/ 2147483647 w 132"/>
                      <a:gd name="T13" fmla="*/ 2147483647 h 36"/>
                      <a:gd name="T14" fmla="*/ 2147483647 w 132"/>
                      <a:gd name="T15" fmla="*/ 2147483647 h 36"/>
                      <a:gd name="T16" fmla="*/ 2147483647 w 132"/>
                      <a:gd name="T17" fmla="*/ 2147483647 h 36"/>
                      <a:gd name="T18" fmla="*/ 2147483647 w 132"/>
                      <a:gd name="T19" fmla="*/ 0 h 36"/>
                      <a:gd name="T20" fmla="*/ 2147483647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93" name="Freeform 279"/>
                  <p:cNvSpPr>
                    <a:spLocks/>
                  </p:cNvSpPr>
                  <p:nvPr/>
                </p:nvSpPr>
                <p:spPr bwMode="auto">
                  <a:xfrm>
                    <a:off x="4758108" y="3085505"/>
                    <a:ext cx="76825" cy="48359"/>
                  </a:xfrm>
                  <a:custGeom>
                    <a:avLst/>
                    <a:gdLst>
                      <a:gd name="T0" fmla="*/ 0 w 60"/>
                      <a:gd name="T1" fmla="*/ 2147483647 h 36"/>
                      <a:gd name="T2" fmla="*/ 2147483647 w 60"/>
                      <a:gd name="T3" fmla="*/ 0 h 36"/>
                      <a:gd name="T4" fmla="*/ 2147483647 w 60"/>
                      <a:gd name="T5" fmla="*/ 2147483647 h 36"/>
                      <a:gd name="T6" fmla="*/ 2147483647 w 60"/>
                      <a:gd name="T7" fmla="*/ 2147483647 h 36"/>
                      <a:gd name="T8" fmla="*/ 2147483647 w 60"/>
                      <a:gd name="T9" fmla="*/ 2147483647 h 36"/>
                      <a:gd name="T10" fmla="*/ 2147483647 w 60"/>
                      <a:gd name="T11" fmla="*/ 2147483647 h 36"/>
                      <a:gd name="T12" fmla="*/ 0 w 60"/>
                      <a:gd name="T13" fmla="*/ 2147483647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94" name="Freeform 280"/>
                  <p:cNvSpPr>
                    <a:spLocks/>
                  </p:cNvSpPr>
                  <p:nvPr/>
                </p:nvSpPr>
                <p:spPr bwMode="auto">
                  <a:xfrm>
                    <a:off x="4671875" y="2992123"/>
                    <a:ext cx="31358" cy="65034"/>
                  </a:xfrm>
                  <a:custGeom>
                    <a:avLst/>
                    <a:gdLst>
                      <a:gd name="T0" fmla="*/ 0 w 24"/>
                      <a:gd name="T1" fmla="*/ 2147483647 h 48"/>
                      <a:gd name="T2" fmla="*/ 2147483647 w 24"/>
                      <a:gd name="T3" fmla="*/ 2147483647 h 48"/>
                      <a:gd name="T4" fmla="*/ 2147483647 w 24"/>
                      <a:gd name="T5" fmla="*/ 0 h 48"/>
                      <a:gd name="T6" fmla="*/ 2147483647 w 24"/>
                      <a:gd name="T7" fmla="*/ 2147483647 h 48"/>
                      <a:gd name="T8" fmla="*/ 2147483647 w 24"/>
                      <a:gd name="T9" fmla="*/ 2147483647 h 48"/>
                      <a:gd name="T10" fmla="*/ 0 w 24"/>
                      <a:gd name="T11" fmla="*/ 2147483647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95" name="Freeform 281"/>
                  <p:cNvSpPr>
                    <a:spLocks/>
                  </p:cNvSpPr>
                  <p:nvPr/>
                </p:nvSpPr>
                <p:spPr bwMode="auto">
                  <a:xfrm>
                    <a:off x="4664035" y="2925421"/>
                    <a:ext cx="39196" cy="50026"/>
                  </a:xfrm>
                  <a:custGeom>
                    <a:avLst/>
                    <a:gdLst>
                      <a:gd name="T0" fmla="*/ 0 w 30"/>
                      <a:gd name="T1" fmla="*/ 2147483647 h 37"/>
                      <a:gd name="T2" fmla="*/ 2147483647 w 30"/>
                      <a:gd name="T3" fmla="*/ 0 h 37"/>
                      <a:gd name="T4" fmla="*/ 2147483647 w 30"/>
                      <a:gd name="T5" fmla="*/ 2147483647 h 37"/>
                      <a:gd name="T6" fmla="*/ 2147483647 w 30"/>
                      <a:gd name="T7" fmla="*/ 2147483647 h 37"/>
                      <a:gd name="T8" fmla="*/ 0 w 30"/>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96" name="Freeform 282"/>
                  <p:cNvSpPr>
                    <a:spLocks/>
                  </p:cNvSpPr>
                  <p:nvPr/>
                </p:nvSpPr>
                <p:spPr bwMode="auto">
                  <a:xfrm>
                    <a:off x="5452679" y="3110518"/>
                    <a:ext cx="39198" cy="8338"/>
                  </a:xfrm>
                  <a:custGeom>
                    <a:avLst/>
                    <a:gdLst>
                      <a:gd name="T0" fmla="*/ 2147483647 w 30"/>
                      <a:gd name="T1" fmla="*/ 0 h 6"/>
                      <a:gd name="T2" fmla="*/ 2147483647 w 30"/>
                      <a:gd name="T3" fmla="*/ 0 h 6"/>
                      <a:gd name="T4" fmla="*/ 0 w 30"/>
                      <a:gd name="T5" fmla="*/ 2147483647 h 6"/>
                      <a:gd name="T6" fmla="*/ 2147483647 w 3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0" h="6">
                        <a:moveTo>
                          <a:pt x="24" y="0"/>
                        </a:moveTo>
                        <a:lnTo>
                          <a:pt x="30" y="0"/>
                        </a:lnTo>
                        <a:lnTo>
                          <a:pt x="0" y="6"/>
                        </a:lnTo>
                        <a:lnTo>
                          <a:pt x="24"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497" name="Rectangle 283"/>
                  <p:cNvSpPr>
                    <a:spLocks noChangeArrowheads="1"/>
                  </p:cNvSpPr>
                  <p:nvPr/>
                </p:nvSpPr>
                <p:spPr bwMode="auto">
                  <a:xfrm>
                    <a:off x="5314705" y="3353978"/>
                    <a:ext cx="0" cy="3336"/>
                  </a:xfrm>
                  <a:prstGeom prst="rect">
                    <a:avLst/>
                  </a:prstGeom>
                  <a:solidFill>
                    <a:sysClr val="window" lastClr="FFFFFF"/>
                  </a:solidFill>
                  <a:ln w="9525">
                    <a:solidFill>
                      <a:sysClr val="window" lastClr="FFFFFF">
                        <a:lumMod val="50000"/>
                      </a:sysClr>
                    </a:solidFill>
                    <a:miter lim="800000"/>
                    <a:headEnd/>
                    <a:tailEnd/>
                  </a:ln>
                </p:spPr>
                <p:txBody>
                  <a:bodyPr/>
                  <a:lstStyle>
                    <a:lvl1pPr>
                      <a:defRPr sz="1400" b="1">
                        <a:solidFill>
                          <a:schemeClr val="bg1"/>
                        </a:solidFill>
                        <a:latin typeface="Arial" charset="0"/>
                        <a:ea typeface="ＭＳ Ｐゴシック" pitchFamily="34" charset="-128"/>
                      </a:defRPr>
                    </a:lvl1pPr>
                    <a:lvl2pPr marL="742950" indent="-285750">
                      <a:defRPr sz="1400" b="1">
                        <a:solidFill>
                          <a:schemeClr val="bg1"/>
                        </a:solidFill>
                        <a:latin typeface="Arial" charset="0"/>
                        <a:ea typeface="ＭＳ Ｐゴシック" pitchFamily="34" charset="-128"/>
                      </a:defRPr>
                    </a:lvl2pPr>
                    <a:lvl3pPr marL="1143000" indent="-228600">
                      <a:defRPr sz="1400" b="1">
                        <a:solidFill>
                          <a:schemeClr val="bg1"/>
                        </a:solidFill>
                        <a:latin typeface="Arial" charset="0"/>
                        <a:ea typeface="ＭＳ Ｐゴシック" pitchFamily="34" charset="-128"/>
                      </a:defRPr>
                    </a:lvl3pPr>
                    <a:lvl4pPr marL="1600200" indent="-228600">
                      <a:defRPr sz="1400" b="1">
                        <a:solidFill>
                          <a:schemeClr val="bg1"/>
                        </a:solidFill>
                        <a:latin typeface="Arial" charset="0"/>
                        <a:ea typeface="ＭＳ Ｐゴシック" pitchFamily="34" charset="-128"/>
                      </a:defRPr>
                    </a:lvl4pPr>
                    <a:lvl5pPr marL="2057400" indent="-228600">
                      <a:defRPr sz="1400" b="1">
                        <a:solidFill>
                          <a:schemeClr val="bg1"/>
                        </a:solidFill>
                        <a:latin typeface="Arial" charset="0"/>
                        <a:ea typeface="ＭＳ Ｐゴシック" pitchFamily="34" charset="-128"/>
                      </a:defRPr>
                    </a:lvl5pPr>
                    <a:lvl6pPr marL="2514600" indent="-228600" eaLnBrk="0" fontAlgn="base" hangingPunct="0">
                      <a:spcBef>
                        <a:spcPct val="0"/>
                      </a:spcBef>
                      <a:spcAft>
                        <a:spcPct val="0"/>
                      </a:spcAft>
                      <a:defRPr sz="1400" b="1">
                        <a:solidFill>
                          <a:schemeClr val="bg1"/>
                        </a:solidFill>
                        <a:latin typeface="Arial" charset="0"/>
                        <a:ea typeface="ＭＳ Ｐゴシック" pitchFamily="34" charset="-128"/>
                      </a:defRPr>
                    </a:lvl6pPr>
                    <a:lvl7pPr marL="2971800" indent="-228600" eaLnBrk="0" fontAlgn="base" hangingPunct="0">
                      <a:spcBef>
                        <a:spcPct val="0"/>
                      </a:spcBef>
                      <a:spcAft>
                        <a:spcPct val="0"/>
                      </a:spcAft>
                      <a:defRPr sz="1400" b="1">
                        <a:solidFill>
                          <a:schemeClr val="bg1"/>
                        </a:solidFill>
                        <a:latin typeface="Arial" charset="0"/>
                        <a:ea typeface="ＭＳ Ｐゴシック" pitchFamily="34" charset="-128"/>
                      </a:defRPr>
                    </a:lvl7pPr>
                    <a:lvl8pPr marL="3429000" indent="-228600" eaLnBrk="0" fontAlgn="base" hangingPunct="0">
                      <a:spcBef>
                        <a:spcPct val="0"/>
                      </a:spcBef>
                      <a:spcAft>
                        <a:spcPct val="0"/>
                      </a:spcAft>
                      <a:defRPr sz="1400" b="1">
                        <a:solidFill>
                          <a:schemeClr val="bg1"/>
                        </a:solidFill>
                        <a:latin typeface="Arial" charset="0"/>
                        <a:ea typeface="ＭＳ Ｐゴシック" pitchFamily="34" charset="-128"/>
                      </a:defRPr>
                    </a:lvl8pPr>
                    <a:lvl9pPr marL="3886200" indent="-228600" eaLnBrk="0" fontAlgn="base" hangingPunct="0">
                      <a:spcBef>
                        <a:spcPct val="0"/>
                      </a:spcBef>
                      <a:spcAft>
                        <a:spcPct val="0"/>
                      </a:spcAft>
                      <a:defRPr sz="1400" b="1">
                        <a:solidFill>
                          <a:schemeClr val="bg1"/>
                        </a:solidFill>
                        <a:latin typeface="Arial" charset="0"/>
                        <a:ea typeface="ＭＳ Ｐゴシック" pitchFamily="34" charset="-128"/>
                      </a:defRPr>
                    </a:lvl9pPr>
                  </a:lstStyle>
                  <a:p>
                    <a:pPr algn="ctr">
                      <a:spcBef>
                        <a:spcPct val="15000"/>
                      </a:spcBef>
                      <a:defRPr/>
                    </a:pPr>
                    <a:endParaRPr lang="en-US" altLang="en-US" kern="0">
                      <a:solidFill>
                        <a:prstClr val="white"/>
                      </a:solidFill>
                    </a:endParaRPr>
                  </a:p>
                </p:txBody>
              </p:sp>
              <p:sp>
                <p:nvSpPr>
                  <p:cNvPr id="498" name="Freeform 284"/>
                  <p:cNvSpPr>
                    <a:spLocks/>
                  </p:cNvSpPr>
                  <p:nvPr/>
                </p:nvSpPr>
                <p:spPr bwMode="auto">
                  <a:xfrm>
                    <a:off x="5059141" y="2953769"/>
                    <a:ext cx="486042" cy="188433"/>
                  </a:xfrm>
                  <a:custGeom>
                    <a:avLst/>
                    <a:gdLst>
                      <a:gd name="T0" fmla="*/ 2147483647 w 10616"/>
                      <a:gd name="T1" fmla="*/ 2147483647 h 10000"/>
                      <a:gd name="T2" fmla="*/ 2147483647 w 10616"/>
                      <a:gd name="T3" fmla="*/ 2147483647 h 10000"/>
                      <a:gd name="T4" fmla="*/ 2147483647 w 10616"/>
                      <a:gd name="T5" fmla="*/ 2147483647 h 10000"/>
                      <a:gd name="T6" fmla="*/ 2147483647 w 10616"/>
                      <a:gd name="T7" fmla="*/ 2147483647 h 10000"/>
                      <a:gd name="T8" fmla="*/ 2147483647 w 10616"/>
                      <a:gd name="T9" fmla="*/ 2147483647 h 10000"/>
                      <a:gd name="T10" fmla="*/ 2147483647 w 10616"/>
                      <a:gd name="T11" fmla="*/ 2147483647 h 10000"/>
                      <a:gd name="T12" fmla="*/ 2147483647 w 10616"/>
                      <a:gd name="T13" fmla="*/ 2147483647 h 10000"/>
                      <a:gd name="T14" fmla="*/ 2147483647 w 10616"/>
                      <a:gd name="T15" fmla="*/ 2147483647 h 10000"/>
                      <a:gd name="T16" fmla="*/ 2147483647 w 10616"/>
                      <a:gd name="T17" fmla="*/ 2147483647 h 10000"/>
                      <a:gd name="T18" fmla="*/ 2147483647 w 10616"/>
                      <a:gd name="T19" fmla="*/ 2147483647 h 10000"/>
                      <a:gd name="T20" fmla="*/ 2147483647 w 10616"/>
                      <a:gd name="T21" fmla="*/ 808041496 h 10000"/>
                      <a:gd name="T22" fmla="*/ 2147483647 w 10616"/>
                      <a:gd name="T23" fmla="*/ 808041496 h 10000"/>
                      <a:gd name="T24" fmla="*/ 2147483647 w 10616"/>
                      <a:gd name="T25" fmla="*/ 0 h 10000"/>
                      <a:gd name="T26" fmla="*/ 2147483647 w 10616"/>
                      <a:gd name="T27" fmla="*/ 0 h 10000"/>
                      <a:gd name="T28" fmla="*/ 2147483647 w 10616"/>
                      <a:gd name="T29" fmla="*/ 2147483647 h 10000"/>
                      <a:gd name="T30" fmla="*/ 2147483647 w 10616"/>
                      <a:gd name="T31" fmla="*/ 2147483647 h 10000"/>
                      <a:gd name="T32" fmla="*/ 2147483647 w 10616"/>
                      <a:gd name="T33" fmla="*/ 2147483647 h 10000"/>
                      <a:gd name="T34" fmla="*/ 2147483647 w 10616"/>
                      <a:gd name="T35" fmla="*/ 2147483647 h 10000"/>
                      <a:gd name="T36" fmla="*/ 2147483647 w 10616"/>
                      <a:gd name="T37" fmla="*/ 808041496 h 10000"/>
                      <a:gd name="T38" fmla="*/ 2147483647 w 10616"/>
                      <a:gd name="T39" fmla="*/ 0 h 10000"/>
                      <a:gd name="T40" fmla="*/ 2147483647 w 10616"/>
                      <a:gd name="T41" fmla="*/ 0 h 10000"/>
                      <a:gd name="T42" fmla="*/ 2147483647 w 10616"/>
                      <a:gd name="T43" fmla="*/ 0 h 10000"/>
                      <a:gd name="T44" fmla="*/ 2147483647 w 10616"/>
                      <a:gd name="T45" fmla="*/ 808041496 h 10000"/>
                      <a:gd name="T46" fmla="*/ 2147483647 w 10616"/>
                      <a:gd name="T47" fmla="*/ 2147483647 h 10000"/>
                      <a:gd name="T48" fmla="*/ 2147483647 w 10616"/>
                      <a:gd name="T49" fmla="*/ 2147483647 h 10000"/>
                      <a:gd name="T50" fmla="*/ 2147483647 w 10616"/>
                      <a:gd name="T51" fmla="*/ 2147483647 h 10000"/>
                      <a:gd name="T52" fmla="*/ 2147483647 w 10616"/>
                      <a:gd name="T53" fmla="*/ 2147483647 h 10000"/>
                      <a:gd name="T54" fmla="*/ 2147483647 w 10616"/>
                      <a:gd name="T55" fmla="*/ 2147483647 h 10000"/>
                      <a:gd name="T56" fmla="*/ 2147483647 w 10616"/>
                      <a:gd name="T57" fmla="*/ 2147483647 h 10000"/>
                      <a:gd name="T58" fmla="*/ 2147483647 w 10616"/>
                      <a:gd name="T59" fmla="*/ 2147483647 h 10000"/>
                      <a:gd name="T60" fmla="*/ 2147483647 w 10616"/>
                      <a:gd name="T61" fmla="*/ 2147483647 h 10000"/>
                      <a:gd name="T62" fmla="*/ 0 w 10616"/>
                      <a:gd name="T63" fmla="*/ 2147483647 h 10000"/>
                      <a:gd name="T64" fmla="*/ 2147483647 w 10616"/>
                      <a:gd name="T65" fmla="*/ 2147483647 h 10000"/>
                      <a:gd name="T66" fmla="*/ 2147483647 w 10616"/>
                      <a:gd name="T67" fmla="*/ 2147483647 h 10000"/>
                      <a:gd name="T68" fmla="*/ 2147483647 w 10616"/>
                      <a:gd name="T69" fmla="*/ 2147483647 h 10000"/>
                      <a:gd name="T70" fmla="*/ 2147483647 w 10616"/>
                      <a:gd name="T71" fmla="*/ 2147483647 h 10000"/>
                      <a:gd name="T72" fmla="*/ 2147483647 w 10616"/>
                      <a:gd name="T73" fmla="*/ 2147483647 h 10000"/>
                      <a:gd name="T74" fmla="*/ 2147483647 w 10616"/>
                      <a:gd name="T75" fmla="*/ 2147483647 h 10000"/>
                      <a:gd name="T76" fmla="*/ 2147483647 w 10616"/>
                      <a:gd name="T77" fmla="*/ 2147483647 h 10000"/>
                      <a:gd name="T78" fmla="*/ 2147483647 w 10616"/>
                      <a:gd name="T79" fmla="*/ 2147483647 h 10000"/>
                      <a:gd name="T80" fmla="*/ 2147483647 w 10616"/>
                      <a:gd name="T81" fmla="*/ 2147483647 h 10000"/>
                      <a:gd name="T82" fmla="*/ 2147483647 w 10616"/>
                      <a:gd name="T83" fmla="*/ 2147483647 h 10000"/>
                      <a:gd name="T84" fmla="*/ 2147483647 w 10616"/>
                      <a:gd name="T85" fmla="*/ 2147483647 h 100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616" h="10000">
                        <a:moveTo>
                          <a:pt x="6379" y="8696"/>
                        </a:moveTo>
                        <a:lnTo>
                          <a:pt x="6718" y="9130"/>
                        </a:lnTo>
                        <a:lnTo>
                          <a:pt x="8582" y="8696"/>
                        </a:lnTo>
                        <a:lnTo>
                          <a:pt x="9430" y="8261"/>
                        </a:lnTo>
                        <a:lnTo>
                          <a:pt x="10277" y="7826"/>
                        </a:lnTo>
                        <a:lnTo>
                          <a:pt x="10616" y="8261"/>
                        </a:lnTo>
                        <a:cubicBezTo>
                          <a:pt x="10560" y="7826"/>
                          <a:pt x="10503" y="7392"/>
                          <a:pt x="10447" y="6957"/>
                        </a:cubicBezTo>
                        <a:lnTo>
                          <a:pt x="10447" y="3913"/>
                        </a:lnTo>
                        <a:cubicBezTo>
                          <a:pt x="10503" y="3768"/>
                          <a:pt x="10560" y="3623"/>
                          <a:pt x="10616" y="3478"/>
                        </a:cubicBezTo>
                        <a:lnTo>
                          <a:pt x="9938" y="1304"/>
                        </a:lnTo>
                        <a:lnTo>
                          <a:pt x="9599" y="435"/>
                        </a:lnTo>
                        <a:lnTo>
                          <a:pt x="9091" y="435"/>
                        </a:lnTo>
                        <a:cubicBezTo>
                          <a:pt x="9034" y="290"/>
                          <a:pt x="8978" y="145"/>
                          <a:pt x="8921" y="0"/>
                        </a:cubicBezTo>
                        <a:lnTo>
                          <a:pt x="8243" y="1304"/>
                        </a:lnTo>
                        <a:lnTo>
                          <a:pt x="7396" y="1304"/>
                        </a:lnTo>
                        <a:lnTo>
                          <a:pt x="7226" y="1304"/>
                        </a:lnTo>
                        <a:lnTo>
                          <a:pt x="6548" y="435"/>
                        </a:lnTo>
                        <a:lnTo>
                          <a:pt x="6040" y="0"/>
                        </a:lnTo>
                        <a:lnTo>
                          <a:pt x="4684" y="0"/>
                        </a:lnTo>
                        <a:lnTo>
                          <a:pt x="4345" y="0"/>
                        </a:lnTo>
                        <a:lnTo>
                          <a:pt x="3836" y="435"/>
                        </a:lnTo>
                        <a:lnTo>
                          <a:pt x="3497" y="1304"/>
                        </a:lnTo>
                        <a:lnTo>
                          <a:pt x="2650" y="1739"/>
                        </a:lnTo>
                        <a:cubicBezTo>
                          <a:pt x="2593" y="1594"/>
                          <a:pt x="2537" y="1449"/>
                          <a:pt x="2480" y="1304"/>
                        </a:cubicBezTo>
                        <a:lnTo>
                          <a:pt x="2311" y="1304"/>
                        </a:lnTo>
                        <a:lnTo>
                          <a:pt x="1972" y="2609"/>
                        </a:lnTo>
                        <a:cubicBezTo>
                          <a:pt x="1746" y="2609"/>
                          <a:pt x="1494" y="2631"/>
                          <a:pt x="1294" y="2609"/>
                        </a:cubicBezTo>
                        <a:cubicBezTo>
                          <a:pt x="1094" y="2587"/>
                          <a:pt x="883" y="2261"/>
                          <a:pt x="770" y="2478"/>
                        </a:cubicBezTo>
                        <a:cubicBezTo>
                          <a:pt x="657" y="2695"/>
                          <a:pt x="333" y="2962"/>
                          <a:pt x="205" y="3117"/>
                        </a:cubicBezTo>
                        <a:cubicBezTo>
                          <a:pt x="77" y="3272"/>
                          <a:pt x="0" y="3266"/>
                          <a:pt x="0" y="3407"/>
                        </a:cubicBezTo>
                        <a:cubicBezTo>
                          <a:pt x="113" y="3701"/>
                          <a:pt x="482" y="5084"/>
                          <a:pt x="698" y="5748"/>
                        </a:cubicBezTo>
                        <a:cubicBezTo>
                          <a:pt x="914" y="6412"/>
                          <a:pt x="1138" y="6900"/>
                          <a:pt x="1294" y="7391"/>
                        </a:cubicBezTo>
                        <a:cubicBezTo>
                          <a:pt x="1450" y="7882"/>
                          <a:pt x="1520" y="8261"/>
                          <a:pt x="1633" y="8696"/>
                        </a:cubicBezTo>
                        <a:lnTo>
                          <a:pt x="3158" y="9130"/>
                        </a:lnTo>
                        <a:lnTo>
                          <a:pt x="3328" y="9130"/>
                        </a:lnTo>
                        <a:lnTo>
                          <a:pt x="4514" y="10000"/>
                        </a:lnTo>
                        <a:lnTo>
                          <a:pt x="5192" y="9130"/>
                        </a:lnTo>
                        <a:lnTo>
                          <a:pt x="5870" y="10000"/>
                        </a:lnTo>
                        <a:lnTo>
                          <a:pt x="6379" y="8696"/>
                        </a:lnTo>
                        <a:close/>
                      </a:path>
                    </a:pathLst>
                  </a:custGeom>
                  <a:solidFill>
                    <a:srgbClr val="0B064D"/>
                  </a:solidFill>
                  <a:ln w="9525">
                    <a:solidFill>
                      <a:sysClr val="window" lastClr="FFFFFF">
                        <a:lumMod val="50000"/>
                      </a:sysClr>
                    </a:solidFill>
                    <a:round/>
                    <a:headEnd/>
                    <a:tailEnd/>
                  </a:ln>
                </p:spPr>
                <p:txBody>
                  <a:bodyPr/>
                  <a:lstStyle/>
                  <a:p>
                    <a:pPr>
                      <a:defRPr/>
                    </a:pPr>
                    <a:endParaRPr lang="en-GB"/>
                  </a:p>
                </p:txBody>
              </p:sp>
              <p:sp>
                <p:nvSpPr>
                  <p:cNvPr id="499" name="Freeform 285"/>
                  <p:cNvSpPr>
                    <a:spLocks/>
                  </p:cNvSpPr>
                  <p:nvPr/>
                </p:nvSpPr>
                <p:spPr bwMode="auto">
                  <a:xfrm>
                    <a:off x="5303730" y="3110518"/>
                    <a:ext cx="178739" cy="153413"/>
                  </a:xfrm>
                  <a:custGeom>
                    <a:avLst/>
                    <a:gdLst>
                      <a:gd name="T0" fmla="*/ 2147483647 w 139"/>
                      <a:gd name="T1" fmla="*/ 2147483647 h 114"/>
                      <a:gd name="T2" fmla="*/ 2147483647 w 139"/>
                      <a:gd name="T3" fmla="*/ 2147483647 h 114"/>
                      <a:gd name="T4" fmla="*/ 2147483647 w 139"/>
                      <a:gd name="T5" fmla="*/ 2147483647 h 114"/>
                      <a:gd name="T6" fmla="*/ 2147483647 w 139"/>
                      <a:gd name="T7" fmla="*/ 2147483647 h 114"/>
                      <a:gd name="T8" fmla="*/ 2147483647 w 139"/>
                      <a:gd name="T9" fmla="*/ 2147483647 h 114"/>
                      <a:gd name="T10" fmla="*/ 2147483647 w 139"/>
                      <a:gd name="T11" fmla="*/ 2147483647 h 114"/>
                      <a:gd name="T12" fmla="*/ 2147483647 w 139"/>
                      <a:gd name="T13" fmla="*/ 0 h 114"/>
                      <a:gd name="T14" fmla="*/ 2147483647 w 139"/>
                      <a:gd name="T15" fmla="*/ 2147483647 h 114"/>
                      <a:gd name="T16" fmla="*/ 2147483647 w 139"/>
                      <a:gd name="T17" fmla="*/ 2147483647 h 114"/>
                      <a:gd name="T18" fmla="*/ 2147483647 w 139"/>
                      <a:gd name="T19" fmla="*/ 2147483647 h 114"/>
                      <a:gd name="T20" fmla="*/ 2147483647 w 139"/>
                      <a:gd name="T21" fmla="*/ 2147483647 h 114"/>
                      <a:gd name="T22" fmla="*/ 2147483647 w 139"/>
                      <a:gd name="T23" fmla="*/ 2147483647 h 114"/>
                      <a:gd name="T24" fmla="*/ 2147483647 w 139"/>
                      <a:gd name="T25" fmla="*/ 2147483647 h 114"/>
                      <a:gd name="T26" fmla="*/ 0 w 139"/>
                      <a:gd name="T27" fmla="*/ 2147483647 h 114"/>
                      <a:gd name="T28" fmla="*/ 2147483647 w 139"/>
                      <a:gd name="T29" fmla="*/ 2147483647 h 114"/>
                      <a:gd name="T30" fmla="*/ 2147483647 w 139"/>
                      <a:gd name="T31" fmla="*/ 2147483647 h 1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39" h="114">
                        <a:moveTo>
                          <a:pt x="25" y="114"/>
                        </a:moveTo>
                        <a:lnTo>
                          <a:pt x="61" y="96"/>
                        </a:lnTo>
                        <a:lnTo>
                          <a:pt x="73" y="90"/>
                        </a:lnTo>
                        <a:lnTo>
                          <a:pt x="115" y="66"/>
                        </a:lnTo>
                        <a:lnTo>
                          <a:pt x="127" y="24"/>
                        </a:lnTo>
                        <a:lnTo>
                          <a:pt x="139" y="6"/>
                        </a:lnTo>
                        <a:lnTo>
                          <a:pt x="139" y="0"/>
                        </a:lnTo>
                        <a:lnTo>
                          <a:pt x="115" y="6"/>
                        </a:lnTo>
                        <a:lnTo>
                          <a:pt x="49" y="12"/>
                        </a:lnTo>
                        <a:lnTo>
                          <a:pt x="37" y="6"/>
                        </a:lnTo>
                        <a:lnTo>
                          <a:pt x="19" y="24"/>
                        </a:lnTo>
                        <a:lnTo>
                          <a:pt x="25" y="48"/>
                        </a:lnTo>
                        <a:lnTo>
                          <a:pt x="0" y="102"/>
                        </a:lnTo>
                        <a:lnTo>
                          <a:pt x="13" y="102"/>
                        </a:lnTo>
                        <a:lnTo>
                          <a:pt x="25" y="11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0" name="Freeform 286"/>
                  <p:cNvSpPr>
                    <a:spLocks/>
                  </p:cNvSpPr>
                  <p:nvPr/>
                </p:nvSpPr>
                <p:spPr bwMode="auto">
                  <a:xfrm>
                    <a:off x="5280211" y="3232249"/>
                    <a:ext cx="125430" cy="121729"/>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1" name="Freeform 287"/>
                  <p:cNvSpPr>
                    <a:spLocks/>
                  </p:cNvSpPr>
                  <p:nvPr/>
                </p:nvSpPr>
                <p:spPr bwMode="auto">
                  <a:xfrm>
                    <a:off x="5280211" y="3232249"/>
                    <a:ext cx="125430" cy="121729"/>
                  </a:xfrm>
                  <a:custGeom>
                    <a:avLst/>
                    <a:gdLst>
                      <a:gd name="T0" fmla="*/ 2147483647 w 97"/>
                      <a:gd name="T1" fmla="*/ 2147483647 h 90"/>
                      <a:gd name="T2" fmla="*/ 2147483647 w 97"/>
                      <a:gd name="T3" fmla="*/ 0 h 90"/>
                      <a:gd name="T4" fmla="*/ 2147483647 w 97"/>
                      <a:gd name="T5" fmla="*/ 2147483647 h 90"/>
                      <a:gd name="T6" fmla="*/ 2147483647 w 97"/>
                      <a:gd name="T7" fmla="*/ 2147483647 h 90"/>
                      <a:gd name="T8" fmla="*/ 2147483647 w 97"/>
                      <a:gd name="T9" fmla="*/ 2147483647 h 90"/>
                      <a:gd name="T10" fmla="*/ 2147483647 w 97"/>
                      <a:gd name="T11" fmla="*/ 2147483647 h 90"/>
                      <a:gd name="T12" fmla="*/ 2147483647 w 97"/>
                      <a:gd name="T13" fmla="*/ 2147483647 h 90"/>
                      <a:gd name="T14" fmla="*/ 0 w 97"/>
                      <a:gd name="T15" fmla="*/ 2147483647 h 90"/>
                      <a:gd name="T16" fmla="*/ 2147483647 w 97"/>
                      <a:gd name="T17" fmla="*/ 2147483647 h 90"/>
                      <a:gd name="T18" fmla="*/ 2147483647 w 97"/>
                      <a:gd name="T19" fmla="*/ 2147483647 h 90"/>
                      <a:gd name="T20" fmla="*/ 2147483647 w 97"/>
                      <a:gd name="T21" fmla="*/ 2147483647 h 90"/>
                      <a:gd name="T22" fmla="*/ 2147483647 w 97"/>
                      <a:gd name="T23" fmla="*/ 2147483647 h 90"/>
                      <a:gd name="T24" fmla="*/ 2147483647 w 97"/>
                      <a:gd name="T25" fmla="*/ 2147483647 h 90"/>
                      <a:gd name="T26" fmla="*/ 2147483647 w 97"/>
                      <a:gd name="T27" fmla="*/ 2147483647 h 90"/>
                      <a:gd name="T28" fmla="*/ 2147483647 w 97"/>
                      <a:gd name="T29" fmla="*/ 2147483647 h 90"/>
                      <a:gd name="T30" fmla="*/ 2147483647 w 97"/>
                      <a:gd name="T31" fmla="*/ 2147483647 h 90"/>
                      <a:gd name="T32" fmla="*/ 2147483647 w 97"/>
                      <a:gd name="T33" fmla="*/ 2147483647 h 90"/>
                      <a:gd name="T34" fmla="*/ 2147483647 w 97"/>
                      <a:gd name="T35" fmla="*/ 2147483647 h 90"/>
                      <a:gd name="T36" fmla="*/ 2147483647 w 97"/>
                      <a:gd name="T37" fmla="*/ 2147483647 h 90"/>
                      <a:gd name="T38" fmla="*/ 2147483647 w 97"/>
                      <a:gd name="T39" fmla="*/ 2147483647 h 9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7" h="90">
                        <a:moveTo>
                          <a:pt x="91" y="24"/>
                        </a:moveTo>
                        <a:lnTo>
                          <a:pt x="91" y="0"/>
                        </a:lnTo>
                        <a:lnTo>
                          <a:pt x="79" y="6"/>
                        </a:lnTo>
                        <a:lnTo>
                          <a:pt x="43" y="24"/>
                        </a:lnTo>
                        <a:lnTo>
                          <a:pt x="31" y="12"/>
                        </a:lnTo>
                        <a:lnTo>
                          <a:pt x="18" y="12"/>
                        </a:lnTo>
                        <a:lnTo>
                          <a:pt x="12" y="18"/>
                        </a:lnTo>
                        <a:lnTo>
                          <a:pt x="0" y="42"/>
                        </a:lnTo>
                        <a:lnTo>
                          <a:pt x="18" y="90"/>
                        </a:lnTo>
                        <a:lnTo>
                          <a:pt x="25" y="90"/>
                        </a:lnTo>
                        <a:lnTo>
                          <a:pt x="37" y="90"/>
                        </a:lnTo>
                        <a:lnTo>
                          <a:pt x="49" y="78"/>
                        </a:lnTo>
                        <a:lnTo>
                          <a:pt x="67" y="78"/>
                        </a:lnTo>
                        <a:lnTo>
                          <a:pt x="73" y="66"/>
                        </a:lnTo>
                        <a:lnTo>
                          <a:pt x="61" y="36"/>
                        </a:lnTo>
                        <a:lnTo>
                          <a:pt x="85" y="30"/>
                        </a:lnTo>
                        <a:lnTo>
                          <a:pt x="97" y="24"/>
                        </a:lnTo>
                        <a:lnTo>
                          <a:pt x="91" y="24"/>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2" name="Freeform 288"/>
                  <p:cNvSpPr>
                    <a:spLocks/>
                  </p:cNvSpPr>
                  <p:nvPr/>
                </p:nvSpPr>
                <p:spPr bwMode="auto">
                  <a:xfrm>
                    <a:off x="5714515" y="3462370"/>
                    <a:ext cx="117590" cy="81708"/>
                  </a:xfrm>
                  <a:custGeom>
                    <a:avLst/>
                    <a:gdLst>
                      <a:gd name="T0" fmla="*/ 2147483647 w 90"/>
                      <a:gd name="T1" fmla="*/ 2147483647 h 60"/>
                      <a:gd name="T2" fmla="*/ 2147483647 w 90"/>
                      <a:gd name="T3" fmla="*/ 2147483647 h 60"/>
                      <a:gd name="T4" fmla="*/ 2147483647 w 90"/>
                      <a:gd name="T5" fmla="*/ 2147483647 h 60"/>
                      <a:gd name="T6" fmla="*/ 2147483647 w 90"/>
                      <a:gd name="T7" fmla="*/ 2147483647 h 60"/>
                      <a:gd name="T8" fmla="*/ 2147483647 w 90"/>
                      <a:gd name="T9" fmla="*/ 0 h 60"/>
                      <a:gd name="T10" fmla="*/ 2147483647 w 90"/>
                      <a:gd name="T11" fmla="*/ 2147483647 h 60"/>
                      <a:gd name="T12" fmla="*/ 2147483647 w 90"/>
                      <a:gd name="T13" fmla="*/ 2147483647 h 60"/>
                      <a:gd name="T14" fmla="*/ 0 w 90"/>
                      <a:gd name="T15" fmla="*/ 2147483647 h 60"/>
                      <a:gd name="T16" fmla="*/ 2147483647 w 90"/>
                      <a:gd name="T17" fmla="*/ 2147483647 h 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 h="60">
                        <a:moveTo>
                          <a:pt x="18" y="48"/>
                        </a:moveTo>
                        <a:lnTo>
                          <a:pt x="66" y="60"/>
                        </a:lnTo>
                        <a:lnTo>
                          <a:pt x="78" y="30"/>
                        </a:lnTo>
                        <a:lnTo>
                          <a:pt x="90" y="24"/>
                        </a:lnTo>
                        <a:lnTo>
                          <a:pt x="84" y="0"/>
                        </a:lnTo>
                        <a:lnTo>
                          <a:pt x="30" y="18"/>
                        </a:lnTo>
                        <a:lnTo>
                          <a:pt x="6" y="6"/>
                        </a:lnTo>
                        <a:lnTo>
                          <a:pt x="0" y="24"/>
                        </a:lnTo>
                        <a:lnTo>
                          <a:pt x="18" y="48"/>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3" name="Freeform 289"/>
                  <p:cNvSpPr>
                    <a:spLocks/>
                  </p:cNvSpPr>
                  <p:nvPr/>
                </p:nvSpPr>
                <p:spPr bwMode="auto">
                  <a:xfrm>
                    <a:off x="5731760" y="3494053"/>
                    <a:ext cx="185010" cy="228454"/>
                  </a:xfrm>
                  <a:custGeom>
                    <a:avLst/>
                    <a:gdLst>
                      <a:gd name="T0" fmla="*/ 2147483647 w 24"/>
                      <a:gd name="T1" fmla="*/ 2147483647 h 28"/>
                      <a:gd name="T2" fmla="*/ 2147483647 w 24"/>
                      <a:gd name="T3" fmla="*/ 2147483647 h 28"/>
                      <a:gd name="T4" fmla="*/ 2147483647 w 24"/>
                      <a:gd name="T5" fmla="*/ 2147483647 h 28"/>
                      <a:gd name="T6" fmla="*/ 2147483647 w 24"/>
                      <a:gd name="T7" fmla="*/ 2147483647 h 28"/>
                      <a:gd name="T8" fmla="*/ 0 w 24"/>
                      <a:gd name="T9" fmla="*/ 2147483647 h 28"/>
                      <a:gd name="T10" fmla="*/ 2147483647 w 24"/>
                      <a:gd name="T11" fmla="*/ 2147483647 h 28"/>
                      <a:gd name="T12" fmla="*/ 2147483647 w 24"/>
                      <a:gd name="T13" fmla="*/ 2147483647 h 28"/>
                      <a:gd name="T14" fmla="*/ 2147483647 w 24"/>
                      <a:gd name="T15" fmla="*/ 2147483647 h 28"/>
                      <a:gd name="T16" fmla="*/ 2147483647 w 24"/>
                      <a:gd name="T17" fmla="*/ 2147483647 h 28"/>
                      <a:gd name="T18" fmla="*/ 2147483647 w 24"/>
                      <a:gd name="T19" fmla="*/ 2147483647 h 28"/>
                      <a:gd name="T20" fmla="*/ 2147483647 w 24"/>
                      <a:gd name="T21" fmla="*/ 2147483647 h 28"/>
                      <a:gd name="T22" fmla="*/ 2147483647 w 24"/>
                      <a:gd name="T23" fmla="*/ 2147483647 h 28"/>
                      <a:gd name="T24" fmla="*/ 2147483647 w 24"/>
                      <a:gd name="T25" fmla="*/ 0 h 28"/>
                      <a:gd name="T26" fmla="*/ 2147483647 w 24"/>
                      <a:gd name="T27" fmla="*/ 0 h 28"/>
                      <a:gd name="T28" fmla="*/ 2147483647 w 24"/>
                      <a:gd name="T29" fmla="*/ 2147483647 h 28"/>
                      <a:gd name="T30" fmla="*/ 2147483647 w 24"/>
                      <a:gd name="T31" fmla="*/ 2147483647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 h="28">
                        <a:moveTo>
                          <a:pt x="9" y="6"/>
                        </a:moveTo>
                        <a:cubicBezTo>
                          <a:pt x="10" y="6"/>
                          <a:pt x="10" y="6"/>
                          <a:pt x="10" y="6"/>
                        </a:cubicBezTo>
                        <a:cubicBezTo>
                          <a:pt x="9" y="13"/>
                          <a:pt x="9" y="13"/>
                          <a:pt x="9" y="13"/>
                        </a:cubicBezTo>
                        <a:cubicBezTo>
                          <a:pt x="4" y="17"/>
                          <a:pt x="4" y="17"/>
                          <a:pt x="4" y="17"/>
                        </a:cubicBezTo>
                        <a:cubicBezTo>
                          <a:pt x="4" y="17"/>
                          <a:pt x="3" y="18"/>
                          <a:pt x="0" y="18"/>
                        </a:cubicBezTo>
                        <a:cubicBezTo>
                          <a:pt x="1" y="21"/>
                          <a:pt x="1" y="21"/>
                          <a:pt x="1" y="21"/>
                        </a:cubicBezTo>
                        <a:cubicBezTo>
                          <a:pt x="4" y="28"/>
                          <a:pt x="4" y="28"/>
                          <a:pt x="4" y="28"/>
                        </a:cubicBezTo>
                        <a:cubicBezTo>
                          <a:pt x="11" y="23"/>
                          <a:pt x="11" y="23"/>
                          <a:pt x="11" y="23"/>
                        </a:cubicBezTo>
                        <a:cubicBezTo>
                          <a:pt x="17" y="15"/>
                          <a:pt x="17" y="15"/>
                          <a:pt x="17" y="15"/>
                        </a:cubicBezTo>
                        <a:cubicBezTo>
                          <a:pt x="20" y="11"/>
                          <a:pt x="20" y="11"/>
                          <a:pt x="20" y="11"/>
                        </a:cubicBezTo>
                        <a:cubicBezTo>
                          <a:pt x="24" y="7"/>
                          <a:pt x="24" y="7"/>
                          <a:pt x="24" y="7"/>
                        </a:cubicBezTo>
                        <a:cubicBezTo>
                          <a:pt x="16" y="1"/>
                          <a:pt x="16" y="1"/>
                          <a:pt x="16" y="1"/>
                        </a:cubicBezTo>
                        <a:cubicBezTo>
                          <a:pt x="13" y="0"/>
                          <a:pt x="13" y="0"/>
                          <a:pt x="13" y="0"/>
                        </a:cubicBezTo>
                        <a:cubicBezTo>
                          <a:pt x="13" y="0"/>
                          <a:pt x="13" y="0"/>
                          <a:pt x="13" y="0"/>
                        </a:cubicBezTo>
                        <a:cubicBezTo>
                          <a:pt x="11" y="1"/>
                          <a:pt x="11" y="1"/>
                          <a:pt x="11" y="1"/>
                        </a:cubicBezTo>
                        <a:lnTo>
                          <a:pt x="9" y="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4" name="Freeform 290"/>
                  <p:cNvSpPr>
                    <a:spLocks/>
                  </p:cNvSpPr>
                  <p:nvPr/>
                </p:nvSpPr>
                <p:spPr bwMode="auto">
                  <a:xfrm>
                    <a:off x="5499715" y="3640796"/>
                    <a:ext cx="261836" cy="173424"/>
                  </a:xfrm>
                  <a:custGeom>
                    <a:avLst/>
                    <a:gdLst>
                      <a:gd name="T0" fmla="*/ 2147483647 w 34"/>
                      <a:gd name="T1" fmla="*/ 0 h 21"/>
                      <a:gd name="T2" fmla="*/ 2147483647 w 34"/>
                      <a:gd name="T3" fmla="*/ 2147483647 h 21"/>
                      <a:gd name="T4" fmla="*/ 2147483647 w 34"/>
                      <a:gd name="T5" fmla="*/ 2147483647 h 21"/>
                      <a:gd name="T6" fmla="*/ 2147483647 w 34"/>
                      <a:gd name="T7" fmla="*/ 2147483647 h 21"/>
                      <a:gd name="T8" fmla="*/ 0 w 34"/>
                      <a:gd name="T9" fmla="*/ 2147483647 h 21"/>
                      <a:gd name="T10" fmla="*/ 2147483647 w 34"/>
                      <a:gd name="T11" fmla="*/ 2147483647 h 21"/>
                      <a:gd name="T12" fmla="*/ 2147483647 w 34"/>
                      <a:gd name="T13" fmla="*/ 2147483647 h 21"/>
                      <a:gd name="T14" fmla="*/ 2147483647 w 34"/>
                      <a:gd name="T15" fmla="*/ 2147483647 h 21"/>
                      <a:gd name="T16" fmla="*/ 2147483647 w 34"/>
                      <a:gd name="T17" fmla="*/ 2147483647 h 21"/>
                      <a:gd name="T18" fmla="*/ 2147483647 w 34"/>
                      <a:gd name="T19" fmla="*/ 2147483647 h 21"/>
                      <a:gd name="T20" fmla="*/ 2147483647 w 34"/>
                      <a:gd name="T21" fmla="*/ 2147483647 h 21"/>
                      <a:gd name="T22" fmla="*/ 2147483647 w 34"/>
                      <a:gd name="T23" fmla="*/ 2147483647 h 21"/>
                      <a:gd name="T24" fmla="*/ 2147483647 w 34"/>
                      <a:gd name="T25" fmla="*/ 2147483647 h 21"/>
                      <a:gd name="T26" fmla="*/ 2147483647 w 34"/>
                      <a:gd name="T27" fmla="*/ 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4" h="21">
                        <a:moveTo>
                          <a:pt x="30" y="0"/>
                        </a:moveTo>
                        <a:cubicBezTo>
                          <a:pt x="25" y="2"/>
                          <a:pt x="18" y="3"/>
                          <a:pt x="18" y="4"/>
                        </a:cubicBezTo>
                        <a:cubicBezTo>
                          <a:pt x="16" y="5"/>
                          <a:pt x="14" y="7"/>
                          <a:pt x="14" y="7"/>
                        </a:cubicBezTo>
                        <a:cubicBezTo>
                          <a:pt x="3" y="7"/>
                          <a:pt x="3" y="7"/>
                          <a:pt x="3" y="7"/>
                        </a:cubicBezTo>
                        <a:cubicBezTo>
                          <a:pt x="0" y="8"/>
                          <a:pt x="0" y="8"/>
                          <a:pt x="0" y="8"/>
                        </a:cubicBezTo>
                        <a:cubicBezTo>
                          <a:pt x="1" y="12"/>
                          <a:pt x="1" y="12"/>
                          <a:pt x="1" y="12"/>
                        </a:cubicBezTo>
                        <a:cubicBezTo>
                          <a:pt x="5" y="21"/>
                          <a:pt x="5" y="21"/>
                          <a:pt x="5" y="21"/>
                        </a:cubicBezTo>
                        <a:cubicBezTo>
                          <a:pt x="12" y="19"/>
                          <a:pt x="12" y="19"/>
                          <a:pt x="12" y="19"/>
                        </a:cubicBezTo>
                        <a:cubicBezTo>
                          <a:pt x="15" y="19"/>
                          <a:pt x="15" y="19"/>
                          <a:pt x="15" y="19"/>
                        </a:cubicBezTo>
                        <a:cubicBezTo>
                          <a:pt x="19" y="15"/>
                          <a:pt x="19" y="15"/>
                          <a:pt x="19" y="15"/>
                        </a:cubicBezTo>
                        <a:cubicBezTo>
                          <a:pt x="25" y="13"/>
                          <a:pt x="25" y="13"/>
                          <a:pt x="25" y="13"/>
                        </a:cubicBezTo>
                        <a:cubicBezTo>
                          <a:pt x="34" y="10"/>
                          <a:pt x="34" y="10"/>
                          <a:pt x="34" y="10"/>
                        </a:cubicBezTo>
                        <a:cubicBezTo>
                          <a:pt x="31" y="3"/>
                          <a:pt x="31" y="3"/>
                          <a:pt x="31" y="3"/>
                        </a:cubicBezTo>
                        <a:lnTo>
                          <a:pt x="30"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5" name="Freeform 291"/>
                  <p:cNvSpPr>
                    <a:spLocks/>
                  </p:cNvSpPr>
                  <p:nvPr/>
                </p:nvSpPr>
                <p:spPr bwMode="auto">
                  <a:xfrm>
                    <a:off x="5314705" y="3263932"/>
                    <a:ext cx="486042" cy="443565"/>
                  </a:xfrm>
                  <a:custGeom>
                    <a:avLst/>
                    <a:gdLst>
                      <a:gd name="T0" fmla="*/ 2147483647 w 63"/>
                      <a:gd name="T1" fmla="*/ 2147483647 h 54"/>
                      <a:gd name="T2" fmla="*/ 2147483647 w 63"/>
                      <a:gd name="T3" fmla="*/ 2147483647 h 54"/>
                      <a:gd name="T4" fmla="*/ 2147483647 w 63"/>
                      <a:gd name="T5" fmla="*/ 2147483647 h 54"/>
                      <a:gd name="T6" fmla="*/ 2147483647 w 63"/>
                      <a:gd name="T7" fmla="*/ 2147483647 h 54"/>
                      <a:gd name="T8" fmla="*/ 2147483647 w 63"/>
                      <a:gd name="T9" fmla="*/ 2147483647 h 54"/>
                      <a:gd name="T10" fmla="*/ 2147483647 w 63"/>
                      <a:gd name="T11" fmla="*/ 2147483647 h 54"/>
                      <a:gd name="T12" fmla="*/ 2147483647 w 63"/>
                      <a:gd name="T13" fmla="*/ 2147483647 h 54"/>
                      <a:gd name="T14" fmla="*/ 2147483647 w 63"/>
                      <a:gd name="T15" fmla="*/ 2147483647 h 54"/>
                      <a:gd name="T16" fmla="*/ 2147483647 w 63"/>
                      <a:gd name="T17" fmla="*/ 2147483647 h 54"/>
                      <a:gd name="T18" fmla="*/ 2147483647 w 63"/>
                      <a:gd name="T19" fmla="*/ 2147483647 h 54"/>
                      <a:gd name="T20" fmla="*/ 2147483647 w 63"/>
                      <a:gd name="T21" fmla="*/ 2147483647 h 54"/>
                      <a:gd name="T22" fmla="*/ 2147483647 w 63"/>
                      <a:gd name="T23" fmla="*/ 2147483647 h 54"/>
                      <a:gd name="T24" fmla="*/ 2147483647 w 63"/>
                      <a:gd name="T25" fmla="*/ 2147483647 h 54"/>
                      <a:gd name="T26" fmla="*/ 2147483647 w 63"/>
                      <a:gd name="T27" fmla="*/ 2147483647 h 54"/>
                      <a:gd name="T28" fmla="*/ 2147483647 w 63"/>
                      <a:gd name="T29" fmla="*/ 0 h 54"/>
                      <a:gd name="T30" fmla="*/ 2147483647 w 63"/>
                      <a:gd name="T31" fmla="*/ 0 h 54"/>
                      <a:gd name="T32" fmla="*/ 2147483647 w 63"/>
                      <a:gd name="T33" fmla="*/ 2147483647 h 54"/>
                      <a:gd name="T34" fmla="*/ 2147483647 w 63"/>
                      <a:gd name="T35" fmla="*/ 2147483647 h 54"/>
                      <a:gd name="T36" fmla="*/ 2147483647 w 63"/>
                      <a:gd name="T37" fmla="*/ 2147483647 h 54"/>
                      <a:gd name="T38" fmla="*/ 2147483647 w 63"/>
                      <a:gd name="T39" fmla="*/ 2147483647 h 54"/>
                      <a:gd name="T40" fmla="*/ 2147483647 w 63"/>
                      <a:gd name="T41" fmla="*/ 2147483647 h 54"/>
                      <a:gd name="T42" fmla="*/ 2147483647 w 63"/>
                      <a:gd name="T43" fmla="*/ 2147483647 h 54"/>
                      <a:gd name="T44" fmla="*/ 0 w 63"/>
                      <a:gd name="T45" fmla="*/ 2147483647 h 54"/>
                      <a:gd name="T46" fmla="*/ 2147483647 w 63"/>
                      <a:gd name="T47" fmla="*/ 2147483647 h 54"/>
                      <a:gd name="T48" fmla="*/ 2147483647 w 63"/>
                      <a:gd name="T49" fmla="*/ 2147483647 h 54"/>
                      <a:gd name="T50" fmla="*/ 2147483647 w 63"/>
                      <a:gd name="T51" fmla="*/ 2147483647 h 54"/>
                      <a:gd name="T52" fmla="*/ 2147483647 w 63"/>
                      <a:gd name="T53" fmla="*/ 2147483647 h 54"/>
                      <a:gd name="T54" fmla="*/ 2147483647 w 63"/>
                      <a:gd name="T55" fmla="*/ 2147483647 h 54"/>
                      <a:gd name="T56" fmla="*/ 2147483647 w 63"/>
                      <a:gd name="T57" fmla="*/ 2147483647 h 54"/>
                      <a:gd name="T58" fmla="*/ 2147483647 w 63"/>
                      <a:gd name="T59" fmla="*/ 2147483647 h 54"/>
                      <a:gd name="T60" fmla="*/ 2147483647 w 63"/>
                      <a:gd name="T61" fmla="*/ 2147483647 h 54"/>
                      <a:gd name="T62" fmla="*/ 2147483647 w 63"/>
                      <a:gd name="T63" fmla="*/ 2147483647 h 54"/>
                      <a:gd name="T64" fmla="*/ 2147483647 w 63"/>
                      <a:gd name="T65" fmla="*/ 2147483647 h 54"/>
                      <a:gd name="T66" fmla="*/ 2147483647 w 63"/>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 h="54">
                        <a:moveTo>
                          <a:pt x="63" y="34"/>
                        </a:moveTo>
                        <a:cubicBezTo>
                          <a:pt x="55" y="32"/>
                          <a:pt x="55" y="32"/>
                          <a:pt x="55" y="32"/>
                        </a:cubicBezTo>
                        <a:cubicBezTo>
                          <a:pt x="52" y="28"/>
                          <a:pt x="52" y="28"/>
                          <a:pt x="52" y="28"/>
                        </a:cubicBezTo>
                        <a:cubicBezTo>
                          <a:pt x="53" y="25"/>
                          <a:pt x="53" y="25"/>
                          <a:pt x="53" y="25"/>
                        </a:cubicBezTo>
                        <a:cubicBezTo>
                          <a:pt x="52" y="25"/>
                          <a:pt x="52" y="25"/>
                          <a:pt x="52" y="25"/>
                        </a:cubicBezTo>
                        <a:cubicBezTo>
                          <a:pt x="48" y="23"/>
                          <a:pt x="48" y="23"/>
                          <a:pt x="48" y="23"/>
                        </a:cubicBezTo>
                        <a:cubicBezTo>
                          <a:pt x="46" y="17"/>
                          <a:pt x="46" y="17"/>
                          <a:pt x="46" y="17"/>
                        </a:cubicBezTo>
                        <a:cubicBezTo>
                          <a:pt x="42" y="13"/>
                          <a:pt x="42" y="13"/>
                          <a:pt x="42" y="13"/>
                        </a:cubicBezTo>
                        <a:cubicBezTo>
                          <a:pt x="42" y="12"/>
                          <a:pt x="42" y="12"/>
                          <a:pt x="42" y="12"/>
                        </a:cubicBezTo>
                        <a:cubicBezTo>
                          <a:pt x="39" y="12"/>
                          <a:pt x="39" y="12"/>
                          <a:pt x="39" y="12"/>
                        </a:cubicBezTo>
                        <a:cubicBezTo>
                          <a:pt x="36" y="10"/>
                          <a:pt x="36" y="10"/>
                          <a:pt x="36" y="10"/>
                        </a:cubicBezTo>
                        <a:cubicBezTo>
                          <a:pt x="28" y="9"/>
                          <a:pt x="28" y="9"/>
                          <a:pt x="28" y="9"/>
                        </a:cubicBezTo>
                        <a:cubicBezTo>
                          <a:pt x="25" y="6"/>
                          <a:pt x="25" y="6"/>
                          <a:pt x="25" y="6"/>
                        </a:cubicBezTo>
                        <a:cubicBezTo>
                          <a:pt x="15" y="1"/>
                          <a:pt x="15" y="1"/>
                          <a:pt x="15" y="1"/>
                        </a:cubicBezTo>
                        <a:cubicBezTo>
                          <a:pt x="11" y="0"/>
                          <a:pt x="11" y="0"/>
                          <a:pt x="11" y="0"/>
                        </a:cubicBezTo>
                        <a:cubicBezTo>
                          <a:pt x="12" y="0"/>
                          <a:pt x="12" y="0"/>
                          <a:pt x="12" y="0"/>
                        </a:cubicBezTo>
                        <a:cubicBezTo>
                          <a:pt x="10" y="1"/>
                          <a:pt x="10" y="1"/>
                          <a:pt x="10" y="1"/>
                        </a:cubicBezTo>
                        <a:cubicBezTo>
                          <a:pt x="6" y="2"/>
                          <a:pt x="6" y="2"/>
                          <a:pt x="6" y="2"/>
                        </a:cubicBezTo>
                        <a:cubicBezTo>
                          <a:pt x="8" y="7"/>
                          <a:pt x="8" y="7"/>
                          <a:pt x="8" y="7"/>
                        </a:cubicBezTo>
                        <a:cubicBezTo>
                          <a:pt x="7" y="9"/>
                          <a:pt x="7" y="9"/>
                          <a:pt x="7" y="9"/>
                        </a:cubicBezTo>
                        <a:cubicBezTo>
                          <a:pt x="4" y="9"/>
                          <a:pt x="4" y="9"/>
                          <a:pt x="4" y="9"/>
                        </a:cubicBezTo>
                        <a:cubicBezTo>
                          <a:pt x="2" y="11"/>
                          <a:pt x="2" y="11"/>
                          <a:pt x="2" y="11"/>
                        </a:cubicBezTo>
                        <a:cubicBezTo>
                          <a:pt x="0" y="11"/>
                          <a:pt x="0" y="11"/>
                          <a:pt x="0" y="11"/>
                        </a:cubicBezTo>
                        <a:cubicBezTo>
                          <a:pt x="2" y="15"/>
                          <a:pt x="2" y="15"/>
                          <a:pt x="2" y="15"/>
                        </a:cubicBezTo>
                        <a:cubicBezTo>
                          <a:pt x="9" y="29"/>
                          <a:pt x="9" y="29"/>
                          <a:pt x="9" y="29"/>
                        </a:cubicBezTo>
                        <a:cubicBezTo>
                          <a:pt x="13" y="33"/>
                          <a:pt x="13" y="33"/>
                          <a:pt x="13" y="33"/>
                        </a:cubicBezTo>
                        <a:cubicBezTo>
                          <a:pt x="15" y="39"/>
                          <a:pt x="15" y="39"/>
                          <a:pt x="15" y="39"/>
                        </a:cubicBezTo>
                        <a:cubicBezTo>
                          <a:pt x="17" y="46"/>
                          <a:pt x="17" y="46"/>
                          <a:pt x="17" y="46"/>
                        </a:cubicBezTo>
                        <a:cubicBezTo>
                          <a:pt x="24" y="53"/>
                          <a:pt x="24" y="53"/>
                          <a:pt x="24" y="53"/>
                        </a:cubicBezTo>
                        <a:cubicBezTo>
                          <a:pt x="24" y="54"/>
                          <a:pt x="24" y="54"/>
                          <a:pt x="24" y="54"/>
                        </a:cubicBezTo>
                        <a:cubicBezTo>
                          <a:pt x="27" y="53"/>
                          <a:pt x="27" y="53"/>
                          <a:pt x="27" y="53"/>
                        </a:cubicBezTo>
                        <a:cubicBezTo>
                          <a:pt x="38" y="53"/>
                          <a:pt x="38" y="53"/>
                          <a:pt x="38" y="53"/>
                        </a:cubicBezTo>
                        <a:cubicBezTo>
                          <a:pt x="38" y="53"/>
                          <a:pt x="40" y="51"/>
                          <a:pt x="42" y="50"/>
                        </a:cubicBezTo>
                        <a:cubicBezTo>
                          <a:pt x="42" y="49"/>
                          <a:pt x="49" y="48"/>
                          <a:pt x="54" y="46"/>
                        </a:cubicBez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6" name="Freeform 292"/>
                  <p:cNvSpPr>
                    <a:spLocks/>
                  </p:cNvSpPr>
                  <p:nvPr/>
                </p:nvSpPr>
                <p:spPr bwMode="auto">
                  <a:xfrm>
                    <a:off x="5731760" y="3544079"/>
                    <a:ext cx="76827" cy="96718"/>
                  </a:xfrm>
                  <a:custGeom>
                    <a:avLst/>
                    <a:gdLst>
                      <a:gd name="T0" fmla="*/ 0 w 10"/>
                      <a:gd name="T1" fmla="*/ 2147483647 h 12"/>
                      <a:gd name="T2" fmla="*/ 2147483647 w 10"/>
                      <a:gd name="T3" fmla="*/ 2147483647 h 12"/>
                      <a:gd name="T4" fmla="*/ 2147483647 w 10"/>
                      <a:gd name="T5" fmla="*/ 2147483647 h 12"/>
                      <a:gd name="T6" fmla="*/ 2147483647 w 10"/>
                      <a:gd name="T7" fmla="*/ 0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3" y="12"/>
                          <a:pt x="4" y="11"/>
                          <a:pt x="4" y="11"/>
                        </a:cubicBezTo>
                        <a:cubicBezTo>
                          <a:pt x="9" y="7"/>
                          <a:pt x="9" y="7"/>
                          <a:pt x="9" y="7"/>
                        </a:cubicBezTo>
                        <a:cubicBezTo>
                          <a:pt x="10" y="0"/>
                          <a:pt x="10" y="0"/>
                          <a:pt x="10" y="0"/>
                        </a:cubicBezTo>
                        <a:cubicBezTo>
                          <a:pt x="9" y="0"/>
                          <a:pt x="9" y="0"/>
                          <a:pt x="9" y="0"/>
                        </a:cubicBez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7" name="Freeform 293"/>
                  <p:cNvSpPr>
                    <a:spLocks/>
                  </p:cNvSpPr>
                  <p:nvPr/>
                </p:nvSpPr>
                <p:spPr bwMode="auto">
                  <a:xfrm>
                    <a:off x="5397803" y="3100513"/>
                    <a:ext cx="246157" cy="263472"/>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0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0 w 192"/>
                      <a:gd name="T23" fmla="*/ 2147483647 h 192"/>
                      <a:gd name="T24" fmla="*/ 0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2147483647 w 192"/>
                      <a:gd name="T37" fmla="*/ 2147483647 h 192"/>
                      <a:gd name="T38" fmla="*/ 2147483647 w 192"/>
                      <a:gd name="T39" fmla="*/ 2147483647 h 192"/>
                      <a:gd name="T40" fmla="*/ 2147483647 w 192"/>
                      <a:gd name="T41" fmla="*/ 2147483647 h 192"/>
                      <a:gd name="T42" fmla="*/ 2147483647 w 192"/>
                      <a:gd name="T43" fmla="*/ 2147483647 h 192"/>
                      <a:gd name="T44" fmla="*/ 2147483647 w 192"/>
                      <a:gd name="T45" fmla="*/ 2147483647 h 19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2" h="192">
                        <a:moveTo>
                          <a:pt x="168" y="120"/>
                        </a:moveTo>
                        <a:lnTo>
                          <a:pt x="132" y="90"/>
                        </a:lnTo>
                        <a:lnTo>
                          <a:pt x="132" y="66"/>
                        </a:lnTo>
                        <a:lnTo>
                          <a:pt x="138" y="42"/>
                        </a:lnTo>
                        <a:lnTo>
                          <a:pt x="114" y="6"/>
                        </a:lnTo>
                        <a:lnTo>
                          <a:pt x="102" y="0"/>
                        </a:lnTo>
                        <a:lnTo>
                          <a:pt x="72" y="6"/>
                        </a:lnTo>
                        <a:lnTo>
                          <a:pt x="66" y="6"/>
                        </a:lnTo>
                        <a:lnTo>
                          <a:pt x="66" y="12"/>
                        </a:lnTo>
                        <a:lnTo>
                          <a:pt x="54" y="30"/>
                        </a:lnTo>
                        <a:lnTo>
                          <a:pt x="42" y="72"/>
                        </a:lnTo>
                        <a:lnTo>
                          <a:pt x="0" y="96"/>
                        </a:lnTo>
                        <a:lnTo>
                          <a:pt x="0" y="120"/>
                        </a:lnTo>
                        <a:lnTo>
                          <a:pt x="24" y="126"/>
                        </a:lnTo>
                        <a:lnTo>
                          <a:pt x="84" y="156"/>
                        </a:lnTo>
                        <a:lnTo>
                          <a:pt x="102" y="174"/>
                        </a:lnTo>
                        <a:lnTo>
                          <a:pt x="150" y="180"/>
                        </a:lnTo>
                        <a:lnTo>
                          <a:pt x="168" y="192"/>
                        </a:lnTo>
                        <a:lnTo>
                          <a:pt x="186" y="192"/>
                        </a:lnTo>
                        <a:lnTo>
                          <a:pt x="180" y="180"/>
                        </a:lnTo>
                        <a:lnTo>
                          <a:pt x="192" y="174"/>
                        </a:lnTo>
                        <a:lnTo>
                          <a:pt x="180" y="150"/>
                        </a:lnTo>
                        <a:lnTo>
                          <a:pt x="168" y="12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8" name="Freeform 294"/>
                  <p:cNvSpPr>
                    <a:spLocks/>
                  </p:cNvSpPr>
                  <p:nvPr/>
                </p:nvSpPr>
                <p:spPr bwMode="auto">
                  <a:xfrm>
                    <a:off x="5538912" y="3028808"/>
                    <a:ext cx="464093" cy="448568"/>
                  </a:xfrm>
                  <a:custGeom>
                    <a:avLst/>
                    <a:gdLst>
                      <a:gd name="T0" fmla="*/ 2147483647 w 60"/>
                      <a:gd name="T1" fmla="*/ 2147483647 h 55"/>
                      <a:gd name="T2" fmla="*/ 2147483647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2147483647 h 55"/>
                      <a:gd name="T36" fmla="*/ 2147483647 w 60"/>
                      <a:gd name="T37" fmla="*/ 2147483647 h 55"/>
                      <a:gd name="T38" fmla="*/ 2147483647 w 60"/>
                      <a:gd name="T39" fmla="*/ 2147483647 h 55"/>
                      <a:gd name="T40" fmla="*/ 2147483647 w 60"/>
                      <a:gd name="T41" fmla="*/ 0 h 55"/>
                      <a:gd name="T42" fmla="*/ 2147483647 w 60"/>
                      <a:gd name="T43" fmla="*/ 2147483647 h 55"/>
                      <a:gd name="T44" fmla="*/ 2147483647 w 60"/>
                      <a:gd name="T45" fmla="*/ 2147483647 h 55"/>
                      <a:gd name="T46" fmla="*/ 0 w 60"/>
                      <a:gd name="T47" fmla="*/ 0 h 55"/>
                      <a:gd name="T48" fmla="*/ 0 w 60"/>
                      <a:gd name="T49" fmla="*/ 0 h 55"/>
                      <a:gd name="T50" fmla="*/ 0 w 60"/>
                      <a:gd name="T51" fmla="*/ 2147483647 h 55"/>
                      <a:gd name="T52" fmla="*/ 2147483647 w 60"/>
                      <a:gd name="T53" fmla="*/ 2147483647 h 55"/>
                      <a:gd name="T54" fmla="*/ 2147483647 w 60"/>
                      <a:gd name="T55" fmla="*/ 2147483647 h 55"/>
                      <a:gd name="T56" fmla="*/ 2147483647 w 60"/>
                      <a:gd name="T57" fmla="*/ 2147483647 h 55"/>
                      <a:gd name="T58" fmla="*/ 2147483647 w 60"/>
                      <a:gd name="T59" fmla="*/ 2147483647 h 55"/>
                      <a:gd name="T60" fmla="*/ 2147483647 w 60"/>
                      <a:gd name="T61" fmla="*/ 2147483647 h 55"/>
                      <a:gd name="T62" fmla="*/ 2147483647 w 60"/>
                      <a:gd name="T63" fmla="*/ 2147483647 h 55"/>
                      <a:gd name="T64" fmla="*/ 2147483647 w 60"/>
                      <a:gd name="T65" fmla="*/ 2147483647 h 55"/>
                      <a:gd name="T66" fmla="*/ 2147483647 w 60"/>
                      <a:gd name="T67" fmla="*/ 2147483647 h 55"/>
                      <a:gd name="T68" fmla="*/ 2147483647 w 60"/>
                      <a:gd name="T69" fmla="*/ 2147483647 h 55"/>
                      <a:gd name="T70" fmla="*/ 2147483647 w 60"/>
                      <a:gd name="T71" fmla="*/ 2147483647 h 55"/>
                      <a:gd name="T72" fmla="*/ 2147483647 w 60"/>
                      <a:gd name="T73" fmla="*/ 2147483647 h 55"/>
                      <a:gd name="T74" fmla="*/ 2147483647 w 60"/>
                      <a:gd name="T75" fmla="*/ 2147483647 h 55"/>
                      <a:gd name="T76" fmla="*/ 2147483647 w 60"/>
                      <a:gd name="T77" fmla="*/ 2147483647 h 55"/>
                      <a:gd name="T78" fmla="*/ 2147483647 w 60"/>
                      <a:gd name="T79" fmla="*/ 2147483647 h 55"/>
                      <a:gd name="T80" fmla="*/ 2147483647 w 60"/>
                      <a:gd name="T81" fmla="*/ 2147483647 h 55"/>
                      <a:gd name="T82" fmla="*/ 2147483647 w 60"/>
                      <a:gd name="T83" fmla="*/ 2147483647 h 55"/>
                      <a:gd name="T84" fmla="*/ 2147483647 w 60"/>
                      <a:gd name="T85" fmla="*/ 2147483647 h 55"/>
                      <a:gd name="T86" fmla="*/ 2147483647 w 60"/>
                      <a:gd name="T87" fmla="*/ 2147483647 h 55"/>
                      <a:gd name="T88" fmla="*/ 2147483647 w 60"/>
                      <a:gd name="T89" fmla="*/ 2147483647 h 55"/>
                      <a:gd name="T90" fmla="*/ 2147483647 w 60"/>
                      <a:gd name="T91" fmla="*/ 2147483647 h 55"/>
                      <a:gd name="T92" fmla="*/ 2147483647 w 60"/>
                      <a:gd name="T93" fmla="*/ 2147483647 h 55"/>
                      <a:gd name="T94" fmla="*/ 2147483647 w 60"/>
                      <a:gd name="T95" fmla="*/ 2147483647 h 55"/>
                      <a:gd name="T96" fmla="*/ 2147483647 w 60"/>
                      <a:gd name="T97" fmla="*/ 2147483647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09" name="Freeform 299"/>
                  <p:cNvSpPr>
                    <a:spLocks/>
                  </p:cNvSpPr>
                  <p:nvPr/>
                </p:nvSpPr>
                <p:spPr bwMode="auto">
                  <a:xfrm>
                    <a:off x="4954093" y="2371798"/>
                    <a:ext cx="156788" cy="113393"/>
                  </a:xfrm>
                  <a:custGeom>
                    <a:avLst/>
                    <a:gdLst>
                      <a:gd name="T0" fmla="*/ 2147483647 w 20"/>
                      <a:gd name="T1" fmla="*/ 2147483647 h 14"/>
                      <a:gd name="T2" fmla="*/ 2147483647 w 20"/>
                      <a:gd name="T3" fmla="*/ 2147483647 h 14"/>
                      <a:gd name="T4" fmla="*/ 2147483647 w 20"/>
                      <a:gd name="T5" fmla="*/ 0 h 14"/>
                      <a:gd name="T6" fmla="*/ 2147483647 w 20"/>
                      <a:gd name="T7" fmla="*/ 2147483647 h 14"/>
                      <a:gd name="T8" fmla="*/ 2147483647 w 20"/>
                      <a:gd name="T9" fmla="*/ 0 h 14"/>
                      <a:gd name="T10" fmla="*/ 2147483647 w 20"/>
                      <a:gd name="T11" fmla="*/ 0 h 14"/>
                      <a:gd name="T12" fmla="*/ 2147483647 w 20"/>
                      <a:gd name="T13" fmla="*/ 2147483647 h 14"/>
                      <a:gd name="T14" fmla="*/ 2147483647 w 20"/>
                      <a:gd name="T15" fmla="*/ 2147483647 h 14"/>
                      <a:gd name="T16" fmla="*/ 0 w 20"/>
                      <a:gd name="T17" fmla="*/ 2147483647 h 14"/>
                      <a:gd name="T18" fmla="*/ 2147483647 w 20"/>
                      <a:gd name="T19" fmla="*/ 2147483647 h 14"/>
                      <a:gd name="T20" fmla="*/ 2147483647 w 20"/>
                      <a:gd name="T21" fmla="*/ 2147483647 h 14"/>
                      <a:gd name="T22" fmla="*/ 2147483647 w 20"/>
                      <a:gd name="T23" fmla="*/ 2147483647 h 14"/>
                      <a:gd name="T24" fmla="*/ 2147483647 w 20"/>
                      <a:gd name="T25" fmla="*/ 2147483647 h 14"/>
                      <a:gd name="T26" fmla="*/ 2147483647 w 20"/>
                      <a:gd name="T27" fmla="*/ 2147483647 h 14"/>
                      <a:gd name="T28" fmla="*/ 2147483647 w 20"/>
                      <a:gd name="T29" fmla="*/ 2147483647 h 14"/>
                      <a:gd name="T30" fmla="*/ 2147483647 w 20"/>
                      <a:gd name="T31" fmla="*/ 2147483647 h 14"/>
                      <a:gd name="T32" fmla="*/ 2147483647 w 20"/>
                      <a:gd name="T33" fmla="*/ 2147483647 h 14"/>
                      <a:gd name="T34" fmla="*/ 2147483647 w 20"/>
                      <a:gd name="T35" fmla="*/ 2147483647 h 14"/>
                      <a:gd name="T36" fmla="*/ 2147483647 w 20"/>
                      <a:gd name="T37" fmla="*/ 2147483647 h 14"/>
                      <a:gd name="T38" fmla="*/ 2147483647 w 20"/>
                      <a:gd name="T39" fmla="*/ 2147483647 h 14"/>
                      <a:gd name="T40" fmla="*/ 2147483647 w 20"/>
                      <a:gd name="T41" fmla="*/ 2147483647 h 14"/>
                      <a:gd name="T42" fmla="*/ 2147483647 w 20"/>
                      <a:gd name="T43" fmla="*/ 2147483647 h 14"/>
                      <a:gd name="T44" fmla="*/ 2147483647 w 20"/>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14">
                        <a:moveTo>
                          <a:pt x="19" y="4"/>
                        </a:moveTo>
                        <a:cubicBezTo>
                          <a:pt x="17" y="2"/>
                          <a:pt x="17" y="2"/>
                          <a:pt x="17" y="2"/>
                        </a:cubicBezTo>
                        <a:cubicBezTo>
                          <a:pt x="15" y="0"/>
                          <a:pt x="15" y="0"/>
                          <a:pt x="15" y="0"/>
                        </a:cubicBezTo>
                        <a:cubicBezTo>
                          <a:pt x="13" y="1"/>
                          <a:pt x="13" y="1"/>
                          <a:pt x="13" y="1"/>
                        </a:cubicBezTo>
                        <a:cubicBezTo>
                          <a:pt x="9" y="0"/>
                          <a:pt x="9" y="0"/>
                          <a:pt x="9" y="0"/>
                        </a:cubicBezTo>
                        <a:cubicBezTo>
                          <a:pt x="5" y="0"/>
                          <a:pt x="5" y="0"/>
                          <a:pt x="5" y="0"/>
                        </a:cubicBezTo>
                        <a:cubicBezTo>
                          <a:pt x="1" y="1"/>
                          <a:pt x="1" y="1"/>
                          <a:pt x="1" y="1"/>
                        </a:cubicBezTo>
                        <a:cubicBezTo>
                          <a:pt x="1" y="3"/>
                          <a:pt x="1" y="5"/>
                          <a:pt x="1" y="5"/>
                        </a:cubicBezTo>
                        <a:cubicBezTo>
                          <a:pt x="0" y="6"/>
                          <a:pt x="0" y="6"/>
                          <a:pt x="0" y="6"/>
                        </a:cubicBezTo>
                        <a:cubicBezTo>
                          <a:pt x="2" y="6"/>
                          <a:pt x="2" y="6"/>
                          <a:pt x="2" y="6"/>
                        </a:cubicBezTo>
                        <a:cubicBezTo>
                          <a:pt x="4" y="7"/>
                          <a:pt x="4" y="7"/>
                          <a:pt x="4" y="7"/>
                        </a:cubicBezTo>
                        <a:cubicBezTo>
                          <a:pt x="6" y="8"/>
                          <a:pt x="6" y="8"/>
                          <a:pt x="6" y="8"/>
                        </a:cubicBezTo>
                        <a:cubicBezTo>
                          <a:pt x="7" y="10"/>
                          <a:pt x="7" y="10"/>
                          <a:pt x="7" y="10"/>
                        </a:cubicBezTo>
                        <a:cubicBezTo>
                          <a:pt x="6" y="12"/>
                          <a:pt x="6" y="12"/>
                          <a:pt x="6" y="12"/>
                        </a:cubicBezTo>
                        <a:cubicBezTo>
                          <a:pt x="7" y="12"/>
                          <a:pt x="7" y="12"/>
                          <a:pt x="7" y="12"/>
                        </a:cubicBezTo>
                        <a:cubicBezTo>
                          <a:pt x="9" y="14"/>
                          <a:pt x="9" y="14"/>
                          <a:pt x="9" y="14"/>
                        </a:cubicBezTo>
                        <a:cubicBezTo>
                          <a:pt x="11" y="13"/>
                          <a:pt x="11" y="13"/>
                          <a:pt x="11" y="13"/>
                        </a:cubicBezTo>
                        <a:cubicBezTo>
                          <a:pt x="13" y="12"/>
                          <a:pt x="13" y="12"/>
                          <a:pt x="13" y="12"/>
                        </a:cubicBezTo>
                        <a:cubicBezTo>
                          <a:pt x="13" y="12"/>
                          <a:pt x="15" y="12"/>
                          <a:pt x="16" y="12"/>
                        </a:cubicBezTo>
                        <a:cubicBezTo>
                          <a:pt x="17" y="12"/>
                          <a:pt x="16" y="9"/>
                          <a:pt x="16" y="9"/>
                        </a:cubicBezTo>
                        <a:cubicBezTo>
                          <a:pt x="18" y="7"/>
                          <a:pt x="18" y="7"/>
                          <a:pt x="18" y="7"/>
                        </a:cubicBezTo>
                        <a:cubicBezTo>
                          <a:pt x="20" y="4"/>
                          <a:pt x="20" y="4"/>
                          <a:pt x="20" y="4"/>
                        </a:cubicBezTo>
                        <a:cubicBezTo>
                          <a:pt x="19" y="4"/>
                          <a:pt x="19" y="4"/>
                          <a:pt x="19" y="4"/>
                        </a:cubicBezTo>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0" name="Freeform 300"/>
                  <p:cNvSpPr>
                    <a:spLocks/>
                  </p:cNvSpPr>
                  <p:nvPr/>
                </p:nvSpPr>
                <p:spPr bwMode="auto">
                  <a:xfrm>
                    <a:off x="5023080" y="2215049"/>
                    <a:ext cx="117592" cy="106723"/>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2147483647 h 78"/>
                      <a:gd name="T10" fmla="*/ 2147483647 w 90"/>
                      <a:gd name="T11" fmla="*/ 0 h 78"/>
                      <a:gd name="T12" fmla="*/ 2147483647 w 90"/>
                      <a:gd name="T13" fmla="*/ 0 h 78"/>
                      <a:gd name="T14" fmla="*/ 2147483647 w 90"/>
                      <a:gd name="T15" fmla="*/ 0 h 78"/>
                      <a:gd name="T16" fmla="*/ 0 w 90"/>
                      <a:gd name="T17" fmla="*/ 2147483647 h 78"/>
                      <a:gd name="T18" fmla="*/ 0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2147483647 w 90"/>
                      <a:gd name="T31" fmla="*/ 2147483647 h 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0" h="78">
                        <a:moveTo>
                          <a:pt x="54" y="66"/>
                        </a:moveTo>
                        <a:lnTo>
                          <a:pt x="78" y="78"/>
                        </a:lnTo>
                        <a:lnTo>
                          <a:pt x="84" y="42"/>
                        </a:lnTo>
                        <a:lnTo>
                          <a:pt x="84" y="30"/>
                        </a:lnTo>
                        <a:lnTo>
                          <a:pt x="90" y="6"/>
                        </a:lnTo>
                        <a:lnTo>
                          <a:pt x="84" y="0"/>
                        </a:lnTo>
                        <a:lnTo>
                          <a:pt x="72" y="0"/>
                        </a:lnTo>
                        <a:lnTo>
                          <a:pt x="36" y="0"/>
                        </a:lnTo>
                        <a:lnTo>
                          <a:pt x="0" y="18"/>
                        </a:lnTo>
                        <a:lnTo>
                          <a:pt x="0" y="30"/>
                        </a:lnTo>
                        <a:lnTo>
                          <a:pt x="6" y="42"/>
                        </a:lnTo>
                        <a:lnTo>
                          <a:pt x="12" y="48"/>
                        </a:lnTo>
                        <a:lnTo>
                          <a:pt x="18" y="54"/>
                        </a:lnTo>
                        <a:lnTo>
                          <a:pt x="12" y="60"/>
                        </a:lnTo>
                        <a:lnTo>
                          <a:pt x="36" y="54"/>
                        </a:lnTo>
                        <a:lnTo>
                          <a:pt x="54" y="66"/>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1" name="Freeform 301"/>
                  <p:cNvSpPr>
                    <a:spLocks/>
                  </p:cNvSpPr>
                  <p:nvPr/>
                </p:nvSpPr>
                <p:spPr bwMode="auto">
                  <a:xfrm>
                    <a:off x="5018376" y="2380135"/>
                    <a:ext cx="230478" cy="221783"/>
                  </a:xfrm>
                  <a:custGeom>
                    <a:avLst/>
                    <a:gdLst>
                      <a:gd name="T0" fmla="*/ 2147483647 w 30"/>
                      <a:gd name="T1" fmla="*/ 2147483647 h 27"/>
                      <a:gd name="T2" fmla="*/ 2147483647 w 30"/>
                      <a:gd name="T3" fmla="*/ 2147483647 h 27"/>
                      <a:gd name="T4" fmla="*/ 2147483647 w 30"/>
                      <a:gd name="T5" fmla="*/ 2147483647 h 27"/>
                      <a:gd name="T6" fmla="*/ 2147483647 w 30"/>
                      <a:gd name="T7" fmla="*/ 2147483647 h 27"/>
                      <a:gd name="T8" fmla="*/ 2147483647 w 30"/>
                      <a:gd name="T9" fmla="*/ 0 h 27"/>
                      <a:gd name="T10" fmla="*/ 2147483647 w 30"/>
                      <a:gd name="T11" fmla="*/ 2147483647 h 27"/>
                      <a:gd name="T12" fmla="*/ 2147483647 w 30"/>
                      <a:gd name="T13" fmla="*/ 2147483647 h 27"/>
                      <a:gd name="T14" fmla="*/ 2147483647 w 30"/>
                      <a:gd name="T15" fmla="*/ 2147483647 h 27"/>
                      <a:gd name="T16" fmla="*/ 2147483647 w 30"/>
                      <a:gd name="T17" fmla="*/ 2147483647 h 27"/>
                      <a:gd name="T18" fmla="*/ 2147483647 w 30"/>
                      <a:gd name="T19" fmla="*/ 2147483647 h 27"/>
                      <a:gd name="T20" fmla="*/ 2147483647 w 30"/>
                      <a:gd name="T21" fmla="*/ 2147483647 h 27"/>
                      <a:gd name="T22" fmla="*/ 2147483647 w 30"/>
                      <a:gd name="T23" fmla="*/ 2147483647 h 27"/>
                      <a:gd name="T24" fmla="*/ 2147483647 w 30"/>
                      <a:gd name="T25" fmla="*/ 2147483647 h 27"/>
                      <a:gd name="T26" fmla="*/ 2147483647 w 30"/>
                      <a:gd name="T27" fmla="*/ 2147483647 h 27"/>
                      <a:gd name="T28" fmla="*/ 2147483647 w 30"/>
                      <a:gd name="T29" fmla="*/ 2147483647 h 27"/>
                      <a:gd name="T30" fmla="*/ 2147483647 w 30"/>
                      <a:gd name="T31" fmla="*/ 2147483647 h 27"/>
                      <a:gd name="T32" fmla="*/ 0 w 30"/>
                      <a:gd name="T33" fmla="*/ 2147483647 h 27"/>
                      <a:gd name="T34" fmla="*/ 2147483647 w 30"/>
                      <a:gd name="T35" fmla="*/ 2147483647 h 27"/>
                      <a:gd name="T36" fmla="*/ 2147483647 w 30"/>
                      <a:gd name="T37" fmla="*/ 2147483647 h 27"/>
                      <a:gd name="T38" fmla="*/ 2147483647 w 30"/>
                      <a:gd name="T39" fmla="*/ 2147483647 h 27"/>
                      <a:gd name="T40" fmla="*/ 2147483647 w 30"/>
                      <a:gd name="T41" fmla="*/ 2147483647 h 27"/>
                      <a:gd name="T42" fmla="*/ 2147483647 w 30"/>
                      <a:gd name="T43" fmla="*/ 2147483647 h 27"/>
                      <a:gd name="T44" fmla="*/ 2147483647 w 30"/>
                      <a:gd name="T45" fmla="*/ 2147483647 h 27"/>
                      <a:gd name="T46" fmla="*/ 2147483647 w 30"/>
                      <a:gd name="T47" fmla="*/ 2147483647 h 27"/>
                      <a:gd name="T48" fmla="*/ 2147483647 w 30"/>
                      <a:gd name="T49" fmla="*/ 2147483647 h 27"/>
                      <a:gd name="T50" fmla="*/ 2147483647 w 30"/>
                      <a:gd name="T51" fmla="*/ 2147483647 h 27"/>
                      <a:gd name="T52" fmla="*/ 2147483647 w 30"/>
                      <a:gd name="T53" fmla="*/ 2147483647 h 27"/>
                      <a:gd name="T54" fmla="*/ 2147483647 w 30"/>
                      <a:gd name="T55" fmla="*/ 2147483647 h 27"/>
                      <a:gd name="T56" fmla="*/ 2147483647 w 30"/>
                      <a:gd name="T57" fmla="*/ 2147483647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0" h="27">
                        <a:moveTo>
                          <a:pt x="30" y="14"/>
                        </a:moveTo>
                        <a:cubicBezTo>
                          <a:pt x="27" y="11"/>
                          <a:pt x="27" y="11"/>
                          <a:pt x="27" y="11"/>
                        </a:cubicBezTo>
                        <a:cubicBezTo>
                          <a:pt x="23" y="3"/>
                          <a:pt x="23" y="3"/>
                          <a:pt x="23" y="3"/>
                        </a:cubicBezTo>
                        <a:cubicBezTo>
                          <a:pt x="20" y="2"/>
                          <a:pt x="20" y="2"/>
                          <a:pt x="20" y="2"/>
                        </a:cubicBezTo>
                        <a:cubicBezTo>
                          <a:pt x="17" y="0"/>
                          <a:pt x="17" y="0"/>
                          <a:pt x="17" y="0"/>
                        </a:cubicBezTo>
                        <a:cubicBezTo>
                          <a:pt x="14" y="2"/>
                          <a:pt x="14" y="2"/>
                          <a:pt x="14" y="2"/>
                        </a:cubicBezTo>
                        <a:cubicBezTo>
                          <a:pt x="11" y="3"/>
                          <a:pt x="11" y="3"/>
                          <a:pt x="11" y="3"/>
                        </a:cubicBezTo>
                        <a:cubicBezTo>
                          <a:pt x="12" y="3"/>
                          <a:pt x="12" y="3"/>
                          <a:pt x="12" y="3"/>
                        </a:cubicBezTo>
                        <a:cubicBezTo>
                          <a:pt x="10" y="6"/>
                          <a:pt x="10" y="6"/>
                          <a:pt x="10" y="6"/>
                        </a:cubicBezTo>
                        <a:cubicBezTo>
                          <a:pt x="8" y="8"/>
                          <a:pt x="8" y="8"/>
                          <a:pt x="8" y="8"/>
                        </a:cubicBezTo>
                        <a:cubicBezTo>
                          <a:pt x="8" y="8"/>
                          <a:pt x="9" y="11"/>
                          <a:pt x="8" y="11"/>
                        </a:cubicBezTo>
                        <a:cubicBezTo>
                          <a:pt x="7" y="11"/>
                          <a:pt x="5" y="11"/>
                          <a:pt x="5" y="11"/>
                        </a:cubicBezTo>
                        <a:cubicBezTo>
                          <a:pt x="3" y="12"/>
                          <a:pt x="3" y="12"/>
                          <a:pt x="3" y="12"/>
                        </a:cubicBezTo>
                        <a:cubicBezTo>
                          <a:pt x="1" y="13"/>
                          <a:pt x="1" y="13"/>
                          <a:pt x="1" y="13"/>
                        </a:cubicBezTo>
                        <a:cubicBezTo>
                          <a:pt x="1" y="14"/>
                          <a:pt x="1" y="14"/>
                          <a:pt x="1" y="14"/>
                        </a:cubicBezTo>
                        <a:cubicBezTo>
                          <a:pt x="2" y="18"/>
                          <a:pt x="2" y="18"/>
                          <a:pt x="2" y="18"/>
                        </a:cubicBezTo>
                        <a:cubicBezTo>
                          <a:pt x="0" y="20"/>
                          <a:pt x="0" y="20"/>
                          <a:pt x="0" y="20"/>
                        </a:cubicBezTo>
                        <a:cubicBezTo>
                          <a:pt x="1" y="23"/>
                          <a:pt x="1" y="23"/>
                          <a:pt x="1" y="23"/>
                        </a:cubicBezTo>
                        <a:cubicBezTo>
                          <a:pt x="1" y="25"/>
                          <a:pt x="1" y="25"/>
                          <a:pt x="1" y="25"/>
                        </a:cubicBezTo>
                        <a:cubicBezTo>
                          <a:pt x="3" y="24"/>
                          <a:pt x="3" y="24"/>
                          <a:pt x="3" y="24"/>
                        </a:cubicBezTo>
                        <a:cubicBezTo>
                          <a:pt x="7" y="24"/>
                          <a:pt x="7" y="24"/>
                          <a:pt x="7" y="24"/>
                        </a:cubicBezTo>
                        <a:cubicBezTo>
                          <a:pt x="13" y="26"/>
                          <a:pt x="13" y="26"/>
                          <a:pt x="13" y="26"/>
                        </a:cubicBezTo>
                        <a:cubicBezTo>
                          <a:pt x="20" y="26"/>
                          <a:pt x="20" y="26"/>
                          <a:pt x="20" y="26"/>
                        </a:cubicBezTo>
                        <a:cubicBezTo>
                          <a:pt x="24" y="27"/>
                          <a:pt x="24" y="27"/>
                          <a:pt x="24" y="27"/>
                        </a:cubicBezTo>
                        <a:cubicBezTo>
                          <a:pt x="26" y="21"/>
                          <a:pt x="26" y="21"/>
                          <a:pt x="26" y="21"/>
                        </a:cubicBezTo>
                        <a:cubicBezTo>
                          <a:pt x="27" y="21"/>
                          <a:pt x="27" y="21"/>
                          <a:pt x="27" y="21"/>
                        </a:cubicBezTo>
                        <a:cubicBezTo>
                          <a:pt x="26" y="17"/>
                          <a:pt x="26" y="17"/>
                          <a:pt x="26" y="17"/>
                        </a:cubicBezTo>
                        <a:cubicBezTo>
                          <a:pt x="29" y="16"/>
                          <a:pt x="29" y="16"/>
                          <a:pt x="29" y="16"/>
                        </a:cubicBezTo>
                        <a:lnTo>
                          <a:pt x="30" y="1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2" name="Freeform 302"/>
                  <p:cNvSpPr>
                    <a:spLocks/>
                  </p:cNvSpPr>
                  <p:nvPr/>
                </p:nvSpPr>
                <p:spPr bwMode="auto">
                  <a:xfrm>
                    <a:off x="4961933" y="2290088"/>
                    <a:ext cx="188146" cy="113393"/>
                  </a:xfrm>
                  <a:custGeom>
                    <a:avLst/>
                    <a:gdLst>
                      <a:gd name="T0" fmla="*/ 2147483647 w 24"/>
                      <a:gd name="T1" fmla="*/ 2147483647 h 14"/>
                      <a:gd name="T2" fmla="*/ 2147483647 w 24"/>
                      <a:gd name="T3" fmla="*/ 2147483647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2147483647 w 24"/>
                      <a:gd name="T15" fmla="*/ 2147483647 h 14"/>
                      <a:gd name="T16" fmla="*/ 2147483647 w 24"/>
                      <a:gd name="T17" fmla="*/ 2147483647 h 14"/>
                      <a:gd name="T18" fmla="*/ 2147483647 w 24"/>
                      <a:gd name="T19" fmla="*/ 2147483647 h 14"/>
                      <a:gd name="T20" fmla="*/ 2147483647 w 24"/>
                      <a:gd name="T21" fmla="*/ 2147483647 h 14"/>
                      <a:gd name="T22" fmla="*/ 2147483647 w 24"/>
                      <a:gd name="T23" fmla="*/ 0 h 14"/>
                      <a:gd name="T24" fmla="*/ 2147483647 w 24"/>
                      <a:gd name="T25" fmla="*/ 2147483647 h 14"/>
                      <a:gd name="T26" fmla="*/ 2147483647 w 24"/>
                      <a:gd name="T27" fmla="*/ 2147483647 h 14"/>
                      <a:gd name="T28" fmla="*/ 2147483647 w 24"/>
                      <a:gd name="T29" fmla="*/ 2147483647 h 14"/>
                      <a:gd name="T30" fmla="*/ 2147483647 w 24"/>
                      <a:gd name="T31" fmla="*/ 2147483647 h 14"/>
                      <a:gd name="T32" fmla="*/ 2147483647 w 24"/>
                      <a:gd name="T33" fmla="*/ 2147483647 h 14"/>
                      <a:gd name="T34" fmla="*/ 2147483647 w 24"/>
                      <a:gd name="T35" fmla="*/ 2147483647 h 14"/>
                      <a:gd name="T36" fmla="*/ 0 w 24"/>
                      <a:gd name="T37" fmla="*/ 2147483647 h 14"/>
                      <a:gd name="T38" fmla="*/ 2147483647 w 24"/>
                      <a:gd name="T39" fmla="*/ 2147483647 h 14"/>
                      <a:gd name="T40" fmla="*/ 2147483647 w 24"/>
                      <a:gd name="T41" fmla="*/ 2147483647 h 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4" h="14">
                        <a:moveTo>
                          <a:pt x="8" y="10"/>
                        </a:moveTo>
                        <a:cubicBezTo>
                          <a:pt x="12" y="11"/>
                          <a:pt x="12" y="11"/>
                          <a:pt x="12" y="11"/>
                        </a:cubicBezTo>
                        <a:cubicBezTo>
                          <a:pt x="14" y="10"/>
                          <a:pt x="14" y="10"/>
                          <a:pt x="14" y="10"/>
                        </a:cubicBezTo>
                        <a:cubicBezTo>
                          <a:pt x="16" y="12"/>
                          <a:pt x="16" y="12"/>
                          <a:pt x="16" y="12"/>
                        </a:cubicBezTo>
                        <a:cubicBezTo>
                          <a:pt x="18" y="14"/>
                          <a:pt x="18" y="14"/>
                          <a:pt x="18" y="14"/>
                        </a:cubicBezTo>
                        <a:cubicBezTo>
                          <a:pt x="21" y="13"/>
                          <a:pt x="21" y="13"/>
                          <a:pt x="21" y="13"/>
                        </a:cubicBezTo>
                        <a:cubicBezTo>
                          <a:pt x="24" y="11"/>
                          <a:pt x="24" y="11"/>
                          <a:pt x="24" y="11"/>
                        </a:cubicBezTo>
                        <a:cubicBezTo>
                          <a:pt x="23" y="10"/>
                          <a:pt x="23" y="10"/>
                          <a:pt x="23" y="10"/>
                        </a:cubicBezTo>
                        <a:cubicBezTo>
                          <a:pt x="21" y="5"/>
                          <a:pt x="21" y="5"/>
                          <a:pt x="21" y="5"/>
                        </a:cubicBezTo>
                        <a:cubicBezTo>
                          <a:pt x="21" y="4"/>
                          <a:pt x="21" y="4"/>
                          <a:pt x="21" y="4"/>
                        </a:cubicBezTo>
                        <a:cubicBezTo>
                          <a:pt x="17" y="2"/>
                          <a:pt x="17" y="2"/>
                          <a:pt x="17" y="2"/>
                        </a:cubicBezTo>
                        <a:cubicBezTo>
                          <a:pt x="14" y="0"/>
                          <a:pt x="14" y="0"/>
                          <a:pt x="14" y="0"/>
                        </a:cubicBezTo>
                        <a:cubicBezTo>
                          <a:pt x="10" y="1"/>
                          <a:pt x="10" y="1"/>
                          <a:pt x="10" y="1"/>
                        </a:cubicBezTo>
                        <a:cubicBezTo>
                          <a:pt x="9" y="5"/>
                          <a:pt x="9" y="5"/>
                          <a:pt x="9" y="5"/>
                        </a:cubicBezTo>
                        <a:cubicBezTo>
                          <a:pt x="8" y="6"/>
                          <a:pt x="8" y="6"/>
                          <a:pt x="8" y="6"/>
                        </a:cubicBezTo>
                        <a:cubicBezTo>
                          <a:pt x="5" y="3"/>
                          <a:pt x="5" y="3"/>
                          <a:pt x="5" y="3"/>
                        </a:cubicBezTo>
                        <a:cubicBezTo>
                          <a:pt x="3" y="3"/>
                          <a:pt x="3" y="3"/>
                          <a:pt x="3" y="3"/>
                        </a:cubicBezTo>
                        <a:cubicBezTo>
                          <a:pt x="3" y="3"/>
                          <a:pt x="1" y="7"/>
                          <a:pt x="1" y="8"/>
                        </a:cubicBezTo>
                        <a:cubicBezTo>
                          <a:pt x="1" y="8"/>
                          <a:pt x="0" y="10"/>
                          <a:pt x="0" y="11"/>
                        </a:cubicBezTo>
                        <a:cubicBezTo>
                          <a:pt x="4" y="10"/>
                          <a:pt x="4" y="10"/>
                          <a:pt x="4" y="10"/>
                        </a:cubicBezTo>
                        <a:lnTo>
                          <a:pt x="8" y="10"/>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3" name="Freeform 303"/>
                  <p:cNvSpPr>
                    <a:spLocks/>
                  </p:cNvSpPr>
                  <p:nvPr/>
                </p:nvSpPr>
                <p:spPr bwMode="auto">
                  <a:xfrm>
                    <a:off x="4071377" y="3814220"/>
                    <a:ext cx="186577" cy="148412"/>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2147483647 w 24"/>
                      <a:gd name="T11" fmla="*/ 2147483647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2147483647 w 24"/>
                      <a:gd name="T23" fmla="*/ 2147483647 h 18"/>
                      <a:gd name="T24" fmla="*/ 2147483647 w 24"/>
                      <a:gd name="T25" fmla="*/ 2147483647 h 18"/>
                      <a:gd name="T26" fmla="*/ 2147483647 w 24"/>
                      <a:gd name="T27" fmla="*/ 2147483647 h 18"/>
                      <a:gd name="T28" fmla="*/ 2147483647 w 24"/>
                      <a:gd name="T29" fmla="*/ 2147483647 h 18"/>
                      <a:gd name="T30" fmla="*/ 2147483647 w 24"/>
                      <a:gd name="T31" fmla="*/ 2147483647 h 18"/>
                      <a:gd name="T32" fmla="*/ 2147483647 w 24"/>
                      <a:gd name="T33" fmla="*/ 0 h 18"/>
                      <a:gd name="T34" fmla="*/ 2147483647 w 24"/>
                      <a:gd name="T35" fmla="*/ 0 h 18"/>
                      <a:gd name="T36" fmla="*/ 2147483647 w 24"/>
                      <a:gd name="T37" fmla="*/ 2147483647 h 18"/>
                      <a:gd name="T38" fmla="*/ 2147483647 w 24"/>
                      <a:gd name="T39" fmla="*/ 2147483647 h 18"/>
                      <a:gd name="T40" fmla="*/ 2147483647 w 24"/>
                      <a:gd name="T41" fmla="*/ 2147483647 h 18"/>
                      <a:gd name="T42" fmla="*/ 0 w 24"/>
                      <a:gd name="T43" fmla="*/ 2147483647 h 18"/>
                      <a:gd name="T44" fmla="*/ 2147483647 w 24"/>
                      <a:gd name="T45" fmla="*/ 2147483647 h 18"/>
                      <a:gd name="T46" fmla="*/ 2147483647 w 24"/>
                      <a:gd name="T47" fmla="*/ 2147483647 h 18"/>
                      <a:gd name="T48" fmla="*/ 2147483647 w 24"/>
                      <a:gd name="T49" fmla="*/ 2147483647 h 18"/>
                      <a:gd name="T50" fmla="*/ 2147483647 w 24"/>
                      <a:gd name="T51" fmla="*/ 2147483647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4" name="Freeform 304"/>
                  <p:cNvSpPr>
                    <a:spLocks/>
                  </p:cNvSpPr>
                  <p:nvPr/>
                </p:nvSpPr>
                <p:spPr bwMode="auto">
                  <a:xfrm>
                    <a:off x="4025908" y="3707497"/>
                    <a:ext cx="145813" cy="116728"/>
                  </a:xfrm>
                  <a:custGeom>
                    <a:avLst/>
                    <a:gdLst>
                      <a:gd name="T0" fmla="*/ 2147483647 w 114"/>
                      <a:gd name="T1" fmla="*/ 2147483647 h 85"/>
                      <a:gd name="T2" fmla="*/ 2147483647 w 114"/>
                      <a:gd name="T3" fmla="*/ 2147483647 h 85"/>
                      <a:gd name="T4" fmla="*/ 2147483647 w 114"/>
                      <a:gd name="T5" fmla="*/ 2147483647 h 85"/>
                      <a:gd name="T6" fmla="*/ 2147483647 w 114"/>
                      <a:gd name="T7" fmla="*/ 2147483647 h 85"/>
                      <a:gd name="T8" fmla="*/ 2147483647 w 114"/>
                      <a:gd name="T9" fmla="*/ 2147483647 h 85"/>
                      <a:gd name="T10" fmla="*/ 2147483647 w 114"/>
                      <a:gd name="T11" fmla="*/ 2147483647 h 85"/>
                      <a:gd name="T12" fmla="*/ 2147483647 w 114"/>
                      <a:gd name="T13" fmla="*/ 2147483647 h 85"/>
                      <a:gd name="T14" fmla="*/ 2147483647 w 114"/>
                      <a:gd name="T15" fmla="*/ 2147483647 h 85"/>
                      <a:gd name="T16" fmla="*/ 2147483647 w 114"/>
                      <a:gd name="T17" fmla="*/ 2147483647 h 85"/>
                      <a:gd name="T18" fmla="*/ 2147483647 w 114"/>
                      <a:gd name="T19" fmla="*/ 2147483647 h 85"/>
                      <a:gd name="T20" fmla="*/ 2147483647 w 114"/>
                      <a:gd name="T21" fmla="*/ 2147483647 h 85"/>
                      <a:gd name="T22" fmla="*/ 2147483647 w 114"/>
                      <a:gd name="T23" fmla="*/ 0 h 85"/>
                      <a:gd name="T24" fmla="*/ 2147483647 w 114"/>
                      <a:gd name="T25" fmla="*/ 2147483647 h 85"/>
                      <a:gd name="T26" fmla="*/ 2147483647 w 114"/>
                      <a:gd name="T27" fmla="*/ 2147483647 h 85"/>
                      <a:gd name="T28" fmla="*/ 0 w 114"/>
                      <a:gd name="T29" fmla="*/ 2147483647 h 85"/>
                      <a:gd name="T30" fmla="*/ 2147483647 w 114"/>
                      <a:gd name="T31" fmla="*/ 2147483647 h 85"/>
                      <a:gd name="T32" fmla="*/ 2147483647 w 114"/>
                      <a:gd name="T33" fmla="*/ 2147483647 h 85"/>
                      <a:gd name="T34" fmla="*/ 2147483647 w 114"/>
                      <a:gd name="T35" fmla="*/ 2147483647 h 85"/>
                      <a:gd name="T36" fmla="*/ 2147483647 w 114"/>
                      <a:gd name="T37" fmla="*/ 2147483647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5" name="Freeform 305"/>
                  <p:cNvSpPr>
                    <a:spLocks/>
                  </p:cNvSpPr>
                  <p:nvPr/>
                </p:nvSpPr>
                <p:spPr bwMode="auto">
                  <a:xfrm>
                    <a:off x="4033748" y="3422348"/>
                    <a:ext cx="294762" cy="335175"/>
                  </a:xfrm>
                  <a:custGeom>
                    <a:avLst/>
                    <a:gdLst>
                      <a:gd name="T0" fmla="*/ 2147483647 w 38"/>
                      <a:gd name="T1" fmla="*/ 2147483647 h 41"/>
                      <a:gd name="T2" fmla="*/ 2147483647 w 38"/>
                      <a:gd name="T3" fmla="*/ 2147483647 h 41"/>
                      <a:gd name="T4" fmla="*/ 2147483647 w 38"/>
                      <a:gd name="T5" fmla="*/ 2147483647 h 41"/>
                      <a:gd name="T6" fmla="*/ 2147483647 w 38"/>
                      <a:gd name="T7" fmla="*/ 2147483647 h 41"/>
                      <a:gd name="T8" fmla="*/ 2147483647 w 38"/>
                      <a:gd name="T9" fmla="*/ 2147483647 h 41"/>
                      <a:gd name="T10" fmla="*/ 2147483647 w 38"/>
                      <a:gd name="T11" fmla="*/ 2147483647 h 41"/>
                      <a:gd name="T12" fmla="*/ 2147483647 w 38"/>
                      <a:gd name="T13" fmla="*/ 2147483647 h 41"/>
                      <a:gd name="T14" fmla="*/ 2147483647 w 38"/>
                      <a:gd name="T15" fmla="*/ 2147483647 h 41"/>
                      <a:gd name="T16" fmla="*/ 2147483647 w 38"/>
                      <a:gd name="T17" fmla="*/ 2147483647 h 41"/>
                      <a:gd name="T18" fmla="*/ 2147483647 w 38"/>
                      <a:gd name="T19" fmla="*/ 2147483647 h 41"/>
                      <a:gd name="T20" fmla="*/ 2147483647 w 38"/>
                      <a:gd name="T21" fmla="*/ 2147483647 h 41"/>
                      <a:gd name="T22" fmla="*/ 2147483647 w 38"/>
                      <a:gd name="T23" fmla="*/ 2147483647 h 41"/>
                      <a:gd name="T24" fmla="*/ 2147483647 w 38"/>
                      <a:gd name="T25" fmla="*/ 2147483647 h 41"/>
                      <a:gd name="T26" fmla="*/ 2147483647 w 38"/>
                      <a:gd name="T27" fmla="*/ 0 h 41"/>
                      <a:gd name="T28" fmla="*/ 2147483647 w 38"/>
                      <a:gd name="T29" fmla="*/ 2147483647 h 41"/>
                      <a:gd name="T30" fmla="*/ 2147483647 w 38"/>
                      <a:gd name="T31" fmla="*/ 2147483647 h 41"/>
                      <a:gd name="T32" fmla="*/ 2147483647 w 38"/>
                      <a:gd name="T33" fmla="*/ 2147483647 h 41"/>
                      <a:gd name="T34" fmla="*/ 2147483647 w 38"/>
                      <a:gd name="T35" fmla="*/ 2147483647 h 41"/>
                      <a:gd name="T36" fmla="*/ 2147483647 w 38"/>
                      <a:gd name="T37" fmla="*/ 2147483647 h 41"/>
                      <a:gd name="T38" fmla="*/ 2147483647 w 38"/>
                      <a:gd name="T39" fmla="*/ 2147483647 h 41"/>
                      <a:gd name="T40" fmla="*/ 0 w 38"/>
                      <a:gd name="T41" fmla="*/ 2147483647 h 41"/>
                      <a:gd name="T42" fmla="*/ 2147483647 w 38"/>
                      <a:gd name="T43" fmla="*/ 2147483647 h 41"/>
                      <a:gd name="T44" fmla="*/ 2147483647 w 38"/>
                      <a:gd name="T45" fmla="*/ 2147483647 h 41"/>
                      <a:gd name="T46" fmla="*/ 2147483647 w 38"/>
                      <a:gd name="T47" fmla="*/ 2147483647 h 41"/>
                      <a:gd name="T48" fmla="*/ 2147483647 w 38"/>
                      <a:gd name="T49" fmla="*/ 2147483647 h 41"/>
                      <a:gd name="T50" fmla="*/ 2147483647 w 38"/>
                      <a:gd name="T51" fmla="*/ 2147483647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8" h="41">
                        <a:moveTo>
                          <a:pt x="6" y="35"/>
                        </a:moveTo>
                        <a:cubicBezTo>
                          <a:pt x="11" y="38"/>
                          <a:pt x="11" y="38"/>
                          <a:pt x="11" y="38"/>
                        </a:cubicBezTo>
                        <a:cubicBezTo>
                          <a:pt x="13" y="40"/>
                          <a:pt x="13" y="40"/>
                          <a:pt x="13" y="40"/>
                        </a:cubicBezTo>
                        <a:cubicBezTo>
                          <a:pt x="15" y="41"/>
                          <a:pt x="15" y="41"/>
                          <a:pt x="15" y="41"/>
                        </a:cubicBezTo>
                        <a:cubicBezTo>
                          <a:pt x="15" y="41"/>
                          <a:pt x="15" y="41"/>
                          <a:pt x="15" y="41"/>
                        </a:cubicBezTo>
                        <a:cubicBezTo>
                          <a:pt x="18" y="38"/>
                          <a:pt x="18" y="38"/>
                          <a:pt x="18" y="38"/>
                        </a:cubicBezTo>
                        <a:cubicBezTo>
                          <a:pt x="20" y="40"/>
                          <a:pt x="20" y="40"/>
                          <a:pt x="20" y="40"/>
                        </a:cubicBezTo>
                        <a:cubicBezTo>
                          <a:pt x="21" y="39"/>
                          <a:pt x="21" y="39"/>
                          <a:pt x="21" y="39"/>
                        </a:cubicBezTo>
                        <a:cubicBezTo>
                          <a:pt x="35" y="39"/>
                          <a:pt x="35" y="39"/>
                          <a:pt x="35" y="39"/>
                        </a:cubicBezTo>
                        <a:cubicBezTo>
                          <a:pt x="38" y="37"/>
                          <a:pt x="38" y="37"/>
                          <a:pt x="38" y="37"/>
                        </a:cubicBezTo>
                        <a:cubicBezTo>
                          <a:pt x="36" y="36"/>
                          <a:pt x="36" y="36"/>
                          <a:pt x="36" y="36"/>
                        </a:cubicBezTo>
                        <a:cubicBezTo>
                          <a:pt x="33" y="7"/>
                          <a:pt x="33" y="7"/>
                          <a:pt x="33" y="7"/>
                        </a:cubicBezTo>
                        <a:cubicBezTo>
                          <a:pt x="36" y="7"/>
                          <a:pt x="36" y="7"/>
                          <a:pt x="36" y="7"/>
                        </a:cubicBezTo>
                        <a:cubicBezTo>
                          <a:pt x="27" y="0"/>
                          <a:pt x="27" y="0"/>
                          <a:pt x="27" y="0"/>
                        </a:cubicBezTo>
                        <a:cubicBezTo>
                          <a:pt x="27" y="3"/>
                          <a:pt x="27" y="3"/>
                          <a:pt x="27" y="3"/>
                        </a:cubicBezTo>
                        <a:cubicBezTo>
                          <a:pt x="17" y="3"/>
                          <a:pt x="17" y="3"/>
                          <a:pt x="17" y="3"/>
                        </a:cubicBezTo>
                        <a:cubicBezTo>
                          <a:pt x="16" y="11"/>
                          <a:pt x="16" y="11"/>
                          <a:pt x="16" y="11"/>
                        </a:cubicBezTo>
                        <a:cubicBezTo>
                          <a:pt x="14" y="13"/>
                          <a:pt x="14" y="13"/>
                          <a:pt x="14" y="13"/>
                        </a:cubicBezTo>
                        <a:cubicBezTo>
                          <a:pt x="14" y="13"/>
                          <a:pt x="14" y="20"/>
                          <a:pt x="13" y="20"/>
                        </a:cubicBezTo>
                        <a:cubicBezTo>
                          <a:pt x="13" y="20"/>
                          <a:pt x="5" y="19"/>
                          <a:pt x="1" y="19"/>
                        </a:cubicBezTo>
                        <a:cubicBezTo>
                          <a:pt x="0" y="20"/>
                          <a:pt x="0" y="20"/>
                          <a:pt x="0" y="20"/>
                        </a:cubicBezTo>
                        <a:cubicBezTo>
                          <a:pt x="3" y="26"/>
                          <a:pt x="3" y="26"/>
                          <a:pt x="3" y="26"/>
                        </a:cubicBezTo>
                        <a:cubicBezTo>
                          <a:pt x="3" y="33"/>
                          <a:pt x="3" y="33"/>
                          <a:pt x="3" y="33"/>
                        </a:cubicBezTo>
                        <a:cubicBezTo>
                          <a:pt x="1" y="36"/>
                          <a:pt x="1" y="36"/>
                          <a:pt x="1" y="36"/>
                        </a:cubicBezTo>
                        <a:cubicBezTo>
                          <a:pt x="4" y="36"/>
                          <a:pt x="4" y="36"/>
                          <a:pt x="4" y="36"/>
                        </a:cubicBezTo>
                        <a:lnTo>
                          <a:pt x="6" y="35"/>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6" name="Freeform 306"/>
                  <p:cNvSpPr>
                    <a:spLocks/>
                  </p:cNvSpPr>
                  <p:nvPr/>
                </p:nvSpPr>
                <p:spPr bwMode="auto">
                  <a:xfrm>
                    <a:off x="4634246" y="3282275"/>
                    <a:ext cx="693001" cy="286816"/>
                  </a:xfrm>
                  <a:custGeom>
                    <a:avLst/>
                    <a:gdLst>
                      <a:gd name="T0" fmla="*/ 0 w 36"/>
                      <a:gd name="T1" fmla="*/ 2147483647 h 35"/>
                      <a:gd name="T2" fmla="*/ 2147483647 w 36"/>
                      <a:gd name="T3" fmla="*/ 2147483647 h 35"/>
                      <a:gd name="T4" fmla="*/ 2147483647 w 36"/>
                      <a:gd name="T5" fmla="*/ 2147483647 h 35"/>
                      <a:gd name="T6" fmla="*/ 2147483647 w 36"/>
                      <a:gd name="T7" fmla="*/ 2147483647 h 35"/>
                      <a:gd name="T8" fmla="*/ 2147483647 w 36"/>
                      <a:gd name="T9" fmla="*/ 2147483647 h 35"/>
                      <a:gd name="T10" fmla="*/ 2147483647 w 36"/>
                      <a:gd name="T11" fmla="*/ 2147483647 h 35"/>
                      <a:gd name="T12" fmla="*/ 2147483647 w 36"/>
                      <a:gd name="T13" fmla="*/ 2147483647 h 35"/>
                      <a:gd name="T14" fmla="*/ 2147483647 w 36"/>
                      <a:gd name="T15" fmla="*/ 2147483647 h 35"/>
                      <a:gd name="T16" fmla="*/ 2147483647 w 36"/>
                      <a:gd name="T17" fmla="*/ 2147483647 h 35"/>
                      <a:gd name="T18" fmla="*/ 2147483647 w 36"/>
                      <a:gd name="T19" fmla="*/ 2147483647 h 35"/>
                      <a:gd name="T20" fmla="*/ 2147483647 w 36"/>
                      <a:gd name="T21" fmla="*/ 2147483647 h 35"/>
                      <a:gd name="T22" fmla="*/ 2147483647 w 36"/>
                      <a:gd name="T23" fmla="*/ 2147483647 h 35"/>
                      <a:gd name="T24" fmla="*/ 2147483647 w 36"/>
                      <a:gd name="T25" fmla="*/ 2147483647 h 35"/>
                      <a:gd name="T26" fmla="*/ 2147483647 w 36"/>
                      <a:gd name="T27" fmla="*/ 2147483647 h 35"/>
                      <a:gd name="T28" fmla="*/ 2147483647 w 36"/>
                      <a:gd name="T29" fmla="*/ 2147483647 h 35"/>
                      <a:gd name="T30" fmla="*/ 2147483647 w 36"/>
                      <a:gd name="T31" fmla="*/ 2147483647 h 35"/>
                      <a:gd name="T32" fmla="*/ 2147483647 w 36"/>
                      <a:gd name="T33" fmla="*/ 2147483647 h 35"/>
                      <a:gd name="T34" fmla="*/ 2147483647 w 36"/>
                      <a:gd name="T35" fmla="*/ 2147483647 h 35"/>
                      <a:gd name="T36" fmla="*/ 2147483647 w 36"/>
                      <a:gd name="T37" fmla="*/ 2147483647 h 35"/>
                      <a:gd name="T38" fmla="*/ 2147483647 w 36"/>
                      <a:gd name="T39" fmla="*/ 2147483647 h 35"/>
                      <a:gd name="T40" fmla="*/ 2147483647 w 36"/>
                      <a:gd name="T41" fmla="*/ 0 h 35"/>
                      <a:gd name="T42" fmla="*/ 2147483647 w 36"/>
                      <a:gd name="T43" fmla="*/ 0 h 35"/>
                      <a:gd name="T44" fmla="*/ 2147483647 w 36"/>
                      <a:gd name="T45" fmla="*/ 2147483647 h 35"/>
                      <a:gd name="T46" fmla="*/ 0 w 36"/>
                      <a:gd name="T47" fmla="*/ 214748364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6" h="35">
                        <a:moveTo>
                          <a:pt x="0" y="5"/>
                        </a:moveTo>
                        <a:cubicBezTo>
                          <a:pt x="0" y="5"/>
                          <a:pt x="1" y="7"/>
                          <a:pt x="1" y="8"/>
                        </a:cubicBezTo>
                        <a:cubicBezTo>
                          <a:pt x="1" y="8"/>
                          <a:pt x="2" y="10"/>
                          <a:pt x="2" y="10"/>
                        </a:cubicBezTo>
                        <a:cubicBezTo>
                          <a:pt x="2" y="10"/>
                          <a:pt x="1" y="35"/>
                          <a:pt x="2" y="35"/>
                        </a:cubicBezTo>
                        <a:cubicBezTo>
                          <a:pt x="2" y="35"/>
                          <a:pt x="2" y="35"/>
                          <a:pt x="3" y="35"/>
                        </a:cubicBezTo>
                        <a:cubicBezTo>
                          <a:pt x="7" y="35"/>
                          <a:pt x="29" y="35"/>
                          <a:pt x="29" y="35"/>
                        </a:cubicBezTo>
                        <a:cubicBezTo>
                          <a:pt x="34" y="32"/>
                          <a:pt x="34" y="32"/>
                          <a:pt x="34" y="32"/>
                        </a:cubicBezTo>
                        <a:cubicBezTo>
                          <a:pt x="36" y="30"/>
                          <a:pt x="36" y="30"/>
                          <a:pt x="36" y="30"/>
                        </a:cubicBezTo>
                        <a:cubicBezTo>
                          <a:pt x="36" y="30"/>
                          <a:pt x="36" y="30"/>
                          <a:pt x="36" y="30"/>
                        </a:cubicBezTo>
                        <a:cubicBezTo>
                          <a:pt x="33" y="23"/>
                          <a:pt x="33" y="23"/>
                          <a:pt x="33" y="23"/>
                        </a:cubicBezTo>
                        <a:cubicBezTo>
                          <a:pt x="29" y="15"/>
                          <a:pt x="29" y="15"/>
                          <a:pt x="29" y="15"/>
                        </a:cubicBezTo>
                        <a:cubicBezTo>
                          <a:pt x="24" y="8"/>
                          <a:pt x="24" y="8"/>
                          <a:pt x="24" y="8"/>
                        </a:cubicBezTo>
                        <a:cubicBezTo>
                          <a:pt x="31" y="12"/>
                          <a:pt x="31" y="12"/>
                          <a:pt x="31" y="12"/>
                        </a:cubicBezTo>
                        <a:cubicBezTo>
                          <a:pt x="34" y="9"/>
                          <a:pt x="34" y="9"/>
                          <a:pt x="34" y="9"/>
                        </a:cubicBezTo>
                        <a:cubicBezTo>
                          <a:pt x="33" y="9"/>
                          <a:pt x="33" y="9"/>
                          <a:pt x="33" y="9"/>
                        </a:cubicBezTo>
                        <a:cubicBezTo>
                          <a:pt x="30" y="1"/>
                          <a:pt x="30" y="1"/>
                          <a:pt x="30" y="1"/>
                        </a:cubicBezTo>
                        <a:cubicBezTo>
                          <a:pt x="28" y="3"/>
                          <a:pt x="28" y="3"/>
                          <a:pt x="28" y="3"/>
                        </a:cubicBezTo>
                        <a:cubicBezTo>
                          <a:pt x="22" y="2"/>
                          <a:pt x="22" y="2"/>
                          <a:pt x="22" y="2"/>
                        </a:cubicBezTo>
                        <a:cubicBezTo>
                          <a:pt x="19" y="1"/>
                          <a:pt x="19" y="1"/>
                          <a:pt x="19" y="1"/>
                        </a:cubicBezTo>
                        <a:cubicBezTo>
                          <a:pt x="12" y="3"/>
                          <a:pt x="12" y="3"/>
                          <a:pt x="12" y="3"/>
                        </a:cubicBezTo>
                        <a:cubicBezTo>
                          <a:pt x="6" y="0"/>
                          <a:pt x="6" y="0"/>
                          <a:pt x="6" y="0"/>
                        </a:cubicBezTo>
                        <a:cubicBezTo>
                          <a:pt x="2" y="0"/>
                          <a:pt x="2" y="0"/>
                          <a:pt x="2" y="0"/>
                        </a:cubicBezTo>
                        <a:cubicBezTo>
                          <a:pt x="1" y="2"/>
                          <a:pt x="1" y="2"/>
                          <a:pt x="1" y="2"/>
                        </a:cubicBezTo>
                        <a:lnTo>
                          <a:pt x="0" y="5"/>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7" name="Freeform 308"/>
                  <p:cNvSpPr>
                    <a:spLocks/>
                  </p:cNvSpPr>
                  <p:nvPr/>
                </p:nvSpPr>
                <p:spPr bwMode="auto">
                  <a:xfrm>
                    <a:off x="4627973" y="3110518"/>
                    <a:ext cx="101912" cy="203439"/>
                  </a:xfrm>
                  <a:custGeom>
                    <a:avLst/>
                    <a:gdLst>
                      <a:gd name="T0" fmla="*/ 2147483647 w 78"/>
                      <a:gd name="T1" fmla="*/ 2147483647 h 150"/>
                      <a:gd name="T2" fmla="*/ 2147483647 w 78"/>
                      <a:gd name="T3" fmla="*/ 2147483647 h 150"/>
                      <a:gd name="T4" fmla="*/ 2147483647 w 78"/>
                      <a:gd name="T5" fmla="*/ 2147483647 h 150"/>
                      <a:gd name="T6" fmla="*/ 0 w 78"/>
                      <a:gd name="T7" fmla="*/ 2147483647 h 150"/>
                      <a:gd name="T8" fmla="*/ 0 w 78"/>
                      <a:gd name="T9" fmla="*/ 2147483647 h 150"/>
                      <a:gd name="T10" fmla="*/ 2147483647 w 78"/>
                      <a:gd name="T11" fmla="*/ 2147483647 h 150"/>
                      <a:gd name="T12" fmla="*/ 2147483647 w 78"/>
                      <a:gd name="T13" fmla="*/ 2147483647 h 150"/>
                      <a:gd name="T14" fmla="*/ 2147483647 w 78"/>
                      <a:gd name="T15" fmla="*/ 2147483647 h 150"/>
                      <a:gd name="T16" fmla="*/ 2147483647 w 78"/>
                      <a:gd name="T17" fmla="*/ 2147483647 h 150"/>
                      <a:gd name="T18" fmla="*/ 2147483647 w 78"/>
                      <a:gd name="T19" fmla="*/ 2147483647 h 150"/>
                      <a:gd name="T20" fmla="*/ 2147483647 w 78"/>
                      <a:gd name="T21" fmla="*/ 2147483647 h 150"/>
                      <a:gd name="T22" fmla="*/ 2147483647 w 78"/>
                      <a:gd name="T23" fmla="*/ 2147483647 h 150"/>
                      <a:gd name="T24" fmla="*/ 2147483647 w 78"/>
                      <a:gd name="T25" fmla="*/ 2147483647 h 150"/>
                      <a:gd name="T26" fmla="*/ 2147483647 w 78"/>
                      <a:gd name="T27" fmla="*/ 2147483647 h 150"/>
                      <a:gd name="T28" fmla="*/ 2147483647 w 78"/>
                      <a:gd name="T29" fmla="*/ 2147483647 h 150"/>
                      <a:gd name="T30" fmla="*/ 2147483647 w 78"/>
                      <a:gd name="T31" fmla="*/ 2147483647 h 150"/>
                      <a:gd name="T32" fmla="*/ 2147483647 w 78"/>
                      <a:gd name="T33" fmla="*/ 2147483647 h 150"/>
                      <a:gd name="T34" fmla="*/ 2147483647 w 78"/>
                      <a:gd name="T35" fmla="*/ 2147483647 h 150"/>
                      <a:gd name="T36" fmla="*/ 2147483647 w 78"/>
                      <a:gd name="T37" fmla="*/ 0 h 150"/>
                      <a:gd name="T38" fmla="*/ 2147483647 w 78"/>
                      <a:gd name="T39" fmla="*/ 0 h 150"/>
                      <a:gd name="T40" fmla="*/ 2147483647 w 78"/>
                      <a:gd name="T41" fmla="*/ 2147483647 h 150"/>
                      <a:gd name="T42" fmla="*/ 2147483647 w 78"/>
                      <a:gd name="T43" fmla="*/ 2147483647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8" name="Freeform 309"/>
                  <p:cNvSpPr>
                    <a:spLocks/>
                  </p:cNvSpPr>
                  <p:nvPr/>
                </p:nvSpPr>
                <p:spPr bwMode="auto">
                  <a:xfrm>
                    <a:off x="4127820" y="3158877"/>
                    <a:ext cx="293193" cy="238457"/>
                  </a:xfrm>
                  <a:custGeom>
                    <a:avLst/>
                    <a:gdLst>
                      <a:gd name="T0" fmla="*/ 2147483647 w 228"/>
                      <a:gd name="T1" fmla="*/ 2147483647 h 174"/>
                      <a:gd name="T2" fmla="*/ 2147483647 w 228"/>
                      <a:gd name="T3" fmla="*/ 2147483647 h 174"/>
                      <a:gd name="T4" fmla="*/ 2147483647 w 228"/>
                      <a:gd name="T5" fmla="*/ 2147483647 h 174"/>
                      <a:gd name="T6" fmla="*/ 2147483647 w 228"/>
                      <a:gd name="T7" fmla="*/ 2147483647 h 174"/>
                      <a:gd name="T8" fmla="*/ 2147483647 w 228"/>
                      <a:gd name="T9" fmla="*/ 2147483647 h 174"/>
                      <a:gd name="T10" fmla="*/ 2147483647 w 228"/>
                      <a:gd name="T11" fmla="*/ 2147483647 h 174"/>
                      <a:gd name="T12" fmla="*/ 2147483647 w 228"/>
                      <a:gd name="T13" fmla="*/ 2147483647 h 174"/>
                      <a:gd name="T14" fmla="*/ 2147483647 w 228"/>
                      <a:gd name="T15" fmla="*/ 2147483647 h 174"/>
                      <a:gd name="T16" fmla="*/ 2147483647 w 228"/>
                      <a:gd name="T17" fmla="*/ 2147483647 h 174"/>
                      <a:gd name="T18" fmla="*/ 2147483647 w 228"/>
                      <a:gd name="T19" fmla="*/ 2147483647 h 174"/>
                      <a:gd name="T20" fmla="*/ 2147483647 w 228"/>
                      <a:gd name="T21" fmla="*/ 2147483647 h 174"/>
                      <a:gd name="T22" fmla="*/ 2147483647 w 228"/>
                      <a:gd name="T23" fmla="*/ 2147483647 h 174"/>
                      <a:gd name="T24" fmla="*/ 2147483647 w 228"/>
                      <a:gd name="T25" fmla="*/ 2147483647 h 174"/>
                      <a:gd name="T26" fmla="*/ 2147483647 w 228"/>
                      <a:gd name="T27" fmla="*/ 0 h 174"/>
                      <a:gd name="T28" fmla="*/ 2147483647 w 228"/>
                      <a:gd name="T29" fmla="*/ 2147483647 h 174"/>
                      <a:gd name="T30" fmla="*/ 2147483647 w 228"/>
                      <a:gd name="T31" fmla="*/ 2147483647 h 174"/>
                      <a:gd name="T32" fmla="*/ 2147483647 w 228"/>
                      <a:gd name="T33" fmla="*/ 2147483647 h 174"/>
                      <a:gd name="T34" fmla="*/ 2147483647 w 228"/>
                      <a:gd name="T35" fmla="*/ 2147483647 h 174"/>
                      <a:gd name="T36" fmla="*/ 2147483647 w 228"/>
                      <a:gd name="T37" fmla="*/ 2147483647 h 174"/>
                      <a:gd name="T38" fmla="*/ 0 w 228"/>
                      <a:gd name="T39" fmla="*/ 2147483647 h 174"/>
                      <a:gd name="T40" fmla="*/ 2147483647 w 228"/>
                      <a:gd name="T41" fmla="*/ 2147483647 h 174"/>
                      <a:gd name="T42" fmla="*/ 2147483647 w 228"/>
                      <a:gd name="T43" fmla="*/ 2147483647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19" name="Freeform 310"/>
                  <p:cNvSpPr>
                    <a:spLocks/>
                  </p:cNvSpPr>
                  <p:nvPr/>
                </p:nvSpPr>
                <p:spPr bwMode="auto">
                  <a:xfrm>
                    <a:off x="4040019" y="3397335"/>
                    <a:ext cx="202255" cy="186765"/>
                  </a:xfrm>
                  <a:custGeom>
                    <a:avLst/>
                    <a:gdLst>
                      <a:gd name="T0" fmla="*/ 2147483647 w 26"/>
                      <a:gd name="T1" fmla="*/ 2147483647 h 23"/>
                      <a:gd name="T2" fmla="*/ 2147483647 w 26"/>
                      <a:gd name="T3" fmla="*/ 2147483647 h 23"/>
                      <a:gd name="T4" fmla="*/ 2147483647 w 26"/>
                      <a:gd name="T5" fmla="*/ 2147483647 h 23"/>
                      <a:gd name="T6" fmla="*/ 2147483647 w 26"/>
                      <a:gd name="T7" fmla="*/ 2147483647 h 23"/>
                      <a:gd name="T8" fmla="*/ 2147483647 w 26"/>
                      <a:gd name="T9" fmla="*/ 2147483647 h 23"/>
                      <a:gd name="T10" fmla="*/ 2147483647 w 26"/>
                      <a:gd name="T11" fmla="*/ 2147483647 h 23"/>
                      <a:gd name="T12" fmla="*/ 2147483647 w 26"/>
                      <a:gd name="T13" fmla="*/ 0 h 23"/>
                      <a:gd name="T14" fmla="*/ 2147483647 w 26"/>
                      <a:gd name="T15" fmla="*/ 0 h 23"/>
                      <a:gd name="T16" fmla="*/ 2147483647 w 26"/>
                      <a:gd name="T17" fmla="*/ 2147483647 h 23"/>
                      <a:gd name="T18" fmla="*/ 2147483647 w 26"/>
                      <a:gd name="T19" fmla="*/ 2147483647 h 23"/>
                      <a:gd name="T20" fmla="*/ 0 w 26"/>
                      <a:gd name="T21" fmla="*/ 2147483647 h 23"/>
                      <a:gd name="T22" fmla="*/ 2147483647 w 26"/>
                      <a:gd name="T23" fmla="*/ 2147483647 h 23"/>
                      <a:gd name="T24" fmla="*/ 2147483647 w 26"/>
                      <a:gd name="T25" fmla="*/ 2147483647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20" name="Freeform 311"/>
                  <p:cNvSpPr>
                    <a:spLocks/>
                  </p:cNvSpPr>
                  <p:nvPr/>
                </p:nvSpPr>
                <p:spPr bwMode="auto">
                  <a:xfrm>
                    <a:off x="4049426" y="3814220"/>
                    <a:ext cx="61147" cy="50026"/>
                  </a:xfrm>
                  <a:custGeom>
                    <a:avLst/>
                    <a:gdLst>
                      <a:gd name="T0" fmla="*/ 2147483647 w 48"/>
                      <a:gd name="T1" fmla="*/ 2147483647 h 36"/>
                      <a:gd name="T2" fmla="*/ 2147483647 w 48"/>
                      <a:gd name="T3" fmla="*/ 2147483647 h 36"/>
                      <a:gd name="T4" fmla="*/ 2147483647 w 48"/>
                      <a:gd name="T5" fmla="*/ 0 h 36"/>
                      <a:gd name="T6" fmla="*/ 2147483647 w 48"/>
                      <a:gd name="T7" fmla="*/ 0 h 36"/>
                      <a:gd name="T8" fmla="*/ 2147483647 w 48"/>
                      <a:gd name="T9" fmla="*/ 2147483647 h 36"/>
                      <a:gd name="T10" fmla="*/ 0 w 48"/>
                      <a:gd name="T11" fmla="*/ 2147483647 h 36"/>
                      <a:gd name="T12" fmla="*/ 2147483647 w 48"/>
                      <a:gd name="T13" fmla="*/ 2147483647 h 36"/>
                      <a:gd name="T14" fmla="*/ 2147483647 w 48"/>
                      <a:gd name="T15" fmla="*/ 2147483647 h 36"/>
                      <a:gd name="T16" fmla="*/ 2147483647 w 48"/>
                      <a:gd name="T17" fmla="*/ 2147483647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21" name="Freeform 312"/>
                  <p:cNvSpPr>
                    <a:spLocks/>
                  </p:cNvSpPr>
                  <p:nvPr/>
                </p:nvSpPr>
                <p:spPr bwMode="auto">
                  <a:xfrm>
                    <a:off x="4987018" y="3529071"/>
                    <a:ext cx="401377" cy="523609"/>
                  </a:xfrm>
                  <a:custGeom>
                    <a:avLst/>
                    <a:gdLst>
                      <a:gd name="T0" fmla="*/ 2147483647 w 52"/>
                      <a:gd name="T1" fmla="*/ 2147483647 h 64"/>
                      <a:gd name="T2" fmla="*/ 2147483647 w 52"/>
                      <a:gd name="T3" fmla="*/ 2147483647 h 64"/>
                      <a:gd name="T4" fmla="*/ 2147483647 w 52"/>
                      <a:gd name="T5" fmla="*/ 2147483647 h 64"/>
                      <a:gd name="T6" fmla="*/ 2147483647 w 52"/>
                      <a:gd name="T7" fmla="*/ 2147483647 h 64"/>
                      <a:gd name="T8" fmla="*/ 2147483647 w 52"/>
                      <a:gd name="T9" fmla="*/ 2147483647 h 64"/>
                      <a:gd name="T10" fmla="*/ 2147483647 w 52"/>
                      <a:gd name="T11" fmla="*/ 2147483647 h 64"/>
                      <a:gd name="T12" fmla="*/ 2147483647 w 52"/>
                      <a:gd name="T13" fmla="*/ 2147483647 h 64"/>
                      <a:gd name="T14" fmla="*/ 2147483647 w 52"/>
                      <a:gd name="T15" fmla="*/ 2147483647 h 64"/>
                      <a:gd name="T16" fmla="*/ 2147483647 w 52"/>
                      <a:gd name="T17" fmla="*/ 2147483647 h 64"/>
                      <a:gd name="T18" fmla="*/ 0 w 52"/>
                      <a:gd name="T19" fmla="*/ 2147483647 h 64"/>
                      <a:gd name="T20" fmla="*/ 2147483647 w 52"/>
                      <a:gd name="T21" fmla="*/ 2147483647 h 64"/>
                      <a:gd name="T22" fmla="*/ 2147483647 w 52"/>
                      <a:gd name="T23" fmla="*/ 2147483647 h 64"/>
                      <a:gd name="T24" fmla="*/ 2147483647 w 52"/>
                      <a:gd name="T25" fmla="*/ 2147483647 h 64"/>
                      <a:gd name="T26" fmla="*/ 2147483647 w 52"/>
                      <a:gd name="T27" fmla="*/ 2147483647 h 64"/>
                      <a:gd name="T28" fmla="*/ 2147483647 w 52"/>
                      <a:gd name="T29" fmla="*/ 2147483647 h 64"/>
                      <a:gd name="T30" fmla="*/ 2147483647 w 52"/>
                      <a:gd name="T31" fmla="*/ 2147483647 h 64"/>
                      <a:gd name="T32" fmla="*/ 2147483647 w 52"/>
                      <a:gd name="T33" fmla="*/ 2147483647 h 64"/>
                      <a:gd name="T34" fmla="*/ 2147483647 w 52"/>
                      <a:gd name="T35" fmla="*/ 2147483647 h 64"/>
                      <a:gd name="T36" fmla="*/ 2147483647 w 52"/>
                      <a:gd name="T37" fmla="*/ 2147483647 h 64"/>
                      <a:gd name="T38" fmla="*/ 2147483647 w 52"/>
                      <a:gd name="T39" fmla="*/ 2147483647 h 64"/>
                      <a:gd name="T40" fmla="*/ 2147483647 w 52"/>
                      <a:gd name="T41" fmla="*/ 2147483647 h 64"/>
                      <a:gd name="T42" fmla="*/ 2147483647 w 52"/>
                      <a:gd name="T43" fmla="*/ 2147483647 h 64"/>
                      <a:gd name="T44" fmla="*/ 2147483647 w 52"/>
                      <a:gd name="T45" fmla="*/ 2147483647 h 64"/>
                      <a:gd name="T46" fmla="*/ 2147483647 w 52"/>
                      <a:gd name="T47" fmla="*/ 2147483647 h 64"/>
                      <a:gd name="T48" fmla="*/ 2147483647 w 52"/>
                      <a:gd name="T49" fmla="*/ 2147483647 h 64"/>
                      <a:gd name="T50" fmla="*/ 2147483647 w 52"/>
                      <a:gd name="T51" fmla="*/ 2147483647 h 64"/>
                      <a:gd name="T52" fmla="*/ 2147483647 w 52"/>
                      <a:gd name="T53" fmla="*/ 2147483647 h 64"/>
                      <a:gd name="T54" fmla="*/ 2147483647 w 52"/>
                      <a:gd name="T55" fmla="*/ 2147483647 h 64"/>
                      <a:gd name="T56" fmla="*/ 2147483647 w 52"/>
                      <a:gd name="T57" fmla="*/ 2147483647 h 64"/>
                      <a:gd name="T58" fmla="*/ 2147483647 w 52"/>
                      <a:gd name="T59" fmla="*/ 2147483647 h 64"/>
                      <a:gd name="T60" fmla="*/ 2147483647 w 52"/>
                      <a:gd name="T61" fmla="*/ 2147483647 h 64"/>
                      <a:gd name="T62" fmla="*/ 2147483647 w 52"/>
                      <a:gd name="T63" fmla="*/ 2147483647 h 64"/>
                      <a:gd name="T64" fmla="*/ 2147483647 w 52"/>
                      <a:gd name="T65" fmla="*/ 2147483647 h 64"/>
                      <a:gd name="T66" fmla="*/ 2147483647 w 52"/>
                      <a:gd name="T67" fmla="*/ 2147483647 h 64"/>
                      <a:gd name="T68" fmla="*/ 2147483647 w 52"/>
                      <a:gd name="T69" fmla="*/ 2147483647 h 64"/>
                      <a:gd name="T70" fmla="*/ 2147483647 w 52"/>
                      <a:gd name="T71" fmla="*/ 0 h 64"/>
                      <a:gd name="T72" fmla="*/ 2147483647 w 52"/>
                      <a:gd name="T73" fmla="*/ 2147483647 h 64"/>
                      <a:gd name="T74" fmla="*/ 2147483647 w 52"/>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2" h="64">
                        <a:moveTo>
                          <a:pt x="37" y="5"/>
                        </a:moveTo>
                        <a:cubicBezTo>
                          <a:pt x="37" y="5"/>
                          <a:pt x="15" y="5"/>
                          <a:pt x="11" y="5"/>
                        </a:cubicBezTo>
                        <a:cubicBezTo>
                          <a:pt x="10" y="11"/>
                          <a:pt x="10" y="11"/>
                          <a:pt x="10" y="11"/>
                        </a:cubicBezTo>
                        <a:cubicBezTo>
                          <a:pt x="7" y="11"/>
                          <a:pt x="7" y="11"/>
                          <a:pt x="7" y="11"/>
                        </a:cubicBezTo>
                        <a:cubicBezTo>
                          <a:pt x="7" y="14"/>
                          <a:pt x="7" y="14"/>
                          <a:pt x="7" y="14"/>
                        </a:cubicBezTo>
                        <a:cubicBezTo>
                          <a:pt x="6" y="13"/>
                          <a:pt x="6" y="13"/>
                          <a:pt x="6" y="13"/>
                        </a:cubicBezTo>
                        <a:cubicBezTo>
                          <a:pt x="5" y="25"/>
                          <a:pt x="5" y="25"/>
                          <a:pt x="5" y="25"/>
                        </a:cubicBezTo>
                        <a:cubicBezTo>
                          <a:pt x="2" y="27"/>
                          <a:pt x="2" y="27"/>
                          <a:pt x="2" y="27"/>
                        </a:cubicBezTo>
                        <a:cubicBezTo>
                          <a:pt x="1" y="32"/>
                          <a:pt x="1" y="32"/>
                          <a:pt x="1" y="32"/>
                        </a:cubicBezTo>
                        <a:cubicBezTo>
                          <a:pt x="0" y="35"/>
                          <a:pt x="0" y="35"/>
                          <a:pt x="0" y="35"/>
                        </a:cubicBezTo>
                        <a:cubicBezTo>
                          <a:pt x="3" y="41"/>
                          <a:pt x="3" y="41"/>
                          <a:pt x="3" y="41"/>
                        </a:cubicBezTo>
                        <a:cubicBezTo>
                          <a:pt x="5" y="45"/>
                          <a:pt x="5" y="45"/>
                          <a:pt x="5" y="45"/>
                        </a:cubicBezTo>
                        <a:cubicBezTo>
                          <a:pt x="8" y="50"/>
                          <a:pt x="8" y="50"/>
                          <a:pt x="8" y="50"/>
                        </a:cubicBezTo>
                        <a:cubicBezTo>
                          <a:pt x="12" y="52"/>
                          <a:pt x="12" y="52"/>
                          <a:pt x="12" y="52"/>
                        </a:cubicBezTo>
                        <a:cubicBezTo>
                          <a:pt x="18" y="58"/>
                          <a:pt x="18" y="58"/>
                          <a:pt x="18" y="58"/>
                        </a:cubicBezTo>
                        <a:cubicBezTo>
                          <a:pt x="20" y="61"/>
                          <a:pt x="20" y="61"/>
                          <a:pt x="20" y="61"/>
                        </a:cubicBezTo>
                        <a:cubicBezTo>
                          <a:pt x="25" y="61"/>
                          <a:pt x="25" y="61"/>
                          <a:pt x="25" y="61"/>
                        </a:cubicBezTo>
                        <a:cubicBezTo>
                          <a:pt x="29" y="64"/>
                          <a:pt x="29" y="64"/>
                          <a:pt x="29" y="64"/>
                        </a:cubicBezTo>
                        <a:cubicBezTo>
                          <a:pt x="36" y="63"/>
                          <a:pt x="36" y="63"/>
                          <a:pt x="36" y="63"/>
                        </a:cubicBezTo>
                        <a:cubicBezTo>
                          <a:pt x="41" y="61"/>
                          <a:pt x="41" y="61"/>
                          <a:pt x="41" y="61"/>
                        </a:cubicBezTo>
                        <a:cubicBezTo>
                          <a:pt x="44" y="61"/>
                          <a:pt x="44" y="61"/>
                          <a:pt x="44" y="61"/>
                        </a:cubicBezTo>
                        <a:cubicBezTo>
                          <a:pt x="44" y="59"/>
                          <a:pt x="44" y="59"/>
                          <a:pt x="44" y="59"/>
                        </a:cubicBezTo>
                        <a:cubicBezTo>
                          <a:pt x="42" y="57"/>
                          <a:pt x="42" y="57"/>
                          <a:pt x="42" y="57"/>
                        </a:cubicBezTo>
                        <a:cubicBezTo>
                          <a:pt x="39" y="54"/>
                          <a:pt x="39" y="54"/>
                          <a:pt x="39" y="54"/>
                        </a:cubicBezTo>
                        <a:cubicBezTo>
                          <a:pt x="35" y="51"/>
                          <a:pt x="35" y="51"/>
                          <a:pt x="35" y="51"/>
                        </a:cubicBezTo>
                        <a:cubicBezTo>
                          <a:pt x="36" y="48"/>
                          <a:pt x="36" y="48"/>
                          <a:pt x="36" y="48"/>
                        </a:cubicBezTo>
                        <a:cubicBezTo>
                          <a:pt x="38" y="48"/>
                          <a:pt x="38" y="48"/>
                          <a:pt x="38" y="48"/>
                        </a:cubicBezTo>
                        <a:cubicBezTo>
                          <a:pt x="39" y="42"/>
                          <a:pt x="39" y="42"/>
                          <a:pt x="39" y="42"/>
                        </a:cubicBezTo>
                        <a:cubicBezTo>
                          <a:pt x="43" y="38"/>
                          <a:pt x="43" y="38"/>
                          <a:pt x="43" y="38"/>
                        </a:cubicBezTo>
                        <a:cubicBezTo>
                          <a:pt x="46" y="32"/>
                          <a:pt x="46" y="32"/>
                          <a:pt x="46" y="32"/>
                        </a:cubicBezTo>
                        <a:cubicBezTo>
                          <a:pt x="47" y="21"/>
                          <a:pt x="47" y="21"/>
                          <a:pt x="47" y="21"/>
                        </a:cubicBezTo>
                        <a:cubicBezTo>
                          <a:pt x="50" y="19"/>
                          <a:pt x="50" y="19"/>
                          <a:pt x="50" y="19"/>
                        </a:cubicBezTo>
                        <a:cubicBezTo>
                          <a:pt x="52" y="18"/>
                          <a:pt x="52" y="18"/>
                          <a:pt x="52" y="18"/>
                        </a:cubicBezTo>
                        <a:cubicBezTo>
                          <a:pt x="50" y="13"/>
                          <a:pt x="50" y="13"/>
                          <a:pt x="50" y="13"/>
                        </a:cubicBezTo>
                        <a:cubicBezTo>
                          <a:pt x="47" y="4"/>
                          <a:pt x="47" y="4"/>
                          <a:pt x="47" y="4"/>
                        </a:cubicBezTo>
                        <a:cubicBezTo>
                          <a:pt x="44" y="0"/>
                          <a:pt x="44" y="0"/>
                          <a:pt x="44" y="0"/>
                        </a:cubicBezTo>
                        <a:cubicBezTo>
                          <a:pt x="42" y="2"/>
                          <a:pt x="42" y="2"/>
                          <a:pt x="42" y="2"/>
                        </a:cubicBezTo>
                        <a:lnTo>
                          <a:pt x="37" y="5"/>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22" name="Freeform 313"/>
                  <p:cNvSpPr>
                    <a:spLocks/>
                  </p:cNvSpPr>
                  <p:nvPr/>
                </p:nvSpPr>
                <p:spPr bwMode="auto">
                  <a:xfrm>
                    <a:off x="4242276" y="3872584"/>
                    <a:ext cx="147381" cy="155080"/>
                  </a:xfrm>
                  <a:custGeom>
                    <a:avLst/>
                    <a:gdLst>
                      <a:gd name="T0" fmla="*/ 2147483647 w 19"/>
                      <a:gd name="T1" fmla="*/ 2147483647 h 19"/>
                      <a:gd name="T2" fmla="*/ 2147483647 w 19"/>
                      <a:gd name="T3" fmla="*/ 2147483647 h 19"/>
                      <a:gd name="T4" fmla="*/ 2147483647 w 19"/>
                      <a:gd name="T5" fmla="*/ 2147483647 h 19"/>
                      <a:gd name="T6" fmla="*/ 2147483647 w 19"/>
                      <a:gd name="T7" fmla="*/ 2147483647 h 19"/>
                      <a:gd name="T8" fmla="*/ 2147483647 w 19"/>
                      <a:gd name="T9" fmla="*/ 2147483647 h 19"/>
                      <a:gd name="T10" fmla="*/ 2147483647 w 19"/>
                      <a:gd name="T11" fmla="*/ 2147483647 h 19"/>
                      <a:gd name="T12" fmla="*/ 2147483647 w 19"/>
                      <a:gd name="T13" fmla="*/ 0 h 19"/>
                      <a:gd name="T14" fmla="*/ 2147483647 w 19"/>
                      <a:gd name="T15" fmla="*/ 0 h 19"/>
                      <a:gd name="T16" fmla="*/ 2147483647 w 19"/>
                      <a:gd name="T17" fmla="*/ 0 h 19"/>
                      <a:gd name="T18" fmla="*/ 2147483647 w 19"/>
                      <a:gd name="T19" fmla="*/ 2147483647 h 19"/>
                      <a:gd name="T20" fmla="*/ 2147483647 w 19"/>
                      <a:gd name="T21" fmla="*/ 2147483647 h 19"/>
                      <a:gd name="T22" fmla="*/ 2147483647 w 19"/>
                      <a:gd name="T23" fmla="*/ 2147483647 h 19"/>
                      <a:gd name="T24" fmla="*/ 2147483647 w 19"/>
                      <a:gd name="T25" fmla="*/ 2147483647 h 19"/>
                      <a:gd name="T26" fmla="*/ 0 w 19"/>
                      <a:gd name="T27" fmla="*/ 2147483647 h 19"/>
                      <a:gd name="T28" fmla="*/ 2147483647 w 19"/>
                      <a:gd name="T29" fmla="*/ 2147483647 h 19"/>
                      <a:gd name="T30" fmla="*/ 2147483647 w 19"/>
                      <a:gd name="T31" fmla="*/ 2147483647 h 19"/>
                      <a:gd name="T32" fmla="*/ 2147483647 w 19"/>
                      <a:gd name="T33" fmla="*/ 2147483647 h 19"/>
                      <a:gd name="T34" fmla="*/ 2147483647 w 19"/>
                      <a:gd name="T35" fmla="*/ 2147483647 h 19"/>
                      <a:gd name="T36" fmla="*/ 2147483647 w 19"/>
                      <a:gd name="T37" fmla="*/ 2147483647 h 19"/>
                      <a:gd name="T38" fmla="*/ 2147483647 w 19"/>
                      <a:gd name="T39" fmla="*/ 2147483647 h 19"/>
                      <a:gd name="T40" fmla="*/ 2147483647 w 19"/>
                      <a:gd name="T41" fmla="*/ 2147483647 h 19"/>
                      <a:gd name="T42" fmla="*/ 2147483647 w 19"/>
                      <a:gd name="T43" fmla="*/ 2147483647 h 19"/>
                      <a:gd name="T44" fmla="*/ 2147483647 w 19"/>
                      <a:gd name="T45" fmla="*/ 2147483647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23" name="Freeform 314"/>
                  <p:cNvSpPr>
                    <a:spLocks/>
                  </p:cNvSpPr>
                  <p:nvPr/>
                </p:nvSpPr>
                <p:spPr bwMode="auto">
                  <a:xfrm>
                    <a:off x="4167016" y="3930948"/>
                    <a:ext cx="105048" cy="96718"/>
                  </a:xfrm>
                  <a:custGeom>
                    <a:avLst/>
                    <a:gdLst>
                      <a:gd name="T0" fmla="*/ 2147483647 w 14"/>
                      <a:gd name="T1" fmla="*/ 2147483647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0 h 12"/>
                      <a:gd name="T12" fmla="*/ 2147483647 w 14"/>
                      <a:gd name="T13" fmla="*/ 2147483647 h 12"/>
                      <a:gd name="T14" fmla="*/ 2147483647 w 14"/>
                      <a:gd name="T15" fmla="*/ 2147483647 h 12"/>
                      <a:gd name="T16" fmla="*/ 0 w 14"/>
                      <a:gd name="T17" fmla="*/ 2147483647 h 12"/>
                      <a:gd name="T18" fmla="*/ 2147483647 w 14"/>
                      <a:gd name="T19" fmla="*/ 2147483647 h 12"/>
                      <a:gd name="T20" fmla="*/ 2147483647 w 14"/>
                      <a:gd name="T21" fmla="*/ 2147483647 h 12"/>
                      <a:gd name="T22" fmla="*/ 2147483647 w 14"/>
                      <a:gd name="T23" fmla="*/ 2147483647 h 12"/>
                      <a:gd name="T24" fmla="*/ 2147483647 w 14"/>
                      <a:gd name="T25" fmla="*/ 2147483647 h 12"/>
                      <a:gd name="T26" fmla="*/ 2147483647 w 14"/>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24" name="Freeform 315"/>
                  <p:cNvSpPr>
                    <a:spLocks/>
                  </p:cNvSpPr>
                  <p:nvPr/>
                </p:nvSpPr>
                <p:spPr bwMode="auto">
                  <a:xfrm>
                    <a:off x="4118413" y="3897597"/>
                    <a:ext cx="78394" cy="73372"/>
                  </a:xfrm>
                  <a:custGeom>
                    <a:avLst/>
                    <a:gdLst>
                      <a:gd name="T0" fmla="*/ 2147483647 w 60"/>
                      <a:gd name="T1" fmla="*/ 2147483647 h 54"/>
                      <a:gd name="T2" fmla="*/ 2147483647 w 60"/>
                      <a:gd name="T3" fmla="*/ 2147483647 h 54"/>
                      <a:gd name="T4" fmla="*/ 2147483647 w 60"/>
                      <a:gd name="T5" fmla="*/ 2147483647 h 54"/>
                      <a:gd name="T6" fmla="*/ 2147483647 w 60"/>
                      <a:gd name="T7" fmla="*/ 0 h 54"/>
                      <a:gd name="T8" fmla="*/ 2147483647 w 60"/>
                      <a:gd name="T9" fmla="*/ 0 h 54"/>
                      <a:gd name="T10" fmla="*/ 2147483647 w 60"/>
                      <a:gd name="T11" fmla="*/ 2147483647 h 54"/>
                      <a:gd name="T12" fmla="*/ 0 w 60"/>
                      <a:gd name="T13" fmla="*/ 2147483647 h 54"/>
                      <a:gd name="T14" fmla="*/ 2147483647 w 60"/>
                      <a:gd name="T15" fmla="*/ 2147483647 h 54"/>
                      <a:gd name="T16" fmla="*/ 2147483647 w 60"/>
                      <a:gd name="T17" fmla="*/ 2147483647 h 54"/>
                      <a:gd name="T18" fmla="*/ 2147483647 w 60"/>
                      <a:gd name="T19" fmla="*/ 2147483647 h 54"/>
                      <a:gd name="T20" fmla="*/ 2147483647 w 60"/>
                      <a:gd name="T21" fmla="*/ 2147483647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25" name="Rectangle 316"/>
                  <p:cNvSpPr>
                    <a:spLocks noChangeArrowheads="1"/>
                  </p:cNvSpPr>
                  <p:nvPr/>
                </p:nvSpPr>
                <p:spPr bwMode="auto">
                  <a:xfrm>
                    <a:off x="4232868" y="3397335"/>
                    <a:ext cx="9407" cy="25013"/>
                  </a:xfrm>
                  <a:prstGeom prst="rect">
                    <a:avLst/>
                  </a:prstGeom>
                  <a:solidFill>
                    <a:sysClr val="window" lastClr="FFFFFF"/>
                  </a:solidFill>
                  <a:ln w="9525">
                    <a:solidFill>
                      <a:sysClr val="window" lastClr="FFFFFF">
                        <a:lumMod val="50000"/>
                      </a:sysClr>
                    </a:solidFill>
                    <a:miter lim="800000"/>
                    <a:headEnd/>
                    <a:tailEnd/>
                  </a:ln>
                </p:spPr>
                <p:txBody>
                  <a:bodyPr/>
                  <a:lstStyle>
                    <a:lvl1pPr>
                      <a:defRPr sz="1400" b="1">
                        <a:solidFill>
                          <a:schemeClr val="bg1"/>
                        </a:solidFill>
                        <a:latin typeface="Arial" charset="0"/>
                        <a:ea typeface="ＭＳ Ｐゴシック" pitchFamily="34" charset="-128"/>
                      </a:defRPr>
                    </a:lvl1pPr>
                    <a:lvl2pPr marL="742950" indent="-285750">
                      <a:defRPr sz="1400" b="1">
                        <a:solidFill>
                          <a:schemeClr val="bg1"/>
                        </a:solidFill>
                        <a:latin typeface="Arial" charset="0"/>
                        <a:ea typeface="ＭＳ Ｐゴシック" pitchFamily="34" charset="-128"/>
                      </a:defRPr>
                    </a:lvl2pPr>
                    <a:lvl3pPr marL="1143000" indent="-228600">
                      <a:defRPr sz="1400" b="1">
                        <a:solidFill>
                          <a:schemeClr val="bg1"/>
                        </a:solidFill>
                        <a:latin typeface="Arial" charset="0"/>
                        <a:ea typeface="ＭＳ Ｐゴシック" pitchFamily="34" charset="-128"/>
                      </a:defRPr>
                    </a:lvl3pPr>
                    <a:lvl4pPr marL="1600200" indent="-228600">
                      <a:defRPr sz="1400" b="1">
                        <a:solidFill>
                          <a:schemeClr val="bg1"/>
                        </a:solidFill>
                        <a:latin typeface="Arial" charset="0"/>
                        <a:ea typeface="ＭＳ Ｐゴシック" pitchFamily="34" charset="-128"/>
                      </a:defRPr>
                    </a:lvl4pPr>
                    <a:lvl5pPr marL="2057400" indent="-228600">
                      <a:defRPr sz="1400" b="1">
                        <a:solidFill>
                          <a:schemeClr val="bg1"/>
                        </a:solidFill>
                        <a:latin typeface="Arial" charset="0"/>
                        <a:ea typeface="ＭＳ Ｐゴシック" pitchFamily="34" charset="-128"/>
                      </a:defRPr>
                    </a:lvl5pPr>
                    <a:lvl6pPr marL="2514600" indent="-228600" eaLnBrk="0" fontAlgn="base" hangingPunct="0">
                      <a:spcBef>
                        <a:spcPct val="0"/>
                      </a:spcBef>
                      <a:spcAft>
                        <a:spcPct val="0"/>
                      </a:spcAft>
                      <a:defRPr sz="1400" b="1">
                        <a:solidFill>
                          <a:schemeClr val="bg1"/>
                        </a:solidFill>
                        <a:latin typeface="Arial" charset="0"/>
                        <a:ea typeface="ＭＳ Ｐゴシック" pitchFamily="34" charset="-128"/>
                      </a:defRPr>
                    </a:lvl6pPr>
                    <a:lvl7pPr marL="2971800" indent="-228600" eaLnBrk="0" fontAlgn="base" hangingPunct="0">
                      <a:spcBef>
                        <a:spcPct val="0"/>
                      </a:spcBef>
                      <a:spcAft>
                        <a:spcPct val="0"/>
                      </a:spcAft>
                      <a:defRPr sz="1400" b="1">
                        <a:solidFill>
                          <a:schemeClr val="bg1"/>
                        </a:solidFill>
                        <a:latin typeface="Arial" charset="0"/>
                        <a:ea typeface="ＭＳ Ｐゴシック" pitchFamily="34" charset="-128"/>
                      </a:defRPr>
                    </a:lvl7pPr>
                    <a:lvl8pPr marL="3429000" indent="-228600" eaLnBrk="0" fontAlgn="base" hangingPunct="0">
                      <a:spcBef>
                        <a:spcPct val="0"/>
                      </a:spcBef>
                      <a:spcAft>
                        <a:spcPct val="0"/>
                      </a:spcAft>
                      <a:defRPr sz="1400" b="1">
                        <a:solidFill>
                          <a:schemeClr val="bg1"/>
                        </a:solidFill>
                        <a:latin typeface="Arial" charset="0"/>
                        <a:ea typeface="ＭＳ Ｐゴシック" pitchFamily="34" charset="-128"/>
                      </a:defRPr>
                    </a:lvl8pPr>
                    <a:lvl9pPr marL="3886200" indent="-228600" eaLnBrk="0" fontAlgn="base" hangingPunct="0">
                      <a:spcBef>
                        <a:spcPct val="0"/>
                      </a:spcBef>
                      <a:spcAft>
                        <a:spcPct val="0"/>
                      </a:spcAft>
                      <a:defRPr sz="1400" b="1">
                        <a:solidFill>
                          <a:schemeClr val="bg1"/>
                        </a:solidFill>
                        <a:latin typeface="Arial" charset="0"/>
                        <a:ea typeface="ＭＳ Ｐゴシック" pitchFamily="34" charset="-128"/>
                      </a:defRPr>
                    </a:lvl9pPr>
                  </a:lstStyle>
                  <a:p>
                    <a:pPr algn="ctr">
                      <a:spcBef>
                        <a:spcPct val="15000"/>
                      </a:spcBef>
                      <a:defRPr/>
                    </a:pPr>
                    <a:endParaRPr lang="en-US" altLang="en-US" kern="0">
                      <a:solidFill>
                        <a:prstClr val="white"/>
                      </a:solidFill>
                    </a:endParaRPr>
                  </a:p>
                </p:txBody>
              </p:sp>
              <p:sp>
                <p:nvSpPr>
                  <p:cNvPr id="526" name="Freeform 317"/>
                  <p:cNvSpPr>
                    <a:spLocks/>
                  </p:cNvSpPr>
                  <p:nvPr/>
                </p:nvSpPr>
                <p:spPr bwMode="auto">
                  <a:xfrm>
                    <a:off x="4232868" y="3110518"/>
                    <a:ext cx="506426" cy="530278"/>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27" name="Freeform 318"/>
                  <p:cNvSpPr>
                    <a:spLocks/>
                  </p:cNvSpPr>
                  <p:nvPr/>
                </p:nvSpPr>
                <p:spPr bwMode="auto">
                  <a:xfrm>
                    <a:off x="4232868" y="3110518"/>
                    <a:ext cx="506426" cy="530278"/>
                  </a:xfrm>
                  <a:custGeom>
                    <a:avLst/>
                    <a:gdLst>
                      <a:gd name="T0" fmla="*/ 2147483647 w 390"/>
                      <a:gd name="T1" fmla="*/ 2147483647 h 390"/>
                      <a:gd name="T2" fmla="*/ 2147483647 w 390"/>
                      <a:gd name="T3" fmla="*/ 2147483647 h 390"/>
                      <a:gd name="T4" fmla="*/ 2147483647 w 390"/>
                      <a:gd name="T5" fmla="*/ 2147483647 h 390"/>
                      <a:gd name="T6" fmla="*/ 2147483647 w 390"/>
                      <a:gd name="T7" fmla="*/ 2147483647 h 390"/>
                      <a:gd name="T8" fmla="*/ 2147483647 w 390"/>
                      <a:gd name="T9" fmla="*/ 2147483647 h 390"/>
                      <a:gd name="T10" fmla="*/ 2147483647 w 390"/>
                      <a:gd name="T11" fmla="*/ 2147483647 h 390"/>
                      <a:gd name="T12" fmla="*/ 2147483647 w 390"/>
                      <a:gd name="T13" fmla="*/ 2147483647 h 390"/>
                      <a:gd name="T14" fmla="*/ 2147483647 w 390"/>
                      <a:gd name="T15" fmla="*/ 2147483647 h 390"/>
                      <a:gd name="T16" fmla="*/ 2147483647 w 390"/>
                      <a:gd name="T17" fmla="*/ 2147483647 h 390"/>
                      <a:gd name="T18" fmla="*/ 2147483647 w 390"/>
                      <a:gd name="T19" fmla="*/ 2147483647 h 390"/>
                      <a:gd name="T20" fmla="*/ 2147483647 w 390"/>
                      <a:gd name="T21" fmla="*/ 2147483647 h 390"/>
                      <a:gd name="T22" fmla="*/ 2147483647 w 390"/>
                      <a:gd name="T23" fmla="*/ 2147483647 h 390"/>
                      <a:gd name="T24" fmla="*/ 2147483647 w 390"/>
                      <a:gd name="T25" fmla="*/ 2147483647 h 390"/>
                      <a:gd name="T26" fmla="*/ 2147483647 w 390"/>
                      <a:gd name="T27" fmla="*/ 2147483647 h 390"/>
                      <a:gd name="T28" fmla="*/ 2147483647 w 390"/>
                      <a:gd name="T29" fmla="*/ 2147483647 h 390"/>
                      <a:gd name="T30" fmla="*/ 2147483647 w 390"/>
                      <a:gd name="T31" fmla="*/ 2147483647 h 390"/>
                      <a:gd name="T32" fmla="*/ 2147483647 w 390"/>
                      <a:gd name="T33" fmla="*/ 2147483647 h 390"/>
                      <a:gd name="T34" fmla="*/ 2147483647 w 390"/>
                      <a:gd name="T35" fmla="*/ 2147483647 h 390"/>
                      <a:gd name="T36" fmla="*/ 2147483647 w 390"/>
                      <a:gd name="T37" fmla="*/ 2147483647 h 390"/>
                      <a:gd name="T38" fmla="*/ 2147483647 w 390"/>
                      <a:gd name="T39" fmla="*/ 2147483647 h 390"/>
                      <a:gd name="T40" fmla="*/ 2147483647 w 390"/>
                      <a:gd name="T41" fmla="*/ 2147483647 h 390"/>
                      <a:gd name="T42" fmla="*/ 2147483647 w 390"/>
                      <a:gd name="T43" fmla="*/ 2147483647 h 390"/>
                      <a:gd name="T44" fmla="*/ 2147483647 w 390"/>
                      <a:gd name="T45" fmla="*/ 2147483647 h 390"/>
                      <a:gd name="T46" fmla="*/ 2147483647 w 390"/>
                      <a:gd name="T47" fmla="*/ 2147483647 h 390"/>
                      <a:gd name="T48" fmla="*/ 2147483647 w 390"/>
                      <a:gd name="T49" fmla="*/ 0 h 390"/>
                      <a:gd name="T50" fmla="*/ 2147483647 w 390"/>
                      <a:gd name="T51" fmla="*/ 2147483647 h 390"/>
                      <a:gd name="T52" fmla="*/ 2147483647 w 390"/>
                      <a:gd name="T53" fmla="*/ 2147483647 h 390"/>
                      <a:gd name="T54" fmla="*/ 2147483647 w 390"/>
                      <a:gd name="T55" fmla="*/ 2147483647 h 390"/>
                      <a:gd name="T56" fmla="*/ 2147483647 w 390"/>
                      <a:gd name="T57" fmla="*/ 2147483647 h 390"/>
                      <a:gd name="T58" fmla="*/ 2147483647 w 390"/>
                      <a:gd name="T59" fmla="*/ 2147483647 h 390"/>
                      <a:gd name="T60" fmla="*/ 2147483647 w 390"/>
                      <a:gd name="T61" fmla="*/ 2147483647 h 390"/>
                      <a:gd name="T62" fmla="*/ 2147483647 w 390"/>
                      <a:gd name="T63" fmla="*/ 2147483647 h 390"/>
                      <a:gd name="T64" fmla="*/ 2147483647 w 390"/>
                      <a:gd name="T65" fmla="*/ 2147483647 h 390"/>
                      <a:gd name="T66" fmla="*/ 2147483647 w 390"/>
                      <a:gd name="T67" fmla="*/ 2147483647 h 390"/>
                      <a:gd name="T68" fmla="*/ 2147483647 w 390"/>
                      <a:gd name="T69" fmla="*/ 2147483647 h 390"/>
                      <a:gd name="T70" fmla="*/ 2147483647 w 390"/>
                      <a:gd name="T71" fmla="*/ 2147483647 h 390"/>
                      <a:gd name="T72" fmla="*/ 2147483647 w 390"/>
                      <a:gd name="T73" fmla="*/ 2147483647 h 390"/>
                      <a:gd name="T74" fmla="*/ 2147483647 w 390"/>
                      <a:gd name="T75" fmla="*/ 2147483647 h 390"/>
                      <a:gd name="T76" fmla="*/ 2147483647 w 390"/>
                      <a:gd name="T77" fmla="*/ 2147483647 h 390"/>
                      <a:gd name="T78" fmla="*/ 0 w 390"/>
                      <a:gd name="T79" fmla="*/ 2147483647 h 390"/>
                      <a:gd name="T80" fmla="*/ 2147483647 w 390"/>
                      <a:gd name="T81" fmla="*/ 2147483647 h 390"/>
                      <a:gd name="T82" fmla="*/ 2147483647 w 390"/>
                      <a:gd name="T83" fmla="*/ 2147483647 h 390"/>
                      <a:gd name="T84" fmla="*/ 2147483647 w 390"/>
                      <a:gd name="T85" fmla="*/ 2147483647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28" name="Freeform 327"/>
                  <p:cNvSpPr>
                    <a:spLocks/>
                  </p:cNvSpPr>
                  <p:nvPr/>
                </p:nvSpPr>
                <p:spPr bwMode="auto">
                  <a:xfrm>
                    <a:off x="5675317" y="3100513"/>
                    <a:ext cx="25085" cy="18343"/>
                  </a:xfrm>
                  <a:custGeom>
                    <a:avLst/>
                    <a:gdLst>
                      <a:gd name="T0" fmla="*/ 0 w 18"/>
                      <a:gd name="T1" fmla="*/ 0 h 12"/>
                      <a:gd name="T2" fmla="*/ 2147483647 w 18"/>
                      <a:gd name="T3" fmla="*/ 2147483647 h 12"/>
                      <a:gd name="T4" fmla="*/ 2147483647 w 18"/>
                      <a:gd name="T5" fmla="*/ 2147483647 h 12"/>
                      <a:gd name="T6" fmla="*/ 2147483647 w 18"/>
                      <a:gd name="T7" fmla="*/ 0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18" y="12"/>
                        </a:lnTo>
                        <a:lnTo>
                          <a:pt x="6" y="0"/>
                        </a:lnTo>
                        <a:lnTo>
                          <a:pt x="0"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29" name="Freeform 328"/>
                  <p:cNvSpPr>
                    <a:spLocks/>
                  </p:cNvSpPr>
                  <p:nvPr/>
                </p:nvSpPr>
                <p:spPr bwMode="auto">
                  <a:xfrm>
                    <a:off x="5639256" y="3060491"/>
                    <a:ext cx="14111" cy="25013"/>
                  </a:xfrm>
                  <a:custGeom>
                    <a:avLst/>
                    <a:gdLst>
                      <a:gd name="T0" fmla="*/ 0 w 12"/>
                      <a:gd name="T1" fmla="*/ 0 h 18"/>
                      <a:gd name="T2" fmla="*/ 2147483647 w 12"/>
                      <a:gd name="T3" fmla="*/ 2147483647 h 18"/>
                      <a:gd name="T4" fmla="*/ 2147483647 w 12"/>
                      <a:gd name="T5" fmla="*/ 2147483647 h 18"/>
                      <a:gd name="T6" fmla="*/ 0 w 12"/>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8">
                        <a:moveTo>
                          <a:pt x="0" y="0"/>
                        </a:moveTo>
                        <a:lnTo>
                          <a:pt x="12" y="18"/>
                        </a:lnTo>
                        <a:lnTo>
                          <a:pt x="12" y="12"/>
                        </a:lnTo>
                        <a:lnTo>
                          <a:pt x="0"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30" name="Freeform 334"/>
                  <p:cNvSpPr>
                    <a:spLocks/>
                  </p:cNvSpPr>
                  <p:nvPr/>
                </p:nvSpPr>
                <p:spPr bwMode="auto">
                  <a:xfrm>
                    <a:off x="4954093" y="1576379"/>
                    <a:ext cx="263404" cy="615324"/>
                  </a:xfrm>
                  <a:custGeom>
                    <a:avLst/>
                    <a:gdLst>
                      <a:gd name="T0" fmla="*/ 2147483647 w 34"/>
                      <a:gd name="T1" fmla="*/ 2147483647 h 75"/>
                      <a:gd name="T2" fmla="*/ 2147483647 w 34"/>
                      <a:gd name="T3" fmla="*/ 2147483647 h 75"/>
                      <a:gd name="T4" fmla="*/ 2147483647 w 34"/>
                      <a:gd name="T5" fmla="*/ 2147483647 h 75"/>
                      <a:gd name="T6" fmla="*/ 2147483647 w 34"/>
                      <a:gd name="T7" fmla="*/ 2147483647 h 75"/>
                      <a:gd name="T8" fmla="*/ 2147483647 w 34"/>
                      <a:gd name="T9" fmla="*/ 2147483647 h 75"/>
                      <a:gd name="T10" fmla="*/ 2147483647 w 34"/>
                      <a:gd name="T11" fmla="*/ 2147483647 h 75"/>
                      <a:gd name="T12" fmla="*/ 2147483647 w 34"/>
                      <a:gd name="T13" fmla="*/ 2147483647 h 75"/>
                      <a:gd name="T14" fmla="*/ 2147483647 w 34"/>
                      <a:gd name="T15" fmla="*/ 2147483647 h 75"/>
                      <a:gd name="T16" fmla="*/ 2147483647 w 34"/>
                      <a:gd name="T17" fmla="*/ 2147483647 h 75"/>
                      <a:gd name="T18" fmla="*/ 2147483647 w 34"/>
                      <a:gd name="T19" fmla="*/ 2147483647 h 75"/>
                      <a:gd name="T20" fmla="*/ 2147483647 w 34"/>
                      <a:gd name="T21" fmla="*/ 2147483647 h 75"/>
                      <a:gd name="T22" fmla="*/ 2147483647 w 34"/>
                      <a:gd name="T23" fmla="*/ 2147483647 h 75"/>
                      <a:gd name="T24" fmla="*/ 2147483647 w 34"/>
                      <a:gd name="T25" fmla="*/ 2147483647 h 75"/>
                      <a:gd name="T26" fmla="*/ 2147483647 w 34"/>
                      <a:gd name="T27" fmla="*/ 2147483647 h 75"/>
                      <a:gd name="T28" fmla="*/ 2147483647 w 34"/>
                      <a:gd name="T29" fmla="*/ 2147483647 h 75"/>
                      <a:gd name="T30" fmla="*/ 2147483647 w 34"/>
                      <a:gd name="T31" fmla="*/ 2147483647 h 75"/>
                      <a:gd name="T32" fmla="*/ 2147483647 w 34"/>
                      <a:gd name="T33" fmla="*/ 2147483647 h 75"/>
                      <a:gd name="T34" fmla="*/ 2147483647 w 34"/>
                      <a:gd name="T35" fmla="*/ 2147483647 h 75"/>
                      <a:gd name="T36" fmla="*/ 2147483647 w 34"/>
                      <a:gd name="T37" fmla="*/ 2147483647 h 75"/>
                      <a:gd name="T38" fmla="*/ 2147483647 w 34"/>
                      <a:gd name="T39" fmla="*/ 2147483647 h 75"/>
                      <a:gd name="T40" fmla="*/ 2147483647 w 34"/>
                      <a:gd name="T41" fmla="*/ 2147483647 h 75"/>
                      <a:gd name="T42" fmla="*/ 2147483647 w 34"/>
                      <a:gd name="T43" fmla="*/ 0 h 75"/>
                      <a:gd name="T44" fmla="*/ 2147483647 w 34"/>
                      <a:gd name="T45" fmla="*/ 2147483647 h 75"/>
                      <a:gd name="T46" fmla="*/ 2147483647 w 34"/>
                      <a:gd name="T47" fmla="*/ 2147483647 h 75"/>
                      <a:gd name="T48" fmla="*/ 2147483647 w 34"/>
                      <a:gd name="T49" fmla="*/ 2147483647 h 75"/>
                      <a:gd name="T50" fmla="*/ 2147483647 w 34"/>
                      <a:gd name="T51" fmla="*/ 2147483647 h 75"/>
                      <a:gd name="T52" fmla="*/ 2147483647 w 34"/>
                      <a:gd name="T53" fmla="*/ 2147483647 h 75"/>
                      <a:gd name="T54" fmla="*/ 2147483647 w 34"/>
                      <a:gd name="T55" fmla="*/ 2147483647 h 75"/>
                      <a:gd name="T56" fmla="*/ 2147483647 w 34"/>
                      <a:gd name="T57" fmla="*/ 2147483647 h 75"/>
                      <a:gd name="T58" fmla="*/ 2147483647 w 34"/>
                      <a:gd name="T59" fmla="*/ 2147483647 h 75"/>
                      <a:gd name="T60" fmla="*/ 2147483647 w 34"/>
                      <a:gd name="T61" fmla="*/ 2147483647 h 75"/>
                      <a:gd name="T62" fmla="*/ 2147483647 w 34"/>
                      <a:gd name="T63" fmla="*/ 2147483647 h 75"/>
                      <a:gd name="T64" fmla="*/ 0 w 34"/>
                      <a:gd name="T65" fmla="*/ 2147483647 h 75"/>
                      <a:gd name="T66" fmla="*/ 2147483647 w 34"/>
                      <a:gd name="T67" fmla="*/ 2147483647 h 75"/>
                      <a:gd name="T68" fmla="*/ 2147483647 w 34"/>
                      <a:gd name="T69" fmla="*/ 2147483647 h 75"/>
                      <a:gd name="T70" fmla="*/ 2147483647 w 34"/>
                      <a:gd name="T71" fmla="*/ 2147483647 h 75"/>
                      <a:gd name="T72" fmla="*/ 2147483647 w 34"/>
                      <a:gd name="T73" fmla="*/ 2147483647 h 75"/>
                      <a:gd name="T74" fmla="*/ 2147483647 w 34"/>
                      <a:gd name="T75" fmla="*/ 2147483647 h 75"/>
                      <a:gd name="T76" fmla="*/ 2147483647 w 34"/>
                      <a:gd name="T77" fmla="*/ 2147483647 h 75"/>
                      <a:gd name="T78" fmla="*/ 2147483647 w 34"/>
                      <a:gd name="T79" fmla="*/ 2147483647 h 75"/>
                      <a:gd name="T80" fmla="*/ 2147483647 w 34"/>
                      <a:gd name="T81" fmla="*/ 2147483647 h 75"/>
                      <a:gd name="T82" fmla="*/ 2147483647 w 34"/>
                      <a:gd name="T83" fmla="*/ 2147483647 h 75"/>
                      <a:gd name="T84" fmla="*/ 2147483647 w 34"/>
                      <a:gd name="T85" fmla="*/ 2147483647 h 75"/>
                      <a:gd name="T86" fmla="*/ 2147483647 w 34"/>
                      <a:gd name="T87" fmla="*/ 2147483647 h 75"/>
                      <a:gd name="T88" fmla="*/ 2147483647 w 34"/>
                      <a:gd name="T89" fmla="*/ 2147483647 h 75"/>
                      <a:gd name="T90" fmla="*/ 2147483647 w 34"/>
                      <a:gd name="T91" fmla="*/ 2147483647 h 75"/>
                      <a:gd name="T92" fmla="*/ 2147483647 w 34"/>
                      <a:gd name="T93" fmla="*/ 2147483647 h 75"/>
                      <a:gd name="T94" fmla="*/ 2147483647 w 34"/>
                      <a:gd name="T95" fmla="*/ 2147483647 h 75"/>
                      <a:gd name="T96" fmla="*/ 2147483647 w 34"/>
                      <a:gd name="T97" fmla="*/ 2147483647 h 75"/>
                      <a:gd name="T98" fmla="*/ 2147483647 w 34"/>
                      <a:gd name="T99" fmla="*/ 2147483647 h 75"/>
                      <a:gd name="T100" fmla="*/ 2147483647 w 34"/>
                      <a:gd name="T101" fmla="*/ 2147483647 h 75"/>
                      <a:gd name="T102" fmla="*/ 2147483647 w 34"/>
                      <a:gd name="T103" fmla="*/ 2147483647 h 75"/>
                      <a:gd name="T104" fmla="*/ 2147483647 w 34"/>
                      <a:gd name="T105" fmla="*/ 2147483647 h 75"/>
                      <a:gd name="T106" fmla="*/ 2147483647 w 34"/>
                      <a:gd name="T107" fmla="*/ 2147483647 h 75"/>
                      <a:gd name="T108" fmla="*/ 2147483647 w 34"/>
                      <a:gd name="T109" fmla="*/ 2147483647 h 75"/>
                      <a:gd name="T110" fmla="*/ 2147483647 w 34"/>
                      <a:gd name="T111" fmla="*/ 2147483647 h 75"/>
                      <a:gd name="T112" fmla="*/ 2147483647 w 34"/>
                      <a:gd name="T113" fmla="*/ 2147483647 h 75"/>
                      <a:gd name="T114" fmla="*/ 2147483647 w 34"/>
                      <a:gd name="T115" fmla="*/ 2147483647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31" name="Freeform 335"/>
                  <p:cNvSpPr>
                    <a:spLocks/>
                  </p:cNvSpPr>
                  <p:nvPr/>
                </p:nvSpPr>
                <p:spPr bwMode="auto">
                  <a:xfrm>
                    <a:off x="5225336" y="2551891"/>
                    <a:ext cx="15678" cy="8337"/>
                  </a:xfrm>
                  <a:custGeom>
                    <a:avLst/>
                    <a:gdLst>
                      <a:gd name="T0" fmla="*/ 2147483647 w 12"/>
                      <a:gd name="T1" fmla="*/ 2147483647 h 6"/>
                      <a:gd name="T2" fmla="*/ 0 w 12"/>
                      <a:gd name="T3" fmla="*/ 0 h 6"/>
                      <a:gd name="T4" fmla="*/ 0 w 12"/>
                      <a:gd name="T5" fmla="*/ 2147483647 h 6"/>
                      <a:gd name="T6" fmla="*/ 2147483647 w 12"/>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6">
                        <a:moveTo>
                          <a:pt x="12" y="6"/>
                        </a:moveTo>
                        <a:lnTo>
                          <a:pt x="0" y="0"/>
                        </a:lnTo>
                        <a:lnTo>
                          <a:pt x="0" y="6"/>
                        </a:lnTo>
                        <a:lnTo>
                          <a:pt x="12" y="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32" name="Freeform 336"/>
                  <p:cNvSpPr>
                    <a:spLocks/>
                  </p:cNvSpPr>
                  <p:nvPr/>
                </p:nvSpPr>
                <p:spPr bwMode="auto">
                  <a:xfrm>
                    <a:off x="5124992" y="881256"/>
                    <a:ext cx="3745664" cy="2132785"/>
                  </a:xfrm>
                  <a:custGeom>
                    <a:avLst/>
                    <a:gdLst>
                      <a:gd name="T0" fmla="*/ 2147483647 w 483"/>
                      <a:gd name="T1" fmla="*/ 2147483647 h 260"/>
                      <a:gd name="T2" fmla="*/ 2147483647 w 483"/>
                      <a:gd name="T3" fmla="*/ 2147483647 h 260"/>
                      <a:gd name="T4" fmla="*/ 2147483647 w 483"/>
                      <a:gd name="T5" fmla="*/ 2147483647 h 260"/>
                      <a:gd name="T6" fmla="*/ 2147483647 w 483"/>
                      <a:gd name="T7" fmla="*/ 2147483647 h 260"/>
                      <a:gd name="T8" fmla="*/ 2147483647 w 483"/>
                      <a:gd name="T9" fmla="*/ 2147483647 h 260"/>
                      <a:gd name="T10" fmla="*/ 2147483647 w 483"/>
                      <a:gd name="T11" fmla="*/ 2147483647 h 260"/>
                      <a:gd name="T12" fmla="*/ 2147483647 w 483"/>
                      <a:gd name="T13" fmla="*/ 2147483647 h 260"/>
                      <a:gd name="T14" fmla="*/ 2147483647 w 483"/>
                      <a:gd name="T15" fmla="*/ 2147483647 h 260"/>
                      <a:gd name="T16" fmla="*/ 2147483647 w 483"/>
                      <a:gd name="T17" fmla="*/ 2147483647 h 260"/>
                      <a:gd name="T18" fmla="*/ 2147483647 w 483"/>
                      <a:gd name="T19" fmla="*/ 2147483647 h 260"/>
                      <a:gd name="T20" fmla="*/ 2147483647 w 483"/>
                      <a:gd name="T21" fmla="*/ 2147483647 h 260"/>
                      <a:gd name="T22" fmla="*/ 2147483647 w 483"/>
                      <a:gd name="T23" fmla="*/ 2147483647 h 260"/>
                      <a:gd name="T24" fmla="*/ 2147483647 w 483"/>
                      <a:gd name="T25" fmla="*/ 2147483647 h 260"/>
                      <a:gd name="T26" fmla="*/ 2147483647 w 483"/>
                      <a:gd name="T27" fmla="*/ 2147483647 h 260"/>
                      <a:gd name="T28" fmla="*/ 2147483647 w 483"/>
                      <a:gd name="T29" fmla="*/ 2147483647 h 260"/>
                      <a:gd name="T30" fmla="*/ 2147483647 w 483"/>
                      <a:gd name="T31" fmla="*/ 2147483647 h 260"/>
                      <a:gd name="T32" fmla="*/ 2147483647 w 483"/>
                      <a:gd name="T33" fmla="*/ 2147483647 h 260"/>
                      <a:gd name="T34" fmla="*/ 2147483647 w 483"/>
                      <a:gd name="T35" fmla="*/ 2147483647 h 260"/>
                      <a:gd name="T36" fmla="*/ 2147483647 w 483"/>
                      <a:gd name="T37" fmla="*/ 2147483647 h 260"/>
                      <a:gd name="T38" fmla="*/ 2147483647 w 483"/>
                      <a:gd name="T39" fmla="*/ 2147483647 h 260"/>
                      <a:gd name="T40" fmla="*/ 2147483647 w 483"/>
                      <a:gd name="T41" fmla="*/ 2147483647 h 260"/>
                      <a:gd name="T42" fmla="*/ 2147483647 w 483"/>
                      <a:gd name="T43" fmla="*/ 2147483647 h 260"/>
                      <a:gd name="T44" fmla="*/ 2147483647 w 483"/>
                      <a:gd name="T45" fmla="*/ 2147483647 h 260"/>
                      <a:gd name="T46" fmla="*/ 2147483647 w 483"/>
                      <a:gd name="T47" fmla="*/ 2147483647 h 260"/>
                      <a:gd name="T48" fmla="*/ 2147483647 w 483"/>
                      <a:gd name="T49" fmla="*/ 2147483647 h 260"/>
                      <a:gd name="T50" fmla="*/ 2147483647 w 483"/>
                      <a:gd name="T51" fmla="*/ 2147483647 h 260"/>
                      <a:gd name="T52" fmla="*/ 2147483647 w 483"/>
                      <a:gd name="T53" fmla="*/ 2147483647 h 260"/>
                      <a:gd name="T54" fmla="*/ 2147483647 w 483"/>
                      <a:gd name="T55" fmla="*/ 2147483647 h 260"/>
                      <a:gd name="T56" fmla="*/ 2147483647 w 483"/>
                      <a:gd name="T57" fmla="*/ 2147483647 h 260"/>
                      <a:gd name="T58" fmla="*/ 2147483647 w 483"/>
                      <a:gd name="T59" fmla="*/ 2147483647 h 260"/>
                      <a:gd name="T60" fmla="*/ 2147483647 w 483"/>
                      <a:gd name="T61" fmla="*/ 2147483647 h 260"/>
                      <a:gd name="T62" fmla="*/ 2147483647 w 483"/>
                      <a:gd name="T63" fmla="*/ 2147483647 h 260"/>
                      <a:gd name="T64" fmla="*/ 2147483647 w 483"/>
                      <a:gd name="T65" fmla="*/ 2147483647 h 260"/>
                      <a:gd name="T66" fmla="*/ 2147483647 w 483"/>
                      <a:gd name="T67" fmla="*/ 2147483647 h 260"/>
                      <a:gd name="T68" fmla="*/ 2147483647 w 483"/>
                      <a:gd name="T69" fmla="*/ 2147483647 h 260"/>
                      <a:gd name="T70" fmla="*/ 2147483647 w 483"/>
                      <a:gd name="T71" fmla="*/ 2147483647 h 260"/>
                      <a:gd name="T72" fmla="*/ 2147483647 w 483"/>
                      <a:gd name="T73" fmla="*/ 2147483647 h 260"/>
                      <a:gd name="T74" fmla="*/ 2147483647 w 483"/>
                      <a:gd name="T75" fmla="*/ 2147483647 h 260"/>
                      <a:gd name="T76" fmla="*/ 2147483647 w 483"/>
                      <a:gd name="T77" fmla="*/ 2147483647 h 260"/>
                      <a:gd name="T78" fmla="*/ 2147483647 w 483"/>
                      <a:gd name="T79" fmla="*/ 2147483647 h 260"/>
                      <a:gd name="T80" fmla="*/ 2147483647 w 483"/>
                      <a:gd name="T81" fmla="*/ 2147483647 h 260"/>
                      <a:gd name="T82" fmla="*/ 2147483647 w 483"/>
                      <a:gd name="T83" fmla="*/ 2147483647 h 260"/>
                      <a:gd name="T84" fmla="*/ 2147483647 w 483"/>
                      <a:gd name="T85" fmla="*/ 2147483647 h 260"/>
                      <a:gd name="T86" fmla="*/ 2147483647 w 483"/>
                      <a:gd name="T87" fmla="*/ 2147483647 h 260"/>
                      <a:gd name="T88" fmla="*/ 2147483647 w 483"/>
                      <a:gd name="T89" fmla="*/ 2147483647 h 260"/>
                      <a:gd name="T90" fmla="*/ 2147483647 w 483"/>
                      <a:gd name="T91" fmla="*/ 2147483647 h 260"/>
                      <a:gd name="T92" fmla="*/ 2147483647 w 483"/>
                      <a:gd name="T93" fmla="*/ 2147483647 h 260"/>
                      <a:gd name="T94" fmla="*/ 2147483647 w 483"/>
                      <a:gd name="T95" fmla="*/ 2147483647 h 260"/>
                      <a:gd name="T96" fmla="*/ 2147483647 w 483"/>
                      <a:gd name="T97" fmla="*/ 2147483647 h 260"/>
                      <a:gd name="T98" fmla="*/ 2147483647 w 483"/>
                      <a:gd name="T99" fmla="*/ 2147483647 h 260"/>
                      <a:gd name="T100" fmla="*/ 2147483647 w 483"/>
                      <a:gd name="T101" fmla="*/ 2147483647 h 260"/>
                      <a:gd name="T102" fmla="*/ 2147483647 w 483"/>
                      <a:gd name="T103" fmla="*/ 2147483647 h 260"/>
                      <a:gd name="T104" fmla="*/ 2147483647 w 483"/>
                      <a:gd name="T105" fmla="*/ 2147483647 h 260"/>
                      <a:gd name="T106" fmla="*/ 2147483647 w 483"/>
                      <a:gd name="T107" fmla="*/ 2147483647 h 260"/>
                      <a:gd name="T108" fmla="*/ 2147483647 w 483"/>
                      <a:gd name="T109" fmla="*/ 2147483647 h 260"/>
                      <a:gd name="T110" fmla="*/ 2147483647 w 483"/>
                      <a:gd name="T111" fmla="*/ 2147483647 h 260"/>
                      <a:gd name="T112" fmla="*/ 2147483647 w 483"/>
                      <a:gd name="T113" fmla="*/ 2147483647 h 260"/>
                      <a:gd name="T114" fmla="*/ 2147483647 w 483"/>
                      <a:gd name="T115" fmla="*/ 2147483647 h 260"/>
                      <a:gd name="T116" fmla="*/ 2147483647 w 483"/>
                      <a:gd name="T117" fmla="*/ 2147483647 h 260"/>
                      <a:gd name="T118" fmla="*/ 2147483647 w 483"/>
                      <a:gd name="T119" fmla="*/ 2147483647 h 260"/>
                      <a:gd name="T120" fmla="*/ 2147483647 w 483"/>
                      <a:gd name="T121" fmla="*/ 2147483647 h 260"/>
                      <a:gd name="T122" fmla="*/ 2147483647 w 483"/>
                      <a:gd name="T123" fmla="*/ 2147483647 h 2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83" h="260">
                        <a:moveTo>
                          <a:pt x="482" y="127"/>
                        </a:moveTo>
                        <a:cubicBezTo>
                          <a:pt x="483" y="96"/>
                          <a:pt x="483" y="96"/>
                          <a:pt x="483" y="96"/>
                        </a:cubicBezTo>
                        <a:cubicBezTo>
                          <a:pt x="480" y="95"/>
                          <a:pt x="480" y="95"/>
                          <a:pt x="480" y="95"/>
                        </a:cubicBezTo>
                        <a:cubicBezTo>
                          <a:pt x="478" y="94"/>
                          <a:pt x="478" y="94"/>
                          <a:pt x="478" y="94"/>
                        </a:cubicBezTo>
                        <a:cubicBezTo>
                          <a:pt x="478" y="94"/>
                          <a:pt x="474" y="90"/>
                          <a:pt x="474" y="90"/>
                        </a:cubicBezTo>
                        <a:cubicBezTo>
                          <a:pt x="473" y="89"/>
                          <a:pt x="470" y="89"/>
                          <a:pt x="470" y="89"/>
                        </a:cubicBezTo>
                        <a:cubicBezTo>
                          <a:pt x="463" y="88"/>
                          <a:pt x="463" y="88"/>
                          <a:pt x="463" y="88"/>
                        </a:cubicBezTo>
                        <a:cubicBezTo>
                          <a:pt x="459" y="87"/>
                          <a:pt x="459" y="87"/>
                          <a:pt x="459" y="87"/>
                        </a:cubicBezTo>
                        <a:cubicBezTo>
                          <a:pt x="456" y="87"/>
                          <a:pt x="456" y="87"/>
                          <a:pt x="456" y="87"/>
                        </a:cubicBezTo>
                        <a:cubicBezTo>
                          <a:pt x="454" y="87"/>
                          <a:pt x="454" y="87"/>
                          <a:pt x="454" y="87"/>
                        </a:cubicBezTo>
                        <a:cubicBezTo>
                          <a:pt x="455" y="95"/>
                          <a:pt x="455" y="95"/>
                          <a:pt x="455" y="95"/>
                        </a:cubicBezTo>
                        <a:cubicBezTo>
                          <a:pt x="455" y="95"/>
                          <a:pt x="451" y="97"/>
                          <a:pt x="451" y="97"/>
                        </a:cubicBezTo>
                        <a:cubicBezTo>
                          <a:pt x="450" y="97"/>
                          <a:pt x="448" y="94"/>
                          <a:pt x="448" y="94"/>
                        </a:cubicBezTo>
                        <a:cubicBezTo>
                          <a:pt x="445" y="91"/>
                          <a:pt x="445" y="91"/>
                          <a:pt x="445" y="91"/>
                        </a:cubicBezTo>
                        <a:cubicBezTo>
                          <a:pt x="445" y="89"/>
                          <a:pt x="445" y="89"/>
                          <a:pt x="445" y="89"/>
                        </a:cubicBezTo>
                        <a:cubicBezTo>
                          <a:pt x="440" y="89"/>
                          <a:pt x="440" y="89"/>
                          <a:pt x="440" y="89"/>
                        </a:cubicBezTo>
                        <a:cubicBezTo>
                          <a:pt x="437" y="90"/>
                          <a:pt x="437" y="90"/>
                          <a:pt x="437" y="90"/>
                        </a:cubicBezTo>
                        <a:cubicBezTo>
                          <a:pt x="431" y="89"/>
                          <a:pt x="431" y="89"/>
                          <a:pt x="431" y="89"/>
                        </a:cubicBezTo>
                        <a:cubicBezTo>
                          <a:pt x="426" y="89"/>
                          <a:pt x="426" y="89"/>
                          <a:pt x="426" y="89"/>
                        </a:cubicBezTo>
                        <a:cubicBezTo>
                          <a:pt x="423" y="90"/>
                          <a:pt x="423" y="90"/>
                          <a:pt x="423" y="90"/>
                        </a:cubicBezTo>
                        <a:cubicBezTo>
                          <a:pt x="419" y="87"/>
                          <a:pt x="419" y="87"/>
                          <a:pt x="419" y="87"/>
                        </a:cubicBezTo>
                        <a:cubicBezTo>
                          <a:pt x="419" y="80"/>
                          <a:pt x="419" y="80"/>
                          <a:pt x="419" y="80"/>
                        </a:cubicBezTo>
                        <a:cubicBezTo>
                          <a:pt x="413" y="77"/>
                          <a:pt x="413" y="77"/>
                          <a:pt x="413" y="77"/>
                        </a:cubicBezTo>
                        <a:cubicBezTo>
                          <a:pt x="403" y="77"/>
                          <a:pt x="403" y="77"/>
                          <a:pt x="403" y="77"/>
                        </a:cubicBezTo>
                        <a:cubicBezTo>
                          <a:pt x="394" y="77"/>
                          <a:pt x="394" y="77"/>
                          <a:pt x="394" y="77"/>
                        </a:cubicBezTo>
                        <a:cubicBezTo>
                          <a:pt x="393" y="75"/>
                          <a:pt x="393" y="75"/>
                          <a:pt x="393" y="75"/>
                        </a:cubicBezTo>
                        <a:cubicBezTo>
                          <a:pt x="392" y="72"/>
                          <a:pt x="392" y="72"/>
                          <a:pt x="392" y="72"/>
                        </a:cubicBezTo>
                        <a:cubicBezTo>
                          <a:pt x="386" y="69"/>
                          <a:pt x="386" y="69"/>
                          <a:pt x="386" y="69"/>
                        </a:cubicBezTo>
                        <a:cubicBezTo>
                          <a:pt x="386" y="64"/>
                          <a:pt x="386" y="64"/>
                          <a:pt x="386" y="64"/>
                        </a:cubicBezTo>
                        <a:cubicBezTo>
                          <a:pt x="362" y="59"/>
                          <a:pt x="362" y="59"/>
                          <a:pt x="362" y="59"/>
                        </a:cubicBezTo>
                        <a:cubicBezTo>
                          <a:pt x="361" y="61"/>
                          <a:pt x="361" y="61"/>
                          <a:pt x="361" y="61"/>
                        </a:cubicBezTo>
                        <a:cubicBezTo>
                          <a:pt x="356" y="65"/>
                          <a:pt x="356" y="65"/>
                          <a:pt x="356" y="65"/>
                        </a:cubicBezTo>
                        <a:cubicBezTo>
                          <a:pt x="357" y="71"/>
                          <a:pt x="357" y="71"/>
                          <a:pt x="357" y="71"/>
                        </a:cubicBezTo>
                        <a:cubicBezTo>
                          <a:pt x="351" y="73"/>
                          <a:pt x="351" y="73"/>
                          <a:pt x="351" y="73"/>
                        </a:cubicBezTo>
                        <a:cubicBezTo>
                          <a:pt x="347" y="72"/>
                          <a:pt x="347" y="72"/>
                          <a:pt x="347" y="72"/>
                        </a:cubicBezTo>
                        <a:cubicBezTo>
                          <a:pt x="342" y="70"/>
                          <a:pt x="342" y="70"/>
                          <a:pt x="342" y="70"/>
                        </a:cubicBezTo>
                        <a:cubicBezTo>
                          <a:pt x="340" y="72"/>
                          <a:pt x="340" y="72"/>
                          <a:pt x="340" y="72"/>
                        </a:cubicBezTo>
                        <a:cubicBezTo>
                          <a:pt x="336" y="71"/>
                          <a:pt x="336" y="71"/>
                          <a:pt x="336" y="71"/>
                        </a:cubicBezTo>
                        <a:cubicBezTo>
                          <a:pt x="332" y="68"/>
                          <a:pt x="332" y="68"/>
                          <a:pt x="332" y="68"/>
                        </a:cubicBezTo>
                        <a:cubicBezTo>
                          <a:pt x="331" y="74"/>
                          <a:pt x="331" y="74"/>
                          <a:pt x="331" y="74"/>
                        </a:cubicBezTo>
                        <a:cubicBezTo>
                          <a:pt x="328" y="78"/>
                          <a:pt x="328" y="78"/>
                          <a:pt x="328" y="78"/>
                        </a:cubicBezTo>
                        <a:cubicBezTo>
                          <a:pt x="323" y="73"/>
                          <a:pt x="323" y="73"/>
                          <a:pt x="323" y="73"/>
                        </a:cubicBezTo>
                        <a:cubicBezTo>
                          <a:pt x="320" y="67"/>
                          <a:pt x="320" y="67"/>
                          <a:pt x="320" y="67"/>
                        </a:cubicBezTo>
                        <a:cubicBezTo>
                          <a:pt x="323" y="60"/>
                          <a:pt x="323" y="60"/>
                          <a:pt x="323" y="60"/>
                        </a:cubicBezTo>
                        <a:cubicBezTo>
                          <a:pt x="323" y="57"/>
                          <a:pt x="323" y="57"/>
                          <a:pt x="323" y="57"/>
                        </a:cubicBezTo>
                        <a:cubicBezTo>
                          <a:pt x="320" y="52"/>
                          <a:pt x="320" y="52"/>
                          <a:pt x="320" y="52"/>
                        </a:cubicBezTo>
                        <a:cubicBezTo>
                          <a:pt x="316" y="51"/>
                          <a:pt x="316" y="51"/>
                          <a:pt x="316" y="51"/>
                        </a:cubicBezTo>
                        <a:cubicBezTo>
                          <a:pt x="312" y="51"/>
                          <a:pt x="312" y="51"/>
                          <a:pt x="312" y="51"/>
                        </a:cubicBezTo>
                        <a:cubicBezTo>
                          <a:pt x="310" y="49"/>
                          <a:pt x="310" y="49"/>
                          <a:pt x="310" y="49"/>
                        </a:cubicBezTo>
                        <a:cubicBezTo>
                          <a:pt x="306" y="46"/>
                          <a:pt x="306" y="46"/>
                          <a:pt x="306" y="46"/>
                        </a:cubicBezTo>
                        <a:cubicBezTo>
                          <a:pt x="303" y="50"/>
                          <a:pt x="303" y="50"/>
                          <a:pt x="303" y="50"/>
                        </a:cubicBezTo>
                        <a:cubicBezTo>
                          <a:pt x="301" y="55"/>
                          <a:pt x="301" y="55"/>
                          <a:pt x="301" y="55"/>
                        </a:cubicBezTo>
                        <a:cubicBezTo>
                          <a:pt x="292" y="55"/>
                          <a:pt x="292" y="55"/>
                          <a:pt x="292" y="55"/>
                        </a:cubicBezTo>
                        <a:cubicBezTo>
                          <a:pt x="287" y="53"/>
                          <a:pt x="287" y="53"/>
                          <a:pt x="287" y="53"/>
                        </a:cubicBezTo>
                        <a:cubicBezTo>
                          <a:pt x="286" y="49"/>
                          <a:pt x="286" y="49"/>
                          <a:pt x="286" y="49"/>
                        </a:cubicBezTo>
                        <a:cubicBezTo>
                          <a:pt x="277" y="49"/>
                          <a:pt x="277" y="49"/>
                          <a:pt x="277" y="49"/>
                        </a:cubicBezTo>
                        <a:cubicBezTo>
                          <a:pt x="272" y="52"/>
                          <a:pt x="272" y="52"/>
                          <a:pt x="272" y="52"/>
                        </a:cubicBezTo>
                        <a:cubicBezTo>
                          <a:pt x="271" y="49"/>
                          <a:pt x="271" y="49"/>
                          <a:pt x="271" y="49"/>
                        </a:cubicBezTo>
                        <a:cubicBezTo>
                          <a:pt x="268" y="45"/>
                          <a:pt x="268" y="45"/>
                          <a:pt x="268" y="45"/>
                        </a:cubicBezTo>
                        <a:cubicBezTo>
                          <a:pt x="264" y="44"/>
                          <a:pt x="264" y="44"/>
                          <a:pt x="264" y="44"/>
                        </a:cubicBezTo>
                        <a:cubicBezTo>
                          <a:pt x="259" y="49"/>
                          <a:pt x="259" y="49"/>
                          <a:pt x="259" y="49"/>
                        </a:cubicBezTo>
                        <a:cubicBezTo>
                          <a:pt x="253" y="52"/>
                          <a:pt x="253" y="52"/>
                          <a:pt x="253" y="52"/>
                        </a:cubicBezTo>
                        <a:cubicBezTo>
                          <a:pt x="247" y="57"/>
                          <a:pt x="247" y="57"/>
                          <a:pt x="247" y="57"/>
                        </a:cubicBezTo>
                        <a:cubicBezTo>
                          <a:pt x="251" y="51"/>
                          <a:pt x="251" y="51"/>
                          <a:pt x="251" y="51"/>
                        </a:cubicBezTo>
                        <a:cubicBezTo>
                          <a:pt x="255" y="48"/>
                          <a:pt x="255" y="48"/>
                          <a:pt x="255" y="48"/>
                        </a:cubicBezTo>
                        <a:cubicBezTo>
                          <a:pt x="262" y="39"/>
                          <a:pt x="262" y="39"/>
                          <a:pt x="262" y="39"/>
                        </a:cubicBezTo>
                        <a:cubicBezTo>
                          <a:pt x="266" y="35"/>
                          <a:pt x="266" y="35"/>
                          <a:pt x="266" y="35"/>
                        </a:cubicBezTo>
                        <a:cubicBezTo>
                          <a:pt x="270" y="29"/>
                          <a:pt x="270" y="29"/>
                          <a:pt x="270" y="29"/>
                        </a:cubicBezTo>
                        <a:cubicBezTo>
                          <a:pt x="268" y="19"/>
                          <a:pt x="268" y="19"/>
                          <a:pt x="268" y="19"/>
                        </a:cubicBezTo>
                        <a:cubicBezTo>
                          <a:pt x="260" y="12"/>
                          <a:pt x="260" y="12"/>
                          <a:pt x="260" y="12"/>
                        </a:cubicBezTo>
                        <a:cubicBezTo>
                          <a:pt x="254" y="11"/>
                          <a:pt x="254" y="11"/>
                          <a:pt x="254" y="11"/>
                        </a:cubicBezTo>
                        <a:cubicBezTo>
                          <a:pt x="254" y="8"/>
                          <a:pt x="254" y="8"/>
                          <a:pt x="254" y="8"/>
                        </a:cubicBezTo>
                        <a:cubicBezTo>
                          <a:pt x="249" y="1"/>
                          <a:pt x="249" y="1"/>
                          <a:pt x="249" y="1"/>
                        </a:cubicBezTo>
                        <a:cubicBezTo>
                          <a:pt x="249" y="1"/>
                          <a:pt x="242" y="0"/>
                          <a:pt x="241" y="0"/>
                        </a:cubicBezTo>
                        <a:cubicBezTo>
                          <a:pt x="241" y="1"/>
                          <a:pt x="233" y="9"/>
                          <a:pt x="233" y="9"/>
                        </a:cubicBezTo>
                        <a:cubicBezTo>
                          <a:pt x="231" y="16"/>
                          <a:pt x="231" y="16"/>
                          <a:pt x="231" y="16"/>
                        </a:cubicBezTo>
                        <a:cubicBezTo>
                          <a:pt x="222" y="22"/>
                          <a:pt x="222" y="22"/>
                          <a:pt x="222" y="22"/>
                        </a:cubicBezTo>
                        <a:cubicBezTo>
                          <a:pt x="216" y="19"/>
                          <a:pt x="216" y="19"/>
                          <a:pt x="216" y="19"/>
                        </a:cubicBezTo>
                        <a:cubicBezTo>
                          <a:pt x="206" y="23"/>
                          <a:pt x="206" y="23"/>
                          <a:pt x="206" y="23"/>
                        </a:cubicBezTo>
                        <a:cubicBezTo>
                          <a:pt x="195" y="29"/>
                          <a:pt x="195" y="29"/>
                          <a:pt x="195" y="29"/>
                        </a:cubicBezTo>
                        <a:cubicBezTo>
                          <a:pt x="190" y="35"/>
                          <a:pt x="190" y="35"/>
                          <a:pt x="190" y="35"/>
                        </a:cubicBezTo>
                        <a:cubicBezTo>
                          <a:pt x="190" y="35"/>
                          <a:pt x="189" y="46"/>
                          <a:pt x="188" y="46"/>
                        </a:cubicBezTo>
                        <a:cubicBezTo>
                          <a:pt x="187" y="46"/>
                          <a:pt x="172" y="50"/>
                          <a:pt x="172" y="50"/>
                        </a:cubicBezTo>
                        <a:cubicBezTo>
                          <a:pt x="169" y="54"/>
                          <a:pt x="169" y="54"/>
                          <a:pt x="169" y="54"/>
                        </a:cubicBezTo>
                        <a:cubicBezTo>
                          <a:pt x="169" y="54"/>
                          <a:pt x="171" y="63"/>
                          <a:pt x="170" y="64"/>
                        </a:cubicBezTo>
                        <a:cubicBezTo>
                          <a:pt x="170" y="64"/>
                          <a:pt x="167" y="63"/>
                          <a:pt x="167" y="63"/>
                        </a:cubicBezTo>
                        <a:cubicBezTo>
                          <a:pt x="162" y="61"/>
                          <a:pt x="162" y="61"/>
                          <a:pt x="162" y="61"/>
                        </a:cubicBezTo>
                        <a:cubicBezTo>
                          <a:pt x="162" y="61"/>
                          <a:pt x="160" y="65"/>
                          <a:pt x="158" y="66"/>
                        </a:cubicBezTo>
                        <a:cubicBezTo>
                          <a:pt x="155" y="67"/>
                          <a:pt x="155" y="62"/>
                          <a:pt x="155" y="62"/>
                        </a:cubicBezTo>
                        <a:cubicBezTo>
                          <a:pt x="152" y="59"/>
                          <a:pt x="152" y="59"/>
                          <a:pt x="152" y="59"/>
                        </a:cubicBezTo>
                        <a:cubicBezTo>
                          <a:pt x="150" y="59"/>
                          <a:pt x="150" y="59"/>
                          <a:pt x="150" y="59"/>
                        </a:cubicBezTo>
                        <a:cubicBezTo>
                          <a:pt x="148" y="65"/>
                          <a:pt x="148" y="65"/>
                          <a:pt x="148" y="65"/>
                        </a:cubicBezTo>
                        <a:cubicBezTo>
                          <a:pt x="148" y="65"/>
                          <a:pt x="148" y="70"/>
                          <a:pt x="148" y="70"/>
                        </a:cubicBezTo>
                        <a:cubicBezTo>
                          <a:pt x="149" y="71"/>
                          <a:pt x="148" y="79"/>
                          <a:pt x="148" y="79"/>
                        </a:cubicBezTo>
                        <a:cubicBezTo>
                          <a:pt x="145" y="80"/>
                          <a:pt x="145" y="80"/>
                          <a:pt x="145" y="80"/>
                        </a:cubicBezTo>
                        <a:cubicBezTo>
                          <a:pt x="143" y="76"/>
                          <a:pt x="143" y="76"/>
                          <a:pt x="143" y="76"/>
                        </a:cubicBezTo>
                        <a:cubicBezTo>
                          <a:pt x="145" y="68"/>
                          <a:pt x="145" y="68"/>
                          <a:pt x="145" y="68"/>
                        </a:cubicBezTo>
                        <a:cubicBezTo>
                          <a:pt x="144" y="63"/>
                          <a:pt x="144" y="63"/>
                          <a:pt x="144" y="63"/>
                        </a:cubicBezTo>
                        <a:cubicBezTo>
                          <a:pt x="143" y="58"/>
                          <a:pt x="143" y="58"/>
                          <a:pt x="143" y="58"/>
                        </a:cubicBezTo>
                        <a:cubicBezTo>
                          <a:pt x="137" y="56"/>
                          <a:pt x="137" y="56"/>
                          <a:pt x="137" y="56"/>
                        </a:cubicBezTo>
                        <a:cubicBezTo>
                          <a:pt x="131" y="56"/>
                          <a:pt x="131" y="56"/>
                          <a:pt x="131" y="56"/>
                        </a:cubicBezTo>
                        <a:cubicBezTo>
                          <a:pt x="128" y="70"/>
                          <a:pt x="128" y="70"/>
                          <a:pt x="128" y="70"/>
                        </a:cubicBezTo>
                        <a:cubicBezTo>
                          <a:pt x="125" y="73"/>
                          <a:pt x="125" y="73"/>
                          <a:pt x="125" y="73"/>
                        </a:cubicBezTo>
                        <a:cubicBezTo>
                          <a:pt x="123" y="76"/>
                          <a:pt x="123" y="76"/>
                          <a:pt x="123" y="76"/>
                        </a:cubicBezTo>
                        <a:cubicBezTo>
                          <a:pt x="126" y="81"/>
                          <a:pt x="126" y="81"/>
                          <a:pt x="126" y="81"/>
                        </a:cubicBezTo>
                        <a:cubicBezTo>
                          <a:pt x="125" y="86"/>
                          <a:pt x="125" y="86"/>
                          <a:pt x="125" y="86"/>
                        </a:cubicBezTo>
                        <a:cubicBezTo>
                          <a:pt x="126" y="88"/>
                          <a:pt x="126" y="88"/>
                          <a:pt x="126" y="88"/>
                        </a:cubicBezTo>
                        <a:cubicBezTo>
                          <a:pt x="132" y="94"/>
                          <a:pt x="132" y="94"/>
                          <a:pt x="132" y="94"/>
                        </a:cubicBezTo>
                        <a:cubicBezTo>
                          <a:pt x="128" y="101"/>
                          <a:pt x="128" y="101"/>
                          <a:pt x="128" y="101"/>
                        </a:cubicBezTo>
                        <a:cubicBezTo>
                          <a:pt x="121" y="94"/>
                          <a:pt x="121" y="94"/>
                          <a:pt x="121" y="94"/>
                        </a:cubicBezTo>
                        <a:cubicBezTo>
                          <a:pt x="113" y="88"/>
                          <a:pt x="113" y="88"/>
                          <a:pt x="113" y="88"/>
                        </a:cubicBezTo>
                        <a:cubicBezTo>
                          <a:pt x="108" y="88"/>
                          <a:pt x="108" y="88"/>
                          <a:pt x="108" y="88"/>
                        </a:cubicBezTo>
                        <a:cubicBezTo>
                          <a:pt x="103" y="88"/>
                          <a:pt x="103" y="88"/>
                          <a:pt x="103" y="88"/>
                        </a:cubicBezTo>
                        <a:cubicBezTo>
                          <a:pt x="104" y="95"/>
                          <a:pt x="104" y="95"/>
                          <a:pt x="104" y="95"/>
                        </a:cubicBezTo>
                        <a:cubicBezTo>
                          <a:pt x="102" y="96"/>
                          <a:pt x="102" y="96"/>
                          <a:pt x="102" y="96"/>
                        </a:cubicBezTo>
                        <a:cubicBezTo>
                          <a:pt x="98" y="95"/>
                          <a:pt x="98" y="95"/>
                          <a:pt x="98" y="95"/>
                        </a:cubicBezTo>
                        <a:cubicBezTo>
                          <a:pt x="93" y="97"/>
                          <a:pt x="93" y="97"/>
                          <a:pt x="93" y="97"/>
                        </a:cubicBezTo>
                        <a:cubicBezTo>
                          <a:pt x="89" y="98"/>
                          <a:pt x="89" y="98"/>
                          <a:pt x="89" y="98"/>
                        </a:cubicBezTo>
                        <a:cubicBezTo>
                          <a:pt x="85" y="99"/>
                          <a:pt x="85" y="99"/>
                          <a:pt x="85" y="99"/>
                        </a:cubicBezTo>
                        <a:cubicBezTo>
                          <a:pt x="83" y="97"/>
                          <a:pt x="83" y="97"/>
                          <a:pt x="83" y="97"/>
                        </a:cubicBezTo>
                        <a:cubicBezTo>
                          <a:pt x="79" y="98"/>
                          <a:pt x="79" y="98"/>
                          <a:pt x="79" y="98"/>
                        </a:cubicBezTo>
                        <a:cubicBezTo>
                          <a:pt x="73" y="102"/>
                          <a:pt x="73" y="102"/>
                          <a:pt x="73" y="102"/>
                        </a:cubicBezTo>
                        <a:cubicBezTo>
                          <a:pt x="66" y="106"/>
                          <a:pt x="66" y="106"/>
                          <a:pt x="66" y="106"/>
                        </a:cubicBezTo>
                        <a:cubicBezTo>
                          <a:pt x="64" y="107"/>
                          <a:pt x="64" y="107"/>
                          <a:pt x="64" y="107"/>
                        </a:cubicBezTo>
                        <a:cubicBezTo>
                          <a:pt x="62" y="112"/>
                          <a:pt x="62" y="112"/>
                          <a:pt x="62" y="112"/>
                        </a:cubicBezTo>
                        <a:cubicBezTo>
                          <a:pt x="59" y="112"/>
                          <a:pt x="59" y="112"/>
                          <a:pt x="59" y="112"/>
                        </a:cubicBezTo>
                        <a:cubicBezTo>
                          <a:pt x="56" y="109"/>
                          <a:pt x="56" y="109"/>
                          <a:pt x="56" y="109"/>
                        </a:cubicBezTo>
                        <a:cubicBezTo>
                          <a:pt x="57" y="106"/>
                          <a:pt x="57" y="106"/>
                          <a:pt x="57" y="106"/>
                        </a:cubicBezTo>
                        <a:cubicBezTo>
                          <a:pt x="60" y="104"/>
                          <a:pt x="60" y="104"/>
                          <a:pt x="60" y="104"/>
                        </a:cubicBezTo>
                        <a:cubicBezTo>
                          <a:pt x="59" y="100"/>
                          <a:pt x="59" y="100"/>
                          <a:pt x="59" y="100"/>
                        </a:cubicBezTo>
                        <a:cubicBezTo>
                          <a:pt x="55" y="99"/>
                          <a:pt x="55" y="99"/>
                          <a:pt x="55" y="99"/>
                        </a:cubicBezTo>
                        <a:cubicBezTo>
                          <a:pt x="53" y="99"/>
                          <a:pt x="53" y="99"/>
                          <a:pt x="53" y="99"/>
                        </a:cubicBezTo>
                        <a:cubicBezTo>
                          <a:pt x="50" y="98"/>
                          <a:pt x="50" y="98"/>
                          <a:pt x="50" y="98"/>
                        </a:cubicBezTo>
                        <a:cubicBezTo>
                          <a:pt x="52" y="102"/>
                          <a:pt x="52" y="102"/>
                          <a:pt x="52" y="102"/>
                        </a:cubicBezTo>
                        <a:cubicBezTo>
                          <a:pt x="52" y="109"/>
                          <a:pt x="52" y="109"/>
                          <a:pt x="52" y="109"/>
                        </a:cubicBezTo>
                        <a:cubicBezTo>
                          <a:pt x="54" y="112"/>
                          <a:pt x="54" y="112"/>
                          <a:pt x="54" y="112"/>
                        </a:cubicBezTo>
                        <a:cubicBezTo>
                          <a:pt x="52" y="118"/>
                          <a:pt x="52" y="118"/>
                          <a:pt x="52" y="118"/>
                        </a:cubicBezTo>
                        <a:cubicBezTo>
                          <a:pt x="49" y="116"/>
                          <a:pt x="49" y="116"/>
                          <a:pt x="49" y="116"/>
                        </a:cubicBezTo>
                        <a:cubicBezTo>
                          <a:pt x="46" y="116"/>
                          <a:pt x="46" y="116"/>
                          <a:pt x="46" y="116"/>
                        </a:cubicBezTo>
                        <a:cubicBezTo>
                          <a:pt x="43" y="118"/>
                          <a:pt x="43" y="118"/>
                          <a:pt x="43" y="118"/>
                        </a:cubicBezTo>
                        <a:cubicBezTo>
                          <a:pt x="40" y="121"/>
                          <a:pt x="40" y="121"/>
                          <a:pt x="40" y="121"/>
                        </a:cubicBezTo>
                        <a:cubicBezTo>
                          <a:pt x="38" y="123"/>
                          <a:pt x="38" y="123"/>
                          <a:pt x="38" y="123"/>
                        </a:cubicBezTo>
                        <a:cubicBezTo>
                          <a:pt x="41" y="130"/>
                          <a:pt x="41" y="130"/>
                          <a:pt x="41" y="130"/>
                        </a:cubicBezTo>
                        <a:cubicBezTo>
                          <a:pt x="41" y="130"/>
                          <a:pt x="39" y="129"/>
                          <a:pt x="39" y="129"/>
                        </a:cubicBezTo>
                        <a:cubicBezTo>
                          <a:pt x="38" y="128"/>
                          <a:pt x="33" y="128"/>
                          <a:pt x="33" y="128"/>
                        </a:cubicBezTo>
                        <a:cubicBezTo>
                          <a:pt x="30" y="127"/>
                          <a:pt x="30" y="127"/>
                          <a:pt x="30" y="127"/>
                        </a:cubicBezTo>
                        <a:cubicBezTo>
                          <a:pt x="30" y="129"/>
                          <a:pt x="30" y="129"/>
                          <a:pt x="30" y="129"/>
                        </a:cubicBezTo>
                        <a:cubicBezTo>
                          <a:pt x="32" y="132"/>
                          <a:pt x="32" y="132"/>
                          <a:pt x="32" y="132"/>
                        </a:cubicBezTo>
                        <a:cubicBezTo>
                          <a:pt x="33" y="135"/>
                          <a:pt x="33" y="135"/>
                          <a:pt x="33" y="135"/>
                        </a:cubicBezTo>
                        <a:cubicBezTo>
                          <a:pt x="31" y="136"/>
                          <a:pt x="31" y="136"/>
                          <a:pt x="31" y="136"/>
                        </a:cubicBezTo>
                        <a:cubicBezTo>
                          <a:pt x="26" y="133"/>
                          <a:pt x="26" y="133"/>
                          <a:pt x="26" y="133"/>
                        </a:cubicBezTo>
                        <a:cubicBezTo>
                          <a:pt x="23" y="130"/>
                          <a:pt x="23" y="130"/>
                          <a:pt x="23" y="130"/>
                        </a:cubicBezTo>
                        <a:cubicBezTo>
                          <a:pt x="23" y="128"/>
                          <a:pt x="23" y="128"/>
                          <a:pt x="23" y="128"/>
                        </a:cubicBezTo>
                        <a:cubicBezTo>
                          <a:pt x="21" y="123"/>
                          <a:pt x="21" y="123"/>
                          <a:pt x="21" y="123"/>
                        </a:cubicBezTo>
                        <a:cubicBezTo>
                          <a:pt x="23" y="121"/>
                          <a:pt x="23" y="121"/>
                          <a:pt x="23" y="121"/>
                        </a:cubicBezTo>
                        <a:cubicBezTo>
                          <a:pt x="23" y="118"/>
                          <a:pt x="23" y="118"/>
                          <a:pt x="23" y="118"/>
                        </a:cubicBezTo>
                        <a:cubicBezTo>
                          <a:pt x="19" y="116"/>
                          <a:pt x="19" y="116"/>
                          <a:pt x="19" y="116"/>
                        </a:cubicBezTo>
                        <a:cubicBezTo>
                          <a:pt x="15" y="113"/>
                          <a:pt x="15" y="113"/>
                          <a:pt x="15" y="113"/>
                        </a:cubicBezTo>
                        <a:cubicBezTo>
                          <a:pt x="14" y="111"/>
                          <a:pt x="14" y="111"/>
                          <a:pt x="14" y="111"/>
                        </a:cubicBezTo>
                        <a:cubicBezTo>
                          <a:pt x="16" y="111"/>
                          <a:pt x="16" y="111"/>
                          <a:pt x="16" y="111"/>
                        </a:cubicBezTo>
                        <a:cubicBezTo>
                          <a:pt x="18" y="112"/>
                          <a:pt x="18" y="112"/>
                          <a:pt x="18" y="112"/>
                        </a:cubicBezTo>
                        <a:cubicBezTo>
                          <a:pt x="18" y="112"/>
                          <a:pt x="22" y="113"/>
                          <a:pt x="22" y="113"/>
                        </a:cubicBezTo>
                        <a:cubicBezTo>
                          <a:pt x="23" y="113"/>
                          <a:pt x="24" y="116"/>
                          <a:pt x="24" y="116"/>
                        </a:cubicBezTo>
                        <a:cubicBezTo>
                          <a:pt x="31" y="118"/>
                          <a:pt x="31" y="118"/>
                          <a:pt x="31" y="118"/>
                        </a:cubicBezTo>
                        <a:cubicBezTo>
                          <a:pt x="38" y="117"/>
                          <a:pt x="38" y="117"/>
                          <a:pt x="38" y="117"/>
                        </a:cubicBezTo>
                        <a:cubicBezTo>
                          <a:pt x="42" y="114"/>
                          <a:pt x="42" y="114"/>
                          <a:pt x="42" y="114"/>
                        </a:cubicBezTo>
                        <a:cubicBezTo>
                          <a:pt x="43" y="109"/>
                          <a:pt x="43" y="109"/>
                          <a:pt x="43" y="109"/>
                        </a:cubicBezTo>
                        <a:cubicBezTo>
                          <a:pt x="36" y="101"/>
                          <a:pt x="36" y="101"/>
                          <a:pt x="36" y="101"/>
                        </a:cubicBezTo>
                        <a:cubicBezTo>
                          <a:pt x="30" y="97"/>
                          <a:pt x="30" y="97"/>
                          <a:pt x="30" y="97"/>
                        </a:cubicBezTo>
                        <a:cubicBezTo>
                          <a:pt x="26" y="93"/>
                          <a:pt x="26" y="93"/>
                          <a:pt x="26" y="93"/>
                        </a:cubicBezTo>
                        <a:cubicBezTo>
                          <a:pt x="20" y="91"/>
                          <a:pt x="20" y="91"/>
                          <a:pt x="20" y="91"/>
                        </a:cubicBezTo>
                        <a:cubicBezTo>
                          <a:pt x="17" y="90"/>
                          <a:pt x="17" y="90"/>
                          <a:pt x="17" y="90"/>
                        </a:cubicBezTo>
                        <a:cubicBezTo>
                          <a:pt x="17" y="87"/>
                          <a:pt x="17" y="87"/>
                          <a:pt x="17" y="87"/>
                        </a:cubicBezTo>
                        <a:cubicBezTo>
                          <a:pt x="13" y="87"/>
                          <a:pt x="13" y="87"/>
                          <a:pt x="13" y="87"/>
                        </a:cubicBezTo>
                        <a:cubicBezTo>
                          <a:pt x="10" y="87"/>
                          <a:pt x="10" y="87"/>
                          <a:pt x="10" y="87"/>
                        </a:cubicBezTo>
                        <a:cubicBezTo>
                          <a:pt x="9" y="87"/>
                          <a:pt x="9" y="87"/>
                          <a:pt x="9" y="87"/>
                        </a:cubicBezTo>
                        <a:cubicBezTo>
                          <a:pt x="8" y="89"/>
                          <a:pt x="8" y="89"/>
                          <a:pt x="8" y="89"/>
                        </a:cubicBezTo>
                        <a:cubicBezTo>
                          <a:pt x="4" y="93"/>
                          <a:pt x="4" y="93"/>
                          <a:pt x="4" y="93"/>
                        </a:cubicBezTo>
                        <a:cubicBezTo>
                          <a:pt x="4" y="93"/>
                          <a:pt x="4" y="93"/>
                          <a:pt x="4" y="93"/>
                        </a:cubicBezTo>
                        <a:cubicBezTo>
                          <a:pt x="4" y="94"/>
                          <a:pt x="4" y="94"/>
                          <a:pt x="4" y="94"/>
                        </a:cubicBezTo>
                        <a:cubicBezTo>
                          <a:pt x="3" y="95"/>
                          <a:pt x="3" y="95"/>
                          <a:pt x="3" y="95"/>
                        </a:cubicBezTo>
                        <a:cubicBezTo>
                          <a:pt x="3" y="96"/>
                          <a:pt x="3" y="96"/>
                          <a:pt x="3" y="96"/>
                        </a:cubicBezTo>
                        <a:cubicBezTo>
                          <a:pt x="2" y="99"/>
                          <a:pt x="2" y="99"/>
                          <a:pt x="2" y="99"/>
                        </a:cubicBezTo>
                        <a:cubicBezTo>
                          <a:pt x="3" y="100"/>
                          <a:pt x="3" y="100"/>
                          <a:pt x="3" y="100"/>
                        </a:cubicBezTo>
                        <a:cubicBezTo>
                          <a:pt x="6" y="102"/>
                          <a:pt x="6" y="102"/>
                          <a:pt x="6" y="102"/>
                        </a:cubicBezTo>
                        <a:cubicBezTo>
                          <a:pt x="8" y="107"/>
                          <a:pt x="8" y="107"/>
                          <a:pt x="8" y="107"/>
                        </a:cubicBezTo>
                        <a:cubicBezTo>
                          <a:pt x="4" y="112"/>
                          <a:pt x="4" y="112"/>
                          <a:pt x="4" y="112"/>
                        </a:cubicBezTo>
                        <a:cubicBezTo>
                          <a:pt x="8" y="122"/>
                          <a:pt x="8" y="122"/>
                          <a:pt x="8" y="122"/>
                        </a:cubicBezTo>
                        <a:cubicBezTo>
                          <a:pt x="6" y="124"/>
                          <a:pt x="6" y="124"/>
                          <a:pt x="6" y="124"/>
                        </a:cubicBezTo>
                        <a:cubicBezTo>
                          <a:pt x="7" y="126"/>
                          <a:pt x="7" y="126"/>
                          <a:pt x="7" y="126"/>
                        </a:cubicBezTo>
                        <a:cubicBezTo>
                          <a:pt x="6" y="127"/>
                          <a:pt x="6" y="127"/>
                          <a:pt x="6" y="127"/>
                        </a:cubicBezTo>
                        <a:cubicBezTo>
                          <a:pt x="8" y="129"/>
                          <a:pt x="8" y="129"/>
                          <a:pt x="8" y="129"/>
                        </a:cubicBezTo>
                        <a:cubicBezTo>
                          <a:pt x="8" y="129"/>
                          <a:pt x="7" y="131"/>
                          <a:pt x="7" y="131"/>
                        </a:cubicBezTo>
                        <a:cubicBezTo>
                          <a:pt x="8" y="131"/>
                          <a:pt x="9" y="133"/>
                          <a:pt x="9" y="133"/>
                        </a:cubicBezTo>
                        <a:cubicBezTo>
                          <a:pt x="8" y="137"/>
                          <a:pt x="8" y="137"/>
                          <a:pt x="8" y="137"/>
                        </a:cubicBezTo>
                        <a:cubicBezTo>
                          <a:pt x="10" y="140"/>
                          <a:pt x="10" y="140"/>
                          <a:pt x="10" y="140"/>
                        </a:cubicBezTo>
                        <a:cubicBezTo>
                          <a:pt x="12" y="141"/>
                          <a:pt x="12" y="141"/>
                          <a:pt x="12" y="141"/>
                        </a:cubicBezTo>
                        <a:cubicBezTo>
                          <a:pt x="11" y="143"/>
                          <a:pt x="11" y="143"/>
                          <a:pt x="11" y="143"/>
                        </a:cubicBezTo>
                        <a:cubicBezTo>
                          <a:pt x="0" y="157"/>
                          <a:pt x="0" y="157"/>
                          <a:pt x="0" y="157"/>
                        </a:cubicBezTo>
                        <a:cubicBezTo>
                          <a:pt x="2" y="157"/>
                          <a:pt x="2" y="157"/>
                          <a:pt x="2" y="157"/>
                        </a:cubicBezTo>
                        <a:cubicBezTo>
                          <a:pt x="4" y="158"/>
                          <a:pt x="4" y="158"/>
                          <a:pt x="4" y="158"/>
                        </a:cubicBezTo>
                        <a:cubicBezTo>
                          <a:pt x="4" y="163"/>
                          <a:pt x="4" y="163"/>
                          <a:pt x="4" y="163"/>
                        </a:cubicBezTo>
                        <a:cubicBezTo>
                          <a:pt x="1" y="163"/>
                          <a:pt x="1" y="163"/>
                          <a:pt x="1" y="163"/>
                        </a:cubicBezTo>
                        <a:cubicBezTo>
                          <a:pt x="2" y="164"/>
                          <a:pt x="2" y="164"/>
                          <a:pt x="2" y="164"/>
                        </a:cubicBezTo>
                        <a:cubicBezTo>
                          <a:pt x="1" y="168"/>
                          <a:pt x="1" y="168"/>
                          <a:pt x="1" y="168"/>
                        </a:cubicBezTo>
                        <a:cubicBezTo>
                          <a:pt x="1" y="171"/>
                          <a:pt x="1" y="171"/>
                          <a:pt x="1" y="171"/>
                        </a:cubicBezTo>
                        <a:cubicBezTo>
                          <a:pt x="0" y="178"/>
                          <a:pt x="0" y="178"/>
                          <a:pt x="0" y="178"/>
                        </a:cubicBezTo>
                        <a:cubicBezTo>
                          <a:pt x="2" y="183"/>
                          <a:pt x="2" y="183"/>
                          <a:pt x="2" y="183"/>
                        </a:cubicBezTo>
                        <a:cubicBezTo>
                          <a:pt x="6" y="185"/>
                          <a:pt x="6" y="185"/>
                          <a:pt x="6" y="185"/>
                        </a:cubicBezTo>
                        <a:cubicBezTo>
                          <a:pt x="9" y="186"/>
                          <a:pt x="9" y="186"/>
                          <a:pt x="9" y="186"/>
                        </a:cubicBezTo>
                        <a:cubicBezTo>
                          <a:pt x="13" y="195"/>
                          <a:pt x="13" y="195"/>
                          <a:pt x="13" y="195"/>
                        </a:cubicBezTo>
                        <a:cubicBezTo>
                          <a:pt x="16" y="197"/>
                          <a:pt x="16" y="197"/>
                          <a:pt x="16" y="197"/>
                        </a:cubicBezTo>
                        <a:cubicBezTo>
                          <a:pt x="15" y="199"/>
                          <a:pt x="15" y="199"/>
                          <a:pt x="15" y="199"/>
                        </a:cubicBezTo>
                        <a:cubicBezTo>
                          <a:pt x="12" y="201"/>
                          <a:pt x="12" y="201"/>
                          <a:pt x="12" y="201"/>
                        </a:cubicBezTo>
                        <a:cubicBezTo>
                          <a:pt x="13" y="204"/>
                          <a:pt x="13" y="204"/>
                          <a:pt x="13" y="204"/>
                        </a:cubicBezTo>
                        <a:cubicBezTo>
                          <a:pt x="15" y="205"/>
                          <a:pt x="15" y="205"/>
                          <a:pt x="15" y="205"/>
                        </a:cubicBezTo>
                        <a:cubicBezTo>
                          <a:pt x="18" y="205"/>
                          <a:pt x="18" y="205"/>
                          <a:pt x="18" y="205"/>
                        </a:cubicBezTo>
                        <a:cubicBezTo>
                          <a:pt x="21" y="208"/>
                          <a:pt x="21" y="208"/>
                          <a:pt x="21" y="208"/>
                        </a:cubicBezTo>
                        <a:cubicBezTo>
                          <a:pt x="22" y="209"/>
                          <a:pt x="22" y="209"/>
                          <a:pt x="22" y="209"/>
                        </a:cubicBezTo>
                        <a:cubicBezTo>
                          <a:pt x="34" y="214"/>
                          <a:pt x="34" y="214"/>
                          <a:pt x="34" y="214"/>
                        </a:cubicBezTo>
                        <a:cubicBezTo>
                          <a:pt x="35" y="214"/>
                          <a:pt x="35" y="214"/>
                          <a:pt x="35" y="214"/>
                        </a:cubicBezTo>
                        <a:cubicBezTo>
                          <a:pt x="34" y="219"/>
                          <a:pt x="34" y="219"/>
                          <a:pt x="34" y="219"/>
                        </a:cubicBezTo>
                        <a:cubicBezTo>
                          <a:pt x="32" y="220"/>
                          <a:pt x="32" y="220"/>
                          <a:pt x="32" y="220"/>
                        </a:cubicBezTo>
                        <a:cubicBezTo>
                          <a:pt x="30" y="223"/>
                          <a:pt x="30" y="223"/>
                          <a:pt x="30" y="223"/>
                        </a:cubicBezTo>
                        <a:cubicBezTo>
                          <a:pt x="28" y="225"/>
                          <a:pt x="28" y="225"/>
                          <a:pt x="28" y="225"/>
                        </a:cubicBezTo>
                        <a:cubicBezTo>
                          <a:pt x="31" y="224"/>
                          <a:pt x="31" y="224"/>
                          <a:pt x="31" y="224"/>
                        </a:cubicBezTo>
                        <a:cubicBezTo>
                          <a:pt x="29" y="228"/>
                          <a:pt x="29" y="228"/>
                          <a:pt x="29" y="228"/>
                        </a:cubicBezTo>
                        <a:cubicBezTo>
                          <a:pt x="26" y="232"/>
                          <a:pt x="26" y="232"/>
                          <a:pt x="26" y="232"/>
                        </a:cubicBezTo>
                        <a:cubicBezTo>
                          <a:pt x="29" y="236"/>
                          <a:pt x="29" y="236"/>
                          <a:pt x="29" y="236"/>
                        </a:cubicBezTo>
                        <a:cubicBezTo>
                          <a:pt x="35" y="239"/>
                          <a:pt x="35" y="239"/>
                          <a:pt x="35" y="239"/>
                        </a:cubicBezTo>
                        <a:cubicBezTo>
                          <a:pt x="40" y="244"/>
                          <a:pt x="40" y="244"/>
                          <a:pt x="40" y="244"/>
                        </a:cubicBezTo>
                        <a:cubicBezTo>
                          <a:pt x="40" y="247"/>
                          <a:pt x="40" y="247"/>
                          <a:pt x="40" y="247"/>
                        </a:cubicBezTo>
                        <a:cubicBezTo>
                          <a:pt x="42" y="248"/>
                          <a:pt x="42" y="248"/>
                          <a:pt x="42" y="248"/>
                        </a:cubicBezTo>
                        <a:cubicBezTo>
                          <a:pt x="45" y="248"/>
                          <a:pt x="45" y="248"/>
                          <a:pt x="45" y="248"/>
                        </a:cubicBezTo>
                        <a:cubicBezTo>
                          <a:pt x="47" y="250"/>
                          <a:pt x="47" y="250"/>
                          <a:pt x="47" y="250"/>
                        </a:cubicBezTo>
                        <a:cubicBezTo>
                          <a:pt x="50" y="255"/>
                          <a:pt x="50" y="255"/>
                          <a:pt x="50" y="255"/>
                        </a:cubicBezTo>
                        <a:cubicBezTo>
                          <a:pt x="49" y="256"/>
                          <a:pt x="49" y="256"/>
                          <a:pt x="49" y="256"/>
                        </a:cubicBezTo>
                        <a:cubicBezTo>
                          <a:pt x="52" y="259"/>
                          <a:pt x="52" y="259"/>
                          <a:pt x="52" y="259"/>
                        </a:cubicBezTo>
                        <a:cubicBezTo>
                          <a:pt x="56" y="259"/>
                          <a:pt x="56" y="259"/>
                          <a:pt x="56" y="259"/>
                        </a:cubicBezTo>
                        <a:cubicBezTo>
                          <a:pt x="59" y="256"/>
                          <a:pt x="59" y="256"/>
                          <a:pt x="59" y="256"/>
                        </a:cubicBezTo>
                        <a:cubicBezTo>
                          <a:pt x="61" y="258"/>
                          <a:pt x="61" y="258"/>
                          <a:pt x="61" y="258"/>
                        </a:cubicBezTo>
                        <a:cubicBezTo>
                          <a:pt x="61" y="260"/>
                          <a:pt x="61" y="260"/>
                          <a:pt x="61" y="260"/>
                        </a:cubicBezTo>
                        <a:cubicBezTo>
                          <a:pt x="62" y="260"/>
                          <a:pt x="62" y="260"/>
                          <a:pt x="62" y="260"/>
                        </a:cubicBezTo>
                        <a:cubicBezTo>
                          <a:pt x="64" y="257"/>
                          <a:pt x="64" y="257"/>
                          <a:pt x="64" y="257"/>
                        </a:cubicBezTo>
                        <a:cubicBezTo>
                          <a:pt x="67" y="253"/>
                          <a:pt x="67" y="253"/>
                          <a:pt x="67" y="253"/>
                        </a:cubicBezTo>
                        <a:cubicBezTo>
                          <a:pt x="67" y="253"/>
                          <a:pt x="64" y="244"/>
                          <a:pt x="63" y="244"/>
                        </a:cubicBezTo>
                        <a:cubicBezTo>
                          <a:pt x="62" y="243"/>
                          <a:pt x="56" y="235"/>
                          <a:pt x="56" y="235"/>
                        </a:cubicBezTo>
                        <a:cubicBezTo>
                          <a:pt x="59" y="229"/>
                          <a:pt x="59" y="229"/>
                          <a:pt x="59" y="229"/>
                        </a:cubicBezTo>
                        <a:cubicBezTo>
                          <a:pt x="63" y="226"/>
                          <a:pt x="63" y="226"/>
                          <a:pt x="63" y="226"/>
                        </a:cubicBezTo>
                        <a:cubicBezTo>
                          <a:pt x="63" y="225"/>
                          <a:pt x="63" y="225"/>
                          <a:pt x="63" y="225"/>
                        </a:cubicBezTo>
                        <a:cubicBezTo>
                          <a:pt x="64" y="226"/>
                          <a:pt x="64" y="226"/>
                          <a:pt x="64" y="226"/>
                        </a:cubicBezTo>
                        <a:cubicBezTo>
                          <a:pt x="63" y="224"/>
                          <a:pt x="63" y="224"/>
                          <a:pt x="63" y="224"/>
                        </a:cubicBezTo>
                        <a:cubicBezTo>
                          <a:pt x="63" y="224"/>
                          <a:pt x="63" y="224"/>
                          <a:pt x="63" y="224"/>
                        </a:cubicBezTo>
                        <a:cubicBezTo>
                          <a:pt x="63" y="224"/>
                          <a:pt x="63" y="224"/>
                          <a:pt x="63" y="224"/>
                        </a:cubicBezTo>
                        <a:cubicBezTo>
                          <a:pt x="60" y="222"/>
                          <a:pt x="60" y="222"/>
                          <a:pt x="60" y="222"/>
                        </a:cubicBezTo>
                        <a:cubicBezTo>
                          <a:pt x="63" y="214"/>
                          <a:pt x="63" y="214"/>
                          <a:pt x="63" y="214"/>
                        </a:cubicBezTo>
                        <a:cubicBezTo>
                          <a:pt x="73" y="210"/>
                          <a:pt x="73" y="210"/>
                          <a:pt x="73" y="210"/>
                        </a:cubicBezTo>
                        <a:cubicBezTo>
                          <a:pt x="82" y="209"/>
                          <a:pt x="82" y="209"/>
                          <a:pt x="82" y="209"/>
                        </a:cubicBezTo>
                        <a:cubicBezTo>
                          <a:pt x="87" y="212"/>
                          <a:pt x="87" y="212"/>
                          <a:pt x="87" y="212"/>
                        </a:cubicBezTo>
                        <a:cubicBezTo>
                          <a:pt x="93" y="211"/>
                          <a:pt x="93" y="211"/>
                          <a:pt x="93" y="211"/>
                        </a:cubicBezTo>
                        <a:cubicBezTo>
                          <a:pt x="100" y="213"/>
                          <a:pt x="100" y="213"/>
                          <a:pt x="100" y="213"/>
                        </a:cubicBezTo>
                        <a:cubicBezTo>
                          <a:pt x="107" y="211"/>
                          <a:pt x="107" y="211"/>
                          <a:pt x="107" y="211"/>
                        </a:cubicBezTo>
                        <a:cubicBezTo>
                          <a:pt x="105" y="205"/>
                          <a:pt x="105" y="205"/>
                          <a:pt x="105" y="205"/>
                        </a:cubicBezTo>
                        <a:cubicBezTo>
                          <a:pt x="109" y="196"/>
                          <a:pt x="109" y="196"/>
                          <a:pt x="109" y="196"/>
                        </a:cubicBezTo>
                        <a:cubicBezTo>
                          <a:pt x="122" y="191"/>
                          <a:pt x="122" y="191"/>
                          <a:pt x="122" y="191"/>
                        </a:cubicBezTo>
                        <a:cubicBezTo>
                          <a:pt x="134" y="189"/>
                          <a:pt x="134" y="189"/>
                          <a:pt x="134" y="189"/>
                        </a:cubicBezTo>
                        <a:cubicBezTo>
                          <a:pt x="142" y="198"/>
                          <a:pt x="142" y="198"/>
                          <a:pt x="142" y="198"/>
                        </a:cubicBezTo>
                        <a:cubicBezTo>
                          <a:pt x="151" y="195"/>
                          <a:pt x="151" y="195"/>
                          <a:pt x="151" y="195"/>
                        </a:cubicBezTo>
                        <a:cubicBezTo>
                          <a:pt x="156" y="194"/>
                          <a:pt x="156" y="194"/>
                          <a:pt x="156" y="194"/>
                        </a:cubicBezTo>
                        <a:cubicBezTo>
                          <a:pt x="160" y="203"/>
                          <a:pt x="160" y="203"/>
                          <a:pt x="160" y="203"/>
                        </a:cubicBezTo>
                        <a:cubicBezTo>
                          <a:pt x="164" y="212"/>
                          <a:pt x="164" y="212"/>
                          <a:pt x="164" y="212"/>
                        </a:cubicBezTo>
                        <a:cubicBezTo>
                          <a:pt x="174" y="212"/>
                          <a:pt x="174" y="212"/>
                          <a:pt x="174" y="212"/>
                        </a:cubicBezTo>
                        <a:cubicBezTo>
                          <a:pt x="182" y="216"/>
                          <a:pt x="182" y="216"/>
                          <a:pt x="182" y="216"/>
                        </a:cubicBezTo>
                        <a:cubicBezTo>
                          <a:pt x="189" y="217"/>
                          <a:pt x="189" y="217"/>
                          <a:pt x="189" y="217"/>
                        </a:cubicBezTo>
                        <a:cubicBezTo>
                          <a:pt x="189" y="223"/>
                          <a:pt x="189" y="223"/>
                          <a:pt x="189" y="223"/>
                        </a:cubicBezTo>
                        <a:cubicBezTo>
                          <a:pt x="191" y="222"/>
                          <a:pt x="191" y="222"/>
                          <a:pt x="191" y="222"/>
                        </a:cubicBezTo>
                        <a:cubicBezTo>
                          <a:pt x="192" y="223"/>
                          <a:pt x="192" y="223"/>
                          <a:pt x="192" y="223"/>
                        </a:cubicBezTo>
                        <a:cubicBezTo>
                          <a:pt x="194" y="219"/>
                          <a:pt x="194" y="219"/>
                          <a:pt x="194" y="219"/>
                        </a:cubicBezTo>
                        <a:cubicBezTo>
                          <a:pt x="201" y="214"/>
                          <a:pt x="201" y="214"/>
                          <a:pt x="201" y="214"/>
                        </a:cubicBezTo>
                        <a:cubicBezTo>
                          <a:pt x="212" y="213"/>
                          <a:pt x="212" y="213"/>
                          <a:pt x="212" y="213"/>
                        </a:cubicBezTo>
                        <a:cubicBezTo>
                          <a:pt x="220" y="217"/>
                          <a:pt x="220" y="217"/>
                          <a:pt x="220" y="217"/>
                        </a:cubicBezTo>
                        <a:cubicBezTo>
                          <a:pt x="224" y="211"/>
                          <a:pt x="224" y="211"/>
                          <a:pt x="224" y="211"/>
                        </a:cubicBezTo>
                        <a:cubicBezTo>
                          <a:pt x="228" y="206"/>
                          <a:pt x="228" y="206"/>
                          <a:pt x="228" y="206"/>
                        </a:cubicBezTo>
                        <a:cubicBezTo>
                          <a:pt x="240" y="211"/>
                          <a:pt x="240" y="211"/>
                          <a:pt x="240" y="211"/>
                        </a:cubicBezTo>
                        <a:cubicBezTo>
                          <a:pt x="243" y="215"/>
                          <a:pt x="243" y="215"/>
                          <a:pt x="243" y="215"/>
                        </a:cubicBezTo>
                        <a:cubicBezTo>
                          <a:pt x="253" y="215"/>
                          <a:pt x="253" y="215"/>
                          <a:pt x="253" y="215"/>
                        </a:cubicBezTo>
                        <a:cubicBezTo>
                          <a:pt x="259" y="220"/>
                          <a:pt x="259" y="220"/>
                          <a:pt x="259" y="220"/>
                        </a:cubicBezTo>
                        <a:cubicBezTo>
                          <a:pt x="275" y="216"/>
                          <a:pt x="275" y="216"/>
                          <a:pt x="275" y="216"/>
                        </a:cubicBezTo>
                        <a:cubicBezTo>
                          <a:pt x="282" y="218"/>
                          <a:pt x="282" y="218"/>
                          <a:pt x="282" y="218"/>
                        </a:cubicBezTo>
                        <a:cubicBezTo>
                          <a:pt x="283" y="216"/>
                          <a:pt x="283" y="216"/>
                          <a:pt x="283" y="216"/>
                        </a:cubicBezTo>
                        <a:cubicBezTo>
                          <a:pt x="289" y="216"/>
                          <a:pt x="289" y="216"/>
                          <a:pt x="289" y="216"/>
                        </a:cubicBezTo>
                        <a:cubicBezTo>
                          <a:pt x="295" y="205"/>
                          <a:pt x="295" y="205"/>
                          <a:pt x="295" y="205"/>
                        </a:cubicBezTo>
                        <a:cubicBezTo>
                          <a:pt x="298" y="200"/>
                          <a:pt x="298" y="200"/>
                          <a:pt x="298" y="200"/>
                        </a:cubicBezTo>
                        <a:cubicBezTo>
                          <a:pt x="307" y="200"/>
                          <a:pt x="307" y="200"/>
                          <a:pt x="307" y="200"/>
                        </a:cubicBezTo>
                        <a:cubicBezTo>
                          <a:pt x="317" y="218"/>
                          <a:pt x="317" y="218"/>
                          <a:pt x="317" y="218"/>
                        </a:cubicBezTo>
                        <a:cubicBezTo>
                          <a:pt x="325" y="220"/>
                          <a:pt x="325" y="220"/>
                          <a:pt x="325" y="220"/>
                        </a:cubicBezTo>
                        <a:cubicBezTo>
                          <a:pt x="327" y="224"/>
                          <a:pt x="327" y="224"/>
                          <a:pt x="327" y="224"/>
                        </a:cubicBezTo>
                        <a:cubicBezTo>
                          <a:pt x="339" y="223"/>
                          <a:pt x="339" y="223"/>
                          <a:pt x="339" y="223"/>
                        </a:cubicBezTo>
                        <a:cubicBezTo>
                          <a:pt x="334" y="238"/>
                          <a:pt x="334" y="238"/>
                          <a:pt x="334" y="238"/>
                        </a:cubicBezTo>
                        <a:cubicBezTo>
                          <a:pt x="329" y="239"/>
                          <a:pt x="329" y="239"/>
                          <a:pt x="329" y="239"/>
                        </a:cubicBezTo>
                        <a:cubicBezTo>
                          <a:pt x="326" y="250"/>
                          <a:pt x="326" y="250"/>
                          <a:pt x="326" y="250"/>
                        </a:cubicBezTo>
                        <a:cubicBezTo>
                          <a:pt x="327" y="250"/>
                          <a:pt x="327" y="250"/>
                          <a:pt x="327" y="250"/>
                        </a:cubicBezTo>
                        <a:cubicBezTo>
                          <a:pt x="329" y="250"/>
                          <a:pt x="329" y="250"/>
                          <a:pt x="329" y="250"/>
                        </a:cubicBezTo>
                        <a:cubicBezTo>
                          <a:pt x="331" y="249"/>
                          <a:pt x="331" y="249"/>
                          <a:pt x="331" y="249"/>
                        </a:cubicBezTo>
                        <a:cubicBezTo>
                          <a:pt x="332" y="249"/>
                          <a:pt x="332" y="249"/>
                          <a:pt x="332" y="249"/>
                        </a:cubicBezTo>
                        <a:cubicBezTo>
                          <a:pt x="335" y="250"/>
                          <a:pt x="335" y="250"/>
                          <a:pt x="335" y="250"/>
                        </a:cubicBezTo>
                        <a:cubicBezTo>
                          <a:pt x="342" y="245"/>
                          <a:pt x="342" y="245"/>
                          <a:pt x="342" y="245"/>
                        </a:cubicBezTo>
                        <a:cubicBezTo>
                          <a:pt x="345" y="241"/>
                          <a:pt x="345" y="241"/>
                          <a:pt x="345" y="241"/>
                        </a:cubicBezTo>
                        <a:cubicBezTo>
                          <a:pt x="353" y="230"/>
                          <a:pt x="353" y="230"/>
                          <a:pt x="353" y="230"/>
                        </a:cubicBezTo>
                        <a:cubicBezTo>
                          <a:pt x="357" y="223"/>
                          <a:pt x="357" y="223"/>
                          <a:pt x="357" y="223"/>
                        </a:cubicBezTo>
                        <a:cubicBezTo>
                          <a:pt x="358" y="214"/>
                          <a:pt x="358" y="214"/>
                          <a:pt x="358" y="214"/>
                        </a:cubicBezTo>
                        <a:cubicBezTo>
                          <a:pt x="360" y="203"/>
                          <a:pt x="360" y="203"/>
                          <a:pt x="360" y="203"/>
                        </a:cubicBezTo>
                        <a:cubicBezTo>
                          <a:pt x="360" y="199"/>
                          <a:pt x="360" y="199"/>
                          <a:pt x="360" y="199"/>
                        </a:cubicBezTo>
                        <a:cubicBezTo>
                          <a:pt x="355" y="194"/>
                          <a:pt x="355" y="194"/>
                          <a:pt x="355" y="194"/>
                        </a:cubicBezTo>
                        <a:cubicBezTo>
                          <a:pt x="355" y="194"/>
                          <a:pt x="349" y="198"/>
                          <a:pt x="349" y="198"/>
                        </a:cubicBezTo>
                        <a:cubicBezTo>
                          <a:pt x="348" y="198"/>
                          <a:pt x="346" y="196"/>
                          <a:pt x="346" y="196"/>
                        </a:cubicBezTo>
                        <a:cubicBezTo>
                          <a:pt x="344" y="192"/>
                          <a:pt x="344" y="192"/>
                          <a:pt x="344" y="192"/>
                        </a:cubicBezTo>
                        <a:cubicBezTo>
                          <a:pt x="341" y="192"/>
                          <a:pt x="341" y="192"/>
                          <a:pt x="341" y="192"/>
                        </a:cubicBezTo>
                        <a:cubicBezTo>
                          <a:pt x="344" y="190"/>
                          <a:pt x="344" y="190"/>
                          <a:pt x="344" y="190"/>
                        </a:cubicBezTo>
                        <a:cubicBezTo>
                          <a:pt x="349" y="185"/>
                          <a:pt x="349" y="185"/>
                          <a:pt x="349" y="185"/>
                        </a:cubicBezTo>
                        <a:cubicBezTo>
                          <a:pt x="353" y="180"/>
                          <a:pt x="353" y="180"/>
                          <a:pt x="353" y="180"/>
                        </a:cubicBezTo>
                        <a:cubicBezTo>
                          <a:pt x="354" y="178"/>
                          <a:pt x="354" y="178"/>
                          <a:pt x="354" y="178"/>
                        </a:cubicBezTo>
                        <a:cubicBezTo>
                          <a:pt x="367" y="165"/>
                          <a:pt x="367" y="165"/>
                          <a:pt x="367" y="165"/>
                        </a:cubicBezTo>
                        <a:cubicBezTo>
                          <a:pt x="371" y="164"/>
                          <a:pt x="371" y="164"/>
                          <a:pt x="371" y="164"/>
                        </a:cubicBezTo>
                        <a:cubicBezTo>
                          <a:pt x="381" y="164"/>
                          <a:pt x="381" y="164"/>
                          <a:pt x="381" y="164"/>
                        </a:cubicBezTo>
                        <a:cubicBezTo>
                          <a:pt x="386" y="163"/>
                          <a:pt x="386" y="163"/>
                          <a:pt x="386" y="163"/>
                        </a:cubicBezTo>
                        <a:cubicBezTo>
                          <a:pt x="392" y="165"/>
                          <a:pt x="392" y="165"/>
                          <a:pt x="392" y="165"/>
                        </a:cubicBezTo>
                        <a:cubicBezTo>
                          <a:pt x="392" y="168"/>
                          <a:pt x="392" y="168"/>
                          <a:pt x="392" y="168"/>
                        </a:cubicBezTo>
                        <a:cubicBezTo>
                          <a:pt x="392" y="168"/>
                          <a:pt x="400" y="166"/>
                          <a:pt x="401" y="166"/>
                        </a:cubicBezTo>
                        <a:cubicBezTo>
                          <a:pt x="401" y="167"/>
                          <a:pt x="403" y="166"/>
                          <a:pt x="403" y="166"/>
                        </a:cubicBezTo>
                        <a:cubicBezTo>
                          <a:pt x="402" y="164"/>
                          <a:pt x="402" y="164"/>
                          <a:pt x="402" y="164"/>
                        </a:cubicBezTo>
                        <a:cubicBezTo>
                          <a:pt x="403" y="159"/>
                          <a:pt x="403" y="159"/>
                          <a:pt x="403" y="159"/>
                        </a:cubicBezTo>
                        <a:cubicBezTo>
                          <a:pt x="406" y="153"/>
                          <a:pt x="406" y="153"/>
                          <a:pt x="406" y="153"/>
                        </a:cubicBezTo>
                        <a:cubicBezTo>
                          <a:pt x="411" y="149"/>
                          <a:pt x="411" y="149"/>
                          <a:pt x="411" y="149"/>
                        </a:cubicBezTo>
                        <a:cubicBezTo>
                          <a:pt x="419" y="150"/>
                          <a:pt x="419" y="150"/>
                          <a:pt x="419" y="150"/>
                        </a:cubicBezTo>
                        <a:cubicBezTo>
                          <a:pt x="421" y="155"/>
                          <a:pt x="421" y="155"/>
                          <a:pt x="421" y="155"/>
                        </a:cubicBezTo>
                        <a:cubicBezTo>
                          <a:pt x="426" y="151"/>
                          <a:pt x="426" y="151"/>
                          <a:pt x="426" y="151"/>
                        </a:cubicBezTo>
                        <a:cubicBezTo>
                          <a:pt x="433" y="144"/>
                          <a:pt x="433" y="144"/>
                          <a:pt x="433" y="144"/>
                        </a:cubicBezTo>
                        <a:cubicBezTo>
                          <a:pt x="433" y="152"/>
                          <a:pt x="433" y="152"/>
                          <a:pt x="433" y="152"/>
                        </a:cubicBezTo>
                        <a:cubicBezTo>
                          <a:pt x="427" y="158"/>
                          <a:pt x="427" y="158"/>
                          <a:pt x="427" y="158"/>
                        </a:cubicBezTo>
                        <a:cubicBezTo>
                          <a:pt x="423" y="160"/>
                          <a:pt x="423" y="160"/>
                          <a:pt x="423" y="160"/>
                        </a:cubicBezTo>
                        <a:cubicBezTo>
                          <a:pt x="419" y="166"/>
                          <a:pt x="419" y="166"/>
                          <a:pt x="419" y="166"/>
                        </a:cubicBezTo>
                        <a:cubicBezTo>
                          <a:pt x="416" y="171"/>
                          <a:pt x="416" y="171"/>
                          <a:pt x="416" y="171"/>
                        </a:cubicBezTo>
                        <a:cubicBezTo>
                          <a:pt x="416" y="171"/>
                          <a:pt x="411" y="173"/>
                          <a:pt x="411" y="174"/>
                        </a:cubicBezTo>
                        <a:cubicBezTo>
                          <a:pt x="410" y="174"/>
                          <a:pt x="409" y="175"/>
                          <a:pt x="409" y="175"/>
                        </a:cubicBezTo>
                        <a:cubicBezTo>
                          <a:pt x="405" y="186"/>
                          <a:pt x="405" y="186"/>
                          <a:pt x="405" y="186"/>
                        </a:cubicBezTo>
                        <a:cubicBezTo>
                          <a:pt x="410" y="210"/>
                          <a:pt x="410" y="210"/>
                          <a:pt x="410" y="210"/>
                        </a:cubicBezTo>
                        <a:cubicBezTo>
                          <a:pt x="416" y="202"/>
                          <a:pt x="416" y="202"/>
                          <a:pt x="416" y="202"/>
                        </a:cubicBezTo>
                        <a:cubicBezTo>
                          <a:pt x="418" y="201"/>
                          <a:pt x="418" y="201"/>
                          <a:pt x="418" y="201"/>
                        </a:cubicBezTo>
                        <a:cubicBezTo>
                          <a:pt x="420" y="196"/>
                          <a:pt x="420" y="196"/>
                          <a:pt x="420" y="196"/>
                        </a:cubicBezTo>
                        <a:cubicBezTo>
                          <a:pt x="422" y="193"/>
                          <a:pt x="422" y="193"/>
                          <a:pt x="422" y="193"/>
                        </a:cubicBezTo>
                        <a:cubicBezTo>
                          <a:pt x="426" y="191"/>
                          <a:pt x="426" y="191"/>
                          <a:pt x="426" y="191"/>
                        </a:cubicBezTo>
                        <a:cubicBezTo>
                          <a:pt x="426" y="186"/>
                          <a:pt x="426" y="186"/>
                          <a:pt x="426" y="186"/>
                        </a:cubicBezTo>
                        <a:cubicBezTo>
                          <a:pt x="427" y="184"/>
                          <a:pt x="427" y="184"/>
                          <a:pt x="427" y="184"/>
                        </a:cubicBezTo>
                        <a:cubicBezTo>
                          <a:pt x="429" y="177"/>
                          <a:pt x="429" y="177"/>
                          <a:pt x="429" y="177"/>
                        </a:cubicBezTo>
                        <a:cubicBezTo>
                          <a:pt x="429" y="175"/>
                          <a:pt x="429" y="175"/>
                          <a:pt x="429" y="175"/>
                        </a:cubicBezTo>
                        <a:cubicBezTo>
                          <a:pt x="426" y="174"/>
                          <a:pt x="426" y="174"/>
                          <a:pt x="426" y="174"/>
                        </a:cubicBezTo>
                        <a:cubicBezTo>
                          <a:pt x="430" y="165"/>
                          <a:pt x="430" y="165"/>
                          <a:pt x="430" y="165"/>
                        </a:cubicBezTo>
                        <a:cubicBezTo>
                          <a:pt x="432" y="162"/>
                          <a:pt x="432" y="162"/>
                          <a:pt x="432" y="162"/>
                        </a:cubicBezTo>
                        <a:cubicBezTo>
                          <a:pt x="435" y="161"/>
                          <a:pt x="435" y="161"/>
                          <a:pt x="435" y="161"/>
                        </a:cubicBezTo>
                        <a:cubicBezTo>
                          <a:pt x="438" y="160"/>
                          <a:pt x="438" y="160"/>
                          <a:pt x="438" y="160"/>
                        </a:cubicBezTo>
                        <a:cubicBezTo>
                          <a:pt x="439" y="162"/>
                          <a:pt x="439" y="162"/>
                          <a:pt x="439" y="162"/>
                        </a:cubicBezTo>
                        <a:cubicBezTo>
                          <a:pt x="446" y="157"/>
                          <a:pt x="446" y="157"/>
                          <a:pt x="446" y="157"/>
                        </a:cubicBezTo>
                        <a:cubicBezTo>
                          <a:pt x="446" y="157"/>
                          <a:pt x="452" y="162"/>
                          <a:pt x="452" y="162"/>
                        </a:cubicBezTo>
                        <a:cubicBezTo>
                          <a:pt x="453" y="162"/>
                          <a:pt x="454" y="157"/>
                          <a:pt x="454" y="157"/>
                        </a:cubicBezTo>
                        <a:cubicBezTo>
                          <a:pt x="457" y="156"/>
                          <a:pt x="457" y="156"/>
                          <a:pt x="457" y="156"/>
                        </a:cubicBezTo>
                        <a:cubicBezTo>
                          <a:pt x="457" y="156"/>
                          <a:pt x="463" y="150"/>
                          <a:pt x="464" y="149"/>
                        </a:cubicBezTo>
                        <a:cubicBezTo>
                          <a:pt x="464" y="149"/>
                          <a:pt x="472" y="145"/>
                          <a:pt x="472" y="145"/>
                        </a:cubicBezTo>
                        <a:cubicBezTo>
                          <a:pt x="473" y="145"/>
                          <a:pt x="476" y="145"/>
                          <a:pt x="476" y="145"/>
                        </a:cubicBezTo>
                        <a:cubicBezTo>
                          <a:pt x="480" y="146"/>
                          <a:pt x="480" y="146"/>
                          <a:pt x="480" y="146"/>
                        </a:cubicBezTo>
                        <a:cubicBezTo>
                          <a:pt x="480" y="144"/>
                          <a:pt x="480" y="144"/>
                          <a:pt x="480" y="144"/>
                        </a:cubicBezTo>
                        <a:cubicBezTo>
                          <a:pt x="479" y="140"/>
                          <a:pt x="479" y="140"/>
                          <a:pt x="479" y="140"/>
                        </a:cubicBezTo>
                        <a:cubicBezTo>
                          <a:pt x="478" y="135"/>
                          <a:pt x="478" y="135"/>
                          <a:pt x="478" y="135"/>
                        </a:cubicBezTo>
                        <a:cubicBezTo>
                          <a:pt x="474" y="131"/>
                          <a:pt x="474" y="131"/>
                          <a:pt x="474" y="131"/>
                        </a:cubicBezTo>
                        <a:cubicBezTo>
                          <a:pt x="477" y="129"/>
                          <a:pt x="477" y="129"/>
                          <a:pt x="477" y="129"/>
                        </a:cubicBezTo>
                        <a:lnTo>
                          <a:pt x="482" y="127"/>
                        </a:lnTo>
                        <a:close/>
                      </a:path>
                    </a:pathLst>
                  </a:custGeom>
                  <a:solidFill>
                    <a:srgbClr val="C00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33" name="Freeform 337"/>
                  <p:cNvSpPr>
                    <a:spLocks/>
                  </p:cNvSpPr>
                  <p:nvPr/>
                </p:nvSpPr>
                <p:spPr bwMode="auto">
                  <a:xfrm>
                    <a:off x="5700403" y="3110518"/>
                    <a:ext cx="70556" cy="8338"/>
                  </a:xfrm>
                  <a:custGeom>
                    <a:avLst/>
                    <a:gdLst>
                      <a:gd name="T0" fmla="*/ 2147483647 w 54"/>
                      <a:gd name="T1" fmla="*/ 2147483647 h 6"/>
                      <a:gd name="T2" fmla="*/ 2147483647 w 54"/>
                      <a:gd name="T3" fmla="*/ 2147483647 h 6"/>
                      <a:gd name="T4" fmla="*/ 2147483647 w 54"/>
                      <a:gd name="T5" fmla="*/ 0 h 6"/>
                      <a:gd name="T6" fmla="*/ 0 w 54"/>
                      <a:gd name="T7" fmla="*/ 2147483647 h 6"/>
                      <a:gd name="T8" fmla="*/ 2147483647 w 54"/>
                      <a:gd name="T9" fmla="*/ 214748364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4" h="6">
                        <a:moveTo>
                          <a:pt x="6" y="6"/>
                        </a:moveTo>
                        <a:lnTo>
                          <a:pt x="30" y="6"/>
                        </a:lnTo>
                        <a:lnTo>
                          <a:pt x="54" y="0"/>
                        </a:lnTo>
                        <a:lnTo>
                          <a:pt x="0" y="6"/>
                        </a:lnTo>
                        <a:lnTo>
                          <a:pt x="6" y="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34" name="Freeform 338"/>
                  <p:cNvSpPr>
                    <a:spLocks/>
                  </p:cNvSpPr>
                  <p:nvPr/>
                </p:nvSpPr>
                <p:spPr bwMode="auto">
                  <a:xfrm>
                    <a:off x="5592219" y="2420155"/>
                    <a:ext cx="998739" cy="745391"/>
                  </a:xfrm>
                  <a:custGeom>
                    <a:avLst/>
                    <a:gdLst>
                      <a:gd name="T0" fmla="*/ 2147483647 w 129"/>
                      <a:gd name="T1" fmla="*/ 2147483647 h 91"/>
                      <a:gd name="T2" fmla="*/ 2147483647 w 129"/>
                      <a:gd name="T3" fmla="*/ 2147483647 h 91"/>
                      <a:gd name="T4" fmla="*/ 2147483647 w 129"/>
                      <a:gd name="T5" fmla="*/ 2147483647 h 91"/>
                      <a:gd name="T6" fmla="*/ 2147483647 w 129"/>
                      <a:gd name="T7" fmla="*/ 2147483647 h 91"/>
                      <a:gd name="T8" fmla="*/ 2147483647 w 129"/>
                      <a:gd name="T9" fmla="*/ 2147483647 h 91"/>
                      <a:gd name="T10" fmla="*/ 2147483647 w 129"/>
                      <a:gd name="T11" fmla="*/ 2147483647 h 91"/>
                      <a:gd name="T12" fmla="*/ 2147483647 w 129"/>
                      <a:gd name="T13" fmla="*/ 2147483647 h 91"/>
                      <a:gd name="T14" fmla="*/ 2147483647 w 129"/>
                      <a:gd name="T15" fmla="*/ 2147483647 h 91"/>
                      <a:gd name="T16" fmla="*/ 2147483647 w 129"/>
                      <a:gd name="T17" fmla="*/ 2147483647 h 91"/>
                      <a:gd name="T18" fmla="*/ 2147483647 w 129"/>
                      <a:gd name="T19" fmla="*/ 2147483647 h 91"/>
                      <a:gd name="T20" fmla="*/ 2147483647 w 129"/>
                      <a:gd name="T21" fmla="*/ 2147483647 h 91"/>
                      <a:gd name="T22" fmla="*/ 2147483647 w 129"/>
                      <a:gd name="T23" fmla="*/ 2147483647 h 91"/>
                      <a:gd name="T24" fmla="*/ 2147483647 w 129"/>
                      <a:gd name="T25" fmla="*/ 2147483647 h 91"/>
                      <a:gd name="T26" fmla="*/ 2147483647 w 129"/>
                      <a:gd name="T27" fmla="*/ 2147483647 h 91"/>
                      <a:gd name="T28" fmla="*/ 2147483647 w 129"/>
                      <a:gd name="T29" fmla="*/ 2147483647 h 91"/>
                      <a:gd name="T30" fmla="*/ 0 w 129"/>
                      <a:gd name="T31" fmla="*/ 2147483647 h 91"/>
                      <a:gd name="T32" fmla="*/ 2147483647 w 129"/>
                      <a:gd name="T33" fmla="*/ 2147483647 h 91"/>
                      <a:gd name="T34" fmla="*/ 2147483647 w 129"/>
                      <a:gd name="T35" fmla="*/ 2147483647 h 91"/>
                      <a:gd name="T36" fmla="*/ 2147483647 w 129"/>
                      <a:gd name="T37" fmla="*/ 2147483647 h 91"/>
                      <a:gd name="T38" fmla="*/ 2147483647 w 129"/>
                      <a:gd name="T39" fmla="*/ 2147483647 h 91"/>
                      <a:gd name="T40" fmla="*/ 2147483647 w 129"/>
                      <a:gd name="T41" fmla="*/ 2147483647 h 91"/>
                      <a:gd name="T42" fmla="*/ 2147483647 w 129"/>
                      <a:gd name="T43" fmla="*/ 2147483647 h 91"/>
                      <a:gd name="T44" fmla="*/ 2147483647 w 129"/>
                      <a:gd name="T45" fmla="*/ 2147483647 h 91"/>
                      <a:gd name="T46" fmla="*/ 2147483647 w 129"/>
                      <a:gd name="T47" fmla="*/ 2147483647 h 91"/>
                      <a:gd name="T48" fmla="*/ 2147483647 w 129"/>
                      <a:gd name="T49" fmla="*/ 2147483647 h 91"/>
                      <a:gd name="T50" fmla="*/ 2147483647 w 129"/>
                      <a:gd name="T51" fmla="*/ 2147483647 h 91"/>
                      <a:gd name="T52" fmla="*/ 2147483647 w 129"/>
                      <a:gd name="T53" fmla="*/ 2147483647 h 91"/>
                      <a:gd name="T54" fmla="*/ 2147483647 w 129"/>
                      <a:gd name="T55" fmla="*/ 2147483647 h 91"/>
                      <a:gd name="T56" fmla="*/ 2147483647 w 129"/>
                      <a:gd name="T57" fmla="*/ 2147483647 h 91"/>
                      <a:gd name="T58" fmla="*/ 2147483647 w 129"/>
                      <a:gd name="T59" fmla="*/ 2147483647 h 91"/>
                      <a:gd name="T60" fmla="*/ 2147483647 w 129"/>
                      <a:gd name="T61" fmla="*/ 2147483647 h 91"/>
                      <a:gd name="T62" fmla="*/ 2147483647 w 129"/>
                      <a:gd name="T63" fmla="*/ 2147483647 h 91"/>
                      <a:gd name="T64" fmla="*/ 2147483647 w 129"/>
                      <a:gd name="T65" fmla="*/ 2147483647 h 91"/>
                      <a:gd name="T66" fmla="*/ 2147483647 w 129"/>
                      <a:gd name="T67" fmla="*/ 2147483647 h 91"/>
                      <a:gd name="T68" fmla="*/ 2147483647 w 129"/>
                      <a:gd name="T69" fmla="*/ 2147483647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9" h="91">
                        <a:moveTo>
                          <a:pt x="89" y="79"/>
                        </a:moveTo>
                        <a:cubicBezTo>
                          <a:pt x="87" y="77"/>
                          <a:pt x="87" y="77"/>
                          <a:pt x="87" y="77"/>
                        </a:cubicBezTo>
                        <a:cubicBezTo>
                          <a:pt x="88" y="73"/>
                          <a:pt x="88" y="73"/>
                          <a:pt x="88" y="73"/>
                        </a:cubicBezTo>
                        <a:cubicBezTo>
                          <a:pt x="96" y="71"/>
                          <a:pt x="96" y="71"/>
                          <a:pt x="96" y="71"/>
                        </a:cubicBezTo>
                        <a:cubicBezTo>
                          <a:pt x="101" y="67"/>
                          <a:pt x="101" y="67"/>
                          <a:pt x="101" y="67"/>
                        </a:cubicBezTo>
                        <a:cubicBezTo>
                          <a:pt x="105" y="63"/>
                          <a:pt x="105" y="63"/>
                          <a:pt x="105" y="63"/>
                        </a:cubicBezTo>
                        <a:cubicBezTo>
                          <a:pt x="107" y="51"/>
                          <a:pt x="107" y="51"/>
                          <a:pt x="107" y="51"/>
                        </a:cubicBezTo>
                        <a:cubicBezTo>
                          <a:pt x="114" y="50"/>
                          <a:pt x="114" y="50"/>
                          <a:pt x="114" y="50"/>
                        </a:cubicBezTo>
                        <a:cubicBezTo>
                          <a:pt x="116" y="40"/>
                          <a:pt x="116" y="40"/>
                          <a:pt x="116" y="40"/>
                        </a:cubicBezTo>
                        <a:cubicBezTo>
                          <a:pt x="124" y="41"/>
                          <a:pt x="124" y="41"/>
                          <a:pt x="124" y="41"/>
                        </a:cubicBezTo>
                        <a:cubicBezTo>
                          <a:pt x="126" y="35"/>
                          <a:pt x="126" y="35"/>
                          <a:pt x="126" y="35"/>
                        </a:cubicBezTo>
                        <a:cubicBezTo>
                          <a:pt x="129" y="34"/>
                          <a:pt x="129" y="34"/>
                          <a:pt x="129" y="34"/>
                        </a:cubicBezTo>
                        <a:cubicBezTo>
                          <a:pt x="129" y="29"/>
                          <a:pt x="129" y="29"/>
                          <a:pt x="129" y="29"/>
                        </a:cubicBezTo>
                        <a:cubicBezTo>
                          <a:pt x="122" y="27"/>
                          <a:pt x="122" y="27"/>
                          <a:pt x="122" y="27"/>
                        </a:cubicBezTo>
                        <a:cubicBezTo>
                          <a:pt x="114" y="23"/>
                          <a:pt x="114" y="23"/>
                          <a:pt x="114" y="23"/>
                        </a:cubicBezTo>
                        <a:cubicBezTo>
                          <a:pt x="104" y="23"/>
                          <a:pt x="104" y="23"/>
                          <a:pt x="104" y="23"/>
                        </a:cubicBezTo>
                        <a:cubicBezTo>
                          <a:pt x="100" y="14"/>
                          <a:pt x="100" y="14"/>
                          <a:pt x="100" y="14"/>
                        </a:cubicBezTo>
                        <a:cubicBezTo>
                          <a:pt x="96" y="6"/>
                          <a:pt x="96" y="6"/>
                          <a:pt x="96" y="6"/>
                        </a:cubicBezTo>
                        <a:cubicBezTo>
                          <a:pt x="91" y="6"/>
                          <a:pt x="91" y="6"/>
                          <a:pt x="91" y="6"/>
                        </a:cubicBezTo>
                        <a:cubicBezTo>
                          <a:pt x="82" y="9"/>
                          <a:pt x="82" y="9"/>
                          <a:pt x="82" y="9"/>
                        </a:cubicBezTo>
                        <a:cubicBezTo>
                          <a:pt x="74" y="0"/>
                          <a:pt x="74" y="0"/>
                          <a:pt x="74" y="0"/>
                        </a:cubicBezTo>
                        <a:cubicBezTo>
                          <a:pt x="62" y="3"/>
                          <a:pt x="62" y="3"/>
                          <a:pt x="62" y="3"/>
                        </a:cubicBezTo>
                        <a:cubicBezTo>
                          <a:pt x="49" y="7"/>
                          <a:pt x="49" y="7"/>
                          <a:pt x="49" y="7"/>
                        </a:cubicBezTo>
                        <a:cubicBezTo>
                          <a:pt x="45" y="16"/>
                          <a:pt x="45" y="16"/>
                          <a:pt x="45" y="16"/>
                        </a:cubicBezTo>
                        <a:cubicBezTo>
                          <a:pt x="47" y="23"/>
                          <a:pt x="47" y="23"/>
                          <a:pt x="47" y="23"/>
                        </a:cubicBezTo>
                        <a:cubicBezTo>
                          <a:pt x="40" y="24"/>
                          <a:pt x="40" y="24"/>
                          <a:pt x="40" y="24"/>
                        </a:cubicBezTo>
                        <a:cubicBezTo>
                          <a:pt x="33" y="23"/>
                          <a:pt x="33" y="23"/>
                          <a:pt x="33" y="23"/>
                        </a:cubicBezTo>
                        <a:cubicBezTo>
                          <a:pt x="27" y="24"/>
                          <a:pt x="27" y="24"/>
                          <a:pt x="27" y="24"/>
                        </a:cubicBezTo>
                        <a:cubicBezTo>
                          <a:pt x="22" y="20"/>
                          <a:pt x="22" y="20"/>
                          <a:pt x="22" y="20"/>
                        </a:cubicBezTo>
                        <a:cubicBezTo>
                          <a:pt x="13" y="21"/>
                          <a:pt x="13" y="21"/>
                          <a:pt x="13" y="21"/>
                        </a:cubicBezTo>
                        <a:cubicBezTo>
                          <a:pt x="3" y="26"/>
                          <a:pt x="3" y="26"/>
                          <a:pt x="3" y="26"/>
                        </a:cubicBezTo>
                        <a:cubicBezTo>
                          <a:pt x="0" y="33"/>
                          <a:pt x="0" y="33"/>
                          <a:pt x="0" y="33"/>
                        </a:cubicBezTo>
                        <a:cubicBezTo>
                          <a:pt x="4" y="37"/>
                          <a:pt x="4" y="37"/>
                          <a:pt x="4" y="37"/>
                        </a:cubicBezTo>
                        <a:cubicBezTo>
                          <a:pt x="6" y="42"/>
                          <a:pt x="6" y="42"/>
                          <a:pt x="6" y="42"/>
                        </a:cubicBezTo>
                        <a:cubicBezTo>
                          <a:pt x="13" y="41"/>
                          <a:pt x="13" y="41"/>
                          <a:pt x="13" y="41"/>
                        </a:cubicBezTo>
                        <a:cubicBezTo>
                          <a:pt x="19" y="41"/>
                          <a:pt x="19" y="41"/>
                          <a:pt x="19" y="41"/>
                        </a:cubicBezTo>
                        <a:cubicBezTo>
                          <a:pt x="26" y="49"/>
                          <a:pt x="26" y="49"/>
                          <a:pt x="26" y="49"/>
                        </a:cubicBezTo>
                        <a:cubicBezTo>
                          <a:pt x="20" y="50"/>
                          <a:pt x="20" y="50"/>
                          <a:pt x="20" y="50"/>
                        </a:cubicBezTo>
                        <a:cubicBezTo>
                          <a:pt x="16" y="50"/>
                          <a:pt x="16" y="50"/>
                          <a:pt x="16" y="50"/>
                        </a:cubicBezTo>
                        <a:cubicBezTo>
                          <a:pt x="13" y="52"/>
                          <a:pt x="13" y="52"/>
                          <a:pt x="13" y="52"/>
                        </a:cubicBezTo>
                        <a:cubicBezTo>
                          <a:pt x="16" y="59"/>
                          <a:pt x="16" y="59"/>
                          <a:pt x="16" y="59"/>
                        </a:cubicBezTo>
                        <a:cubicBezTo>
                          <a:pt x="16" y="59"/>
                          <a:pt x="20" y="62"/>
                          <a:pt x="20" y="63"/>
                        </a:cubicBezTo>
                        <a:cubicBezTo>
                          <a:pt x="20" y="64"/>
                          <a:pt x="20" y="72"/>
                          <a:pt x="20" y="72"/>
                        </a:cubicBezTo>
                        <a:cubicBezTo>
                          <a:pt x="24" y="76"/>
                          <a:pt x="24" y="76"/>
                          <a:pt x="24" y="76"/>
                        </a:cubicBezTo>
                        <a:cubicBezTo>
                          <a:pt x="23" y="84"/>
                          <a:pt x="23" y="84"/>
                          <a:pt x="23" y="84"/>
                        </a:cubicBezTo>
                        <a:cubicBezTo>
                          <a:pt x="24" y="82"/>
                          <a:pt x="24" y="82"/>
                          <a:pt x="24" y="82"/>
                        </a:cubicBezTo>
                        <a:cubicBezTo>
                          <a:pt x="29" y="80"/>
                          <a:pt x="29" y="80"/>
                          <a:pt x="29" y="80"/>
                        </a:cubicBezTo>
                        <a:cubicBezTo>
                          <a:pt x="33" y="79"/>
                          <a:pt x="33" y="79"/>
                          <a:pt x="33" y="79"/>
                        </a:cubicBezTo>
                        <a:cubicBezTo>
                          <a:pt x="38" y="82"/>
                          <a:pt x="38" y="82"/>
                          <a:pt x="38" y="82"/>
                        </a:cubicBezTo>
                        <a:cubicBezTo>
                          <a:pt x="42" y="85"/>
                          <a:pt x="42" y="85"/>
                          <a:pt x="42" y="85"/>
                        </a:cubicBezTo>
                        <a:cubicBezTo>
                          <a:pt x="46" y="86"/>
                          <a:pt x="46" y="86"/>
                          <a:pt x="46" y="86"/>
                        </a:cubicBezTo>
                        <a:cubicBezTo>
                          <a:pt x="46" y="89"/>
                          <a:pt x="46" y="89"/>
                          <a:pt x="46" y="89"/>
                        </a:cubicBezTo>
                        <a:cubicBezTo>
                          <a:pt x="48" y="90"/>
                          <a:pt x="48" y="90"/>
                          <a:pt x="48" y="90"/>
                        </a:cubicBezTo>
                        <a:cubicBezTo>
                          <a:pt x="51" y="91"/>
                          <a:pt x="51" y="91"/>
                          <a:pt x="51" y="91"/>
                        </a:cubicBezTo>
                        <a:cubicBezTo>
                          <a:pt x="53" y="89"/>
                          <a:pt x="53" y="89"/>
                          <a:pt x="53" y="89"/>
                        </a:cubicBezTo>
                        <a:cubicBezTo>
                          <a:pt x="58" y="87"/>
                          <a:pt x="58" y="87"/>
                          <a:pt x="58" y="87"/>
                        </a:cubicBezTo>
                        <a:cubicBezTo>
                          <a:pt x="59" y="82"/>
                          <a:pt x="59" y="82"/>
                          <a:pt x="59" y="82"/>
                        </a:cubicBezTo>
                        <a:cubicBezTo>
                          <a:pt x="63" y="83"/>
                          <a:pt x="63" y="83"/>
                          <a:pt x="63" y="83"/>
                        </a:cubicBezTo>
                        <a:cubicBezTo>
                          <a:pt x="66" y="83"/>
                          <a:pt x="66" y="83"/>
                          <a:pt x="66" y="83"/>
                        </a:cubicBezTo>
                        <a:cubicBezTo>
                          <a:pt x="68" y="85"/>
                          <a:pt x="68" y="85"/>
                          <a:pt x="68" y="85"/>
                        </a:cubicBezTo>
                        <a:cubicBezTo>
                          <a:pt x="72" y="84"/>
                          <a:pt x="72" y="84"/>
                          <a:pt x="72" y="84"/>
                        </a:cubicBezTo>
                        <a:cubicBezTo>
                          <a:pt x="74" y="82"/>
                          <a:pt x="74" y="82"/>
                          <a:pt x="74" y="82"/>
                        </a:cubicBezTo>
                        <a:cubicBezTo>
                          <a:pt x="77" y="79"/>
                          <a:pt x="77" y="79"/>
                          <a:pt x="77" y="79"/>
                        </a:cubicBezTo>
                        <a:cubicBezTo>
                          <a:pt x="78" y="80"/>
                          <a:pt x="78" y="80"/>
                          <a:pt x="78" y="80"/>
                        </a:cubicBezTo>
                        <a:cubicBezTo>
                          <a:pt x="79" y="83"/>
                          <a:pt x="79" y="83"/>
                          <a:pt x="79" y="83"/>
                        </a:cubicBezTo>
                        <a:cubicBezTo>
                          <a:pt x="82" y="83"/>
                          <a:pt x="82" y="83"/>
                          <a:pt x="82" y="83"/>
                        </a:cubicBezTo>
                        <a:cubicBezTo>
                          <a:pt x="86" y="82"/>
                          <a:pt x="86" y="82"/>
                          <a:pt x="86" y="82"/>
                        </a:cubicBezTo>
                        <a:cubicBezTo>
                          <a:pt x="88" y="82"/>
                          <a:pt x="88" y="82"/>
                          <a:pt x="88" y="82"/>
                        </a:cubicBezTo>
                        <a:cubicBezTo>
                          <a:pt x="88" y="83"/>
                          <a:pt x="88" y="83"/>
                          <a:pt x="88" y="83"/>
                        </a:cubicBezTo>
                        <a:cubicBezTo>
                          <a:pt x="90" y="82"/>
                          <a:pt x="90" y="82"/>
                          <a:pt x="90" y="82"/>
                        </a:cubicBezTo>
                        <a:lnTo>
                          <a:pt x="89" y="79"/>
                        </a:lnTo>
                        <a:close/>
                      </a:path>
                    </a:pathLst>
                  </a:custGeom>
                  <a:solidFill>
                    <a:schemeClr val="bg1"/>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35" name="Freeform 339"/>
                  <p:cNvSpPr>
                    <a:spLocks/>
                  </p:cNvSpPr>
                  <p:nvPr/>
                </p:nvSpPr>
                <p:spPr bwMode="auto">
                  <a:xfrm>
                    <a:off x="5653366" y="3085505"/>
                    <a:ext cx="21951" cy="15008"/>
                  </a:xfrm>
                  <a:custGeom>
                    <a:avLst/>
                    <a:gdLst>
                      <a:gd name="T0" fmla="*/ 0 w 18"/>
                      <a:gd name="T1" fmla="*/ 0 h 12"/>
                      <a:gd name="T2" fmla="*/ 0 w 18"/>
                      <a:gd name="T3" fmla="*/ 2147483647 h 12"/>
                      <a:gd name="T4" fmla="*/ 2147483647 w 18"/>
                      <a:gd name="T5" fmla="*/ 2147483647 h 12"/>
                      <a:gd name="T6" fmla="*/ 2147483647 w 18"/>
                      <a:gd name="T7" fmla="*/ 2147483647 h 12"/>
                      <a:gd name="T8" fmla="*/ 0 w 1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2">
                        <a:moveTo>
                          <a:pt x="0" y="0"/>
                        </a:moveTo>
                        <a:lnTo>
                          <a:pt x="0" y="12"/>
                        </a:lnTo>
                        <a:lnTo>
                          <a:pt x="18" y="12"/>
                        </a:lnTo>
                        <a:lnTo>
                          <a:pt x="12" y="12"/>
                        </a:lnTo>
                        <a:lnTo>
                          <a:pt x="0"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36" name="Rectangle 340"/>
                  <p:cNvSpPr>
                    <a:spLocks noChangeArrowheads="1"/>
                  </p:cNvSpPr>
                  <p:nvPr/>
                </p:nvSpPr>
                <p:spPr bwMode="auto">
                  <a:xfrm>
                    <a:off x="4845910" y="2698635"/>
                    <a:ext cx="9407" cy="1667"/>
                  </a:xfrm>
                  <a:prstGeom prst="rect">
                    <a:avLst/>
                  </a:prstGeom>
                  <a:solidFill>
                    <a:sysClr val="window" lastClr="FFFFFF"/>
                  </a:solidFill>
                  <a:ln w="9525">
                    <a:solidFill>
                      <a:sysClr val="window" lastClr="FFFFFF">
                        <a:lumMod val="50000"/>
                      </a:sysClr>
                    </a:solidFill>
                    <a:miter lim="800000"/>
                    <a:headEnd/>
                    <a:tailEnd/>
                  </a:ln>
                </p:spPr>
                <p:txBody>
                  <a:bodyPr/>
                  <a:lstStyle>
                    <a:lvl1pPr>
                      <a:defRPr sz="1400" b="1">
                        <a:solidFill>
                          <a:schemeClr val="bg1"/>
                        </a:solidFill>
                        <a:latin typeface="Arial" charset="0"/>
                        <a:ea typeface="ＭＳ Ｐゴシック" pitchFamily="34" charset="-128"/>
                      </a:defRPr>
                    </a:lvl1pPr>
                    <a:lvl2pPr marL="742950" indent="-285750">
                      <a:defRPr sz="1400" b="1">
                        <a:solidFill>
                          <a:schemeClr val="bg1"/>
                        </a:solidFill>
                        <a:latin typeface="Arial" charset="0"/>
                        <a:ea typeface="ＭＳ Ｐゴシック" pitchFamily="34" charset="-128"/>
                      </a:defRPr>
                    </a:lvl2pPr>
                    <a:lvl3pPr marL="1143000" indent="-228600">
                      <a:defRPr sz="1400" b="1">
                        <a:solidFill>
                          <a:schemeClr val="bg1"/>
                        </a:solidFill>
                        <a:latin typeface="Arial" charset="0"/>
                        <a:ea typeface="ＭＳ Ｐゴシック" pitchFamily="34" charset="-128"/>
                      </a:defRPr>
                    </a:lvl3pPr>
                    <a:lvl4pPr marL="1600200" indent="-228600">
                      <a:defRPr sz="1400" b="1">
                        <a:solidFill>
                          <a:schemeClr val="bg1"/>
                        </a:solidFill>
                        <a:latin typeface="Arial" charset="0"/>
                        <a:ea typeface="ＭＳ Ｐゴシック" pitchFamily="34" charset="-128"/>
                      </a:defRPr>
                    </a:lvl4pPr>
                    <a:lvl5pPr marL="2057400" indent="-228600">
                      <a:defRPr sz="1400" b="1">
                        <a:solidFill>
                          <a:schemeClr val="bg1"/>
                        </a:solidFill>
                        <a:latin typeface="Arial" charset="0"/>
                        <a:ea typeface="ＭＳ Ｐゴシック" pitchFamily="34" charset="-128"/>
                      </a:defRPr>
                    </a:lvl5pPr>
                    <a:lvl6pPr marL="2514600" indent="-228600" eaLnBrk="0" fontAlgn="base" hangingPunct="0">
                      <a:spcBef>
                        <a:spcPct val="0"/>
                      </a:spcBef>
                      <a:spcAft>
                        <a:spcPct val="0"/>
                      </a:spcAft>
                      <a:defRPr sz="1400" b="1">
                        <a:solidFill>
                          <a:schemeClr val="bg1"/>
                        </a:solidFill>
                        <a:latin typeface="Arial" charset="0"/>
                        <a:ea typeface="ＭＳ Ｐゴシック" pitchFamily="34" charset="-128"/>
                      </a:defRPr>
                    </a:lvl6pPr>
                    <a:lvl7pPr marL="2971800" indent="-228600" eaLnBrk="0" fontAlgn="base" hangingPunct="0">
                      <a:spcBef>
                        <a:spcPct val="0"/>
                      </a:spcBef>
                      <a:spcAft>
                        <a:spcPct val="0"/>
                      </a:spcAft>
                      <a:defRPr sz="1400" b="1">
                        <a:solidFill>
                          <a:schemeClr val="bg1"/>
                        </a:solidFill>
                        <a:latin typeface="Arial" charset="0"/>
                        <a:ea typeface="ＭＳ Ｐゴシック" pitchFamily="34" charset="-128"/>
                      </a:defRPr>
                    </a:lvl7pPr>
                    <a:lvl8pPr marL="3429000" indent="-228600" eaLnBrk="0" fontAlgn="base" hangingPunct="0">
                      <a:spcBef>
                        <a:spcPct val="0"/>
                      </a:spcBef>
                      <a:spcAft>
                        <a:spcPct val="0"/>
                      </a:spcAft>
                      <a:defRPr sz="1400" b="1">
                        <a:solidFill>
                          <a:schemeClr val="bg1"/>
                        </a:solidFill>
                        <a:latin typeface="Arial" charset="0"/>
                        <a:ea typeface="ＭＳ Ｐゴシック" pitchFamily="34" charset="-128"/>
                      </a:defRPr>
                    </a:lvl8pPr>
                    <a:lvl9pPr marL="3886200" indent="-228600" eaLnBrk="0" fontAlgn="base" hangingPunct="0">
                      <a:spcBef>
                        <a:spcPct val="0"/>
                      </a:spcBef>
                      <a:spcAft>
                        <a:spcPct val="0"/>
                      </a:spcAft>
                      <a:defRPr sz="1400" b="1">
                        <a:solidFill>
                          <a:schemeClr val="bg1"/>
                        </a:solidFill>
                        <a:latin typeface="Arial" charset="0"/>
                        <a:ea typeface="ＭＳ Ｐゴシック" pitchFamily="34" charset="-128"/>
                      </a:defRPr>
                    </a:lvl9pPr>
                  </a:lstStyle>
                  <a:p>
                    <a:pPr algn="ctr">
                      <a:spcBef>
                        <a:spcPct val="15000"/>
                      </a:spcBef>
                      <a:defRPr/>
                    </a:pPr>
                    <a:endParaRPr lang="en-US" altLang="en-US" kern="0">
                      <a:solidFill>
                        <a:prstClr val="white"/>
                      </a:solidFill>
                    </a:endParaRPr>
                  </a:p>
                </p:txBody>
              </p:sp>
              <p:sp>
                <p:nvSpPr>
                  <p:cNvPr id="537" name="Freeform 347"/>
                  <p:cNvSpPr>
                    <a:spLocks/>
                  </p:cNvSpPr>
                  <p:nvPr/>
                </p:nvSpPr>
                <p:spPr bwMode="auto">
                  <a:xfrm>
                    <a:off x="4562123" y="1484665"/>
                    <a:ext cx="641263" cy="805423"/>
                  </a:xfrm>
                  <a:custGeom>
                    <a:avLst/>
                    <a:gdLst>
                      <a:gd name="T0" fmla="*/ 2147483647 w 83"/>
                      <a:gd name="T1" fmla="*/ 2147483647 h 98"/>
                      <a:gd name="T2" fmla="*/ 2147483647 w 83"/>
                      <a:gd name="T3" fmla="*/ 2147483647 h 98"/>
                      <a:gd name="T4" fmla="*/ 2147483647 w 83"/>
                      <a:gd name="T5" fmla="*/ 2147483647 h 98"/>
                      <a:gd name="T6" fmla="*/ 2147483647 w 83"/>
                      <a:gd name="T7" fmla="*/ 2147483647 h 98"/>
                      <a:gd name="T8" fmla="*/ 2147483647 w 83"/>
                      <a:gd name="T9" fmla="*/ 2147483647 h 98"/>
                      <a:gd name="T10" fmla="*/ 2147483647 w 83"/>
                      <a:gd name="T11" fmla="*/ 2147483647 h 98"/>
                      <a:gd name="T12" fmla="*/ 2147483647 w 83"/>
                      <a:gd name="T13" fmla="*/ 2147483647 h 98"/>
                      <a:gd name="T14" fmla="*/ 2147483647 w 83"/>
                      <a:gd name="T15" fmla="*/ 2147483647 h 98"/>
                      <a:gd name="T16" fmla="*/ 2147483647 w 83"/>
                      <a:gd name="T17" fmla="*/ 2147483647 h 98"/>
                      <a:gd name="T18" fmla="*/ 2147483647 w 83"/>
                      <a:gd name="T19" fmla="*/ 2147483647 h 98"/>
                      <a:gd name="T20" fmla="*/ 2147483647 w 83"/>
                      <a:gd name="T21" fmla="*/ 2147483647 h 98"/>
                      <a:gd name="T22" fmla="*/ 2147483647 w 83"/>
                      <a:gd name="T23" fmla="*/ 2147483647 h 98"/>
                      <a:gd name="T24" fmla="*/ 2147483647 w 83"/>
                      <a:gd name="T25" fmla="*/ 2147483647 h 98"/>
                      <a:gd name="T26" fmla="*/ 2147483647 w 83"/>
                      <a:gd name="T27" fmla="*/ 2147483647 h 98"/>
                      <a:gd name="T28" fmla="*/ 2147483647 w 83"/>
                      <a:gd name="T29" fmla="*/ 2147483647 h 98"/>
                      <a:gd name="T30" fmla="*/ 2147483647 w 83"/>
                      <a:gd name="T31" fmla="*/ 2147483647 h 98"/>
                      <a:gd name="T32" fmla="*/ 2147483647 w 83"/>
                      <a:gd name="T33" fmla="*/ 2147483647 h 98"/>
                      <a:gd name="T34" fmla="*/ 2147483647 w 83"/>
                      <a:gd name="T35" fmla="*/ 2147483647 h 98"/>
                      <a:gd name="T36" fmla="*/ 2147483647 w 83"/>
                      <a:gd name="T37" fmla="*/ 2147483647 h 98"/>
                      <a:gd name="T38" fmla="*/ 2147483647 w 83"/>
                      <a:gd name="T39" fmla="*/ 2147483647 h 98"/>
                      <a:gd name="T40" fmla="*/ 2147483647 w 83"/>
                      <a:gd name="T41" fmla="*/ 2147483647 h 98"/>
                      <a:gd name="T42" fmla="*/ 2147483647 w 83"/>
                      <a:gd name="T43" fmla="*/ 2147483647 h 98"/>
                      <a:gd name="T44" fmla="*/ 2147483647 w 83"/>
                      <a:gd name="T45" fmla="*/ 2147483647 h 98"/>
                      <a:gd name="T46" fmla="*/ 2147483647 w 83"/>
                      <a:gd name="T47" fmla="*/ 2147483647 h 98"/>
                      <a:gd name="T48" fmla="*/ 2147483647 w 83"/>
                      <a:gd name="T49" fmla="*/ 2147483647 h 98"/>
                      <a:gd name="T50" fmla="*/ 2147483647 w 83"/>
                      <a:gd name="T51" fmla="*/ 0 h 98"/>
                      <a:gd name="T52" fmla="*/ 2147483647 w 83"/>
                      <a:gd name="T53" fmla="*/ 2147483647 h 98"/>
                      <a:gd name="T54" fmla="*/ 2147483647 w 83"/>
                      <a:gd name="T55" fmla="*/ 2147483647 h 98"/>
                      <a:gd name="T56" fmla="*/ 2147483647 w 83"/>
                      <a:gd name="T57" fmla="*/ 2147483647 h 98"/>
                      <a:gd name="T58" fmla="*/ 2147483647 w 83"/>
                      <a:gd name="T59" fmla="*/ 2147483647 h 98"/>
                      <a:gd name="T60" fmla="*/ 2147483647 w 83"/>
                      <a:gd name="T61" fmla="*/ 2147483647 h 98"/>
                      <a:gd name="T62" fmla="*/ 2147483647 w 83"/>
                      <a:gd name="T63" fmla="*/ 2147483647 h 98"/>
                      <a:gd name="T64" fmla="*/ 2147483647 w 83"/>
                      <a:gd name="T65" fmla="*/ 2147483647 h 98"/>
                      <a:gd name="T66" fmla="*/ 2147483647 w 83"/>
                      <a:gd name="T67" fmla="*/ 2147483647 h 98"/>
                      <a:gd name="T68" fmla="*/ 2147483647 w 83"/>
                      <a:gd name="T69" fmla="*/ 2147483647 h 98"/>
                      <a:gd name="T70" fmla="*/ 2147483647 w 83"/>
                      <a:gd name="T71" fmla="*/ 2147483647 h 98"/>
                      <a:gd name="T72" fmla="*/ 2147483647 w 83"/>
                      <a:gd name="T73" fmla="*/ 2147483647 h 98"/>
                      <a:gd name="T74" fmla="*/ 2147483647 w 83"/>
                      <a:gd name="T75" fmla="*/ 2147483647 h 98"/>
                      <a:gd name="T76" fmla="*/ 2147483647 w 83"/>
                      <a:gd name="T77" fmla="*/ 2147483647 h 98"/>
                      <a:gd name="T78" fmla="*/ 2147483647 w 83"/>
                      <a:gd name="T79" fmla="*/ 2147483647 h 98"/>
                      <a:gd name="T80" fmla="*/ 2147483647 w 83"/>
                      <a:gd name="T81" fmla="*/ 2147483647 h 98"/>
                      <a:gd name="T82" fmla="*/ 2147483647 w 83"/>
                      <a:gd name="T83" fmla="*/ 2147483647 h 98"/>
                      <a:gd name="T84" fmla="*/ 2147483647 w 83"/>
                      <a:gd name="T85" fmla="*/ 2147483647 h 98"/>
                      <a:gd name="T86" fmla="*/ 2147483647 w 83"/>
                      <a:gd name="T87" fmla="*/ 2147483647 h 98"/>
                      <a:gd name="T88" fmla="*/ 2147483647 w 83"/>
                      <a:gd name="T89" fmla="*/ 2147483647 h 98"/>
                      <a:gd name="T90" fmla="*/ 2147483647 w 83"/>
                      <a:gd name="T91" fmla="*/ 2147483647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38" name="Freeform 348"/>
                  <p:cNvSpPr>
                    <a:spLocks/>
                  </p:cNvSpPr>
                  <p:nvPr/>
                </p:nvSpPr>
                <p:spPr bwMode="auto">
                  <a:xfrm>
                    <a:off x="4715774" y="1641414"/>
                    <a:ext cx="316712" cy="770404"/>
                  </a:xfrm>
                  <a:custGeom>
                    <a:avLst/>
                    <a:gdLst>
                      <a:gd name="T0" fmla="*/ 329757991 w 10000"/>
                      <a:gd name="T1" fmla="*/ 900343932 h 9895"/>
                      <a:gd name="T2" fmla="*/ 321712352 w 10000"/>
                      <a:gd name="T3" fmla="*/ 642988176 h 9895"/>
                      <a:gd name="T4" fmla="*/ 305620110 w 10000"/>
                      <a:gd name="T5" fmla="*/ 257355682 h 9895"/>
                      <a:gd name="T6" fmla="*/ 281514137 w 10000"/>
                      <a:gd name="T7" fmla="*/ 214195752 h 9895"/>
                      <a:gd name="T8" fmla="*/ 249329623 w 10000"/>
                      <a:gd name="T9" fmla="*/ 0 h 9895"/>
                      <a:gd name="T10" fmla="*/ 233237382 w 10000"/>
                      <a:gd name="T11" fmla="*/ 128677878 h 9895"/>
                      <a:gd name="T12" fmla="*/ 217145140 w 10000"/>
                      <a:gd name="T13" fmla="*/ 214195752 h 9895"/>
                      <a:gd name="T14" fmla="*/ 176947920 w 10000"/>
                      <a:gd name="T15" fmla="*/ 385627008 h 9895"/>
                      <a:gd name="T16" fmla="*/ 144763406 w 10000"/>
                      <a:gd name="T17" fmla="*/ 471551434 h 9895"/>
                      <a:gd name="T18" fmla="*/ 144763406 w 10000"/>
                      <a:gd name="T19" fmla="*/ 685741627 h 9895"/>
                      <a:gd name="T20" fmla="*/ 112612851 w 10000"/>
                      <a:gd name="T21" fmla="*/ 1028615184 h 9895"/>
                      <a:gd name="T22" fmla="*/ 88473944 w 10000"/>
                      <a:gd name="T23" fmla="*/ 1328729803 h 9895"/>
                      <a:gd name="T24" fmla="*/ 80428336 w 10000"/>
                      <a:gd name="T25" fmla="*/ 1586085559 h 9895"/>
                      <a:gd name="T26" fmla="*/ 48243854 w 10000"/>
                      <a:gd name="T27" fmla="*/ 1757522301 h 9895"/>
                      <a:gd name="T28" fmla="*/ 32184514 w 10000"/>
                      <a:gd name="T29" fmla="*/ 1971718053 h 9895"/>
                      <a:gd name="T30" fmla="*/ 32184514 w 10000"/>
                      <a:gd name="T31" fmla="*/ 2147483647 h 9895"/>
                      <a:gd name="T32" fmla="*/ 32184514 w 10000"/>
                      <a:gd name="T33" fmla="*/ 2147483647 h 9895"/>
                      <a:gd name="T34" fmla="*/ 32184514 w 10000"/>
                      <a:gd name="T35" fmla="*/ 2147483647 h 9895"/>
                      <a:gd name="T36" fmla="*/ 8045607 w 10000"/>
                      <a:gd name="T37" fmla="*/ 2147483647 h 9895"/>
                      <a:gd name="T38" fmla="*/ 16092241 w 10000"/>
                      <a:gd name="T39" fmla="*/ 2147483647 h 9895"/>
                      <a:gd name="T40" fmla="*/ 57377416 w 10000"/>
                      <a:gd name="T41" fmla="*/ 2147483647 h 9895"/>
                      <a:gd name="T42" fmla="*/ 62950940 w 10000"/>
                      <a:gd name="T43" fmla="*/ 2147483647 h 9895"/>
                      <a:gd name="T44" fmla="*/ 80428336 w 10000"/>
                      <a:gd name="T45" fmla="*/ 2147483647 h 9895"/>
                      <a:gd name="T46" fmla="*/ 104566217 w 10000"/>
                      <a:gd name="T47" fmla="*/ 2147483647 h 9895"/>
                      <a:gd name="T48" fmla="*/ 144763406 w 10000"/>
                      <a:gd name="T49" fmla="*/ 2147483647 h 9895"/>
                      <a:gd name="T50" fmla="*/ 152810071 w 10000"/>
                      <a:gd name="T51" fmla="*/ 2147483647 h 9895"/>
                      <a:gd name="T52" fmla="*/ 193040161 w 10000"/>
                      <a:gd name="T53" fmla="*/ 2147483647 h 9895"/>
                      <a:gd name="T54" fmla="*/ 184994553 w 10000"/>
                      <a:gd name="T55" fmla="*/ 2147483647 h 9895"/>
                      <a:gd name="T56" fmla="*/ 168902312 w 10000"/>
                      <a:gd name="T57" fmla="*/ 2147483647 h 9895"/>
                      <a:gd name="T58" fmla="*/ 193040161 w 10000"/>
                      <a:gd name="T59" fmla="*/ 1971718053 h 9895"/>
                      <a:gd name="T60" fmla="*/ 265421864 w 10000"/>
                      <a:gd name="T61" fmla="*/ 1714768849 h 9895"/>
                      <a:gd name="T62" fmla="*/ 265421864 w 10000"/>
                      <a:gd name="T63" fmla="*/ 1457407681 h 9895"/>
                      <a:gd name="T64" fmla="*/ 305620110 w 10000"/>
                      <a:gd name="T65" fmla="*/ 1157293062 h 9895"/>
                      <a:gd name="T66" fmla="*/ 329757991 w 10000"/>
                      <a:gd name="T67" fmla="*/ 1157293062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solidFill>
                    <a:srgbClr val="FFC000"/>
                  </a:solidFill>
                  <a:ln w="9525">
                    <a:solidFill>
                      <a:sysClr val="window" lastClr="FFFFFF">
                        <a:lumMod val="50000"/>
                      </a:sysClr>
                    </a:solidFill>
                    <a:round/>
                    <a:headEnd/>
                    <a:tailEnd/>
                  </a:ln>
                </p:spPr>
                <p:txBody>
                  <a:bodyPr/>
                  <a:lstStyle/>
                  <a:p>
                    <a:pPr>
                      <a:defRPr/>
                    </a:pPr>
                    <a:endParaRPr lang="en-GB" kern="0" dirty="0">
                      <a:solidFill>
                        <a:prstClr val="black"/>
                      </a:solidFill>
                      <a:latin typeface="Calibri"/>
                    </a:endParaRPr>
                  </a:p>
                </p:txBody>
              </p:sp>
              <p:sp>
                <p:nvSpPr>
                  <p:cNvPr id="539" name="Freeform 349"/>
                  <p:cNvSpPr>
                    <a:spLocks/>
                  </p:cNvSpPr>
                  <p:nvPr/>
                </p:nvSpPr>
                <p:spPr bwMode="auto">
                  <a:xfrm>
                    <a:off x="4987018" y="2551891"/>
                    <a:ext cx="440574" cy="301824"/>
                  </a:xfrm>
                  <a:custGeom>
                    <a:avLst/>
                    <a:gdLst>
                      <a:gd name="T0" fmla="*/ 2147483647 w 57"/>
                      <a:gd name="T1" fmla="*/ 2147483647 h 37"/>
                      <a:gd name="T2" fmla="*/ 2147483647 w 57"/>
                      <a:gd name="T3" fmla="*/ 2147483647 h 37"/>
                      <a:gd name="T4" fmla="*/ 2147483647 w 57"/>
                      <a:gd name="T5" fmla="*/ 2147483647 h 37"/>
                      <a:gd name="T6" fmla="*/ 2147483647 w 57"/>
                      <a:gd name="T7" fmla="*/ 2147483647 h 37"/>
                      <a:gd name="T8" fmla="*/ 2147483647 w 57"/>
                      <a:gd name="T9" fmla="*/ 2147483647 h 37"/>
                      <a:gd name="T10" fmla="*/ 2147483647 w 57"/>
                      <a:gd name="T11" fmla="*/ 2147483647 h 37"/>
                      <a:gd name="T12" fmla="*/ 2147483647 w 57"/>
                      <a:gd name="T13" fmla="*/ 2147483647 h 37"/>
                      <a:gd name="T14" fmla="*/ 2147483647 w 57"/>
                      <a:gd name="T15" fmla="*/ 2147483647 h 37"/>
                      <a:gd name="T16" fmla="*/ 2147483647 w 57"/>
                      <a:gd name="T17" fmla="*/ 2147483647 h 37"/>
                      <a:gd name="T18" fmla="*/ 2147483647 w 57"/>
                      <a:gd name="T19" fmla="*/ 2147483647 h 37"/>
                      <a:gd name="T20" fmla="*/ 2147483647 w 57"/>
                      <a:gd name="T21" fmla="*/ 2147483647 h 37"/>
                      <a:gd name="T22" fmla="*/ 2147483647 w 57"/>
                      <a:gd name="T23" fmla="*/ 0 h 37"/>
                      <a:gd name="T24" fmla="*/ 2147483647 w 57"/>
                      <a:gd name="T25" fmla="*/ 0 h 37"/>
                      <a:gd name="T26" fmla="*/ 2147483647 w 57"/>
                      <a:gd name="T27" fmla="*/ 2147483647 h 37"/>
                      <a:gd name="T28" fmla="*/ 2147483647 w 57"/>
                      <a:gd name="T29" fmla="*/ 2147483647 h 37"/>
                      <a:gd name="T30" fmla="*/ 2147483647 w 57"/>
                      <a:gd name="T31" fmla="*/ 2147483647 h 37"/>
                      <a:gd name="T32" fmla="*/ 2147483647 w 57"/>
                      <a:gd name="T33" fmla="*/ 2147483647 h 37"/>
                      <a:gd name="T34" fmla="*/ 2147483647 w 57"/>
                      <a:gd name="T35" fmla="*/ 2147483647 h 37"/>
                      <a:gd name="T36" fmla="*/ 2147483647 w 57"/>
                      <a:gd name="T37" fmla="*/ 2147483647 h 37"/>
                      <a:gd name="T38" fmla="*/ 2147483647 w 57"/>
                      <a:gd name="T39" fmla="*/ 2147483647 h 37"/>
                      <a:gd name="T40" fmla="*/ 2147483647 w 57"/>
                      <a:gd name="T41" fmla="*/ 2147483647 h 37"/>
                      <a:gd name="T42" fmla="*/ 2147483647 w 57"/>
                      <a:gd name="T43" fmla="*/ 2147483647 h 37"/>
                      <a:gd name="T44" fmla="*/ 0 w 57"/>
                      <a:gd name="T45" fmla="*/ 2147483647 h 37"/>
                      <a:gd name="T46" fmla="*/ 0 w 57"/>
                      <a:gd name="T47" fmla="*/ 2147483647 h 37"/>
                      <a:gd name="T48" fmla="*/ 2147483647 w 57"/>
                      <a:gd name="T49" fmla="*/ 2147483647 h 37"/>
                      <a:gd name="T50" fmla="*/ 2147483647 w 57"/>
                      <a:gd name="T51" fmla="*/ 2147483647 h 37"/>
                      <a:gd name="T52" fmla="*/ 2147483647 w 57"/>
                      <a:gd name="T53" fmla="*/ 2147483647 h 37"/>
                      <a:gd name="T54" fmla="*/ 2147483647 w 57"/>
                      <a:gd name="T55" fmla="*/ 2147483647 h 37"/>
                      <a:gd name="T56" fmla="*/ 2147483647 w 57"/>
                      <a:gd name="T57" fmla="*/ 2147483647 h 37"/>
                      <a:gd name="T58" fmla="*/ 2147483647 w 57"/>
                      <a:gd name="T59" fmla="*/ 2147483647 h 37"/>
                      <a:gd name="T60" fmla="*/ 2147483647 w 57"/>
                      <a:gd name="T61" fmla="*/ 2147483647 h 37"/>
                      <a:gd name="T62" fmla="*/ 2147483647 w 57"/>
                      <a:gd name="T63" fmla="*/ 2147483647 h 37"/>
                      <a:gd name="T64" fmla="*/ 2147483647 w 57"/>
                      <a:gd name="T65" fmla="*/ 2147483647 h 37"/>
                      <a:gd name="T66" fmla="*/ 2147483647 w 57"/>
                      <a:gd name="T67" fmla="*/ 2147483647 h 37"/>
                      <a:gd name="T68" fmla="*/ 2147483647 w 57"/>
                      <a:gd name="T69" fmla="*/ 2147483647 h 37"/>
                      <a:gd name="T70" fmla="*/ 2147483647 w 57"/>
                      <a:gd name="T71" fmla="*/ 2147483647 h 37"/>
                      <a:gd name="T72" fmla="*/ 2147483647 w 57"/>
                      <a:gd name="T73" fmla="*/ 2147483647 h 37"/>
                      <a:gd name="T74" fmla="*/ 2147483647 w 57"/>
                      <a:gd name="T75" fmla="*/ 2147483647 h 37"/>
                      <a:gd name="T76" fmla="*/ 2147483647 w 57"/>
                      <a:gd name="T77" fmla="*/ 2147483647 h 37"/>
                      <a:gd name="T78" fmla="*/ 2147483647 w 57"/>
                      <a:gd name="T79" fmla="*/ 2147483647 h 37"/>
                      <a:gd name="T80" fmla="*/ 2147483647 w 57"/>
                      <a:gd name="T81" fmla="*/ 2147483647 h 37"/>
                      <a:gd name="T82" fmla="*/ 2147483647 w 57"/>
                      <a:gd name="T83" fmla="*/ 2147483647 h 37"/>
                      <a:gd name="T84" fmla="*/ 2147483647 w 57"/>
                      <a:gd name="T85" fmla="*/ 2147483647 h 37"/>
                      <a:gd name="T86" fmla="*/ 2147483647 w 57"/>
                      <a:gd name="T87" fmla="*/ 2147483647 h 37"/>
                      <a:gd name="T88" fmla="*/ 2147483647 w 57"/>
                      <a:gd name="T89" fmla="*/ 2147483647 h 37"/>
                      <a:gd name="T90" fmla="*/ 2147483647 w 57"/>
                      <a:gd name="T91" fmla="*/ 2147483647 h 3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57" h="37">
                        <a:moveTo>
                          <a:pt x="54" y="22"/>
                        </a:moveTo>
                        <a:cubicBezTo>
                          <a:pt x="56" y="21"/>
                          <a:pt x="56" y="21"/>
                          <a:pt x="56" y="21"/>
                        </a:cubicBezTo>
                        <a:cubicBezTo>
                          <a:pt x="57" y="16"/>
                          <a:pt x="57" y="16"/>
                          <a:pt x="57" y="16"/>
                        </a:cubicBezTo>
                        <a:cubicBezTo>
                          <a:pt x="57" y="14"/>
                          <a:pt x="57" y="14"/>
                          <a:pt x="57" y="14"/>
                        </a:cubicBezTo>
                        <a:cubicBezTo>
                          <a:pt x="52" y="12"/>
                          <a:pt x="52" y="12"/>
                          <a:pt x="52" y="12"/>
                        </a:cubicBezTo>
                        <a:cubicBezTo>
                          <a:pt x="47" y="9"/>
                          <a:pt x="47" y="9"/>
                          <a:pt x="47" y="9"/>
                        </a:cubicBezTo>
                        <a:cubicBezTo>
                          <a:pt x="45" y="9"/>
                          <a:pt x="45" y="9"/>
                          <a:pt x="45" y="9"/>
                        </a:cubicBezTo>
                        <a:cubicBezTo>
                          <a:pt x="42" y="7"/>
                          <a:pt x="42" y="7"/>
                          <a:pt x="42" y="7"/>
                        </a:cubicBezTo>
                        <a:cubicBezTo>
                          <a:pt x="40" y="4"/>
                          <a:pt x="40" y="4"/>
                          <a:pt x="40" y="4"/>
                        </a:cubicBezTo>
                        <a:cubicBezTo>
                          <a:pt x="33" y="1"/>
                          <a:pt x="33" y="1"/>
                          <a:pt x="33" y="1"/>
                        </a:cubicBezTo>
                        <a:cubicBezTo>
                          <a:pt x="31" y="1"/>
                          <a:pt x="31" y="1"/>
                          <a:pt x="31" y="1"/>
                        </a:cubicBezTo>
                        <a:cubicBezTo>
                          <a:pt x="31" y="0"/>
                          <a:pt x="31" y="0"/>
                          <a:pt x="31" y="0"/>
                        </a:cubicBezTo>
                        <a:cubicBezTo>
                          <a:pt x="30" y="0"/>
                          <a:pt x="30" y="0"/>
                          <a:pt x="30" y="0"/>
                        </a:cubicBezTo>
                        <a:cubicBezTo>
                          <a:pt x="28" y="6"/>
                          <a:pt x="28" y="6"/>
                          <a:pt x="28" y="6"/>
                        </a:cubicBezTo>
                        <a:cubicBezTo>
                          <a:pt x="24" y="5"/>
                          <a:pt x="24" y="5"/>
                          <a:pt x="24" y="5"/>
                        </a:cubicBezTo>
                        <a:cubicBezTo>
                          <a:pt x="17" y="5"/>
                          <a:pt x="17" y="5"/>
                          <a:pt x="17" y="5"/>
                        </a:cubicBezTo>
                        <a:cubicBezTo>
                          <a:pt x="11" y="3"/>
                          <a:pt x="11" y="3"/>
                          <a:pt x="11" y="3"/>
                        </a:cubicBezTo>
                        <a:cubicBezTo>
                          <a:pt x="7" y="3"/>
                          <a:pt x="7" y="3"/>
                          <a:pt x="7" y="3"/>
                        </a:cubicBezTo>
                        <a:cubicBezTo>
                          <a:pt x="5" y="4"/>
                          <a:pt x="5" y="4"/>
                          <a:pt x="5" y="4"/>
                        </a:cubicBezTo>
                        <a:cubicBezTo>
                          <a:pt x="6" y="8"/>
                          <a:pt x="6" y="8"/>
                          <a:pt x="6" y="8"/>
                        </a:cubicBezTo>
                        <a:cubicBezTo>
                          <a:pt x="4" y="10"/>
                          <a:pt x="4" y="10"/>
                          <a:pt x="4" y="10"/>
                        </a:cubicBezTo>
                        <a:cubicBezTo>
                          <a:pt x="2" y="15"/>
                          <a:pt x="2" y="15"/>
                          <a:pt x="2" y="15"/>
                        </a:cubicBezTo>
                        <a:cubicBezTo>
                          <a:pt x="0" y="15"/>
                          <a:pt x="0" y="15"/>
                          <a:pt x="0" y="15"/>
                        </a:cubicBezTo>
                        <a:cubicBezTo>
                          <a:pt x="0" y="18"/>
                          <a:pt x="0" y="18"/>
                          <a:pt x="0" y="18"/>
                        </a:cubicBezTo>
                        <a:cubicBezTo>
                          <a:pt x="1" y="19"/>
                          <a:pt x="1" y="19"/>
                          <a:pt x="1" y="19"/>
                        </a:cubicBezTo>
                        <a:cubicBezTo>
                          <a:pt x="2" y="20"/>
                          <a:pt x="2" y="20"/>
                          <a:pt x="2" y="20"/>
                        </a:cubicBezTo>
                        <a:cubicBezTo>
                          <a:pt x="3" y="21"/>
                          <a:pt x="3" y="21"/>
                          <a:pt x="3" y="21"/>
                        </a:cubicBezTo>
                        <a:cubicBezTo>
                          <a:pt x="12" y="20"/>
                          <a:pt x="12" y="20"/>
                          <a:pt x="12" y="20"/>
                        </a:cubicBezTo>
                        <a:cubicBezTo>
                          <a:pt x="18" y="20"/>
                          <a:pt x="18" y="20"/>
                          <a:pt x="18" y="20"/>
                        </a:cubicBezTo>
                        <a:cubicBezTo>
                          <a:pt x="24" y="24"/>
                          <a:pt x="24" y="24"/>
                          <a:pt x="24" y="24"/>
                        </a:cubicBezTo>
                        <a:cubicBezTo>
                          <a:pt x="24" y="24"/>
                          <a:pt x="26" y="26"/>
                          <a:pt x="25" y="28"/>
                        </a:cubicBezTo>
                        <a:cubicBezTo>
                          <a:pt x="25" y="29"/>
                          <a:pt x="22" y="30"/>
                          <a:pt x="22" y="30"/>
                        </a:cubicBezTo>
                        <a:cubicBezTo>
                          <a:pt x="21" y="33"/>
                          <a:pt x="21" y="33"/>
                          <a:pt x="21" y="33"/>
                        </a:cubicBezTo>
                        <a:cubicBezTo>
                          <a:pt x="24" y="34"/>
                          <a:pt x="24" y="34"/>
                          <a:pt x="24" y="34"/>
                        </a:cubicBezTo>
                        <a:cubicBezTo>
                          <a:pt x="25" y="32"/>
                          <a:pt x="25" y="32"/>
                          <a:pt x="25" y="32"/>
                        </a:cubicBezTo>
                        <a:cubicBezTo>
                          <a:pt x="30" y="29"/>
                          <a:pt x="30" y="29"/>
                          <a:pt x="30" y="29"/>
                        </a:cubicBezTo>
                        <a:cubicBezTo>
                          <a:pt x="33" y="29"/>
                          <a:pt x="33" y="29"/>
                          <a:pt x="33" y="29"/>
                        </a:cubicBezTo>
                        <a:cubicBezTo>
                          <a:pt x="36" y="32"/>
                          <a:pt x="36" y="32"/>
                          <a:pt x="36" y="32"/>
                        </a:cubicBezTo>
                        <a:cubicBezTo>
                          <a:pt x="34" y="34"/>
                          <a:pt x="34" y="34"/>
                          <a:pt x="34" y="34"/>
                        </a:cubicBezTo>
                        <a:cubicBezTo>
                          <a:pt x="37" y="37"/>
                          <a:pt x="37" y="37"/>
                          <a:pt x="37" y="37"/>
                        </a:cubicBezTo>
                        <a:cubicBezTo>
                          <a:pt x="45" y="34"/>
                          <a:pt x="45" y="34"/>
                          <a:pt x="45" y="34"/>
                        </a:cubicBezTo>
                        <a:cubicBezTo>
                          <a:pt x="41" y="31"/>
                          <a:pt x="41" y="31"/>
                          <a:pt x="41" y="31"/>
                        </a:cubicBezTo>
                        <a:cubicBezTo>
                          <a:pt x="43" y="28"/>
                          <a:pt x="43" y="28"/>
                          <a:pt x="43" y="28"/>
                        </a:cubicBezTo>
                        <a:cubicBezTo>
                          <a:pt x="50" y="27"/>
                          <a:pt x="50" y="27"/>
                          <a:pt x="50" y="27"/>
                        </a:cubicBezTo>
                        <a:cubicBezTo>
                          <a:pt x="51" y="25"/>
                          <a:pt x="51" y="25"/>
                          <a:pt x="51" y="25"/>
                        </a:cubicBezTo>
                        <a:lnTo>
                          <a:pt x="54" y="22"/>
                        </a:lnTo>
                        <a:close/>
                      </a:path>
                    </a:pathLst>
                  </a:custGeom>
                  <a:no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0" name="Freeform 350"/>
                  <p:cNvSpPr>
                    <a:spLocks/>
                  </p:cNvSpPr>
                  <p:nvPr/>
                </p:nvSpPr>
                <p:spPr bwMode="auto">
                  <a:xfrm>
                    <a:off x="5241015" y="2551891"/>
                    <a:ext cx="54876" cy="31683"/>
                  </a:xfrm>
                  <a:custGeom>
                    <a:avLst/>
                    <a:gdLst>
                      <a:gd name="T0" fmla="*/ 2147483647 w 42"/>
                      <a:gd name="T1" fmla="*/ 2147483647 h 24"/>
                      <a:gd name="T2" fmla="*/ 2147483647 w 42"/>
                      <a:gd name="T3" fmla="*/ 0 h 24"/>
                      <a:gd name="T4" fmla="*/ 0 w 42"/>
                      <a:gd name="T5" fmla="*/ 2147483647 h 24"/>
                      <a:gd name="T6" fmla="*/ 2147483647 w 42"/>
                      <a:gd name="T7" fmla="*/ 2147483647 h 24"/>
                      <a:gd name="T8" fmla="*/ 2147483647 w 42"/>
                      <a:gd name="T9" fmla="*/ 2147483647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 h="24">
                        <a:moveTo>
                          <a:pt x="36" y="24"/>
                        </a:moveTo>
                        <a:lnTo>
                          <a:pt x="18" y="0"/>
                        </a:lnTo>
                        <a:lnTo>
                          <a:pt x="0" y="6"/>
                        </a:lnTo>
                        <a:lnTo>
                          <a:pt x="42" y="24"/>
                        </a:lnTo>
                        <a:lnTo>
                          <a:pt x="36" y="2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1" name="Freeform 359"/>
                  <p:cNvSpPr>
                    <a:spLocks/>
                  </p:cNvSpPr>
                  <p:nvPr/>
                </p:nvSpPr>
                <p:spPr bwMode="auto">
                  <a:xfrm>
                    <a:off x="4932142" y="2420155"/>
                    <a:ext cx="76827" cy="50026"/>
                  </a:xfrm>
                  <a:custGeom>
                    <a:avLst/>
                    <a:gdLst>
                      <a:gd name="T0" fmla="*/ 2147483647 w 60"/>
                      <a:gd name="T1" fmla="*/ 2147483647 h 36"/>
                      <a:gd name="T2" fmla="*/ 2147483647 w 60"/>
                      <a:gd name="T3" fmla="*/ 2147483647 h 36"/>
                      <a:gd name="T4" fmla="*/ 2147483647 w 60"/>
                      <a:gd name="T5" fmla="*/ 2147483647 h 36"/>
                      <a:gd name="T6" fmla="*/ 2147483647 w 60"/>
                      <a:gd name="T7" fmla="*/ 2147483647 h 36"/>
                      <a:gd name="T8" fmla="*/ 2147483647 w 60"/>
                      <a:gd name="T9" fmla="*/ 0 h 36"/>
                      <a:gd name="T10" fmla="*/ 2147483647 w 60"/>
                      <a:gd name="T11" fmla="*/ 0 h 36"/>
                      <a:gd name="T12" fmla="*/ 2147483647 w 60"/>
                      <a:gd name="T13" fmla="*/ 2147483647 h 36"/>
                      <a:gd name="T14" fmla="*/ 0 w 60"/>
                      <a:gd name="T15" fmla="*/ 2147483647 h 36"/>
                      <a:gd name="T16" fmla="*/ 2147483647 w 60"/>
                      <a:gd name="T17" fmla="*/ 2147483647 h 36"/>
                      <a:gd name="T18" fmla="*/ 2147483647 w 60"/>
                      <a:gd name="T19" fmla="*/ 2147483647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0" h="36">
                        <a:moveTo>
                          <a:pt x="54" y="36"/>
                        </a:moveTo>
                        <a:lnTo>
                          <a:pt x="60" y="24"/>
                        </a:lnTo>
                        <a:lnTo>
                          <a:pt x="54" y="12"/>
                        </a:lnTo>
                        <a:lnTo>
                          <a:pt x="42" y="6"/>
                        </a:lnTo>
                        <a:lnTo>
                          <a:pt x="30" y="0"/>
                        </a:lnTo>
                        <a:lnTo>
                          <a:pt x="18" y="0"/>
                        </a:lnTo>
                        <a:lnTo>
                          <a:pt x="6" y="12"/>
                        </a:lnTo>
                        <a:lnTo>
                          <a:pt x="0" y="18"/>
                        </a:lnTo>
                        <a:lnTo>
                          <a:pt x="12" y="30"/>
                        </a:lnTo>
                        <a:lnTo>
                          <a:pt x="54" y="36"/>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2" name="Freeform 360"/>
                  <p:cNvSpPr>
                    <a:spLocks/>
                  </p:cNvSpPr>
                  <p:nvPr/>
                </p:nvSpPr>
                <p:spPr bwMode="auto">
                  <a:xfrm>
                    <a:off x="4792601" y="2445170"/>
                    <a:ext cx="239886" cy="228452"/>
                  </a:xfrm>
                  <a:custGeom>
                    <a:avLst/>
                    <a:gdLst>
                      <a:gd name="T0" fmla="*/ 2147483647 w 31"/>
                      <a:gd name="T1" fmla="*/ 2147483647 h 28"/>
                      <a:gd name="T2" fmla="*/ 2147483647 w 31"/>
                      <a:gd name="T3" fmla="*/ 2147483647 h 28"/>
                      <a:gd name="T4" fmla="*/ 2147483647 w 31"/>
                      <a:gd name="T5" fmla="*/ 2147483647 h 28"/>
                      <a:gd name="T6" fmla="*/ 2147483647 w 31"/>
                      <a:gd name="T7" fmla="*/ 2147483647 h 28"/>
                      <a:gd name="T8" fmla="*/ 2147483647 w 31"/>
                      <a:gd name="T9" fmla="*/ 2147483647 h 28"/>
                      <a:gd name="T10" fmla="*/ 2147483647 w 31"/>
                      <a:gd name="T11" fmla="*/ 2147483647 h 28"/>
                      <a:gd name="T12" fmla="*/ 2147483647 w 31"/>
                      <a:gd name="T13" fmla="*/ 2147483647 h 28"/>
                      <a:gd name="T14" fmla="*/ 2147483647 w 31"/>
                      <a:gd name="T15" fmla="*/ 2147483647 h 28"/>
                      <a:gd name="T16" fmla="*/ 2147483647 w 31"/>
                      <a:gd name="T17" fmla="*/ 2147483647 h 28"/>
                      <a:gd name="T18" fmla="*/ 2147483647 w 31"/>
                      <a:gd name="T19" fmla="*/ 2147483647 h 28"/>
                      <a:gd name="T20" fmla="*/ 2147483647 w 31"/>
                      <a:gd name="T21" fmla="*/ 2147483647 h 28"/>
                      <a:gd name="T22" fmla="*/ 2147483647 w 31"/>
                      <a:gd name="T23" fmla="*/ 2147483647 h 28"/>
                      <a:gd name="T24" fmla="*/ 2147483647 w 31"/>
                      <a:gd name="T25" fmla="*/ 2147483647 h 28"/>
                      <a:gd name="T26" fmla="*/ 2147483647 w 31"/>
                      <a:gd name="T27" fmla="*/ 2147483647 h 28"/>
                      <a:gd name="T28" fmla="*/ 2147483647 w 31"/>
                      <a:gd name="T29" fmla="*/ 2147483647 h 28"/>
                      <a:gd name="T30" fmla="*/ 2147483647 w 31"/>
                      <a:gd name="T31" fmla="*/ 2147483647 h 28"/>
                      <a:gd name="T32" fmla="*/ 2147483647 w 31"/>
                      <a:gd name="T33" fmla="*/ 2147483647 h 28"/>
                      <a:gd name="T34" fmla="*/ 2147483647 w 31"/>
                      <a:gd name="T35" fmla="*/ 2147483647 h 28"/>
                      <a:gd name="T36" fmla="*/ 2147483647 w 31"/>
                      <a:gd name="T37" fmla="*/ 2147483647 h 28"/>
                      <a:gd name="T38" fmla="*/ 2147483647 w 31"/>
                      <a:gd name="T39" fmla="*/ 2147483647 h 28"/>
                      <a:gd name="T40" fmla="*/ 2147483647 w 31"/>
                      <a:gd name="T41" fmla="*/ 2147483647 h 28"/>
                      <a:gd name="T42" fmla="*/ 2147483647 w 31"/>
                      <a:gd name="T43" fmla="*/ 2147483647 h 28"/>
                      <a:gd name="T44" fmla="*/ 2147483647 w 31"/>
                      <a:gd name="T45" fmla="*/ 2147483647 h 28"/>
                      <a:gd name="T46" fmla="*/ 2147483647 w 31"/>
                      <a:gd name="T47" fmla="*/ 0 h 28"/>
                      <a:gd name="T48" fmla="*/ 2147483647 w 31"/>
                      <a:gd name="T49" fmla="*/ 2147483647 h 28"/>
                      <a:gd name="T50" fmla="*/ 2147483647 w 31"/>
                      <a:gd name="T51" fmla="*/ 2147483647 h 28"/>
                      <a:gd name="T52" fmla="*/ 2147483647 w 31"/>
                      <a:gd name="T53" fmla="*/ 0 h 28"/>
                      <a:gd name="T54" fmla="*/ 2147483647 w 31"/>
                      <a:gd name="T55" fmla="*/ 0 h 28"/>
                      <a:gd name="T56" fmla="*/ 2147483647 w 31"/>
                      <a:gd name="T57" fmla="*/ 2147483647 h 28"/>
                      <a:gd name="T58" fmla="*/ 2147483647 w 31"/>
                      <a:gd name="T59" fmla="*/ 2147483647 h 28"/>
                      <a:gd name="T60" fmla="*/ 0 w 31"/>
                      <a:gd name="T61" fmla="*/ 2147483647 h 28"/>
                      <a:gd name="T62" fmla="*/ 0 w 31"/>
                      <a:gd name="T63" fmla="*/ 2147483647 h 28"/>
                      <a:gd name="T64" fmla="*/ 2147483647 w 31"/>
                      <a:gd name="T65" fmla="*/ 2147483647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1" h="28">
                        <a:moveTo>
                          <a:pt x="1" y="9"/>
                        </a:moveTo>
                        <a:cubicBezTo>
                          <a:pt x="1" y="10"/>
                          <a:pt x="1" y="10"/>
                          <a:pt x="1" y="10"/>
                        </a:cubicBezTo>
                        <a:cubicBezTo>
                          <a:pt x="1" y="13"/>
                          <a:pt x="1" y="13"/>
                          <a:pt x="1" y="13"/>
                        </a:cubicBezTo>
                        <a:cubicBezTo>
                          <a:pt x="1" y="13"/>
                          <a:pt x="1" y="17"/>
                          <a:pt x="2" y="17"/>
                        </a:cubicBezTo>
                        <a:cubicBezTo>
                          <a:pt x="2" y="17"/>
                          <a:pt x="2" y="19"/>
                          <a:pt x="2" y="20"/>
                        </a:cubicBezTo>
                        <a:cubicBezTo>
                          <a:pt x="6" y="22"/>
                          <a:pt x="6" y="22"/>
                          <a:pt x="6" y="22"/>
                        </a:cubicBezTo>
                        <a:cubicBezTo>
                          <a:pt x="10" y="24"/>
                          <a:pt x="10" y="24"/>
                          <a:pt x="10" y="24"/>
                        </a:cubicBezTo>
                        <a:cubicBezTo>
                          <a:pt x="15" y="26"/>
                          <a:pt x="15" y="26"/>
                          <a:pt x="15" y="26"/>
                        </a:cubicBezTo>
                        <a:cubicBezTo>
                          <a:pt x="15" y="26"/>
                          <a:pt x="15" y="26"/>
                          <a:pt x="15" y="26"/>
                        </a:cubicBezTo>
                        <a:cubicBezTo>
                          <a:pt x="19" y="28"/>
                          <a:pt x="19" y="28"/>
                          <a:pt x="19" y="28"/>
                        </a:cubicBezTo>
                        <a:cubicBezTo>
                          <a:pt x="23" y="28"/>
                          <a:pt x="23" y="28"/>
                          <a:pt x="23" y="28"/>
                        </a:cubicBezTo>
                        <a:cubicBezTo>
                          <a:pt x="25" y="28"/>
                          <a:pt x="25" y="28"/>
                          <a:pt x="25" y="28"/>
                        </a:cubicBezTo>
                        <a:cubicBezTo>
                          <a:pt x="27" y="28"/>
                          <a:pt x="27" y="28"/>
                          <a:pt x="27" y="28"/>
                        </a:cubicBezTo>
                        <a:cubicBezTo>
                          <a:pt x="29" y="23"/>
                          <a:pt x="29" y="23"/>
                          <a:pt x="29" y="23"/>
                        </a:cubicBezTo>
                        <a:cubicBezTo>
                          <a:pt x="31" y="21"/>
                          <a:pt x="31" y="21"/>
                          <a:pt x="31" y="21"/>
                        </a:cubicBezTo>
                        <a:cubicBezTo>
                          <a:pt x="30" y="17"/>
                          <a:pt x="30" y="17"/>
                          <a:pt x="30" y="17"/>
                        </a:cubicBezTo>
                        <a:cubicBezTo>
                          <a:pt x="30" y="15"/>
                          <a:pt x="30" y="15"/>
                          <a:pt x="30" y="15"/>
                        </a:cubicBezTo>
                        <a:cubicBezTo>
                          <a:pt x="29" y="12"/>
                          <a:pt x="29" y="12"/>
                          <a:pt x="29" y="12"/>
                        </a:cubicBezTo>
                        <a:cubicBezTo>
                          <a:pt x="31" y="10"/>
                          <a:pt x="31" y="10"/>
                          <a:pt x="31" y="10"/>
                        </a:cubicBezTo>
                        <a:cubicBezTo>
                          <a:pt x="30" y="6"/>
                          <a:pt x="30" y="6"/>
                          <a:pt x="30" y="6"/>
                        </a:cubicBezTo>
                        <a:cubicBezTo>
                          <a:pt x="28" y="3"/>
                          <a:pt x="28" y="3"/>
                          <a:pt x="28" y="3"/>
                        </a:cubicBezTo>
                        <a:cubicBezTo>
                          <a:pt x="27" y="3"/>
                          <a:pt x="27" y="3"/>
                          <a:pt x="27" y="3"/>
                        </a:cubicBezTo>
                        <a:cubicBezTo>
                          <a:pt x="20" y="2"/>
                          <a:pt x="20" y="2"/>
                          <a:pt x="20" y="2"/>
                        </a:cubicBezTo>
                        <a:cubicBezTo>
                          <a:pt x="18" y="0"/>
                          <a:pt x="18" y="0"/>
                          <a:pt x="18" y="0"/>
                        </a:cubicBezTo>
                        <a:cubicBezTo>
                          <a:pt x="18" y="1"/>
                          <a:pt x="18" y="1"/>
                          <a:pt x="18" y="1"/>
                        </a:cubicBezTo>
                        <a:cubicBezTo>
                          <a:pt x="18" y="1"/>
                          <a:pt x="15" y="1"/>
                          <a:pt x="15" y="1"/>
                        </a:cubicBezTo>
                        <a:cubicBezTo>
                          <a:pt x="14" y="1"/>
                          <a:pt x="14" y="0"/>
                          <a:pt x="14" y="0"/>
                        </a:cubicBezTo>
                        <a:cubicBezTo>
                          <a:pt x="13" y="0"/>
                          <a:pt x="13" y="0"/>
                          <a:pt x="13" y="0"/>
                        </a:cubicBezTo>
                        <a:cubicBezTo>
                          <a:pt x="5" y="3"/>
                          <a:pt x="5" y="3"/>
                          <a:pt x="5" y="3"/>
                        </a:cubicBezTo>
                        <a:cubicBezTo>
                          <a:pt x="1" y="5"/>
                          <a:pt x="1" y="5"/>
                          <a:pt x="1" y="5"/>
                        </a:cubicBezTo>
                        <a:cubicBezTo>
                          <a:pt x="0" y="4"/>
                          <a:pt x="0" y="4"/>
                          <a:pt x="0" y="4"/>
                        </a:cubicBezTo>
                        <a:cubicBezTo>
                          <a:pt x="0" y="6"/>
                          <a:pt x="0" y="6"/>
                          <a:pt x="0" y="6"/>
                        </a:cubicBezTo>
                        <a:lnTo>
                          <a:pt x="1" y="9"/>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3" name="Freeform 364"/>
                  <p:cNvSpPr>
                    <a:spLocks/>
                  </p:cNvSpPr>
                  <p:nvPr/>
                </p:nvSpPr>
                <p:spPr bwMode="auto">
                  <a:xfrm>
                    <a:off x="4450803" y="3519066"/>
                    <a:ext cx="388834" cy="305160"/>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4" name="Freeform 365"/>
                  <p:cNvSpPr>
                    <a:spLocks/>
                  </p:cNvSpPr>
                  <p:nvPr/>
                </p:nvSpPr>
                <p:spPr bwMode="auto">
                  <a:xfrm>
                    <a:off x="4450803" y="3519066"/>
                    <a:ext cx="388834" cy="305160"/>
                  </a:xfrm>
                  <a:custGeom>
                    <a:avLst/>
                    <a:gdLst>
                      <a:gd name="T0" fmla="*/ 2147483647 w 300"/>
                      <a:gd name="T1" fmla="*/ 2147483647 h 223"/>
                      <a:gd name="T2" fmla="*/ 2147483647 w 300"/>
                      <a:gd name="T3" fmla="*/ 2147483647 h 223"/>
                      <a:gd name="T4" fmla="*/ 2147483647 w 300"/>
                      <a:gd name="T5" fmla="*/ 2147483647 h 223"/>
                      <a:gd name="T6" fmla="*/ 2147483647 w 300"/>
                      <a:gd name="T7" fmla="*/ 2147483647 h 223"/>
                      <a:gd name="T8" fmla="*/ 2147483647 w 300"/>
                      <a:gd name="T9" fmla="*/ 2147483647 h 223"/>
                      <a:gd name="T10" fmla="*/ 2147483647 w 300"/>
                      <a:gd name="T11" fmla="*/ 2147483647 h 223"/>
                      <a:gd name="T12" fmla="*/ 2147483647 w 300"/>
                      <a:gd name="T13" fmla="*/ 2147483647 h 223"/>
                      <a:gd name="T14" fmla="*/ 2147483647 w 300"/>
                      <a:gd name="T15" fmla="*/ 2147483647 h 223"/>
                      <a:gd name="T16" fmla="*/ 2147483647 w 300"/>
                      <a:gd name="T17" fmla="*/ 2147483647 h 223"/>
                      <a:gd name="T18" fmla="*/ 2147483647 w 300"/>
                      <a:gd name="T19" fmla="*/ 2147483647 h 223"/>
                      <a:gd name="T20" fmla="*/ 2147483647 w 300"/>
                      <a:gd name="T21" fmla="*/ 2147483647 h 223"/>
                      <a:gd name="T22" fmla="*/ 2147483647 w 300"/>
                      <a:gd name="T23" fmla="*/ 2147483647 h 223"/>
                      <a:gd name="T24" fmla="*/ 2147483647 w 300"/>
                      <a:gd name="T25" fmla="*/ 2147483647 h 223"/>
                      <a:gd name="T26" fmla="*/ 2147483647 w 300"/>
                      <a:gd name="T27" fmla="*/ 2147483647 h 223"/>
                      <a:gd name="T28" fmla="*/ 2147483647 w 300"/>
                      <a:gd name="T29" fmla="*/ 2147483647 h 223"/>
                      <a:gd name="T30" fmla="*/ 2147483647 w 300"/>
                      <a:gd name="T31" fmla="*/ 0 h 223"/>
                      <a:gd name="T32" fmla="*/ 2147483647 w 300"/>
                      <a:gd name="T33" fmla="*/ 2147483647 h 223"/>
                      <a:gd name="T34" fmla="*/ 2147483647 w 300"/>
                      <a:gd name="T35" fmla="*/ 2147483647 h 223"/>
                      <a:gd name="T36" fmla="*/ 2147483647 w 300"/>
                      <a:gd name="T37" fmla="*/ 2147483647 h 223"/>
                      <a:gd name="T38" fmla="*/ 2147483647 w 300"/>
                      <a:gd name="T39" fmla="*/ 2147483647 h 223"/>
                      <a:gd name="T40" fmla="*/ 2147483647 w 300"/>
                      <a:gd name="T41" fmla="*/ 2147483647 h 223"/>
                      <a:gd name="T42" fmla="*/ 2147483647 w 300"/>
                      <a:gd name="T43" fmla="*/ 2147483647 h 223"/>
                      <a:gd name="T44" fmla="*/ 0 w 300"/>
                      <a:gd name="T45" fmla="*/ 2147483647 h 223"/>
                      <a:gd name="T46" fmla="*/ 2147483647 w 300"/>
                      <a:gd name="T47" fmla="*/ 2147483647 h 223"/>
                      <a:gd name="T48" fmla="*/ 2147483647 w 300"/>
                      <a:gd name="T49" fmla="*/ 2147483647 h 223"/>
                      <a:gd name="T50" fmla="*/ 2147483647 w 300"/>
                      <a:gd name="T51" fmla="*/ 2147483647 h 223"/>
                      <a:gd name="T52" fmla="*/ 2147483647 w 300"/>
                      <a:gd name="T53" fmla="*/ 2147483647 h 223"/>
                      <a:gd name="T54" fmla="*/ 2147483647 w 300"/>
                      <a:gd name="T55" fmla="*/ 2147483647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5" name="Freeform 366"/>
                  <p:cNvSpPr>
                    <a:spLocks/>
                  </p:cNvSpPr>
                  <p:nvPr/>
                </p:nvSpPr>
                <p:spPr bwMode="auto">
                  <a:xfrm>
                    <a:off x="4149771" y="3477376"/>
                    <a:ext cx="402945" cy="403545"/>
                  </a:xfrm>
                  <a:custGeom>
                    <a:avLst/>
                    <a:gdLst>
                      <a:gd name="T0" fmla="*/ 2147483647 w 52"/>
                      <a:gd name="T1" fmla="*/ 2147483647 h 49"/>
                      <a:gd name="T2" fmla="*/ 2147483647 w 52"/>
                      <a:gd name="T3" fmla="*/ 2147483647 h 49"/>
                      <a:gd name="T4" fmla="*/ 2147483647 w 52"/>
                      <a:gd name="T5" fmla="*/ 2147483647 h 49"/>
                      <a:gd name="T6" fmla="*/ 2147483647 w 52"/>
                      <a:gd name="T7" fmla="*/ 2147483647 h 49"/>
                      <a:gd name="T8" fmla="*/ 2147483647 w 52"/>
                      <a:gd name="T9" fmla="*/ 2147483647 h 49"/>
                      <a:gd name="T10" fmla="*/ 2147483647 w 52"/>
                      <a:gd name="T11" fmla="*/ 2147483647 h 49"/>
                      <a:gd name="T12" fmla="*/ 2147483647 w 52"/>
                      <a:gd name="T13" fmla="*/ 2147483647 h 49"/>
                      <a:gd name="T14" fmla="*/ 2147483647 w 52"/>
                      <a:gd name="T15" fmla="*/ 2147483647 h 49"/>
                      <a:gd name="T16" fmla="*/ 2147483647 w 52"/>
                      <a:gd name="T17" fmla="*/ 2147483647 h 49"/>
                      <a:gd name="T18" fmla="*/ 2147483647 w 52"/>
                      <a:gd name="T19" fmla="*/ 2147483647 h 49"/>
                      <a:gd name="T20" fmla="*/ 2147483647 w 52"/>
                      <a:gd name="T21" fmla="*/ 2147483647 h 49"/>
                      <a:gd name="T22" fmla="*/ 2147483647 w 52"/>
                      <a:gd name="T23" fmla="*/ 0 h 49"/>
                      <a:gd name="T24" fmla="*/ 2147483647 w 52"/>
                      <a:gd name="T25" fmla="*/ 0 h 49"/>
                      <a:gd name="T26" fmla="*/ 2147483647 w 52"/>
                      <a:gd name="T27" fmla="*/ 2147483647 h 49"/>
                      <a:gd name="T28" fmla="*/ 2147483647 w 52"/>
                      <a:gd name="T29" fmla="*/ 2147483647 h 49"/>
                      <a:gd name="T30" fmla="*/ 2147483647 w 52"/>
                      <a:gd name="T31" fmla="*/ 2147483647 h 49"/>
                      <a:gd name="T32" fmla="*/ 2147483647 w 52"/>
                      <a:gd name="T33" fmla="*/ 2147483647 h 49"/>
                      <a:gd name="T34" fmla="*/ 2147483647 w 52"/>
                      <a:gd name="T35" fmla="*/ 2147483647 h 49"/>
                      <a:gd name="T36" fmla="*/ 2147483647 w 52"/>
                      <a:gd name="T37" fmla="*/ 2147483647 h 49"/>
                      <a:gd name="T38" fmla="*/ 0 w 52"/>
                      <a:gd name="T39" fmla="*/ 2147483647 h 49"/>
                      <a:gd name="T40" fmla="*/ 0 w 52"/>
                      <a:gd name="T41" fmla="*/ 2147483647 h 49"/>
                      <a:gd name="T42" fmla="*/ 2147483647 w 52"/>
                      <a:gd name="T43" fmla="*/ 2147483647 h 49"/>
                      <a:gd name="T44" fmla="*/ 2147483647 w 52"/>
                      <a:gd name="T45" fmla="*/ 2147483647 h 49"/>
                      <a:gd name="T46" fmla="*/ 2147483647 w 52"/>
                      <a:gd name="T47" fmla="*/ 2147483647 h 49"/>
                      <a:gd name="T48" fmla="*/ 2147483647 w 52"/>
                      <a:gd name="T49" fmla="*/ 2147483647 h 49"/>
                      <a:gd name="T50" fmla="*/ 2147483647 w 52"/>
                      <a:gd name="T51" fmla="*/ 2147483647 h 49"/>
                      <a:gd name="T52" fmla="*/ 2147483647 w 52"/>
                      <a:gd name="T53" fmla="*/ 2147483647 h 49"/>
                      <a:gd name="T54" fmla="*/ 2147483647 w 52"/>
                      <a:gd name="T55" fmla="*/ 2147483647 h 49"/>
                      <a:gd name="T56" fmla="*/ 2147483647 w 52"/>
                      <a:gd name="T57" fmla="*/ 2147483647 h 49"/>
                      <a:gd name="T58" fmla="*/ 2147483647 w 52"/>
                      <a:gd name="T59" fmla="*/ 2147483647 h 49"/>
                      <a:gd name="T60" fmla="*/ 2147483647 w 52"/>
                      <a:gd name="T61" fmla="*/ 2147483647 h 49"/>
                      <a:gd name="T62" fmla="*/ 2147483647 w 52"/>
                      <a:gd name="T63" fmla="*/ 2147483647 h 49"/>
                      <a:gd name="T64" fmla="*/ 2147483647 w 52"/>
                      <a:gd name="T65" fmla="*/ 2147483647 h 49"/>
                      <a:gd name="T66" fmla="*/ 2147483647 w 52"/>
                      <a:gd name="T67" fmla="*/ 2147483647 h 49"/>
                      <a:gd name="T68" fmla="*/ 2147483647 w 52"/>
                      <a:gd name="T69" fmla="*/ 2147483647 h 49"/>
                      <a:gd name="T70" fmla="*/ 2147483647 w 52"/>
                      <a:gd name="T71" fmla="*/ 2147483647 h 49"/>
                      <a:gd name="T72" fmla="*/ 2147483647 w 52"/>
                      <a:gd name="T73" fmla="*/ 2147483647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6" name="Freeform 367"/>
                  <p:cNvSpPr>
                    <a:spLocks/>
                  </p:cNvSpPr>
                  <p:nvPr/>
                </p:nvSpPr>
                <p:spPr bwMode="auto">
                  <a:xfrm>
                    <a:off x="5460518" y="3849238"/>
                    <a:ext cx="232046" cy="333508"/>
                  </a:xfrm>
                  <a:custGeom>
                    <a:avLst/>
                    <a:gdLst>
                      <a:gd name="T0" fmla="*/ 2147483647 w 180"/>
                      <a:gd name="T1" fmla="*/ 2147483647 h 246"/>
                      <a:gd name="T2" fmla="*/ 2147483647 w 180"/>
                      <a:gd name="T3" fmla="*/ 2147483647 h 246"/>
                      <a:gd name="T4" fmla="*/ 2147483647 w 180"/>
                      <a:gd name="T5" fmla="*/ 2147483647 h 246"/>
                      <a:gd name="T6" fmla="*/ 2147483647 w 180"/>
                      <a:gd name="T7" fmla="*/ 2147483647 h 246"/>
                      <a:gd name="T8" fmla="*/ 2147483647 w 180"/>
                      <a:gd name="T9" fmla="*/ 2147483647 h 246"/>
                      <a:gd name="T10" fmla="*/ 2147483647 w 180"/>
                      <a:gd name="T11" fmla="*/ 2147483647 h 246"/>
                      <a:gd name="T12" fmla="*/ 2147483647 w 180"/>
                      <a:gd name="T13" fmla="*/ 2147483647 h 246"/>
                      <a:gd name="T14" fmla="*/ 2147483647 w 180"/>
                      <a:gd name="T15" fmla="*/ 2147483647 h 246"/>
                      <a:gd name="T16" fmla="*/ 2147483647 w 180"/>
                      <a:gd name="T17" fmla="*/ 2147483647 h 246"/>
                      <a:gd name="T18" fmla="*/ 2147483647 w 180"/>
                      <a:gd name="T19" fmla="*/ 2147483647 h 246"/>
                      <a:gd name="T20" fmla="*/ 2147483647 w 180"/>
                      <a:gd name="T21" fmla="*/ 2147483647 h 246"/>
                      <a:gd name="T22" fmla="*/ 2147483647 w 180"/>
                      <a:gd name="T23" fmla="*/ 2147483647 h 246"/>
                      <a:gd name="T24" fmla="*/ 2147483647 w 180"/>
                      <a:gd name="T25" fmla="*/ 2147483647 h 246"/>
                      <a:gd name="T26" fmla="*/ 0 w 180"/>
                      <a:gd name="T27" fmla="*/ 2147483647 h 246"/>
                      <a:gd name="T28" fmla="*/ 0 w 180"/>
                      <a:gd name="T29" fmla="*/ 2147483647 h 246"/>
                      <a:gd name="T30" fmla="*/ 2147483647 w 180"/>
                      <a:gd name="T31" fmla="*/ 2147483647 h 246"/>
                      <a:gd name="T32" fmla="*/ 2147483647 w 180"/>
                      <a:gd name="T33" fmla="*/ 2147483647 h 246"/>
                      <a:gd name="T34" fmla="*/ 2147483647 w 180"/>
                      <a:gd name="T35" fmla="*/ 2147483647 h 246"/>
                      <a:gd name="T36" fmla="*/ 2147483647 w 180"/>
                      <a:gd name="T37" fmla="*/ 2147483647 h 246"/>
                      <a:gd name="T38" fmla="*/ 2147483647 w 180"/>
                      <a:gd name="T39" fmla="*/ 2147483647 h 246"/>
                      <a:gd name="T40" fmla="*/ 2147483647 w 180"/>
                      <a:gd name="T41" fmla="*/ 0 h 246"/>
                      <a:gd name="T42" fmla="*/ 2147483647 w 180"/>
                      <a:gd name="T43" fmla="*/ 2147483647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7" name="Freeform 368"/>
                  <p:cNvSpPr>
                    <a:spLocks/>
                  </p:cNvSpPr>
                  <p:nvPr/>
                </p:nvSpPr>
                <p:spPr bwMode="auto">
                  <a:xfrm>
                    <a:off x="4792601" y="3824225"/>
                    <a:ext cx="31358" cy="130067"/>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2147483647 w 24"/>
                      <a:gd name="T15" fmla="*/ 0 h 9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96">
                        <a:moveTo>
                          <a:pt x="12" y="0"/>
                        </a:moveTo>
                        <a:lnTo>
                          <a:pt x="12" y="0"/>
                        </a:lnTo>
                        <a:lnTo>
                          <a:pt x="24" y="42"/>
                        </a:lnTo>
                        <a:lnTo>
                          <a:pt x="0" y="48"/>
                        </a:lnTo>
                        <a:lnTo>
                          <a:pt x="0" y="66"/>
                        </a:lnTo>
                        <a:lnTo>
                          <a:pt x="18" y="96"/>
                        </a:lnTo>
                        <a:lnTo>
                          <a:pt x="24" y="96"/>
                        </a:lnTo>
                        <a:lnTo>
                          <a:pt x="12"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8" name="Freeform 369"/>
                  <p:cNvSpPr>
                    <a:spLocks/>
                  </p:cNvSpPr>
                  <p:nvPr/>
                </p:nvSpPr>
                <p:spPr bwMode="auto">
                  <a:xfrm>
                    <a:off x="4792601" y="3824225"/>
                    <a:ext cx="31358" cy="130067"/>
                  </a:xfrm>
                  <a:custGeom>
                    <a:avLst/>
                    <a:gdLst>
                      <a:gd name="T0" fmla="*/ 2147483647 w 24"/>
                      <a:gd name="T1" fmla="*/ 0 h 96"/>
                      <a:gd name="T2" fmla="*/ 2147483647 w 24"/>
                      <a:gd name="T3" fmla="*/ 0 h 96"/>
                      <a:gd name="T4" fmla="*/ 2147483647 w 24"/>
                      <a:gd name="T5" fmla="*/ 2147483647 h 96"/>
                      <a:gd name="T6" fmla="*/ 0 w 24"/>
                      <a:gd name="T7" fmla="*/ 2147483647 h 96"/>
                      <a:gd name="T8" fmla="*/ 0 w 24"/>
                      <a:gd name="T9" fmla="*/ 2147483647 h 96"/>
                      <a:gd name="T10" fmla="*/ 2147483647 w 24"/>
                      <a:gd name="T11" fmla="*/ 2147483647 h 96"/>
                      <a:gd name="T12" fmla="*/ 2147483647 w 24"/>
                      <a:gd name="T13" fmla="*/ 2147483647 h 9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96">
                        <a:moveTo>
                          <a:pt x="12" y="0"/>
                        </a:moveTo>
                        <a:lnTo>
                          <a:pt x="12" y="0"/>
                        </a:lnTo>
                        <a:lnTo>
                          <a:pt x="24" y="42"/>
                        </a:lnTo>
                        <a:lnTo>
                          <a:pt x="0" y="48"/>
                        </a:lnTo>
                        <a:lnTo>
                          <a:pt x="0" y="66"/>
                        </a:lnTo>
                        <a:lnTo>
                          <a:pt x="18" y="96"/>
                        </a:lnTo>
                        <a:lnTo>
                          <a:pt x="24" y="96"/>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49" name="Freeform 370"/>
                  <p:cNvSpPr>
                    <a:spLocks/>
                  </p:cNvSpPr>
                  <p:nvPr/>
                </p:nvSpPr>
                <p:spPr bwMode="auto">
                  <a:xfrm>
                    <a:off x="4776923" y="3529071"/>
                    <a:ext cx="255564" cy="425222"/>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2147483647 w 198"/>
                      <a:gd name="T51" fmla="*/ 2147483647 h 31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lnTo>
                          <a:pt x="36" y="313"/>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0" name="Freeform 371"/>
                  <p:cNvSpPr>
                    <a:spLocks/>
                  </p:cNvSpPr>
                  <p:nvPr/>
                </p:nvSpPr>
                <p:spPr bwMode="auto">
                  <a:xfrm>
                    <a:off x="4776923" y="3529071"/>
                    <a:ext cx="255564" cy="425222"/>
                  </a:xfrm>
                  <a:custGeom>
                    <a:avLst/>
                    <a:gdLst>
                      <a:gd name="T0" fmla="*/ 2147483647 w 198"/>
                      <a:gd name="T1" fmla="*/ 2147483647 h 313"/>
                      <a:gd name="T2" fmla="*/ 2147483647 w 198"/>
                      <a:gd name="T3" fmla="*/ 2147483647 h 313"/>
                      <a:gd name="T4" fmla="*/ 2147483647 w 198"/>
                      <a:gd name="T5" fmla="*/ 2147483647 h 313"/>
                      <a:gd name="T6" fmla="*/ 2147483647 w 198"/>
                      <a:gd name="T7" fmla="*/ 2147483647 h 313"/>
                      <a:gd name="T8" fmla="*/ 2147483647 w 198"/>
                      <a:gd name="T9" fmla="*/ 2147483647 h 313"/>
                      <a:gd name="T10" fmla="*/ 2147483647 w 198"/>
                      <a:gd name="T11" fmla="*/ 2147483647 h 313"/>
                      <a:gd name="T12" fmla="*/ 2147483647 w 198"/>
                      <a:gd name="T13" fmla="*/ 2147483647 h 313"/>
                      <a:gd name="T14" fmla="*/ 2147483647 w 198"/>
                      <a:gd name="T15" fmla="*/ 2147483647 h 313"/>
                      <a:gd name="T16" fmla="*/ 2147483647 w 198"/>
                      <a:gd name="T17" fmla="*/ 2147483647 h 313"/>
                      <a:gd name="T18" fmla="*/ 2147483647 w 198"/>
                      <a:gd name="T19" fmla="*/ 2147483647 h 313"/>
                      <a:gd name="T20" fmla="*/ 2147483647 w 198"/>
                      <a:gd name="T21" fmla="*/ 2147483647 h 313"/>
                      <a:gd name="T22" fmla="*/ 2147483647 w 198"/>
                      <a:gd name="T23" fmla="*/ 2147483647 h 313"/>
                      <a:gd name="T24" fmla="*/ 2147483647 w 198"/>
                      <a:gd name="T25" fmla="*/ 0 h 313"/>
                      <a:gd name="T26" fmla="*/ 2147483647 w 198"/>
                      <a:gd name="T27" fmla="*/ 2147483647 h 313"/>
                      <a:gd name="T28" fmla="*/ 2147483647 w 198"/>
                      <a:gd name="T29" fmla="*/ 2147483647 h 313"/>
                      <a:gd name="T30" fmla="*/ 2147483647 w 198"/>
                      <a:gd name="T31" fmla="*/ 2147483647 h 313"/>
                      <a:gd name="T32" fmla="*/ 2147483647 w 198"/>
                      <a:gd name="T33" fmla="*/ 2147483647 h 313"/>
                      <a:gd name="T34" fmla="*/ 2147483647 w 198"/>
                      <a:gd name="T35" fmla="*/ 2147483647 h 313"/>
                      <a:gd name="T36" fmla="*/ 2147483647 w 198"/>
                      <a:gd name="T37" fmla="*/ 2147483647 h 313"/>
                      <a:gd name="T38" fmla="*/ 2147483647 w 198"/>
                      <a:gd name="T39" fmla="*/ 2147483647 h 313"/>
                      <a:gd name="T40" fmla="*/ 2147483647 w 198"/>
                      <a:gd name="T41" fmla="*/ 2147483647 h 313"/>
                      <a:gd name="T42" fmla="*/ 0 w 198"/>
                      <a:gd name="T43" fmla="*/ 2147483647 h 313"/>
                      <a:gd name="T44" fmla="*/ 2147483647 w 198"/>
                      <a:gd name="T45" fmla="*/ 2147483647 h 313"/>
                      <a:gd name="T46" fmla="*/ 2147483647 w 198"/>
                      <a:gd name="T47" fmla="*/ 2147483647 h 313"/>
                      <a:gd name="T48" fmla="*/ 2147483647 w 198"/>
                      <a:gd name="T49" fmla="*/ 2147483647 h 31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8" h="313">
                        <a:moveTo>
                          <a:pt x="36" y="313"/>
                        </a:moveTo>
                        <a:lnTo>
                          <a:pt x="60" y="307"/>
                        </a:lnTo>
                        <a:lnTo>
                          <a:pt x="96" y="295"/>
                        </a:lnTo>
                        <a:lnTo>
                          <a:pt x="102" y="283"/>
                        </a:lnTo>
                        <a:lnTo>
                          <a:pt x="132" y="277"/>
                        </a:lnTo>
                        <a:lnTo>
                          <a:pt x="180" y="247"/>
                        </a:lnTo>
                        <a:lnTo>
                          <a:pt x="162" y="211"/>
                        </a:lnTo>
                        <a:lnTo>
                          <a:pt x="168" y="193"/>
                        </a:lnTo>
                        <a:lnTo>
                          <a:pt x="174" y="162"/>
                        </a:lnTo>
                        <a:lnTo>
                          <a:pt x="192" y="150"/>
                        </a:lnTo>
                        <a:lnTo>
                          <a:pt x="198" y="78"/>
                        </a:lnTo>
                        <a:lnTo>
                          <a:pt x="54" y="0"/>
                        </a:lnTo>
                        <a:lnTo>
                          <a:pt x="30" y="12"/>
                        </a:lnTo>
                        <a:lnTo>
                          <a:pt x="30" y="18"/>
                        </a:lnTo>
                        <a:lnTo>
                          <a:pt x="36" y="48"/>
                        </a:lnTo>
                        <a:lnTo>
                          <a:pt x="48" y="60"/>
                        </a:lnTo>
                        <a:lnTo>
                          <a:pt x="36" y="132"/>
                        </a:lnTo>
                        <a:lnTo>
                          <a:pt x="6" y="168"/>
                        </a:lnTo>
                        <a:lnTo>
                          <a:pt x="12" y="168"/>
                        </a:lnTo>
                        <a:lnTo>
                          <a:pt x="6" y="168"/>
                        </a:lnTo>
                        <a:lnTo>
                          <a:pt x="0" y="175"/>
                        </a:lnTo>
                        <a:lnTo>
                          <a:pt x="12" y="193"/>
                        </a:lnTo>
                        <a:lnTo>
                          <a:pt x="30" y="199"/>
                        </a:lnTo>
                        <a:lnTo>
                          <a:pt x="24" y="217"/>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1" name="Freeform 372"/>
                  <p:cNvSpPr>
                    <a:spLocks/>
                  </p:cNvSpPr>
                  <p:nvPr/>
                </p:nvSpPr>
                <p:spPr bwMode="auto">
                  <a:xfrm>
                    <a:off x="4855317" y="4733035"/>
                    <a:ext cx="393537" cy="371861"/>
                  </a:xfrm>
                  <a:custGeom>
                    <a:avLst/>
                    <a:gdLst>
                      <a:gd name="T0" fmla="*/ 2147483647 w 51"/>
                      <a:gd name="T1" fmla="*/ 2147483647 h 45"/>
                      <a:gd name="T2" fmla="*/ 2147483647 w 51"/>
                      <a:gd name="T3" fmla="*/ 2147483647 h 45"/>
                      <a:gd name="T4" fmla="*/ 2147483647 w 51"/>
                      <a:gd name="T5" fmla="*/ 2147483647 h 45"/>
                      <a:gd name="T6" fmla="*/ 2147483647 w 51"/>
                      <a:gd name="T7" fmla="*/ 2147483647 h 45"/>
                      <a:gd name="T8" fmla="*/ 2147483647 w 51"/>
                      <a:gd name="T9" fmla="*/ 0 h 45"/>
                      <a:gd name="T10" fmla="*/ 2147483647 w 51"/>
                      <a:gd name="T11" fmla="*/ 2147483647 h 45"/>
                      <a:gd name="T12" fmla="*/ 2147483647 w 51"/>
                      <a:gd name="T13" fmla="*/ 2147483647 h 45"/>
                      <a:gd name="T14" fmla="*/ 2147483647 w 51"/>
                      <a:gd name="T15" fmla="*/ 2147483647 h 45"/>
                      <a:gd name="T16" fmla="*/ 2147483647 w 51"/>
                      <a:gd name="T17" fmla="*/ 2147483647 h 45"/>
                      <a:gd name="T18" fmla="*/ 2147483647 w 51"/>
                      <a:gd name="T19" fmla="*/ 2147483647 h 45"/>
                      <a:gd name="T20" fmla="*/ 2147483647 w 51"/>
                      <a:gd name="T21" fmla="*/ 2147483647 h 45"/>
                      <a:gd name="T22" fmla="*/ 2147483647 w 51"/>
                      <a:gd name="T23" fmla="*/ 2147483647 h 45"/>
                      <a:gd name="T24" fmla="*/ 2147483647 w 51"/>
                      <a:gd name="T25" fmla="*/ 2147483647 h 45"/>
                      <a:gd name="T26" fmla="*/ 2147483647 w 51"/>
                      <a:gd name="T27" fmla="*/ 2147483647 h 45"/>
                      <a:gd name="T28" fmla="*/ 2147483647 w 51"/>
                      <a:gd name="T29" fmla="*/ 2147483647 h 45"/>
                      <a:gd name="T30" fmla="*/ 2147483647 w 51"/>
                      <a:gd name="T31" fmla="*/ 2147483647 h 45"/>
                      <a:gd name="T32" fmla="*/ 2147483647 w 51"/>
                      <a:gd name="T33" fmla="*/ 2147483647 h 45"/>
                      <a:gd name="T34" fmla="*/ 0 w 51"/>
                      <a:gd name="T35" fmla="*/ 2147483647 h 45"/>
                      <a:gd name="T36" fmla="*/ 2147483647 w 51"/>
                      <a:gd name="T37" fmla="*/ 2147483647 h 45"/>
                      <a:gd name="T38" fmla="*/ 2147483647 w 51"/>
                      <a:gd name="T39" fmla="*/ 2147483647 h 45"/>
                      <a:gd name="T40" fmla="*/ 2147483647 w 51"/>
                      <a:gd name="T41" fmla="*/ 2147483647 h 45"/>
                      <a:gd name="T42" fmla="*/ 2147483647 w 51"/>
                      <a:gd name="T43" fmla="*/ 2147483647 h 45"/>
                      <a:gd name="T44" fmla="*/ 2147483647 w 51"/>
                      <a:gd name="T45" fmla="*/ 2147483647 h 45"/>
                      <a:gd name="T46" fmla="*/ 2147483647 w 51"/>
                      <a:gd name="T47" fmla="*/ 2147483647 h 45"/>
                      <a:gd name="T48" fmla="*/ 2147483647 w 51"/>
                      <a:gd name="T49" fmla="*/ 2147483647 h 45"/>
                      <a:gd name="T50" fmla="*/ 2147483647 w 51"/>
                      <a:gd name="T51" fmla="*/ 2147483647 h 45"/>
                      <a:gd name="T52" fmla="*/ 2147483647 w 51"/>
                      <a:gd name="T53" fmla="*/ 2147483647 h 45"/>
                      <a:gd name="T54" fmla="*/ 2147483647 w 51"/>
                      <a:gd name="T55" fmla="*/ 2147483647 h 45"/>
                      <a:gd name="T56" fmla="*/ 2147483647 w 51"/>
                      <a:gd name="T57" fmla="*/ 2147483647 h 45"/>
                      <a:gd name="T58" fmla="*/ 2147483647 w 51"/>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 h="45">
                        <a:moveTo>
                          <a:pt x="48" y="1"/>
                        </a:moveTo>
                        <a:cubicBezTo>
                          <a:pt x="47" y="1"/>
                          <a:pt x="47" y="1"/>
                          <a:pt x="47" y="1"/>
                        </a:cubicBezTo>
                        <a:cubicBezTo>
                          <a:pt x="46" y="2"/>
                          <a:pt x="46" y="2"/>
                          <a:pt x="46" y="2"/>
                        </a:cubicBezTo>
                        <a:cubicBezTo>
                          <a:pt x="47" y="1"/>
                          <a:pt x="47" y="1"/>
                          <a:pt x="47" y="1"/>
                        </a:cubicBezTo>
                        <a:cubicBezTo>
                          <a:pt x="41" y="0"/>
                          <a:pt x="41" y="0"/>
                          <a:pt x="41" y="0"/>
                        </a:cubicBezTo>
                        <a:cubicBezTo>
                          <a:pt x="34" y="5"/>
                          <a:pt x="34" y="5"/>
                          <a:pt x="34" y="5"/>
                        </a:cubicBezTo>
                        <a:cubicBezTo>
                          <a:pt x="26" y="12"/>
                          <a:pt x="26" y="12"/>
                          <a:pt x="26" y="12"/>
                        </a:cubicBezTo>
                        <a:cubicBezTo>
                          <a:pt x="22" y="12"/>
                          <a:pt x="22" y="12"/>
                          <a:pt x="22" y="12"/>
                        </a:cubicBezTo>
                        <a:cubicBezTo>
                          <a:pt x="17" y="15"/>
                          <a:pt x="17" y="15"/>
                          <a:pt x="17" y="15"/>
                        </a:cubicBezTo>
                        <a:cubicBezTo>
                          <a:pt x="14" y="15"/>
                          <a:pt x="14" y="15"/>
                          <a:pt x="14" y="15"/>
                        </a:cubicBezTo>
                        <a:cubicBezTo>
                          <a:pt x="13" y="13"/>
                          <a:pt x="13" y="13"/>
                          <a:pt x="13" y="13"/>
                        </a:cubicBezTo>
                        <a:cubicBezTo>
                          <a:pt x="11" y="9"/>
                          <a:pt x="11" y="9"/>
                          <a:pt x="11" y="9"/>
                        </a:cubicBezTo>
                        <a:cubicBezTo>
                          <a:pt x="11" y="11"/>
                          <a:pt x="11" y="11"/>
                          <a:pt x="11" y="11"/>
                        </a:cubicBezTo>
                        <a:cubicBezTo>
                          <a:pt x="11" y="9"/>
                          <a:pt x="11" y="9"/>
                          <a:pt x="11" y="9"/>
                        </a:cubicBezTo>
                        <a:cubicBezTo>
                          <a:pt x="9" y="23"/>
                          <a:pt x="9" y="23"/>
                          <a:pt x="9" y="23"/>
                        </a:cubicBezTo>
                        <a:cubicBezTo>
                          <a:pt x="6" y="24"/>
                          <a:pt x="6" y="24"/>
                          <a:pt x="6" y="24"/>
                        </a:cubicBezTo>
                        <a:cubicBezTo>
                          <a:pt x="1" y="22"/>
                          <a:pt x="1" y="22"/>
                          <a:pt x="1" y="22"/>
                        </a:cubicBezTo>
                        <a:cubicBezTo>
                          <a:pt x="0" y="24"/>
                          <a:pt x="0" y="24"/>
                          <a:pt x="0" y="24"/>
                        </a:cubicBezTo>
                        <a:cubicBezTo>
                          <a:pt x="2" y="27"/>
                          <a:pt x="2" y="27"/>
                          <a:pt x="2" y="27"/>
                        </a:cubicBezTo>
                        <a:cubicBezTo>
                          <a:pt x="5" y="35"/>
                          <a:pt x="5" y="35"/>
                          <a:pt x="5" y="35"/>
                        </a:cubicBezTo>
                        <a:cubicBezTo>
                          <a:pt x="5" y="39"/>
                          <a:pt x="5" y="39"/>
                          <a:pt x="5" y="39"/>
                        </a:cubicBezTo>
                        <a:cubicBezTo>
                          <a:pt x="9" y="45"/>
                          <a:pt x="9" y="45"/>
                          <a:pt x="9" y="45"/>
                        </a:cubicBezTo>
                        <a:cubicBezTo>
                          <a:pt x="17" y="43"/>
                          <a:pt x="17" y="43"/>
                          <a:pt x="17" y="43"/>
                        </a:cubicBezTo>
                        <a:cubicBezTo>
                          <a:pt x="25" y="42"/>
                          <a:pt x="25" y="42"/>
                          <a:pt x="25" y="42"/>
                        </a:cubicBezTo>
                        <a:cubicBezTo>
                          <a:pt x="32" y="41"/>
                          <a:pt x="32" y="41"/>
                          <a:pt x="32" y="41"/>
                        </a:cubicBezTo>
                        <a:cubicBezTo>
                          <a:pt x="47" y="25"/>
                          <a:pt x="47" y="25"/>
                          <a:pt x="47" y="25"/>
                        </a:cubicBezTo>
                        <a:cubicBezTo>
                          <a:pt x="47" y="25"/>
                          <a:pt x="50" y="19"/>
                          <a:pt x="51" y="16"/>
                        </a:cubicBezTo>
                        <a:cubicBezTo>
                          <a:pt x="51" y="16"/>
                          <a:pt x="51" y="16"/>
                          <a:pt x="51" y="16"/>
                        </a:cubicBezTo>
                        <a:cubicBezTo>
                          <a:pt x="49" y="16"/>
                          <a:pt x="49" y="16"/>
                          <a:pt x="49" y="16"/>
                        </a:cubicBezTo>
                        <a:lnTo>
                          <a:pt x="48" y="1"/>
                        </a:lnTo>
                        <a:close/>
                      </a:path>
                    </a:pathLst>
                  </a:custGeom>
                  <a:solidFill>
                    <a:srgbClr val="FF0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2" name="Freeform 373"/>
                  <p:cNvSpPr>
                    <a:spLocks/>
                  </p:cNvSpPr>
                  <p:nvPr/>
                </p:nvSpPr>
                <p:spPr bwMode="auto">
                  <a:xfrm>
                    <a:off x="4939982" y="4611305"/>
                    <a:ext cx="233613" cy="246796"/>
                  </a:xfrm>
                  <a:custGeom>
                    <a:avLst/>
                    <a:gdLst>
                      <a:gd name="T0" fmla="*/ 2147483647 w 180"/>
                      <a:gd name="T1" fmla="*/ 2147483647 h 180"/>
                      <a:gd name="T2" fmla="*/ 2147483647 w 180"/>
                      <a:gd name="T3" fmla="*/ 2147483647 h 180"/>
                      <a:gd name="T4" fmla="*/ 2147483647 w 180"/>
                      <a:gd name="T5" fmla="*/ 2147483647 h 180"/>
                      <a:gd name="T6" fmla="*/ 2147483647 w 180"/>
                      <a:gd name="T7" fmla="*/ 2147483647 h 180"/>
                      <a:gd name="T8" fmla="*/ 2147483647 w 180"/>
                      <a:gd name="T9" fmla="*/ 2147483647 h 180"/>
                      <a:gd name="T10" fmla="*/ 2147483647 w 180"/>
                      <a:gd name="T11" fmla="*/ 2147483647 h 180"/>
                      <a:gd name="T12" fmla="*/ 2147483647 w 180"/>
                      <a:gd name="T13" fmla="*/ 2147483647 h 180"/>
                      <a:gd name="T14" fmla="*/ 2147483647 w 180"/>
                      <a:gd name="T15" fmla="*/ 0 h 180"/>
                      <a:gd name="T16" fmla="*/ 2147483647 w 180"/>
                      <a:gd name="T17" fmla="*/ 2147483647 h 180"/>
                      <a:gd name="T18" fmla="*/ 2147483647 w 180"/>
                      <a:gd name="T19" fmla="*/ 2147483647 h 180"/>
                      <a:gd name="T20" fmla="*/ 2147483647 w 180"/>
                      <a:gd name="T21" fmla="*/ 2147483647 h 180"/>
                      <a:gd name="T22" fmla="*/ 0 w 180"/>
                      <a:gd name="T23" fmla="*/ 2147483647 h 180"/>
                      <a:gd name="T24" fmla="*/ 0 w 180"/>
                      <a:gd name="T25" fmla="*/ 2147483647 h 180"/>
                      <a:gd name="T26" fmla="*/ 2147483647 w 180"/>
                      <a:gd name="T27" fmla="*/ 2147483647 h 180"/>
                      <a:gd name="T28" fmla="*/ 2147483647 w 180"/>
                      <a:gd name="T29" fmla="*/ 2147483647 h 180"/>
                      <a:gd name="T30" fmla="*/ 2147483647 w 180"/>
                      <a:gd name="T31" fmla="*/ 2147483647 h 180"/>
                      <a:gd name="T32" fmla="*/ 2147483647 w 180"/>
                      <a:gd name="T33" fmla="*/ 2147483647 h 180"/>
                      <a:gd name="T34" fmla="*/ 2147483647 w 180"/>
                      <a:gd name="T35" fmla="*/ 2147483647 h 180"/>
                      <a:gd name="T36" fmla="*/ 2147483647 w 180"/>
                      <a:gd name="T37" fmla="*/ 2147483647 h 180"/>
                      <a:gd name="T38" fmla="*/ 2147483647 w 180"/>
                      <a:gd name="T39" fmla="*/ 2147483647 h 180"/>
                      <a:gd name="T40" fmla="*/ 2147483647 w 180"/>
                      <a:gd name="T41" fmla="*/ 2147483647 h 180"/>
                      <a:gd name="T42" fmla="*/ 2147483647 w 18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180">
                        <a:moveTo>
                          <a:pt x="144" y="54"/>
                        </a:moveTo>
                        <a:lnTo>
                          <a:pt x="132" y="54"/>
                        </a:lnTo>
                        <a:lnTo>
                          <a:pt x="114" y="30"/>
                        </a:lnTo>
                        <a:lnTo>
                          <a:pt x="102" y="6"/>
                        </a:lnTo>
                        <a:lnTo>
                          <a:pt x="96" y="6"/>
                        </a:lnTo>
                        <a:lnTo>
                          <a:pt x="84" y="12"/>
                        </a:lnTo>
                        <a:lnTo>
                          <a:pt x="96" y="6"/>
                        </a:lnTo>
                        <a:lnTo>
                          <a:pt x="84" y="0"/>
                        </a:lnTo>
                        <a:lnTo>
                          <a:pt x="66" y="6"/>
                        </a:lnTo>
                        <a:lnTo>
                          <a:pt x="18" y="18"/>
                        </a:lnTo>
                        <a:lnTo>
                          <a:pt x="12" y="84"/>
                        </a:lnTo>
                        <a:lnTo>
                          <a:pt x="0" y="90"/>
                        </a:lnTo>
                        <a:lnTo>
                          <a:pt x="0" y="144"/>
                        </a:lnTo>
                        <a:lnTo>
                          <a:pt x="12" y="168"/>
                        </a:lnTo>
                        <a:lnTo>
                          <a:pt x="18" y="180"/>
                        </a:lnTo>
                        <a:lnTo>
                          <a:pt x="36" y="180"/>
                        </a:lnTo>
                        <a:lnTo>
                          <a:pt x="66" y="162"/>
                        </a:lnTo>
                        <a:lnTo>
                          <a:pt x="90" y="162"/>
                        </a:lnTo>
                        <a:lnTo>
                          <a:pt x="138" y="120"/>
                        </a:lnTo>
                        <a:lnTo>
                          <a:pt x="180" y="90"/>
                        </a:lnTo>
                        <a:lnTo>
                          <a:pt x="150" y="78"/>
                        </a:lnTo>
                        <a:lnTo>
                          <a:pt x="144" y="5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3" name="Freeform 374"/>
                  <p:cNvSpPr>
                    <a:spLocks/>
                  </p:cNvSpPr>
                  <p:nvPr/>
                </p:nvSpPr>
                <p:spPr bwMode="auto">
                  <a:xfrm>
                    <a:off x="5179868" y="4421204"/>
                    <a:ext cx="264973" cy="443565"/>
                  </a:xfrm>
                  <a:custGeom>
                    <a:avLst/>
                    <a:gdLst>
                      <a:gd name="T0" fmla="*/ 2147483647 w 34"/>
                      <a:gd name="T1" fmla="*/ 2147483647 h 54"/>
                      <a:gd name="T2" fmla="*/ 2147483647 w 34"/>
                      <a:gd name="T3" fmla="*/ 2147483647 h 54"/>
                      <a:gd name="T4" fmla="*/ 2147483647 w 34"/>
                      <a:gd name="T5" fmla="*/ 2147483647 h 54"/>
                      <a:gd name="T6" fmla="*/ 2147483647 w 34"/>
                      <a:gd name="T7" fmla="*/ 2147483647 h 54"/>
                      <a:gd name="T8" fmla="*/ 2147483647 w 34"/>
                      <a:gd name="T9" fmla="*/ 2147483647 h 54"/>
                      <a:gd name="T10" fmla="*/ 2147483647 w 34"/>
                      <a:gd name="T11" fmla="*/ 2147483647 h 54"/>
                      <a:gd name="T12" fmla="*/ 2147483647 w 34"/>
                      <a:gd name="T13" fmla="*/ 2147483647 h 54"/>
                      <a:gd name="T14" fmla="*/ 2147483647 w 34"/>
                      <a:gd name="T15" fmla="*/ 2147483647 h 54"/>
                      <a:gd name="T16" fmla="*/ 2147483647 w 34"/>
                      <a:gd name="T17" fmla="*/ 2147483647 h 54"/>
                      <a:gd name="T18" fmla="*/ 2147483647 w 34"/>
                      <a:gd name="T19" fmla="*/ 2147483647 h 54"/>
                      <a:gd name="T20" fmla="*/ 2147483647 w 34"/>
                      <a:gd name="T21" fmla="*/ 2147483647 h 54"/>
                      <a:gd name="T22" fmla="*/ 2147483647 w 34"/>
                      <a:gd name="T23" fmla="*/ 2147483647 h 54"/>
                      <a:gd name="T24" fmla="*/ 0 w 34"/>
                      <a:gd name="T25" fmla="*/ 2147483647 h 54"/>
                      <a:gd name="T26" fmla="*/ 0 w 34"/>
                      <a:gd name="T27" fmla="*/ 2147483647 h 54"/>
                      <a:gd name="T28" fmla="*/ 2147483647 w 34"/>
                      <a:gd name="T29" fmla="*/ 2147483647 h 54"/>
                      <a:gd name="T30" fmla="*/ 2147483647 w 34"/>
                      <a:gd name="T31" fmla="*/ 2147483647 h 54"/>
                      <a:gd name="T32" fmla="*/ 2147483647 w 34"/>
                      <a:gd name="T33" fmla="*/ 2147483647 h 54"/>
                      <a:gd name="T34" fmla="*/ 2147483647 w 34"/>
                      <a:gd name="T35" fmla="*/ 2147483647 h 54"/>
                      <a:gd name="T36" fmla="*/ 2147483647 w 34"/>
                      <a:gd name="T37" fmla="*/ 2147483647 h 54"/>
                      <a:gd name="T38" fmla="*/ 2147483647 w 34"/>
                      <a:gd name="T39" fmla="*/ 2147483647 h 54"/>
                      <a:gd name="T40" fmla="*/ 2147483647 w 34"/>
                      <a:gd name="T41" fmla="*/ 2147483647 h 54"/>
                      <a:gd name="T42" fmla="*/ 2147483647 w 34"/>
                      <a:gd name="T43" fmla="*/ 2147483647 h 54"/>
                      <a:gd name="T44" fmla="*/ 2147483647 w 34"/>
                      <a:gd name="T45" fmla="*/ 2147483647 h 54"/>
                      <a:gd name="T46" fmla="*/ 2147483647 w 34"/>
                      <a:gd name="T47" fmla="*/ 2147483647 h 54"/>
                      <a:gd name="T48" fmla="*/ 2147483647 w 34"/>
                      <a:gd name="T49" fmla="*/ 2147483647 h 54"/>
                      <a:gd name="T50" fmla="*/ 2147483647 w 34"/>
                      <a:gd name="T51" fmla="*/ 2147483647 h 54"/>
                      <a:gd name="T52" fmla="*/ 2147483647 w 34"/>
                      <a:gd name="T53" fmla="*/ 2147483647 h 54"/>
                      <a:gd name="T54" fmla="*/ 2147483647 w 34"/>
                      <a:gd name="T55" fmla="*/ 2147483647 h 54"/>
                      <a:gd name="T56" fmla="*/ 2147483647 w 34"/>
                      <a:gd name="T57" fmla="*/ 2147483647 h 54"/>
                      <a:gd name="T58" fmla="*/ 2147483647 w 34"/>
                      <a:gd name="T59" fmla="*/ 2147483647 h 54"/>
                      <a:gd name="T60" fmla="*/ 2147483647 w 34"/>
                      <a:gd name="T61" fmla="*/ 2147483647 h 54"/>
                      <a:gd name="T62" fmla="*/ 2147483647 w 34"/>
                      <a:gd name="T63" fmla="*/ 2147483647 h 54"/>
                      <a:gd name="T64" fmla="*/ 2147483647 w 34"/>
                      <a:gd name="T65" fmla="*/ 2147483647 h 54"/>
                      <a:gd name="T66" fmla="*/ 2147483647 w 34"/>
                      <a:gd name="T67" fmla="*/ 2147483647 h 54"/>
                      <a:gd name="T68" fmla="*/ 2147483647 w 34"/>
                      <a:gd name="T69" fmla="*/ 0 h 54"/>
                      <a:gd name="T70" fmla="*/ 2147483647 w 34"/>
                      <a:gd name="T71" fmla="*/ 0 h 54"/>
                      <a:gd name="T72" fmla="*/ 2147483647 w 34"/>
                      <a:gd name="T73" fmla="*/ 2147483647 h 54"/>
                      <a:gd name="T74" fmla="*/ 2147483647 w 34"/>
                      <a:gd name="T75" fmla="*/ 2147483647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4" name="Freeform 375"/>
                  <p:cNvSpPr>
                    <a:spLocks/>
                  </p:cNvSpPr>
                  <p:nvPr/>
                </p:nvSpPr>
                <p:spPr bwMode="auto">
                  <a:xfrm>
                    <a:off x="5179868" y="4167739"/>
                    <a:ext cx="257133" cy="278480"/>
                  </a:xfrm>
                  <a:custGeom>
                    <a:avLst/>
                    <a:gdLst>
                      <a:gd name="T0" fmla="*/ 2147483647 w 33"/>
                      <a:gd name="T1" fmla="*/ 2147483647 h 34"/>
                      <a:gd name="T2" fmla="*/ 2147483647 w 33"/>
                      <a:gd name="T3" fmla="*/ 2147483647 h 34"/>
                      <a:gd name="T4" fmla="*/ 2147483647 w 33"/>
                      <a:gd name="T5" fmla="*/ 2147483647 h 34"/>
                      <a:gd name="T6" fmla="*/ 2147483647 w 33"/>
                      <a:gd name="T7" fmla="*/ 2147483647 h 34"/>
                      <a:gd name="T8" fmla="*/ 2147483647 w 33"/>
                      <a:gd name="T9" fmla="*/ 0 h 34"/>
                      <a:gd name="T10" fmla="*/ 2147483647 w 33"/>
                      <a:gd name="T11" fmla="*/ 2147483647 h 34"/>
                      <a:gd name="T12" fmla="*/ 2147483647 w 33"/>
                      <a:gd name="T13" fmla="*/ 2147483647 h 34"/>
                      <a:gd name="T14" fmla="*/ 2147483647 w 33"/>
                      <a:gd name="T15" fmla="*/ 2147483647 h 34"/>
                      <a:gd name="T16" fmla="*/ 2147483647 w 33"/>
                      <a:gd name="T17" fmla="*/ 2147483647 h 34"/>
                      <a:gd name="T18" fmla="*/ 2147483647 w 33"/>
                      <a:gd name="T19" fmla="*/ 2147483647 h 34"/>
                      <a:gd name="T20" fmla="*/ 2147483647 w 33"/>
                      <a:gd name="T21" fmla="*/ 2147483647 h 34"/>
                      <a:gd name="T22" fmla="*/ 0 w 33"/>
                      <a:gd name="T23" fmla="*/ 2147483647 h 34"/>
                      <a:gd name="T24" fmla="*/ 2147483647 w 33"/>
                      <a:gd name="T25" fmla="*/ 2147483647 h 34"/>
                      <a:gd name="T26" fmla="*/ 2147483647 w 33"/>
                      <a:gd name="T27" fmla="*/ 2147483647 h 34"/>
                      <a:gd name="T28" fmla="*/ 2147483647 w 33"/>
                      <a:gd name="T29" fmla="*/ 2147483647 h 34"/>
                      <a:gd name="T30" fmla="*/ 2147483647 w 33"/>
                      <a:gd name="T31" fmla="*/ 2147483647 h 34"/>
                      <a:gd name="T32" fmla="*/ 2147483647 w 33"/>
                      <a:gd name="T33" fmla="*/ 2147483647 h 34"/>
                      <a:gd name="T34" fmla="*/ 2147483647 w 33"/>
                      <a:gd name="T35" fmla="*/ 2147483647 h 34"/>
                      <a:gd name="T36" fmla="*/ 2147483647 w 33"/>
                      <a:gd name="T37" fmla="*/ 2147483647 h 34"/>
                      <a:gd name="T38" fmla="*/ 2147483647 w 33"/>
                      <a:gd name="T39" fmla="*/ 2147483647 h 34"/>
                      <a:gd name="T40" fmla="*/ 2147483647 w 33"/>
                      <a:gd name="T41" fmla="*/ 2147483647 h 34"/>
                      <a:gd name="T42" fmla="*/ 2147483647 w 33"/>
                      <a:gd name="T43" fmla="*/ 2147483647 h 34"/>
                      <a:gd name="T44" fmla="*/ 2147483647 w 33"/>
                      <a:gd name="T45" fmla="*/ 2147483647 h 34"/>
                      <a:gd name="T46" fmla="*/ 2147483647 w 33"/>
                      <a:gd name="T47" fmla="*/ 2147483647 h 34"/>
                      <a:gd name="T48" fmla="*/ 2147483647 w 33"/>
                      <a:gd name="T49" fmla="*/ 2147483647 h 34"/>
                      <a:gd name="T50" fmla="*/ 2147483647 w 33"/>
                      <a:gd name="T51" fmla="*/ 2147483647 h 34"/>
                      <a:gd name="T52" fmla="*/ 2147483647 w 33"/>
                      <a:gd name="T53" fmla="*/ 2147483647 h 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3" h="34">
                        <a:moveTo>
                          <a:pt x="25" y="6"/>
                        </a:moveTo>
                        <a:cubicBezTo>
                          <a:pt x="14" y="1"/>
                          <a:pt x="14" y="1"/>
                          <a:pt x="14" y="1"/>
                        </a:cubicBezTo>
                        <a:cubicBezTo>
                          <a:pt x="14" y="1"/>
                          <a:pt x="14" y="1"/>
                          <a:pt x="14" y="1"/>
                        </a:cubicBezTo>
                        <a:cubicBezTo>
                          <a:pt x="14" y="1"/>
                          <a:pt x="14" y="1"/>
                          <a:pt x="14" y="1"/>
                        </a:cubicBezTo>
                        <a:cubicBezTo>
                          <a:pt x="13" y="0"/>
                          <a:pt x="13" y="0"/>
                          <a:pt x="13" y="0"/>
                        </a:cubicBezTo>
                        <a:cubicBezTo>
                          <a:pt x="12" y="2"/>
                          <a:pt x="12" y="2"/>
                          <a:pt x="12" y="2"/>
                        </a:cubicBezTo>
                        <a:cubicBezTo>
                          <a:pt x="12" y="5"/>
                          <a:pt x="12" y="5"/>
                          <a:pt x="12" y="5"/>
                        </a:cubicBezTo>
                        <a:cubicBezTo>
                          <a:pt x="8" y="5"/>
                          <a:pt x="8" y="5"/>
                          <a:pt x="8" y="5"/>
                        </a:cubicBezTo>
                        <a:cubicBezTo>
                          <a:pt x="6" y="1"/>
                          <a:pt x="6" y="1"/>
                          <a:pt x="6" y="1"/>
                        </a:cubicBezTo>
                        <a:cubicBezTo>
                          <a:pt x="1" y="1"/>
                          <a:pt x="1" y="1"/>
                          <a:pt x="1" y="1"/>
                        </a:cubicBezTo>
                        <a:cubicBezTo>
                          <a:pt x="2" y="8"/>
                          <a:pt x="2" y="8"/>
                          <a:pt x="2" y="8"/>
                        </a:cubicBezTo>
                        <a:cubicBezTo>
                          <a:pt x="0" y="11"/>
                          <a:pt x="0" y="11"/>
                          <a:pt x="0" y="11"/>
                        </a:cubicBezTo>
                        <a:cubicBezTo>
                          <a:pt x="2" y="19"/>
                          <a:pt x="2" y="19"/>
                          <a:pt x="2" y="19"/>
                        </a:cubicBezTo>
                        <a:cubicBezTo>
                          <a:pt x="4" y="24"/>
                          <a:pt x="4" y="24"/>
                          <a:pt x="4" y="24"/>
                        </a:cubicBezTo>
                        <a:cubicBezTo>
                          <a:pt x="4" y="24"/>
                          <a:pt x="8" y="26"/>
                          <a:pt x="9" y="26"/>
                        </a:cubicBezTo>
                        <a:cubicBezTo>
                          <a:pt x="9" y="26"/>
                          <a:pt x="14" y="27"/>
                          <a:pt x="14" y="27"/>
                        </a:cubicBezTo>
                        <a:cubicBezTo>
                          <a:pt x="15" y="29"/>
                          <a:pt x="15" y="29"/>
                          <a:pt x="15" y="29"/>
                        </a:cubicBezTo>
                        <a:cubicBezTo>
                          <a:pt x="17" y="34"/>
                          <a:pt x="17" y="34"/>
                          <a:pt x="17" y="34"/>
                        </a:cubicBezTo>
                        <a:cubicBezTo>
                          <a:pt x="22" y="33"/>
                          <a:pt x="22" y="33"/>
                          <a:pt x="22" y="33"/>
                        </a:cubicBezTo>
                        <a:cubicBezTo>
                          <a:pt x="30" y="32"/>
                          <a:pt x="30" y="32"/>
                          <a:pt x="30" y="32"/>
                        </a:cubicBezTo>
                        <a:cubicBezTo>
                          <a:pt x="33" y="31"/>
                          <a:pt x="33" y="31"/>
                          <a:pt x="33" y="31"/>
                        </a:cubicBezTo>
                        <a:cubicBezTo>
                          <a:pt x="31" y="28"/>
                          <a:pt x="31" y="28"/>
                          <a:pt x="31" y="28"/>
                        </a:cubicBezTo>
                        <a:cubicBezTo>
                          <a:pt x="30" y="19"/>
                          <a:pt x="30" y="19"/>
                          <a:pt x="30" y="19"/>
                        </a:cubicBezTo>
                        <a:cubicBezTo>
                          <a:pt x="30" y="19"/>
                          <a:pt x="28" y="15"/>
                          <a:pt x="28" y="14"/>
                        </a:cubicBezTo>
                        <a:cubicBezTo>
                          <a:pt x="28" y="13"/>
                          <a:pt x="29" y="12"/>
                          <a:pt x="30" y="12"/>
                        </a:cubicBezTo>
                        <a:cubicBezTo>
                          <a:pt x="25" y="9"/>
                          <a:pt x="25" y="9"/>
                          <a:pt x="25" y="9"/>
                        </a:cubicBezTo>
                        <a:lnTo>
                          <a:pt x="25" y="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5" name="Freeform 376"/>
                  <p:cNvSpPr>
                    <a:spLocks/>
                  </p:cNvSpPr>
                  <p:nvPr/>
                </p:nvSpPr>
                <p:spPr bwMode="auto">
                  <a:xfrm>
                    <a:off x="4745565" y="4297806"/>
                    <a:ext cx="294762" cy="313498"/>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2147483647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2147483647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2147483647 w 38"/>
                      <a:gd name="T31" fmla="*/ 2147483647 h 38"/>
                      <a:gd name="T32" fmla="*/ 2147483647 w 38"/>
                      <a:gd name="T33" fmla="*/ 0 h 38"/>
                      <a:gd name="T34" fmla="*/ 2147483647 w 38"/>
                      <a:gd name="T35" fmla="*/ 0 h 38"/>
                      <a:gd name="T36" fmla="*/ 2147483647 w 38"/>
                      <a:gd name="T37" fmla="*/ 2147483647 h 38"/>
                      <a:gd name="T38" fmla="*/ 2147483647 w 38"/>
                      <a:gd name="T39" fmla="*/ 2147483647 h 38"/>
                      <a:gd name="T40" fmla="*/ 2147483647 w 38"/>
                      <a:gd name="T41" fmla="*/ 2147483647 h 38"/>
                      <a:gd name="T42" fmla="*/ 0 w 38"/>
                      <a:gd name="T43" fmla="*/ 2147483647 h 38"/>
                      <a:gd name="T44" fmla="*/ 0 w 38"/>
                      <a:gd name="T45" fmla="*/ 2147483647 h 38"/>
                      <a:gd name="T46" fmla="*/ 2147483647 w 38"/>
                      <a:gd name="T47" fmla="*/ 2147483647 h 38"/>
                      <a:gd name="T48" fmla="*/ 2147483647 w 38"/>
                      <a:gd name="T49" fmla="*/ 2147483647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6" name="Freeform 377"/>
                  <p:cNvSpPr>
                    <a:spLocks/>
                  </p:cNvSpPr>
                  <p:nvPr/>
                </p:nvSpPr>
                <p:spPr bwMode="auto">
                  <a:xfrm>
                    <a:off x="4745565" y="4002653"/>
                    <a:ext cx="457821" cy="483586"/>
                  </a:xfrm>
                  <a:custGeom>
                    <a:avLst/>
                    <a:gdLst>
                      <a:gd name="T0" fmla="*/ 2147483647 w 59"/>
                      <a:gd name="T1" fmla="*/ 2147483647 h 59"/>
                      <a:gd name="T2" fmla="*/ 2147483647 w 59"/>
                      <a:gd name="T3" fmla="*/ 2147483647 h 59"/>
                      <a:gd name="T4" fmla="*/ 2147483647 w 59"/>
                      <a:gd name="T5" fmla="*/ 2147483647 h 59"/>
                      <a:gd name="T6" fmla="*/ 2147483647 w 59"/>
                      <a:gd name="T7" fmla="*/ 2147483647 h 59"/>
                      <a:gd name="T8" fmla="*/ 2147483647 w 59"/>
                      <a:gd name="T9" fmla="*/ 2147483647 h 59"/>
                      <a:gd name="T10" fmla="*/ 2147483647 w 59"/>
                      <a:gd name="T11" fmla="*/ 2147483647 h 59"/>
                      <a:gd name="T12" fmla="*/ 0 w 59"/>
                      <a:gd name="T13" fmla="*/ 2147483647 h 59"/>
                      <a:gd name="T14" fmla="*/ 2147483647 w 59"/>
                      <a:gd name="T15" fmla="*/ 2147483647 h 59"/>
                      <a:gd name="T16" fmla="*/ 2147483647 w 59"/>
                      <a:gd name="T17" fmla="*/ 2147483647 h 59"/>
                      <a:gd name="T18" fmla="*/ 2147483647 w 59"/>
                      <a:gd name="T19" fmla="*/ 2147483647 h 59"/>
                      <a:gd name="T20" fmla="*/ 2147483647 w 59"/>
                      <a:gd name="T21" fmla="*/ 2147483647 h 59"/>
                      <a:gd name="T22" fmla="*/ 2147483647 w 59"/>
                      <a:gd name="T23" fmla="*/ 2147483647 h 59"/>
                      <a:gd name="T24" fmla="*/ 2147483647 w 59"/>
                      <a:gd name="T25" fmla="*/ 2147483647 h 59"/>
                      <a:gd name="T26" fmla="*/ 2147483647 w 59"/>
                      <a:gd name="T27" fmla="*/ 2147483647 h 59"/>
                      <a:gd name="T28" fmla="*/ 2147483647 w 59"/>
                      <a:gd name="T29" fmla="*/ 2147483647 h 59"/>
                      <a:gd name="T30" fmla="*/ 2147483647 w 59"/>
                      <a:gd name="T31" fmla="*/ 2147483647 h 59"/>
                      <a:gd name="T32" fmla="*/ 2147483647 w 59"/>
                      <a:gd name="T33" fmla="*/ 2147483647 h 59"/>
                      <a:gd name="T34" fmla="*/ 2147483647 w 59"/>
                      <a:gd name="T35" fmla="*/ 2147483647 h 59"/>
                      <a:gd name="T36" fmla="*/ 2147483647 w 59"/>
                      <a:gd name="T37" fmla="*/ 2147483647 h 59"/>
                      <a:gd name="T38" fmla="*/ 2147483647 w 59"/>
                      <a:gd name="T39" fmla="*/ 2147483647 h 59"/>
                      <a:gd name="T40" fmla="*/ 2147483647 w 59"/>
                      <a:gd name="T41" fmla="*/ 2147483647 h 59"/>
                      <a:gd name="T42" fmla="*/ 2147483647 w 59"/>
                      <a:gd name="T43" fmla="*/ 2147483647 h 59"/>
                      <a:gd name="T44" fmla="*/ 2147483647 w 59"/>
                      <a:gd name="T45" fmla="*/ 2147483647 h 59"/>
                      <a:gd name="T46" fmla="*/ 2147483647 w 59"/>
                      <a:gd name="T47" fmla="*/ 2147483647 h 59"/>
                      <a:gd name="T48" fmla="*/ 2147483647 w 59"/>
                      <a:gd name="T49" fmla="*/ 2147483647 h 59"/>
                      <a:gd name="T50" fmla="*/ 2147483647 w 59"/>
                      <a:gd name="T51" fmla="*/ 2147483647 h 59"/>
                      <a:gd name="T52" fmla="*/ 2147483647 w 59"/>
                      <a:gd name="T53" fmla="*/ 2147483647 h 59"/>
                      <a:gd name="T54" fmla="*/ 2147483647 w 59"/>
                      <a:gd name="T55" fmla="*/ 2147483647 h 59"/>
                      <a:gd name="T56" fmla="*/ 2147483647 w 59"/>
                      <a:gd name="T57" fmla="*/ 2147483647 h 59"/>
                      <a:gd name="T58" fmla="*/ 2147483647 w 59"/>
                      <a:gd name="T59" fmla="*/ 2147483647 h 59"/>
                      <a:gd name="T60" fmla="*/ 2147483647 w 59"/>
                      <a:gd name="T61" fmla="*/ 2147483647 h 59"/>
                      <a:gd name="T62" fmla="*/ 2147483647 w 59"/>
                      <a:gd name="T63" fmla="*/ 2147483647 h 59"/>
                      <a:gd name="T64" fmla="*/ 2147483647 w 59"/>
                      <a:gd name="T65" fmla="*/ 2147483647 h 59"/>
                      <a:gd name="T66" fmla="*/ 2147483647 w 59"/>
                      <a:gd name="T67" fmla="*/ 2147483647 h 59"/>
                      <a:gd name="T68" fmla="*/ 2147483647 w 59"/>
                      <a:gd name="T69" fmla="*/ 0 h 59"/>
                      <a:gd name="T70" fmla="*/ 2147483647 w 59"/>
                      <a:gd name="T71" fmla="*/ 2147483647 h 59"/>
                      <a:gd name="T72" fmla="*/ 2147483647 w 59"/>
                      <a:gd name="T73" fmla="*/ 2147483647 h 59"/>
                      <a:gd name="T74" fmla="*/ 2147483647 w 59"/>
                      <a:gd name="T75" fmla="*/ 2147483647 h 59"/>
                      <a:gd name="T76" fmla="*/ 2147483647 w 59"/>
                      <a:gd name="T77" fmla="*/ 2147483647 h 59"/>
                      <a:gd name="T78" fmla="*/ 2147483647 w 59"/>
                      <a:gd name="T79" fmla="*/ 2147483647 h 5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9" h="59">
                        <a:moveTo>
                          <a:pt x="21" y="6"/>
                        </a:moveTo>
                        <a:cubicBezTo>
                          <a:pt x="18" y="18"/>
                          <a:pt x="18" y="18"/>
                          <a:pt x="18" y="18"/>
                        </a:cubicBezTo>
                        <a:cubicBezTo>
                          <a:pt x="15" y="21"/>
                          <a:pt x="15" y="21"/>
                          <a:pt x="15" y="21"/>
                        </a:cubicBezTo>
                        <a:cubicBezTo>
                          <a:pt x="11" y="29"/>
                          <a:pt x="11" y="29"/>
                          <a:pt x="11" y="29"/>
                        </a:cubicBezTo>
                        <a:cubicBezTo>
                          <a:pt x="7" y="32"/>
                          <a:pt x="7" y="32"/>
                          <a:pt x="7" y="32"/>
                        </a:cubicBezTo>
                        <a:cubicBezTo>
                          <a:pt x="3" y="32"/>
                          <a:pt x="3" y="32"/>
                          <a:pt x="3" y="32"/>
                        </a:cubicBezTo>
                        <a:cubicBezTo>
                          <a:pt x="0" y="35"/>
                          <a:pt x="0" y="35"/>
                          <a:pt x="0" y="35"/>
                        </a:cubicBezTo>
                        <a:cubicBezTo>
                          <a:pt x="1" y="38"/>
                          <a:pt x="1" y="38"/>
                          <a:pt x="1" y="38"/>
                        </a:cubicBezTo>
                        <a:cubicBezTo>
                          <a:pt x="1" y="38"/>
                          <a:pt x="1" y="38"/>
                          <a:pt x="1" y="38"/>
                        </a:cubicBezTo>
                        <a:cubicBezTo>
                          <a:pt x="4" y="36"/>
                          <a:pt x="4" y="36"/>
                          <a:pt x="4" y="36"/>
                        </a:cubicBezTo>
                        <a:cubicBezTo>
                          <a:pt x="4" y="36"/>
                          <a:pt x="11" y="36"/>
                          <a:pt x="12" y="36"/>
                        </a:cubicBezTo>
                        <a:cubicBezTo>
                          <a:pt x="13" y="36"/>
                          <a:pt x="17" y="42"/>
                          <a:pt x="18" y="42"/>
                        </a:cubicBezTo>
                        <a:cubicBezTo>
                          <a:pt x="19" y="42"/>
                          <a:pt x="20" y="43"/>
                          <a:pt x="21" y="42"/>
                        </a:cubicBezTo>
                        <a:cubicBezTo>
                          <a:pt x="22" y="42"/>
                          <a:pt x="24" y="40"/>
                          <a:pt x="24" y="40"/>
                        </a:cubicBezTo>
                        <a:cubicBezTo>
                          <a:pt x="25" y="40"/>
                          <a:pt x="30" y="40"/>
                          <a:pt x="30" y="40"/>
                        </a:cubicBezTo>
                        <a:cubicBezTo>
                          <a:pt x="32" y="52"/>
                          <a:pt x="32" y="52"/>
                          <a:pt x="32" y="52"/>
                        </a:cubicBezTo>
                        <a:cubicBezTo>
                          <a:pt x="38" y="53"/>
                          <a:pt x="38" y="53"/>
                          <a:pt x="38" y="53"/>
                        </a:cubicBezTo>
                        <a:cubicBezTo>
                          <a:pt x="43" y="53"/>
                          <a:pt x="43" y="53"/>
                          <a:pt x="43" y="53"/>
                        </a:cubicBezTo>
                        <a:cubicBezTo>
                          <a:pt x="49" y="56"/>
                          <a:pt x="49" y="56"/>
                          <a:pt x="49" y="56"/>
                        </a:cubicBezTo>
                        <a:cubicBezTo>
                          <a:pt x="55" y="59"/>
                          <a:pt x="55" y="59"/>
                          <a:pt x="55" y="59"/>
                        </a:cubicBezTo>
                        <a:cubicBezTo>
                          <a:pt x="55" y="57"/>
                          <a:pt x="55" y="57"/>
                          <a:pt x="55" y="57"/>
                        </a:cubicBezTo>
                        <a:cubicBezTo>
                          <a:pt x="52" y="53"/>
                          <a:pt x="52" y="53"/>
                          <a:pt x="52" y="53"/>
                        </a:cubicBezTo>
                        <a:cubicBezTo>
                          <a:pt x="53" y="50"/>
                          <a:pt x="53" y="50"/>
                          <a:pt x="53" y="50"/>
                        </a:cubicBezTo>
                        <a:cubicBezTo>
                          <a:pt x="54" y="44"/>
                          <a:pt x="54" y="44"/>
                          <a:pt x="54" y="44"/>
                        </a:cubicBezTo>
                        <a:cubicBezTo>
                          <a:pt x="57" y="43"/>
                          <a:pt x="57" y="43"/>
                          <a:pt x="57" y="43"/>
                        </a:cubicBezTo>
                        <a:cubicBezTo>
                          <a:pt x="55" y="37"/>
                          <a:pt x="55" y="37"/>
                          <a:pt x="55" y="37"/>
                        </a:cubicBezTo>
                        <a:cubicBezTo>
                          <a:pt x="54" y="31"/>
                          <a:pt x="54" y="31"/>
                          <a:pt x="54" y="31"/>
                        </a:cubicBezTo>
                        <a:cubicBezTo>
                          <a:pt x="53" y="25"/>
                          <a:pt x="53" y="25"/>
                          <a:pt x="53" y="25"/>
                        </a:cubicBezTo>
                        <a:cubicBezTo>
                          <a:pt x="55" y="18"/>
                          <a:pt x="55" y="18"/>
                          <a:pt x="55" y="18"/>
                        </a:cubicBezTo>
                        <a:cubicBezTo>
                          <a:pt x="59" y="11"/>
                          <a:pt x="59" y="11"/>
                          <a:pt x="59" y="11"/>
                        </a:cubicBezTo>
                        <a:cubicBezTo>
                          <a:pt x="59" y="10"/>
                          <a:pt x="59" y="10"/>
                          <a:pt x="59" y="10"/>
                        </a:cubicBezTo>
                        <a:cubicBezTo>
                          <a:pt x="59" y="5"/>
                          <a:pt x="59" y="5"/>
                          <a:pt x="59" y="5"/>
                        </a:cubicBezTo>
                        <a:cubicBezTo>
                          <a:pt x="56" y="3"/>
                          <a:pt x="56" y="3"/>
                          <a:pt x="56" y="3"/>
                        </a:cubicBezTo>
                        <a:cubicBezTo>
                          <a:pt x="51" y="3"/>
                          <a:pt x="51" y="3"/>
                          <a:pt x="51" y="3"/>
                        </a:cubicBezTo>
                        <a:cubicBezTo>
                          <a:pt x="49" y="0"/>
                          <a:pt x="49" y="0"/>
                          <a:pt x="49" y="0"/>
                        </a:cubicBezTo>
                        <a:cubicBezTo>
                          <a:pt x="41" y="1"/>
                          <a:pt x="41" y="1"/>
                          <a:pt x="41" y="1"/>
                        </a:cubicBezTo>
                        <a:cubicBezTo>
                          <a:pt x="32" y="3"/>
                          <a:pt x="32" y="3"/>
                          <a:pt x="32" y="3"/>
                        </a:cubicBezTo>
                        <a:cubicBezTo>
                          <a:pt x="27" y="1"/>
                          <a:pt x="27" y="1"/>
                          <a:pt x="27" y="1"/>
                        </a:cubicBezTo>
                        <a:cubicBezTo>
                          <a:pt x="21" y="2"/>
                          <a:pt x="21" y="2"/>
                          <a:pt x="21" y="2"/>
                        </a:cubicBezTo>
                        <a:cubicBezTo>
                          <a:pt x="21" y="6"/>
                          <a:pt x="21" y="6"/>
                          <a:pt x="21" y="6"/>
                        </a:cubicBez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7" name="Freeform 378"/>
                  <p:cNvSpPr>
                    <a:spLocks/>
                  </p:cNvSpPr>
                  <p:nvPr/>
                </p:nvSpPr>
                <p:spPr bwMode="auto">
                  <a:xfrm>
                    <a:off x="5256694" y="3674146"/>
                    <a:ext cx="365316" cy="371862"/>
                  </a:xfrm>
                  <a:custGeom>
                    <a:avLst/>
                    <a:gdLst>
                      <a:gd name="T0" fmla="*/ 2147483647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2147483647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0 h 45"/>
                      <a:gd name="T30" fmla="*/ 2147483647 w 47"/>
                      <a:gd name="T31" fmla="*/ 0 h 45"/>
                      <a:gd name="T32" fmla="*/ 2147483647 w 47"/>
                      <a:gd name="T33" fmla="*/ 2147483647 h 45"/>
                      <a:gd name="T34" fmla="*/ 2147483647 w 47"/>
                      <a:gd name="T35" fmla="*/ 2147483647 h 45"/>
                      <a:gd name="T36" fmla="*/ 2147483647 w 47"/>
                      <a:gd name="T37" fmla="*/ 2147483647 h 45"/>
                      <a:gd name="T38" fmla="*/ 2147483647 w 47"/>
                      <a:gd name="T39" fmla="*/ 2147483647 h 45"/>
                      <a:gd name="T40" fmla="*/ 2147483647 w 47"/>
                      <a:gd name="T41" fmla="*/ 2147483647 h 45"/>
                      <a:gd name="T42" fmla="*/ 2147483647 w 47"/>
                      <a:gd name="T43" fmla="*/ 2147483647 h 45"/>
                      <a:gd name="T44" fmla="*/ 2147483647 w 47"/>
                      <a:gd name="T45" fmla="*/ 2147483647 h 45"/>
                      <a:gd name="T46" fmla="*/ 0 w 47"/>
                      <a:gd name="T47" fmla="*/ 2147483647 h 45"/>
                      <a:gd name="T48" fmla="*/ 2147483647 w 47"/>
                      <a:gd name="T49" fmla="*/ 2147483647 h 45"/>
                      <a:gd name="T50" fmla="*/ 2147483647 w 47"/>
                      <a:gd name="T51" fmla="*/ 2147483647 h 45"/>
                      <a:gd name="T52" fmla="*/ 2147483647 w 47"/>
                      <a:gd name="T53" fmla="*/ 2147483647 h 45"/>
                      <a:gd name="T54" fmla="*/ 2147483647 w 47"/>
                      <a:gd name="T55" fmla="*/ 2147483647 h 45"/>
                      <a:gd name="T56" fmla="*/ 2147483647 w 47"/>
                      <a:gd name="T57" fmla="*/ 2147483647 h 45"/>
                      <a:gd name="T58" fmla="*/ 2147483647 w 47"/>
                      <a:gd name="T59" fmla="*/ 2147483647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7" h="45">
                        <a:moveTo>
                          <a:pt x="22" y="45"/>
                        </a:moveTo>
                        <a:cubicBezTo>
                          <a:pt x="23" y="45"/>
                          <a:pt x="24" y="44"/>
                          <a:pt x="24" y="44"/>
                        </a:cubicBezTo>
                        <a:cubicBezTo>
                          <a:pt x="27" y="45"/>
                          <a:pt x="27" y="45"/>
                          <a:pt x="27" y="45"/>
                        </a:cubicBezTo>
                        <a:cubicBezTo>
                          <a:pt x="29" y="45"/>
                          <a:pt x="29" y="45"/>
                          <a:pt x="29" y="45"/>
                        </a:cubicBezTo>
                        <a:cubicBezTo>
                          <a:pt x="32" y="43"/>
                          <a:pt x="32" y="43"/>
                          <a:pt x="32" y="43"/>
                        </a:cubicBezTo>
                        <a:cubicBezTo>
                          <a:pt x="39" y="41"/>
                          <a:pt x="39" y="41"/>
                          <a:pt x="39" y="41"/>
                        </a:cubicBezTo>
                        <a:cubicBezTo>
                          <a:pt x="47" y="32"/>
                          <a:pt x="47" y="32"/>
                          <a:pt x="47" y="32"/>
                        </a:cubicBezTo>
                        <a:cubicBezTo>
                          <a:pt x="40" y="31"/>
                          <a:pt x="40" y="31"/>
                          <a:pt x="40" y="31"/>
                        </a:cubicBezTo>
                        <a:cubicBezTo>
                          <a:pt x="33" y="27"/>
                          <a:pt x="33" y="27"/>
                          <a:pt x="33" y="27"/>
                        </a:cubicBezTo>
                        <a:cubicBezTo>
                          <a:pt x="31" y="24"/>
                          <a:pt x="31" y="24"/>
                          <a:pt x="31" y="24"/>
                        </a:cubicBezTo>
                        <a:cubicBezTo>
                          <a:pt x="34" y="22"/>
                          <a:pt x="34" y="22"/>
                          <a:pt x="34" y="22"/>
                        </a:cubicBezTo>
                        <a:cubicBezTo>
                          <a:pt x="33" y="20"/>
                          <a:pt x="33" y="20"/>
                          <a:pt x="33" y="20"/>
                        </a:cubicBezTo>
                        <a:cubicBezTo>
                          <a:pt x="25" y="8"/>
                          <a:pt x="25" y="8"/>
                          <a:pt x="25" y="8"/>
                        </a:cubicBezTo>
                        <a:cubicBezTo>
                          <a:pt x="20" y="6"/>
                          <a:pt x="20" y="6"/>
                          <a:pt x="20" y="6"/>
                        </a:cubicBezTo>
                        <a:cubicBezTo>
                          <a:pt x="17" y="0"/>
                          <a:pt x="17" y="0"/>
                          <a:pt x="17" y="0"/>
                        </a:cubicBezTo>
                        <a:cubicBezTo>
                          <a:pt x="17" y="0"/>
                          <a:pt x="17" y="0"/>
                          <a:pt x="17" y="0"/>
                        </a:cubicBezTo>
                        <a:cubicBezTo>
                          <a:pt x="15" y="1"/>
                          <a:pt x="15" y="1"/>
                          <a:pt x="15" y="1"/>
                        </a:cubicBezTo>
                        <a:cubicBezTo>
                          <a:pt x="12" y="3"/>
                          <a:pt x="12" y="3"/>
                          <a:pt x="12" y="3"/>
                        </a:cubicBezTo>
                        <a:cubicBezTo>
                          <a:pt x="11" y="14"/>
                          <a:pt x="11" y="14"/>
                          <a:pt x="11" y="14"/>
                        </a:cubicBezTo>
                        <a:cubicBezTo>
                          <a:pt x="8" y="20"/>
                          <a:pt x="8" y="20"/>
                          <a:pt x="8" y="20"/>
                        </a:cubicBezTo>
                        <a:cubicBezTo>
                          <a:pt x="4" y="24"/>
                          <a:pt x="4" y="24"/>
                          <a:pt x="4" y="24"/>
                        </a:cubicBezTo>
                        <a:cubicBezTo>
                          <a:pt x="3" y="30"/>
                          <a:pt x="3" y="30"/>
                          <a:pt x="3" y="30"/>
                        </a:cubicBezTo>
                        <a:cubicBezTo>
                          <a:pt x="1" y="30"/>
                          <a:pt x="1" y="30"/>
                          <a:pt x="1" y="30"/>
                        </a:cubicBezTo>
                        <a:cubicBezTo>
                          <a:pt x="0" y="33"/>
                          <a:pt x="0" y="33"/>
                          <a:pt x="0" y="33"/>
                        </a:cubicBezTo>
                        <a:cubicBezTo>
                          <a:pt x="4" y="36"/>
                          <a:pt x="4" y="36"/>
                          <a:pt x="4" y="36"/>
                        </a:cubicBezTo>
                        <a:cubicBezTo>
                          <a:pt x="7" y="39"/>
                          <a:pt x="7" y="39"/>
                          <a:pt x="7" y="39"/>
                        </a:cubicBezTo>
                        <a:cubicBezTo>
                          <a:pt x="9" y="41"/>
                          <a:pt x="9" y="41"/>
                          <a:pt x="9" y="41"/>
                        </a:cubicBezTo>
                        <a:cubicBezTo>
                          <a:pt x="9" y="42"/>
                          <a:pt x="9" y="42"/>
                          <a:pt x="9" y="42"/>
                        </a:cubicBezTo>
                        <a:cubicBezTo>
                          <a:pt x="12" y="43"/>
                          <a:pt x="12" y="43"/>
                          <a:pt x="12" y="43"/>
                        </a:cubicBezTo>
                        <a:cubicBezTo>
                          <a:pt x="12" y="43"/>
                          <a:pt x="21" y="45"/>
                          <a:pt x="22" y="45"/>
                        </a:cubicBez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8" name="Freeform 379"/>
                  <p:cNvSpPr>
                    <a:spLocks/>
                  </p:cNvSpPr>
                  <p:nvPr/>
                </p:nvSpPr>
                <p:spPr bwMode="auto">
                  <a:xfrm>
                    <a:off x="5280211" y="4019328"/>
                    <a:ext cx="202257" cy="246796"/>
                  </a:xfrm>
                  <a:custGeom>
                    <a:avLst/>
                    <a:gdLst>
                      <a:gd name="T0" fmla="*/ 2147483647 w 26"/>
                      <a:gd name="T1" fmla="*/ 2147483647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2147483647 h 30"/>
                      <a:gd name="T12" fmla="*/ 2147483647 w 26"/>
                      <a:gd name="T13" fmla="*/ 2147483647 h 30"/>
                      <a:gd name="T14" fmla="*/ 2147483647 w 26"/>
                      <a:gd name="T15" fmla="*/ 0 h 30"/>
                      <a:gd name="T16" fmla="*/ 2147483647 w 26"/>
                      <a:gd name="T17" fmla="*/ 2147483647 h 30"/>
                      <a:gd name="T18" fmla="*/ 2147483647 w 26"/>
                      <a:gd name="T19" fmla="*/ 2147483647 h 30"/>
                      <a:gd name="T20" fmla="*/ 0 w 26"/>
                      <a:gd name="T21" fmla="*/ 2147483647 h 30"/>
                      <a:gd name="T22" fmla="*/ 2147483647 w 26"/>
                      <a:gd name="T23" fmla="*/ 2147483647 h 30"/>
                      <a:gd name="T24" fmla="*/ 2147483647 w 26"/>
                      <a:gd name="T25" fmla="*/ 2147483647 h 30"/>
                      <a:gd name="T26" fmla="*/ 0 w 26"/>
                      <a:gd name="T27" fmla="*/ 2147483647 h 30"/>
                      <a:gd name="T28" fmla="*/ 2147483647 w 26"/>
                      <a:gd name="T29" fmla="*/ 2147483647 h 30"/>
                      <a:gd name="T30" fmla="*/ 2147483647 w 26"/>
                      <a:gd name="T31" fmla="*/ 2147483647 h 30"/>
                      <a:gd name="T32" fmla="*/ 2147483647 w 26"/>
                      <a:gd name="T33" fmla="*/ 2147483647 h 30"/>
                      <a:gd name="T34" fmla="*/ 2147483647 w 26"/>
                      <a:gd name="T35" fmla="*/ 2147483647 h 30"/>
                      <a:gd name="T36" fmla="*/ 2147483647 w 26"/>
                      <a:gd name="T37" fmla="*/ 2147483647 h 30"/>
                      <a:gd name="T38" fmla="*/ 2147483647 w 26"/>
                      <a:gd name="T39" fmla="*/ 2147483647 h 30"/>
                      <a:gd name="T40" fmla="*/ 2147483647 w 26"/>
                      <a:gd name="T41" fmla="*/ 2147483647 h 30"/>
                      <a:gd name="T42" fmla="*/ 2147483647 w 26"/>
                      <a:gd name="T43" fmla="*/ 2147483647 h 30"/>
                      <a:gd name="T44" fmla="*/ 2147483647 w 26"/>
                      <a:gd name="T45" fmla="*/ 2147483647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 h="30">
                        <a:moveTo>
                          <a:pt x="23" y="7"/>
                        </a:moveTo>
                        <a:cubicBezTo>
                          <a:pt x="26" y="4"/>
                          <a:pt x="26" y="4"/>
                          <a:pt x="26" y="4"/>
                        </a:cubicBezTo>
                        <a:cubicBezTo>
                          <a:pt x="26" y="3"/>
                          <a:pt x="26" y="3"/>
                          <a:pt x="26" y="3"/>
                        </a:cubicBezTo>
                        <a:cubicBezTo>
                          <a:pt x="24" y="3"/>
                          <a:pt x="24" y="3"/>
                          <a:pt x="24" y="3"/>
                        </a:cubicBezTo>
                        <a:cubicBezTo>
                          <a:pt x="21" y="2"/>
                          <a:pt x="21" y="2"/>
                          <a:pt x="21" y="2"/>
                        </a:cubicBezTo>
                        <a:cubicBezTo>
                          <a:pt x="21" y="2"/>
                          <a:pt x="20" y="3"/>
                          <a:pt x="19" y="3"/>
                        </a:cubicBezTo>
                        <a:cubicBezTo>
                          <a:pt x="18" y="3"/>
                          <a:pt x="9" y="1"/>
                          <a:pt x="9" y="1"/>
                        </a:cubicBezTo>
                        <a:cubicBezTo>
                          <a:pt x="6" y="0"/>
                          <a:pt x="6" y="0"/>
                          <a:pt x="6" y="0"/>
                        </a:cubicBezTo>
                        <a:cubicBezTo>
                          <a:pt x="6" y="1"/>
                          <a:pt x="6" y="1"/>
                          <a:pt x="6" y="1"/>
                        </a:cubicBezTo>
                        <a:cubicBezTo>
                          <a:pt x="3" y="1"/>
                          <a:pt x="3" y="1"/>
                          <a:pt x="3" y="1"/>
                        </a:cubicBezTo>
                        <a:cubicBezTo>
                          <a:pt x="0" y="3"/>
                          <a:pt x="0" y="3"/>
                          <a:pt x="0" y="3"/>
                        </a:cubicBezTo>
                        <a:cubicBezTo>
                          <a:pt x="2" y="5"/>
                          <a:pt x="2" y="5"/>
                          <a:pt x="2" y="5"/>
                        </a:cubicBezTo>
                        <a:cubicBezTo>
                          <a:pt x="2" y="9"/>
                          <a:pt x="2" y="9"/>
                          <a:pt x="2" y="9"/>
                        </a:cubicBezTo>
                        <a:cubicBezTo>
                          <a:pt x="0" y="13"/>
                          <a:pt x="0" y="13"/>
                          <a:pt x="0" y="13"/>
                        </a:cubicBezTo>
                        <a:cubicBezTo>
                          <a:pt x="1" y="19"/>
                          <a:pt x="1" y="19"/>
                          <a:pt x="1" y="19"/>
                        </a:cubicBezTo>
                        <a:cubicBezTo>
                          <a:pt x="12" y="24"/>
                          <a:pt x="12" y="24"/>
                          <a:pt x="12" y="24"/>
                        </a:cubicBezTo>
                        <a:cubicBezTo>
                          <a:pt x="12" y="27"/>
                          <a:pt x="12" y="27"/>
                          <a:pt x="12" y="27"/>
                        </a:cubicBezTo>
                        <a:cubicBezTo>
                          <a:pt x="17" y="30"/>
                          <a:pt x="17" y="30"/>
                          <a:pt x="17" y="30"/>
                        </a:cubicBezTo>
                        <a:cubicBezTo>
                          <a:pt x="17" y="29"/>
                          <a:pt x="18" y="29"/>
                          <a:pt x="18" y="29"/>
                        </a:cubicBezTo>
                        <a:cubicBezTo>
                          <a:pt x="22" y="23"/>
                          <a:pt x="22" y="23"/>
                          <a:pt x="22" y="23"/>
                        </a:cubicBezTo>
                        <a:cubicBezTo>
                          <a:pt x="25" y="20"/>
                          <a:pt x="25" y="20"/>
                          <a:pt x="25" y="20"/>
                        </a:cubicBezTo>
                        <a:cubicBezTo>
                          <a:pt x="23" y="17"/>
                          <a:pt x="23" y="17"/>
                          <a:pt x="23" y="17"/>
                        </a:cubicBezTo>
                        <a:lnTo>
                          <a:pt x="23" y="7"/>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59" name="Freeform 380"/>
                  <p:cNvSpPr>
                    <a:spLocks/>
                  </p:cNvSpPr>
                  <p:nvPr/>
                </p:nvSpPr>
                <p:spPr bwMode="auto">
                  <a:xfrm>
                    <a:off x="5062277" y="4552940"/>
                    <a:ext cx="186577" cy="188432"/>
                  </a:xfrm>
                  <a:custGeom>
                    <a:avLst/>
                    <a:gdLst>
                      <a:gd name="T0" fmla="*/ 2147483647 w 24"/>
                      <a:gd name="T1" fmla="*/ 2147483647 h 23"/>
                      <a:gd name="T2" fmla="*/ 2147483647 w 24"/>
                      <a:gd name="T3" fmla="*/ 2147483647 h 23"/>
                      <a:gd name="T4" fmla="*/ 2147483647 w 24"/>
                      <a:gd name="T5" fmla="*/ 2147483647 h 23"/>
                      <a:gd name="T6" fmla="*/ 0 w 24"/>
                      <a:gd name="T7" fmla="*/ 2147483647 h 23"/>
                      <a:gd name="T8" fmla="*/ 2147483647 w 24"/>
                      <a:gd name="T9" fmla="*/ 2147483647 h 23"/>
                      <a:gd name="T10" fmla="*/ 2147483647 w 24"/>
                      <a:gd name="T11" fmla="*/ 2147483647 h 23"/>
                      <a:gd name="T12" fmla="*/ 2147483647 w 24"/>
                      <a:gd name="T13" fmla="*/ 2147483647 h 23"/>
                      <a:gd name="T14" fmla="*/ 2147483647 w 24"/>
                      <a:gd name="T15" fmla="*/ 2147483647 h 23"/>
                      <a:gd name="T16" fmla="*/ 2147483647 w 24"/>
                      <a:gd name="T17" fmla="*/ 2147483647 h 23"/>
                      <a:gd name="T18" fmla="*/ 2147483647 w 24"/>
                      <a:gd name="T19" fmla="*/ 2147483647 h 23"/>
                      <a:gd name="T20" fmla="*/ 2147483647 w 24"/>
                      <a:gd name="T21" fmla="*/ 2147483647 h 23"/>
                      <a:gd name="T22" fmla="*/ 2147483647 w 24"/>
                      <a:gd name="T23" fmla="*/ 2147483647 h 23"/>
                      <a:gd name="T24" fmla="*/ 2147483647 w 24"/>
                      <a:gd name="T25" fmla="*/ 2147483647 h 23"/>
                      <a:gd name="T26" fmla="*/ 2147483647 w 24"/>
                      <a:gd name="T27" fmla="*/ 2147483647 h 23"/>
                      <a:gd name="T28" fmla="*/ 2147483647 w 24"/>
                      <a:gd name="T29" fmla="*/ 2147483647 h 23"/>
                      <a:gd name="T30" fmla="*/ 2147483647 w 24"/>
                      <a:gd name="T31" fmla="*/ 0 h 23"/>
                      <a:gd name="T32" fmla="*/ 2147483647 w 24"/>
                      <a:gd name="T33" fmla="*/ 2147483647 h 23"/>
                      <a:gd name="T34" fmla="*/ 2147483647 w 24"/>
                      <a:gd name="T35" fmla="*/ 2147483647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4" h="23">
                        <a:moveTo>
                          <a:pt x="9" y="5"/>
                        </a:moveTo>
                        <a:cubicBezTo>
                          <a:pt x="9" y="5"/>
                          <a:pt x="6" y="8"/>
                          <a:pt x="6" y="8"/>
                        </a:cubicBezTo>
                        <a:cubicBezTo>
                          <a:pt x="5" y="8"/>
                          <a:pt x="2" y="7"/>
                          <a:pt x="2" y="7"/>
                        </a:cubicBezTo>
                        <a:cubicBezTo>
                          <a:pt x="0" y="8"/>
                          <a:pt x="0" y="8"/>
                          <a:pt x="0" y="8"/>
                        </a:cubicBezTo>
                        <a:cubicBezTo>
                          <a:pt x="1" y="8"/>
                          <a:pt x="1" y="8"/>
                          <a:pt x="1" y="8"/>
                        </a:cubicBezTo>
                        <a:cubicBezTo>
                          <a:pt x="3" y="12"/>
                          <a:pt x="3" y="12"/>
                          <a:pt x="3" y="12"/>
                        </a:cubicBezTo>
                        <a:cubicBezTo>
                          <a:pt x="6" y="16"/>
                          <a:pt x="6" y="16"/>
                          <a:pt x="6" y="16"/>
                        </a:cubicBezTo>
                        <a:cubicBezTo>
                          <a:pt x="8" y="16"/>
                          <a:pt x="8" y="16"/>
                          <a:pt x="8" y="16"/>
                        </a:cubicBezTo>
                        <a:cubicBezTo>
                          <a:pt x="9" y="20"/>
                          <a:pt x="9" y="20"/>
                          <a:pt x="9" y="20"/>
                        </a:cubicBezTo>
                        <a:cubicBezTo>
                          <a:pt x="14" y="22"/>
                          <a:pt x="14" y="22"/>
                          <a:pt x="14" y="22"/>
                        </a:cubicBezTo>
                        <a:cubicBezTo>
                          <a:pt x="20" y="23"/>
                          <a:pt x="20" y="23"/>
                          <a:pt x="20" y="23"/>
                        </a:cubicBezTo>
                        <a:cubicBezTo>
                          <a:pt x="22" y="20"/>
                          <a:pt x="22" y="20"/>
                          <a:pt x="22" y="20"/>
                        </a:cubicBezTo>
                        <a:cubicBezTo>
                          <a:pt x="24" y="12"/>
                          <a:pt x="24" y="12"/>
                          <a:pt x="24" y="12"/>
                        </a:cubicBezTo>
                        <a:cubicBezTo>
                          <a:pt x="24" y="7"/>
                          <a:pt x="24" y="7"/>
                          <a:pt x="24" y="7"/>
                        </a:cubicBezTo>
                        <a:cubicBezTo>
                          <a:pt x="24" y="3"/>
                          <a:pt x="24" y="3"/>
                          <a:pt x="24" y="3"/>
                        </a:cubicBezTo>
                        <a:cubicBezTo>
                          <a:pt x="16" y="0"/>
                          <a:pt x="16" y="0"/>
                          <a:pt x="16" y="0"/>
                        </a:cubicBezTo>
                        <a:cubicBezTo>
                          <a:pt x="13" y="1"/>
                          <a:pt x="13" y="1"/>
                          <a:pt x="13" y="1"/>
                        </a:cubicBezTo>
                        <a:lnTo>
                          <a:pt x="9" y="5"/>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0" name="Freeform 381"/>
                  <p:cNvSpPr>
                    <a:spLocks/>
                  </p:cNvSpPr>
                  <p:nvPr/>
                </p:nvSpPr>
                <p:spPr bwMode="auto">
                  <a:xfrm>
                    <a:off x="4993291" y="4046008"/>
                    <a:ext cx="333958" cy="571966"/>
                  </a:xfrm>
                  <a:custGeom>
                    <a:avLst/>
                    <a:gdLst>
                      <a:gd name="T0" fmla="*/ 2147483647 w 43"/>
                      <a:gd name="T1" fmla="*/ 2147483647 h 70"/>
                      <a:gd name="T2" fmla="*/ 2147483647 w 43"/>
                      <a:gd name="T3" fmla="*/ 2147483647 h 70"/>
                      <a:gd name="T4" fmla="*/ 2147483647 w 43"/>
                      <a:gd name="T5" fmla="*/ 2147483647 h 70"/>
                      <a:gd name="T6" fmla="*/ 2147483647 w 43"/>
                      <a:gd name="T7" fmla="*/ 2147483647 h 70"/>
                      <a:gd name="T8" fmla="*/ 2147483647 w 43"/>
                      <a:gd name="T9" fmla="*/ 2147483647 h 70"/>
                      <a:gd name="T10" fmla="*/ 2147483647 w 43"/>
                      <a:gd name="T11" fmla="*/ 2147483647 h 70"/>
                      <a:gd name="T12" fmla="*/ 2147483647 w 43"/>
                      <a:gd name="T13" fmla="*/ 2147483647 h 70"/>
                      <a:gd name="T14" fmla="*/ 2147483647 w 43"/>
                      <a:gd name="T15" fmla="*/ 2147483647 h 70"/>
                      <a:gd name="T16" fmla="*/ 2147483647 w 43"/>
                      <a:gd name="T17" fmla="*/ 2147483647 h 70"/>
                      <a:gd name="T18" fmla="*/ 2147483647 w 43"/>
                      <a:gd name="T19" fmla="*/ 2147483647 h 70"/>
                      <a:gd name="T20" fmla="*/ 2147483647 w 43"/>
                      <a:gd name="T21" fmla="*/ 2147483647 h 70"/>
                      <a:gd name="T22" fmla="*/ 2147483647 w 43"/>
                      <a:gd name="T23" fmla="*/ 2147483647 h 70"/>
                      <a:gd name="T24" fmla="*/ 2147483647 w 43"/>
                      <a:gd name="T25" fmla="*/ 2147483647 h 70"/>
                      <a:gd name="T26" fmla="*/ 2147483647 w 43"/>
                      <a:gd name="T27" fmla="*/ 2147483647 h 70"/>
                      <a:gd name="T28" fmla="*/ 2147483647 w 43"/>
                      <a:gd name="T29" fmla="*/ 2147483647 h 70"/>
                      <a:gd name="T30" fmla="*/ 0 w 43"/>
                      <a:gd name="T31" fmla="*/ 2147483647 h 70"/>
                      <a:gd name="T32" fmla="*/ 0 w 43"/>
                      <a:gd name="T33" fmla="*/ 2147483647 h 70"/>
                      <a:gd name="T34" fmla="*/ 2147483647 w 43"/>
                      <a:gd name="T35" fmla="*/ 2147483647 h 70"/>
                      <a:gd name="T36" fmla="*/ 2147483647 w 43"/>
                      <a:gd name="T37" fmla="*/ 2147483647 h 70"/>
                      <a:gd name="T38" fmla="*/ 2147483647 w 43"/>
                      <a:gd name="T39" fmla="*/ 2147483647 h 70"/>
                      <a:gd name="T40" fmla="*/ 2147483647 w 43"/>
                      <a:gd name="T41" fmla="*/ 2147483647 h 70"/>
                      <a:gd name="T42" fmla="*/ 2147483647 w 43"/>
                      <a:gd name="T43" fmla="*/ 2147483647 h 70"/>
                      <a:gd name="T44" fmla="*/ 2147483647 w 43"/>
                      <a:gd name="T45" fmla="*/ 2147483647 h 70"/>
                      <a:gd name="T46" fmla="*/ 2147483647 w 43"/>
                      <a:gd name="T47" fmla="*/ 2147483647 h 70"/>
                      <a:gd name="T48" fmla="*/ 2147483647 w 43"/>
                      <a:gd name="T49" fmla="*/ 2147483647 h 70"/>
                      <a:gd name="T50" fmla="*/ 2147483647 w 43"/>
                      <a:gd name="T51" fmla="*/ 2147483647 h 70"/>
                      <a:gd name="T52" fmla="*/ 2147483647 w 43"/>
                      <a:gd name="T53" fmla="*/ 2147483647 h 70"/>
                      <a:gd name="T54" fmla="*/ 2147483647 w 43"/>
                      <a:gd name="T55" fmla="*/ 2147483647 h 70"/>
                      <a:gd name="T56" fmla="*/ 2147483647 w 43"/>
                      <a:gd name="T57" fmla="*/ 2147483647 h 70"/>
                      <a:gd name="T58" fmla="*/ 2147483647 w 43"/>
                      <a:gd name="T59" fmla="*/ 2147483647 h 70"/>
                      <a:gd name="T60" fmla="*/ 2147483647 w 43"/>
                      <a:gd name="T61" fmla="*/ 2147483647 h 70"/>
                      <a:gd name="T62" fmla="*/ 2147483647 w 43"/>
                      <a:gd name="T63" fmla="*/ 2147483647 h 70"/>
                      <a:gd name="T64" fmla="*/ 2147483647 w 43"/>
                      <a:gd name="T65" fmla="*/ 2147483647 h 70"/>
                      <a:gd name="T66" fmla="*/ 2147483647 w 43"/>
                      <a:gd name="T67" fmla="*/ 2147483647 h 70"/>
                      <a:gd name="T68" fmla="*/ 2147483647 w 43"/>
                      <a:gd name="T69" fmla="*/ 2147483647 h 70"/>
                      <a:gd name="T70" fmla="*/ 2147483647 w 43"/>
                      <a:gd name="T71" fmla="*/ 2147483647 h 70"/>
                      <a:gd name="T72" fmla="*/ 2147483647 w 43"/>
                      <a:gd name="T73" fmla="*/ 2147483647 h 70"/>
                      <a:gd name="T74" fmla="*/ 2147483647 w 43"/>
                      <a:gd name="T75" fmla="*/ 2147483647 h 70"/>
                      <a:gd name="T76" fmla="*/ 2147483647 w 43"/>
                      <a:gd name="T77" fmla="*/ 2147483647 h 70"/>
                      <a:gd name="T78" fmla="*/ 2147483647 w 43"/>
                      <a:gd name="T79" fmla="*/ 2147483647 h 70"/>
                      <a:gd name="T80" fmla="*/ 2147483647 w 43"/>
                      <a:gd name="T81" fmla="*/ 2147483647 h 70"/>
                      <a:gd name="T82" fmla="*/ 2147483647 w 43"/>
                      <a:gd name="T83" fmla="*/ 2147483647 h 70"/>
                      <a:gd name="T84" fmla="*/ 2147483647 w 43"/>
                      <a:gd name="T85" fmla="*/ 2147483647 h 70"/>
                      <a:gd name="T86" fmla="*/ 2147483647 w 43"/>
                      <a:gd name="T87" fmla="*/ 2147483647 h 70"/>
                      <a:gd name="T88" fmla="*/ 2147483647 w 43"/>
                      <a:gd name="T89" fmla="*/ 2147483647 h 70"/>
                      <a:gd name="T90" fmla="*/ 2147483647 w 43"/>
                      <a:gd name="T91" fmla="*/ 2147483647 h 70"/>
                      <a:gd name="T92" fmla="*/ 2147483647 w 43"/>
                      <a:gd name="T93" fmla="*/ 2147483647 h 70"/>
                      <a:gd name="T94" fmla="*/ 2147483647 w 43"/>
                      <a:gd name="T95" fmla="*/ 2147483647 h 70"/>
                      <a:gd name="T96" fmla="*/ 2147483647 w 43"/>
                      <a:gd name="T97" fmla="*/ 2147483647 h 70"/>
                      <a:gd name="T98" fmla="*/ 2147483647 w 43"/>
                      <a:gd name="T99" fmla="*/ 2147483647 h 70"/>
                      <a:gd name="T100" fmla="*/ 2147483647 w 43"/>
                      <a:gd name="T101" fmla="*/ 2147483647 h 70"/>
                      <a:gd name="T102" fmla="*/ 2147483647 w 43"/>
                      <a:gd name="T103" fmla="*/ 2147483647 h 70"/>
                      <a:gd name="T104" fmla="*/ 2147483647 w 43"/>
                      <a:gd name="T105" fmla="*/ 2147483647 h 70"/>
                      <a:gd name="T106" fmla="*/ 2147483647 w 43"/>
                      <a:gd name="T107" fmla="*/ 2147483647 h 70"/>
                      <a:gd name="T108" fmla="*/ 2147483647 w 43"/>
                      <a:gd name="T109" fmla="*/ 2147483647 h 70"/>
                      <a:gd name="T110" fmla="*/ 2147483647 w 43"/>
                      <a:gd name="T111" fmla="*/ 0 h 70"/>
                      <a:gd name="T112" fmla="*/ 2147483647 w 43"/>
                      <a:gd name="T113" fmla="*/ 0 h 70"/>
                      <a:gd name="T114" fmla="*/ 2147483647 w 43"/>
                      <a:gd name="T115" fmla="*/ 2147483647 h 70"/>
                      <a:gd name="T116" fmla="*/ 2147483647 w 43"/>
                      <a:gd name="T117" fmla="*/ 0 h 70"/>
                      <a:gd name="T118" fmla="*/ 2147483647 w 43"/>
                      <a:gd name="T119" fmla="*/ 2147483647 h 70"/>
                      <a:gd name="T120" fmla="*/ 2147483647 w 43"/>
                      <a:gd name="T121" fmla="*/ 2147483647 h 7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 h="70">
                        <a:moveTo>
                          <a:pt x="27" y="6"/>
                        </a:moveTo>
                        <a:cubicBezTo>
                          <a:pt x="23" y="13"/>
                          <a:pt x="23" y="13"/>
                          <a:pt x="23" y="13"/>
                        </a:cubicBezTo>
                        <a:cubicBezTo>
                          <a:pt x="21" y="20"/>
                          <a:pt x="21" y="20"/>
                          <a:pt x="21" y="20"/>
                        </a:cubicBezTo>
                        <a:cubicBezTo>
                          <a:pt x="22" y="26"/>
                          <a:pt x="22" y="26"/>
                          <a:pt x="22" y="26"/>
                        </a:cubicBezTo>
                        <a:cubicBezTo>
                          <a:pt x="23" y="32"/>
                          <a:pt x="23" y="32"/>
                          <a:pt x="23" y="32"/>
                        </a:cubicBezTo>
                        <a:cubicBezTo>
                          <a:pt x="25" y="38"/>
                          <a:pt x="25" y="38"/>
                          <a:pt x="25" y="38"/>
                        </a:cubicBezTo>
                        <a:cubicBezTo>
                          <a:pt x="22" y="39"/>
                          <a:pt x="22" y="39"/>
                          <a:pt x="22" y="39"/>
                        </a:cubicBezTo>
                        <a:cubicBezTo>
                          <a:pt x="21" y="45"/>
                          <a:pt x="21" y="45"/>
                          <a:pt x="21" y="45"/>
                        </a:cubicBezTo>
                        <a:cubicBezTo>
                          <a:pt x="20" y="48"/>
                          <a:pt x="20" y="48"/>
                          <a:pt x="20" y="48"/>
                        </a:cubicBezTo>
                        <a:cubicBezTo>
                          <a:pt x="23" y="52"/>
                          <a:pt x="23" y="52"/>
                          <a:pt x="23" y="52"/>
                        </a:cubicBezTo>
                        <a:cubicBezTo>
                          <a:pt x="23" y="54"/>
                          <a:pt x="23" y="54"/>
                          <a:pt x="23" y="54"/>
                        </a:cubicBezTo>
                        <a:cubicBezTo>
                          <a:pt x="17" y="51"/>
                          <a:pt x="17" y="51"/>
                          <a:pt x="17" y="51"/>
                        </a:cubicBezTo>
                        <a:cubicBezTo>
                          <a:pt x="11" y="48"/>
                          <a:pt x="11" y="48"/>
                          <a:pt x="11" y="48"/>
                        </a:cubicBezTo>
                        <a:cubicBezTo>
                          <a:pt x="6" y="48"/>
                          <a:pt x="6" y="48"/>
                          <a:pt x="6" y="48"/>
                        </a:cubicBezTo>
                        <a:cubicBezTo>
                          <a:pt x="6" y="52"/>
                          <a:pt x="6" y="52"/>
                          <a:pt x="6" y="52"/>
                        </a:cubicBezTo>
                        <a:cubicBezTo>
                          <a:pt x="0" y="53"/>
                          <a:pt x="0" y="53"/>
                          <a:pt x="0" y="53"/>
                        </a:cubicBezTo>
                        <a:cubicBezTo>
                          <a:pt x="0" y="64"/>
                          <a:pt x="0" y="64"/>
                          <a:pt x="0" y="64"/>
                        </a:cubicBezTo>
                        <a:cubicBezTo>
                          <a:pt x="2" y="68"/>
                          <a:pt x="2" y="68"/>
                          <a:pt x="2" y="68"/>
                        </a:cubicBezTo>
                        <a:cubicBezTo>
                          <a:pt x="6" y="68"/>
                          <a:pt x="6" y="68"/>
                          <a:pt x="6" y="68"/>
                        </a:cubicBezTo>
                        <a:cubicBezTo>
                          <a:pt x="8" y="69"/>
                          <a:pt x="8" y="69"/>
                          <a:pt x="8" y="69"/>
                        </a:cubicBezTo>
                        <a:cubicBezTo>
                          <a:pt x="7" y="69"/>
                          <a:pt x="7" y="69"/>
                          <a:pt x="7" y="69"/>
                        </a:cubicBezTo>
                        <a:cubicBezTo>
                          <a:pt x="9" y="70"/>
                          <a:pt x="9" y="70"/>
                          <a:pt x="9" y="70"/>
                        </a:cubicBezTo>
                        <a:cubicBezTo>
                          <a:pt x="11" y="69"/>
                          <a:pt x="11" y="69"/>
                          <a:pt x="11" y="69"/>
                        </a:cubicBezTo>
                        <a:cubicBezTo>
                          <a:pt x="11" y="69"/>
                          <a:pt x="14" y="70"/>
                          <a:pt x="15" y="70"/>
                        </a:cubicBezTo>
                        <a:cubicBezTo>
                          <a:pt x="15" y="70"/>
                          <a:pt x="18" y="67"/>
                          <a:pt x="18" y="67"/>
                        </a:cubicBezTo>
                        <a:cubicBezTo>
                          <a:pt x="22" y="63"/>
                          <a:pt x="22" y="63"/>
                          <a:pt x="22" y="63"/>
                        </a:cubicBezTo>
                        <a:cubicBezTo>
                          <a:pt x="25" y="62"/>
                          <a:pt x="25" y="62"/>
                          <a:pt x="25" y="62"/>
                        </a:cubicBezTo>
                        <a:cubicBezTo>
                          <a:pt x="24" y="62"/>
                          <a:pt x="24" y="62"/>
                          <a:pt x="24" y="62"/>
                        </a:cubicBezTo>
                        <a:cubicBezTo>
                          <a:pt x="24" y="61"/>
                          <a:pt x="24" y="61"/>
                          <a:pt x="24" y="61"/>
                        </a:cubicBezTo>
                        <a:cubicBezTo>
                          <a:pt x="33" y="57"/>
                          <a:pt x="33" y="57"/>
                          <a:pt x="33" y="57"/>
                        </a:cubicBezTo>
                        <a:cubicBezTo>
                          <a:pt x="37" y="59"/>
                          <a:pt x="37" y="59"/>
                          <a:pt x="37" y="59"/>
                        </a:cubicBezTo>
                        <a:cubicBezTo>
                          <a:pt x="39" y="62"/>
                          <a:pt x="39" y="62"/>
                          <a:pt x="39" y="62"/>
                        </a:cubicBezTo>
                        <a:cubicBezTo>
                          <a:pt x="40" y="64"/>
                          <a:pt x="40" y="64"/>
                          <a:pt x="40" y="64"/>
                        </a:cubicBezTo>
                        <a:cubicBezTo>
                          <a:pt x="43" y="62"/>
                          <a:pt x="43" y="62"/>
                          <a:pt x="43" y="62"/>
                        </a:cubicBezTo>
                        <a:cubicBezTo>
                          <a:pt x="43" y="59"/>
                          <a:pt x="43" y="59"/>
                          <a:pt x="43" y="59"/>
                        </a:cubicBezTo>
                        <a:cubicBezTo>
                          <a:pt x="40" y="54"/>
                          <a:pt x="40" y="54"/>
                          <a:pt x="40" y="54"/>
                        </a:cubicBezTo>
                        <a:cubicBezTo>
                          <a:pt x="40" y="49"/>
                          <a:pt x="40" y="49"/>
                          <a:pt x="40" y="49"/>
                        </a:cubicBezTo>
                        <a:cubicBezTo>
                          <a:pt x="41" y="49"/>
                          <a:pt x="41" y="49"/>
                          <a:pt x="41" y="49"/>
                        </a:cubicBezTo>
                        <a:cubicBezTo>
                          <a:pt x="39" y="44"/>
                          <a:pt x="39" y="44"/>
                          <a:pt x="39" y="44"/>
                        </a:cubicBezTo>
                        <a:cubicBezTo>
                          <a:pt x="38" y="42"/>
                          <a:pt x="38" y="42"/>
                          <a:pt x="38" y="42"/>
                        </a:cubicBezTo>
                        <a:cubicBezTo>
                          <a:pt x="38" y="42"/>
                          <a:pt x="33" y="41"/>
                          <a:pt x="33" y="41"/>
                        </a:cubicBezTo>
                        <a:cubicBezTo>
                          <a:pt x="32" y="41"/>
                          <a:pt x="28" y="39"/>
                          <a:pt x="28" y="39"/>
                        </a:cubicBezTo>
                        <a:cubicBezTo>
                          <a:pt x="26" y="34"/>
                          <a:pt x="26" y="34"/>
                          <a:pt x="26" y="34"/>
                        </a:cubicBezTo>
                        <a:cubicBezTo>
                          <a:pt x="24" y="26"/>
                          <a:pt x="24" y="26"/>
                          <a:pt x="24" y="26"/>
                        </a:cubicBezTo>
                        <a:cubicBezTo>
                          <a:pt x="26" y="23"/>
                          <a:pt x="26" y="23"/>
                          <a:pt x="26" y="23"/>
                        </a:cubicBezTo>
                        <a:cubicBezTo>
                          <a:pt x="25" y="16"/>
                          <a:pt x="25" y="16"/>
                          <a:pt x="25" y="16"/>
                        </a:cubicBezTo>
                        <a:cubicBezTo>
                          <a:pt x="30" y="16"/>
                          <a:pt x="30" y="16"/>
                          <a:pt x="30" y="16"/>
                        </a:cubicBezTo>
                        <a:cubicBezTo>
                          <a:pt x="32" y="20"/>
                          <a:pt x="32" y="20"/>
                          <a:pt x="32" y="20"/>
                        </a:cubicBezTo>
                        <a:cubicBezTo>
                          <a:pt x="36" y="20"/>
                          <a:pt x="36" y="20"/>
                          <a:pt x="36" y="20"/>
                        </a:cubicBezTo>
                        <a:cubicBezTo>
                          <a:pt x="36" y="17"/>
                          <a:pt x="36" y="17"/>
                          <a:pt x="36" y="17"/>
                        </a:cubicBezTo>
                        <a:cubicBezTo>
                          <a:pt x="37" y="15"/>
                          <a:pt x="37" y="15"/>
                          <a:pt x="37" y="15"/>
                        </a:cubicBezTo>
                        <a:cubicBezTo>
                          <a:pt x="38" y="16"/>
                          <a:pt x="38" y="16"/>
                          <a:pt x="38" y="16"/>
                        </a:cubicBezTo>
                        <a:cubicBezTo>
                          <a:pt x="37" y="10"/>
                          <a:pt x="37" y="10"/>
                          <a:pt x="37" y="10"/>
                        </a:cubicBezTo>
                        <a:cubicBezTo>
                          <a:pt x="39" y="6"/>
                          <a:pt x="39" y="6"/>
                          <a:pt x="39" y="6"/>
                        </a:cubicBezTo>
                        <a:cubicBezTo>
                          <a:pt x="39" y="2"/>
                          <a:pt x="39" y="2"/>
                          <a:pt x="39" y="2"/>
                        </a:cubicBezTo>
                        <a:cubicBezTo>
                          <a:pt x="37" y="0"/>
                          <a:pt x="37" y="0"/>
                          <a:pt x="37" y="0"/>
                        </a:cubicBezTo>
                        <a:cubicBezTo>
                          <a:pt x="35" y="0"/>
                          <a:pt x="35" y="0"/>
                          <a:pt x="35" y="0"/>
                        </a:cubicBezTo>
                        <a:cubicBezTo>
                          <a:pt x="28" y="1"/>
                          <a:pt x="28" y="1"/>
                          <a:pt x="28" y="1"/>
                        </a:cubicBezTo>
                        <a:cubicBezTo>
                          <a:pt x="27" y="0"/>
                          <a:pt x="27" y="0"/>
                          <a:pt x="27" y="0"/>
                        </a:cubicBezTo>
                        <a:cubicBezTo>
                          <a:pt x="27" y="5"/>
                          <a:pt x="27" y="5"/>
                          <a:pt x="27" y="5"/>
                        </a:cubicBezTo>
                        <a:lnTo>
                          <a:pt x="27" y="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1" name="Freeform 382"/>
                  <p:cNvSpPr>
                    <a:spLocks/>
                  </p:cNvSpPr>
                  <p:nvPr/>
                </p:nvSpPr>
                <p:spPr bwMode="auto">
                  <a:xfrm>
                    <a:off x="4328509" y="3749186"/>
                    <a:ext cx="185010" cy="148411"/>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2147483647 w 144"/>
                      <a:gd name="T39" fmla="*/ 2147483647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2" name="Freeform 383"/>
                  <p:cNvSpPr>
                    <a:spLocks/>
                  </p:cNvSpPr>
                  <p:nvPr/>
                </p:nvSpPr>
                <p:spPr bwMode="auto">
                  <a:xfrm>
                    <a:off x="4328509" y="3749186"/>
                    <a:ext cx="185010" cy="148411"/>
                  </a:xfrm>
                  <a:custGeom>
                    <a:avLst/>
                    <a:gdLst>
                      <a:gd name="T0" fmla="*/ 2147483647 w 144"/>
                      <a:gd name="T1" fmla="*/ 2147483647 h 109"/>
                      <a:gd name="T2" fmla="*/ 2147483647 w 144"/>
                      <a:gd name="T3" fmla="*/ 2147483647 h 109"/>
                      <a:gd name="T4" fmla="*/ 2147483647 w 144"/>
                      <a:gd name="T5" fmla="*/ 2147483647 h 109"/>
                      <a:gd name="T6" fmla="*/ 2147483647 w 144"/>
                      <a:gd name="T7" fmla="*/ 2147483647 h 109"/>
                      <a:gd name="T8" fmla="*/ 2147483647 w 144"/>
                      <a:gd name="T9" fmla="*/ 2147483647 h 109"/>
                      <a:gd name="T10" fmla="*/ 2147483647 w 144"/>
                      <a:gd name="T11" fmla="*/ 2147483647 h 109"/>
                      <a:gd name="T12" fmla="*/ 2147483647 w 144"/>
                      <a:gd name="T13" fmla="*/ 0 h 109"/>
                      <a:gd name="T14" fmla="*/ 2147483647 w 144"/>
                      <a:gd name="T15" fmla="*/ 0 h 109"/>
                      <a:gd name="T16" fmla="*/ 2147483647 w 144"/>
                      <a:gd name="T17" fmla="*/ 2147483647 h 109"/>
                      <a:gd name="T18" fmla="*/ 2147483647 w 144"/>
                      <a:gd name="T19" fmla="*/ 2147483647 h 109"/>
                      <a:gd name="T20" fmla="*/ 2147483647 w 144"/>
                      <a:gd name="T21" fmla="*/ 2147483647 h 109"/>
                      <a:gd name="T22" fmla="*/ 0 w 144"/>
                      <a:gd name="T23" fmla="*/ 2147483647 h 109"/>
                      <a:gd name="T24" fmla="*/ 0 w 144"/>
                      <a:gd name="T25" fmla="*/ 2147483647 h 109"/>
                      <a:gd name="T26" fmla="*/ 2147483647 w 144"/>
                      <a:gd name="T27" fmla="*/ 2147483647 h 109"/>
                      <a:gd name="T28" fmla="*/ 2147483647 w 144"/>
                      <a:gd name="T29" fmla="*/ 2147483647 h 109"/>
                      <a:gd name="T30" fmla="*/ 2147483647 w 144"/>
                      <a:gd name="T31" fmla="*/ 2147483647 h 109"/>
                      <a:gd name="T32" fmla="*/ 2147483647 w 144"/>
                      <a:gd name="T33" fmla="*/ 2147483647 h 109"/>
                      <a:gd name="T34" fmla="*/ 2147483647 w 144"/>
                      <a:gd name="T35" fmla="*/ 2147483647 h 109"/>
                      <a:gd name="T36" fmla="*/ 2147483647 w 144"/>
                      <a:gd name="T37" fmla="*/ 2147483647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3" name="Freeform 384"/>
                  <p:cNvSpPr>
                    <a:spLocks/>
                  </p:cNvSpPr>
                  <p:nvPr/>
                </p:nvSpPr>
                <p:spPr bwMode="auto">
                  <a:xfrm>
                    <a:off x="4450803" y="3857577"/>
                    <a:ext cx="23518" cy="6670"/>
                  </a:xfrm>
                  <a:custGeom>
                    <a:avLst/>
                    <a:gdLst>
                      <a:gd name="T0" fmla="*/ 0 w 18"/>
                      <a:gd name="T1" fmla="*/ 2147483647 h 6"/>
                      <a:gd name="T2" fmla="*/ 2147483647 w 18"/>
                      <a:gd name="T3" fmla="*/ 2147483647 h 6"/>
                      <a:gd name="T4" fmla="*/ 2147483647 w 18"/>
                      <a:gd name="T5" fmla="*/ 0 h 6"/>
                      <a:gd name="T6" fmla="*/ 0 w 18"/>
                      <a:gd name="T7" fmla="*/ 2147483647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4" name="Freeform 385"/>
                  <p:cNvSpPr>
                    <a:spLocks/>
                  </p:cNvSpPr>
                  <p:nvPr/>
                </p:nvSpPr>
                <p:spPr bwMode="auto">
                  <a:xfrm>
                    <a:off x="4450803" y="3857577"/>
                    <a:ext cx="23518" cy="6670"/>
                  </a:xfrm>
                  <a:custGeom>
                    <a:avLst/>
                    <a:gdLst>
                      <a:gd name="T0" fmla="*/ 0 w 18"/>
                      <a:gd name="T1" fmla="*/ 2147483647 h 6"/>
                      <a:gd name="T2" fmla="*/ 2147483647 w 18"/>
                      <a:gd name="T3" fmla="*/ 2147483647 h 6"/>
                      <a:gd name="T4" fmla="*/ 2147483647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5" name="Freeform 386"/>
                  <p:cNvSpPr>
                    <a:spLocks/>
                  </p:cNvSpPr>
                  <p:nvPr/>
                </p:nvSpPr>
                <p:spPr bwMode="auto">
                  <a:xfrm>
                    <a:off x="4373977" y="3864246"/>
                    <a:ext cx="100345" cy="138406"/>
                  </a:xfrm>
                  <a:custGeom>
                    <a:avLst/>
                    <a:gdLst>
                      <a:gd name="T0" fmla="*/ 2147483647 w 78"/>
                      <a:gd name="T1" fmla="*/ 2147483647 h 102"/>
                      <a:gd name="T2" fmla="*/ 2147483647 w 78"/>
                      <a:gd name="T3" fmla="*/ 0 h 102"/>
                      <a:gd name="T4" fmla="*/ 2147483647 w 78"/>
                      <a:gd name="T5" fmla="*/ 0 h 102"/>
                      <a:gd name="T6" fmla="*/ 2147483647 w 78"/>
                      <a:gd name="T7" fmla="*/ 0 h 102"/>
                      <a:gd name="T8" fmla="*/ 0 w 78"/>
                      <a:gd name="T9" fmla="*/ 2147483647 h 102"/>
                      <a:gd name="T10" fmla="*/ 2147483647 w 78"/>
                      <a:gd name="T11" fmla="*/ 2147483647 h 102"/>
                      <a:gd name="T12" fmla="*/ 0 w 78"/>
                      <a:gd name="T13" fmla="*/ 2147483647 h 102"/>
                      <a:gd name="T14" fmla="*/ 0 w 78"/>
                      <a:gd name="T15" fmla="*/ 2147483647 h 102"/>
                      <a:gd name="T16" fmla="*/ 2147483647 w 78"/>
                      <a:gd name="T17" fmla="*/ 2147483647 h 102"/>
                      <a:gd name="T18" fmla="*/ 2147483647 w 78"/>
                      <a:gd name="T19" fmla="*/ 2147483647 h 102"/>
                      <a:gd name="T20" fmla="*/ 2147483647 w 78"/>
                      <a:gd name="T21" fmla="*/ 2147483647 h 102"/>
                      <a:gd name="T22" fmla="*/ 2147483647 w 78"/>
                      <a:gd name="T23" fmla="*/ 2147483647 h 102"/>
                      <a:gd name="T24" fmla="*/ 2147483647 w 78"/>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6" name="Freeform 387"/>
                  <p:cNvSpPr>
                    <a:spLocks/>
                  </p:cNvSpPr>
                  <p:nvPr/>
                </p:nvSpPr>
                <p:spPr bwMode="auto">
                  <a:xfrm>
                    <a:off x="4522926" y="3757523"/>
                    <a:ext cx="293193" cy="280147"/>
                  </a:xfrm>
                  <a:custGeom>
                    <a:avLst/>
                    <a:gdLst>
                      <a:gd name="T0" fmla="*/ 2147483647 w 228"/>
                      <a:gd name="T1" fmla="*/ 2147483647 h 205"/>
                      <a:gd name="T2" fmla="*/ 2147483647 w 228"/>
                      <a:gd name="T3" fmla="*/ 2147483647 h 205"/>
                      <a:gd name="T4" fmla="*/ 2147483647 w 228"/>
                      <a:gd name="T5" fmla="*/ 2147483647 h 205"/>
                      <a:gd name="T6" fmla="*/ 2147483647 w 228"/>
                      <a:gd name="T7" fmla="*/ 2147483647 h 205"/>
                      <a:gd name="T8" fmla="*/ 2147483647 w 228"/>
                      <a:gd name="T9" fmla="*/ 2147483647 h 205"/>
                      <a:gd name="T10" fmla="*/ 2147483647 w 228"/>
                      <a:gd name="T11" fmla="*/ 2147483647 h 205"/>
                      <a:gd name="T12" fmla="*/ 2147483647 w 228"/>
                      <a:gd name="T13" fmla="*/ 2147483647 h 205"/>
                      <a:gd name="T14" fmla="*/ 2147483647 w 228"/>
                      <a:gd name="T15" fmla="*/ 2147483647 h 205"/>
                      <a:gd name="T16" fmla="*/ 2147483647 w 228"/>
                      <a:gd name="T17" fmla="*/ 2147483647 h 205"/>
                      <a:gd name="T18" fmla="*/ 2147483647 w 228"/>
                      <a:gd name="T19" fmla="*/ 0 h 205"/>
                      <a:gd name="T20" fmla="*/ 2147483647 w 228"/>
                      <a:gd name="T21" fmla="*/ 2147483647 h 205"/>
                      <a:gd name="T22" fmla="*/ 2147483647 w 228"/>
                      <a:gd name="T23" fmla="*/ 2147483647 h 205"/>
                      <a:gd name="T24" fmla="*/ 2147483647 w 228"/>
                      <a:gd name="T25" fmla="*/ 2147483647 h 205"/>
                      <a:gd name="T26" fmla="*/ 2147483647 w 228"/>
                      <a:gd name="T27" fmla="*/ 2147483647 h 205"/>
                      <a:gd name="T28" fmla="*/ 2147483647 w 228"/>
                      <a:gd name="T29" fmla="*/ 2147483647 h 205"/>
                      <a:gd name="T30" fmla="*/ 2147483647 w 228"/>
                      <a:gd name="T31" fmla="*/ 2147483647 h 205"/>
                      <a:gd name="T32" fmla="*/ 2147483647 w 228"/>
                      <a:gd name="T33" fmla="*/ 2147483647 h 205"/>
                      <a:gd name="T34" fmla="*/ 2147483647 w 228"/>
                      <a:gd name="T35" fmla="*/ 2147483647 h 205"/>
                      <a:gd name="T36" fmla="*/ 2147483647 w 228"/>
                      <a:gd name="T37" fmla="*/ 2147483647 h 205"/>
                      <a:gd name="T38" fmla="*/ 0 w 228"/>
                      <a:gd name="T39" fmla="*/ 2147483647 h 205"/>
                      <a:gd name="T40" fmla="*/ 0 w 228"/>
                      <a:gd name="T41" fmla="*/ 2147483647 h 205"/>
                      <a:gd name="T42" fmla="*/ 2147483647 w 228"/>
                      <a:gd name="T43" fmla="*/ 2147483647 h 205"/>
                      <a:gd name="T44" fmla="*/ 2147483647 w 228"/>
                      <a:gd name="T45" fmla="*/ 2147483647 h 205"/>
                      <a:gd name="T46" fmla="*/ 2147483647 w 228"/>
                      <a:gd name="T47" fmla="*/ 2147483647 h 205"/>
                      <a:gd name="T48" fmla="*/ 2147483647 w 228"/>
                      <a:gd name="T49" fmla="*/ 2147483647 h 205"/>
                      <a:gd name="T50" fmla="*/ 2147483647 w 228"/>
                      <a:gd name="T51" fmla="*/ 2147483647 h 205"/>
                      <a:gd name="T52" fmla="*/ 2147483647 w 228"/>
                      <a:gd name="T53" fmla="*/ 2147483647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7" name="Freeform 388"/>
                  <p:cNvSpPr>
                    <a:spLocks/>
                  </p:cNvSpPr>
                  <p:nvPr/>
                </p:nvSpPr>
                <p:spPr bwMode="auto">
                  <a:xfrm>
                    <a:off x="4808281" y="3864246"/>
                    <a:ext cx="316712" cy="196770"/>
                  </a:xfrm>
                  <a:custGeom>
                    <a:avLst/>
                    <a:gdLst>
                      <a:gd name="T0" fmla="*/ 2147483647 w 246"/>
                      <a:gd name="T1" fmla="*/ 2147483647 h 144"/>
                      <a:gd name="T2" fmla="*/ 2147483647 w 246"/>
                      <a:gd name="T3" fmla="*/ 2147483647 h 144"/>
                      <a:gd name="T4" fmla="*/ 2147483647 w 246"/>
                      <a:gd name="T5" fmla="*/ 2147483647 h 144"/>
                      <a:gd name="T6" fmla="*/ 2147483647 w 246"/>
                      <a:gd name="T7" fmla="*/ 2147483647 h 144"/>
                      <a:gd name="T8" fmla="*/ 0 w 246"/>
                      <a:gd name="T9" fmla="*/ 2147483647 h 144"/>
                      <a:gd name="T10" fmla="*/ 2147483647 w 246"/>
                      <a:gd name="T11" fmla="*/ 2147483647 h 144"/>
                      <a:gd name="T12" fmla="*/ 2147483647 w 246"/>
                      <a:gd name="T13" fmla="*/ 2147483647 h 144"/>
                      <a:gd name="T14" fmla="*/ 2147483647 w 246"/>
                      <a:gd name="T15" fmla="*/ 2147483647 h 144"/>
                      <a:gd name="T16" fmla="*/ 2147483647 w 246"/>
                      <a:gd name="T17" fmla="*/ 2147483647 h 144"/>
                      <a:gd name="T18" fmla="*/ 2147483647 w 246"/>
                      <a:gd name="T19" fmla="*/ 2147483647 h 144"/>
                      <a:gd name="T20" fmla="*/ 2147483647 w 246"/>
                      <a:gd name="T21" fmla="*/ 2147483647 h 144"/>
                      <a:gd name="T22" fmla="*/ 2147483647 w 246"/>
                      <a:gd name="T23" fmla="*/ 2147483647 h 144"/>
                      <a:gd name="T24" fmla="*/ 2147483647 w 246"/>
                      <a:gd name="T25" fmla="*/ 2147483647 h 144"/>
                      <a:gd name="T26" fmla="*/ 2147483647 w 246"/>
                      <a:gd name="T27" fmla="*/ 2147483647 h 144"/>
                      <a:gd name="T28" fmla="*/ 2147483647 w 246"/>
                      <a:gd name="T29" fmla="*/ 2147483647 h 144"/>
                      <a:gd name="T30" fmla="*/ 2147483647 w 246"/>
                      <a:gd name="T31" fmla="*/ 2147483647 h 144"/>
                      <a:gd name="T32" fmla="*/ 2147483647 w 246"/>
                      <a:gd name="T33" fmla="*/ 2147483647 h 144"/>
                      <a:gd name="T34" fmla="*/ 2147483647 w 246"/>
                      <a:gd name="T35" fmla="*/ 2147483647 h 144"/>
                      <a:gd name="T36" fmla="*/ 2147483647 w 246"/>
                      <a:gd name="T37" fmla="*/ 2147483647 h 144"/>
                      <a:gd name="T38" fmla="*/ 2147483647 w 246"/>
                      <a:gd name="T39" fmla="*/ 0 h 144"/>
                      <a:gd name="T40" fmla="*/ 2147483647 w 246"/>
                      <a:gd name="T41" fmla="*/ 2147483647 h 144"/>
                      <a:gd name="T42" fmla="*/ 2147483647 w 246"/>
                      <a:gd name="T43" fmla="*/ 2147483647 h 1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46" h="144">
                        <a:moveTo>
                          <a:pt x="78" y="36"/>
                        </a:moveTo>
                        <a:lnTo>
                          <a:pt x="72" y="48"/>
                        </a:lnTo>
                        <a:lnTo>
                          <a:pt x="36" y="60"/>
                        </a:lnTo>
                        <a:lnTo>
                          <a:pt x="12" y="66"/>
                        </a:lnTo>
                        <a:lnTo>
                          <a:pt x="0" y="102"/>
                        </a:lnTo>
                        <a:lnTo>
                          <a:pt x="12" y="132"/>
                        </a:lnTo>
                        <a:lnTo>
                          <a:pt x="18" y="144"/>
                        </a:lnTo>
                        <a:lnTo>
                          <a:pt x="42" y="132"/>
                        </a:lnTo>
                        <a:lnTo>
                          <a:pt x="66" y="132"/>
                        </a:lnTo>
                        <a:lnTo>
                          <a:pt x="78" y="138"/>
                        </a:lnTo>
                        <a:lnTo>
                          <a:pt x="78" y="114"/>
                        </a:lnTo>
                        <a:lnTo>
                          <a:pt x="114" y="108"/>
                        </a:lnTo>
                        <a:lnTo>
                          <a:pt x="144" y="120"/>
                        </a:lnTo>
                        <a:lnTo>
                          <a:pt x="198" y="108"/>
                        </a:lnTo>
                        <a:lnTo>
                          <a:pt x="246" y="102"/>
                        </a:lnTo>
                        <a:lnTo>
                          <a:pt x="210" y="66"/>
                        </a:lnTo>
                        <a:lnTo>
                          <a:pt x="186" y="54"/>
                        </a:lnTo>
                        <a:lnTo>
                          <a:pt x="168" y="24"/>
                        </a:lnTo>
                        <a:lnTo>
                          <a:pt x="156" y="0"/>
                        </a:lnTo>
                        <a:lnTo>
                          <a:pt x="108" y="30"/>
                        </a:lnTo>
                        <a:lnTo>
                          <a:pt x="78" y="36"/>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8" name="Freeform 389"/>
                  <p:cNvSpPr>
                    <a:spLocks/>
                  </p:cNvSpPr>
                  <p:nvPr/>
                </p:nvSpPr>
                <p:spPr bwMode="auto">
                  <a:xfrm>
                    <a:off x="4715774" y="4046008"/>
                    <a:ext cx="192850" cy="245129"/>
                  </a:xfrm>
                  <a:custGeom>
                    <a:avLst/>
                    <a:gdLst>
                      <a:gd name="T0" fmla="*/ 2147483647 w 150"/>
                      <a:gd name="T1" fmla="*/ 2147483647 h 180"/>
                      <a:gd name="T2" fmla="*/ 2147483647 w 150"/>
                      <a:gd name="T3" fmla="*/ 2147483647 h 180"/>
                      <a:gd name="T4" fmla="*/ 2147483647 w 150"/>
                      <a:gd name="T5" fmla="*/ 2147483647 h 180"/>
                      <a:gd name="T6" fmla="*/ 2147483647 w 150"/>
                      <a:gd name="T7" fmla="*/ 2147483647 h 180"/>
                      <a:gd name="T8" fmla="*/ 2147483647 w 150"/>
                      <a:gd name="T9" fmla="*/ 2147483647 h 180"/>
                      <a:gd name="T10" fmla="*/ 2147483647 w 150"/>
                      <a:gd name="T11" fmla="*/ 0 h 180"/>
                      <a:gd name="T12" fmla="*/ 2147483647 w 150"/>
                      <a:gd name="T13" fmla="*/ 0 h 180"/>
                      <a:gd name="T14" fmla="*/ 2147483647 w 150"/>
                      <a:gd name="T15" fmla="*/ 2147483647 h 180"/>
                      <a:gd name="T16" fmla="*/ 2147483647 w 150"/>
                      <a:gd name="T17" fmla="*/ 2147483647 h 180"/>
                      <a:gd name="T18" fmla="*/ 2147483647 w 150"/>
                      <a:gd name="T19" fmla="*/ 2147483647 h 180"/>
                      <a:gd name="T20" fmla="*/ 2147483647 w 150"/>
                      <a:gd name="T21" fmla="*/ 2147483647 h 180"/>
                      <a:gd name="T22" fmla="*/ 2147483647 w 150"/>
                      <a:gd name="T23" fmla="*/ 2147483647 h 180"/>
                      <a:gd name="T24" fmla="*/ 2147483647 w 150"/>
                      <a:gd name="T25" fmla="*/ 2147483647 h 180"/>
                      <a:gd name="T26" fmla="*/ 2147483647 w 150"/>
                      <a:gd name="T27" fmla="*/ 2147483647 h 180"/>
                      <a:gd name="T28" fmla="*/ 2147483647 w 150"/>
                      <a:gd name="T29" fmla="*/ 2147483647 h 180"/>
                      <a:gd name="T30" fmla="*/ 2147483647 w 150"/>
                      <a:gd name="T31" fmla="*/ 2147483647 h 180"/>
                      <a:gd name="T32" fmla="*/ 2147483647 w 150"/>
                      <a:gd name="T33" fmla="*/ 2147483647 h 180"/>
                      <a:gd name="T34" fmla="*/ 0 w 150"/>
                      <a:gd name="T35" fmla="*/ 2147483647 h 180"/>
                      <a:gd name="T36" fmla="*/ 2147483647 w 150"/>
                      <a:gd name="T37" fmla="*/ 2147483647 h 180"/>
                      <a:gd name="T38" fmla="*/ 2147483647 w 150"/>
                      <a:gd name="T39" fmla="*/ 2147483647 h 180"/>
                      <a:gd name="T40" fmla="*/ 2147483647 w 150"/>
                      <a:gd name="T41" fmla="*/ 2147483647 h 180"/>
                      <a:gd name="T42" fmla="*/ 2147483647 w 150"/>
                      <a:gd name="T43" fmla="*/ 2147483647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50" h="180">
                        <a:moveTo>
                          <a:pt x="66" y="162"/>
                        </a:moveTo>
                        <a:lnTo>
                          <a:pt x="90" y="144"/>
                        </a:lnTo>
                        <a:lnTo>
                          <a:pt x="114" y="96"/>
                        </a:lnTo>
                        <a:lnTo>
                          <a:pt x="132" y="78"/>
                        </a:lnTo>
                        <a:lnTo>
                          <a:pt x="150" y="6"/>
                        </a:lnTo>
                        <a:lnTo>
                          <a:pt x="138" y="0"/>
                        </a:lnTo>
                        <a:lnTo>
                          <a:pt x="114" y="0"/>
                        </a:lnTo>
                        <a:lnTo>
                          <a:pt x="90" y="12"/>
                        </a:lnTo>
                        <a:lnTo>
                          <a:pt x="72" y="18"/>
                        </a:lnTo>
                        <a:lnTo>
                          <a:pt x="60" y="30"/>
                        </a:lnTo>
                        <a:lnTo>
                          <a:pt x="48" y="36"/>
                        </a:lnTo>
                        <a:lnTo>
                          <a:pt x="48" y="48"/>
                        </a:lnTo>
                        <a:lnTo>
                          <a:pt x="60" y="54"/>
                        </a:lnTo>
                        <a:lnTo>
                          <a:pt x="54" y="84"/>
                        </a:lnTo>
                        <a:lnTo>
                          <a:pt x="48" y="114"/>
                        </a:lnTo>
                        <a:lnTo>
                          <a:pt x="30" y="114"/>
                        </a:lnTo>
                        <a:lnTo>
                          <a:pt x="12" y="126"/>
                        </a:lnTo>
                        <a:lnTo>
                          <a:pt x="0" y="138"/>
                        </a:lnTo>
                        <a:lnTo>
                          <a:pt x="18" y="156"/>
                        </a:lnTo>
                        <a:lnTo>
                          <a:pt x="24" y="180"/>
                        </a:lnTo>
                        <a:lnTo>
                          <a:pt x="42" y="162"/>
                        </a:lnTo>
                        <a:lnTo>
                          <a:pt x="66" y="162"/>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69" name="Freeform 390"/>
                  <p:cNvSpPr>
                    <a:spLocks/>
                  </p:cNvSpPr>
                  <p:nvPr/>
                </p:nvSpPr>
                <p:spPr bwMode="auto">
                  <a:xfrm>
                    <a:off x="4676578" y="4096036"/>
                    <a:ext cx="116023" cy="136739"/>
                  </a:xfrm>
                  <a:custGeom>
                    <a:avLst/>
                    <a:gdLst>
                      <a:gd name="T0" fmla="*/ 2147483647 w 90"/>
                      <a:gd name="T1" fmla="*/ 2147483647 h 102"/>
                      <a:gd name="T2" fmla="*/ 2147483647 w 90"/>
                      <a:gd name="T3" fmla="*/ 2147483647 h 102"/>
                      <a:gd name="T4" fmla="*/ 2147483647 w 90"/>
                      <a:gd name="T5" fmla="*/ 2147483647 h 102"/>
                      <a:gd name="T6" fmla="*/ 2147483647 w 90"/>
                      <a:gd name="T7" fmla="*/ 2147483647 h 102"/>
                      <a:gd name="T8" fmla="*/ 2147483647 w 90"/>
                      <a:gd name="T9" fmla="*/ 2147483647 h 102"/>
                      <a:gd name="T10" fmla="*/ 2147483647 w 90"/>
                      <a:gd name="T11" fmla="*/ 0 h 102"/>
                      <a:gd name="T12" fmla="*/ 2147483647 w 90"/>
                      <a:gd name="T13" fmla="*/ 0 h 102"/>
                      <a:gd name="T14" fmla="*/ 0 w 90"/>
                      <a:gd name="T15" fmla="*/ 0 h 102"/>
                      <a:gd name="T16" fmla="*/ 0 w 90"/>
                      <a:gd name="T17" fmla="*/ 2147483647 h 102"/>
                      <a:gd name="T18" fmla="*/ 0 w 90"/>
                      <a:gd name="T19" fmla="*/ 2147483647 h 102"/>
                      <a:gd name="T20" fmla="*/ 2147483647 w 90"/>
                      <a:gd name="T21" fmla="*/ 2147483647 h 102"/>
                      <a:gd name="T22" fmla="*/ 2147483647 w 90"/>
                      <a:gd name="T23" fmla="*/ 2147483647 h 102"/>
                      <a:gd name="T24" fmla="*/ 2147483647 w 90"/>
                      <a:gd name="T25" fmla="*/ 2147483647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102">
                        <a:moveTo>
                          <a:pt x="60" y="78"/>
                        </a:moveTo>
                        <a:lnTo>
                          <a:pt x="78" y="78"/>
                        </a:lnTo>
                        <a:lnTo>
                          <a:pt x="84" y="48"/>
                        </a:lnTo>
                        <a:lnTo>
                          <a:pt x="90" y="18"/>
                        </a:lnTo>
                        <a:lnTo>
                          <a:pt x="78" y="12"/>
                        </a:lnTo>
                        <a:lnTo>
                          <a:pt x="78" y="0"/>
                        </a:lnTo>
                        <a:lnTo>
                          <a:pt x="48" y="0"/>
                        </a:lnTo>
                        <a:lnTo>
                          <a:pt x="0" y="0"/>
                        </a:lnTo>
                        <a:lnTo>
                          <a:pt x="0" y="18"/>
                        </a:lnTo>
                        <a:lnTo>
                          <a:pt x="0" y="54"/>
                        </a:lnTo>
                        <a:lnTo>
                          <a:pt x="30" y="102"/>
                        </a:lnTo>
                        <a:lnTo>
                          <a:pt x="42" y="90"/>
                        </a:lnTo>
                        <a:lnTo>
                          <a:pt x="60" y="78"/>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0" name="Freeform 391"/>
                  <p:cNvSpPr>
                    <a:spLocks/>
                  </p:cNvSpPr>
                  <p:nvPr/>
                </p:nvSpPr>
                <p:spPr bwMode="auto">
                  <a:xfrm>
                    <a:off x="4645220" y="3824225"/>
                    <a:ext cx="185010" cy="271810"/>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2147483647 w 144"/>
                      <a:gd name="T43" fmla="*/ 2147483647 h 1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lnTo>
                          <a:pt x="144" y="17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1" name="Freeform 392"/>
                  <p:cNvSpPr>
                    <a:spLocks/>
                  </p:cNvSpPr>
                  <p:nvPr/>
                </p:nvSpPr>
                <p:spPr bwMode="auto">
                  <a:xfrm>
                    <a:off x="4645220" y="3824225"/>
                    <a:ext cx="185010" cy="271810"/>
                  </a:xfrm>
                  <a:custGeom>
                    <a:avLst/>
                    <a:gdLst>
                      <a:gd name="T0" fmla="*/ 2147483647 w 144"/>
                      <a:gd name="T1" fmla="*/ 2147483647 h 198"/>
                      <a:gd name="T2" fmla="*/ 2147483647 w 144"/>
                      <a:gd name="T3" fmla="*/ 2147483647 h 198"/>
                      <a:gd name="T4" fmla="*/ 2147483647 w 144"/>
                      <a:gd name="T5" fmla="*/ 2147483647 h 198"/>
                      <a:gd name="T6" fmla="*/ 2147483647 w 144"/>
                      <a:gd name="T7" fmla="*/ 2147483647 h 198"/>
                      <a:gd name="T8" fmla="*/ 2147483647 w 144"/>
                      <a:gd name="T9" fmla="*/ 2147483647 h 198"/>
                      <a:gd name="T10" fmla="*/ 2147483647 w 144"/>
                      <a:gd name="T11" fmla="*/ 2147483647 h 198"/>
                      <a:gd name="T12" fmla="*/ 2147483647 w 144"/>
                      <a:gd name="T13" fmla="*/ 2147483647 h 198"/>
                      <a:gd name="T14" fmla="*/ 2147483647 w 144"/>
                      <a:gd name="T15" fmla="*/ 2147483647 h 198"/>
                      <a:gd name="T16" fmla="*/ 2147483647 w 144"/>
                      <a:gd name="T17" fmla="*/ 0 h 198"/>
                      <a:gd name="T18" fmla="*/ 2147483647 w 144"/>
                      <a:gd name="T19" fmla="*/ 0 h 198"/>
                      <a:gd name="T20" fmla="*/ 2147483647 w 144"/>
                      <a:gd name="T21" fmla="*/ 2147483647 h 198"/>
                      <a:gd name="T22" fmla="*/ 2147483647 w 144"/>
                      <a:gd name="T23" fmla="*/ 2147483647 h 198"/>
                      <a:gd name="T24" fmla="*/ 2147483647 w 144"/>
                      <a:gd name="T25" fmla="*/ 2147483647 h 198"/>
                      <a:gd name="T26" fmla="*/ 2147483647 w 144"/>
                      <a:gd name="T27" fmla="*/ 2147483647 h 198"/>
                      <a:gd name="T28" fmla="*/ 2147483647 w 144"/>
                      <a:gd name="T29" fmla="*/ 2147483647 h 198"/>
                      <a:gd name="T30" fmla="*/ 2147483647 w 144"/>
                      <a:gd name="T31" fmla="*/ 2147483647 h 198"/>
                      <a:gd name="T32" fmla="*/ 0 w 144"/>
                      <a:gd name="T33" fmla="*/ 2147483647 h 198"/>
                      <a:gd name="T34" fmla="*/ 2147483647 w 144"/>
                      <a:gd name="T35" fmla="*/ 2147483647 h 198"/>
                      <a:gd name="T36" fmla="*/ 2147483647 w 144"/>
                      <a:gd name="T37" fmla="*/ 2147483647 h 198"/>
                      <a:gd name="T38" fmla="*/ 2147483647 w 144"/>
                      <a:gd name="T39" fmla="*/ 2147483647 h 198"/>
                      <a:gd name="T40" fmla="*/ 2147483647 w 144"/>
                      <a:gd name="T41" fmla="*/ 2147483647 h 1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4" h="198">
                        <a:moveTo>
                          <a:pt x="144" y="174"/>
                        </a:moveTo>
                        <a:lnTo>
                          <a:pt x="138" y="162"/>
                        </a:lnTo>
                        <a:lnTo>
                          <a:pt x="126" y="132"/>
                        </a:lnTo>
                        <a:lnTo>
                          <a:pt x="138" y="96"/>
                        </a:lnTo>
                        <a:lnTo>
                          <a:pt x="132" y="96"/>
                        </a:lnTo>
                        <a:lnTo>
                          <a:pt x="114" y="66"/>
                        </a:lnTo>
                        <a:lnTo>
                          <a:pt x="114" y="48"/>
                        </a:lnTo>
                        <a:lnTo>
                          <a:pt x="138" y="42"/>
                        </a:lnTo>
                        <a:lnTo>
                          <a:pt x="126" y="0"/>
                        </a:lnTo>
                        <a:lnTo>
                          <a:pt x="108" y="6"/>
                        </a:lnTo>
                        <a:lnTo>
                          <a:pt x="102" y="24"/>
                        </a:lnTo>
                        <a:lnTo>
                          <a:pt x="84" y="72"/>
                        </a:lnTo>
                        <a:lnTo>
                          <a:pt x="54" y="114"/>
                        </a:lnTo>
                        <a:lnTo>
                          <a:pt x="24" y="102"/>
                        </a:lnTo>
                        <a:lnTo>
                          <a:pt x="6" y="126"/>
                        </a:lnTo>
                        <a:lnTo>
                          <a:pt x="0" y="156"/>
                        </a:lnTo>
                        <a:lnTo>
                          <a:pt x="18" y="156"/>
                        </a:lnTo>
                        <a:lnTo>
                          <a:pt x="24" y="198"/>
                        </a:lnTo>
                        <a:lnTo>
                          <a:pt x="72" y="198"/>
                        </a:lnTo>
                        <a:lnTo>
                          <a:pt x="102" y="198"/>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2" name="Freeform 393"/>
                  <p:cNvSpPr>
                    <a:spLocks/>
                  </p:cNvSpPr>
                  <p:nvPr/>
                </p:nvSpPr>
                <p:spPr bwMode="auto">
                  <a:xfrm>
                    <a:off x="4474321" y="3814220"/>
                    <a:ext cx="62716" cy="165087"/>
                  </a:xfrm>
                  <a:custGeom>
                    <a:avLst/>
                    <a:gdLst>
                      <a:gd name="T0" fmla="*/ 2147483647 w 48"/>
                      <a:gd name="T1" fmla="*/ 2147483647 h 120"/>
                      <a:gd name="T2" fmla="*/ 2147483647 w 48"/>
                      <a:gd name="T3" fmla="*/ 2147483647 h 120"/>
                      <a:gd name="T4" fmla="*/ 2147483647 w 48"/>
                      <a:gd name="T5" fmla="*/ 2147483647 h 120"/>
                      <a:gd name="T6" fmla="*/ 2147483647 w 48"/>
                      <a:gd name="T7" fmla="*/ 2147483647 h 120"/>
                      <a:gd name="T8" fmla="*/ 2147483647 w 48"/>
                      <a:gd name="T9" fmla="*/ 0 h 120"/>
                      <a:gd name="T10" fmla="*/ 2147483647 w 48"/>
                      <a:gd name="T11" fmla="*/ 2147483647 h 120"/>
                      <a:gd name="T12" fmla="*/ 2147483647 w 48"/>
                      <a:gd name="T13" fmla="*/ 2147483647 h 120"/>
                      <a:gd name="T14" fmla="*/ 0 w 48"/>
                      <a:gd name="T15" fmla="*/ 2147483647 h 120"/>
                      <a:gd name="T16" fmla="*/ 0 w 48"/>
                      <a:gd name="T17" fmla="*/ 2147483647 h 120"/>
                      <a:gd name="T18" fmla="*/ 2147483647 w 48"/>
                      <a:gd name="T19" fmla="*/ 2147483647 h 120"/>
                      <a:gd name="T20" fmla="*/ 2147483647 w 48"/>
                      <a:gd name="T21" fmla="*/ 2147483647 h 120"/>
                      <a:gd name="T22" fmla="*/ 2147483647 w 48"/>
                      <a:gd name="T23" fmla="*/ 2147483647 h 120"/>
                      <a:gd name="T24" fmla="*/ 2147483647 w 48"/>
                      <a:gd name="T25" fmla="*/ 2147483647 h 120"/>
                      <a:gd name="T26" fmla="*/ 2147483647 w 48"/>
                      <a:gd name="T27" fmla="*/ 2147483647 h 120"/>
                      <a:gd name="T28" fmla="*/ 2147483647 w 48"/>
                      <a:gd name="T29" fmla="*/ 2147483647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3" name="Freeform 394"/>
                  <p:cNvSpPr>
                    <a:spLocks/>
                  </p:cNvSpPr>
                  <p:nvPr/>
                </p:nvSpPr>
                <p:spPr bwMode="auto">
                  <a:xfrm>
                    <a:off x="4450803" y="3857577"/>
                    <a:ext cx="54876" cy="130067"/>
                  </a:xfrm>
                  <a:custGeom>
                    <a:avLst/>
                    <a:gdLst>
                      <a:gd name="T0" fmla="*/ 2147483647 w 42"/>
                      <a:gd name="T1" fmla="*/ 2147483647 h 96"/>
                      <a:gd name="T2" fmla="*/ 2147483647 w 42"/>
                      <a:gd name="T3" fmla="*/ 0 h 96"/>
                      <a:gd name="T4" fmla="*/ 2147483647 w 42"/>
                      <a:gd name="T5" fmla="*/ 2147483647 h 96"/>
                      <a:gd name="T6" fmla="*/ 0 w 42"/>
                      <a:gd name="T7" fmla="*/ 2147483647 h 96"/>
                      <a:gd name="T8" fmla="*/ 0 w 42"/>
                      <a:gd name="T9" fmla="*/ 2147483647 h 96"/>
                      <a:gd name="T10" fmla="*/ 0 w 42"/>
                      <a:gd name="T11" fmla="*/ 2147483647 h 96"/>
                      <a:gd name="T12" fmla="*/ 2147483647 w 42"/>
                      <a:gd name="T13" fmla="*/ 2147483647 h 96"/>
                      <a:gd name="T14" fmla="*/ 2147483647 w 42"/>
                      <a:gd name="T15" fmla="*/ 2147483647 h 96"/>
                      <a:gd name="T16" fmla="*/ 2147483647 w 42"/>
                      <a:gd name="T17" fmla="*/ 2147483647 h 96"/>
                      <a:gd name="T18" fmla="*/ 2147483647 w 42"/>
                      <a:gd name="T19" fmla="*/ 2147483647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4" name="Freeform 395"/>
                  <p:cNvSpPr>
                    <a:spLocks/>
                  </p:cNvSpPr>
                  <p:nvPr/>
                </p:nvSpPr>
                <p:spPr bwMode="auto">
                  <a:xfrm>
                    <a:off x="4739294" y="4587959"/>
                    <a:ext cx="316712" cy="341847"/>
                  </a:xfrm>
                  <a:custGeom>
                    <a:avLst/>
                    <a:gdLst>
                      <a:gd name="T0" fmla="*/ 2147483647 w 246"/>
                      <a:gd name="T1" fmla="*/ 2147483647 h 252"/>
                      <a:gd name="T2" fmla="*/ 2147483647 w 246"/>
                      <a:gd name="T3" fmla="*/ 2147483647 h 252"/>
                      <a:gd name="T4" fmla="*/ 2147483647 w 246"/>
                      <a:gd name="T5" fmla="*/ 2147483647 h 252"/>
                      <a:gd name="T6" fmla="*/ 2147483647 w 246"/>
                      <a:gd name="T7" fmla="*/ 2147483647 h 252"/>
                      <a:gd name="T8" fmla="*/ 2147483647 w 246"/>
                      <a:gd name="T9" fmla="*/ 2147483647 h 252"/>
                      <a:gd name="T10" fmla="*/ 2147483647 w 246"/>
                      <a:gd name="T11" fmla="*/ 2147483647 h 252"/>
                      <a:gd name="T12" fmla="*/ 2147483647 w 246"/>
                      <a:gd name="T13" fmla="*/ 2147483647 h 252"/>
                      <a:gd name="T14" fmla="*/ 2147483647 w 246"/>
                      <a:gd name="T15" fmla="*/ 2147483647 h 252"/>
                      <a:gd name="T16" fmla="*/ 2147483647 w 246"/>
                      <a:gd name="T17" fmla="*/ 2147483647 h 252"/>
                      <a:gd name="T18" fmla="*/ 2147483647 w 246"/>
                      <a:gd name="T19" fmla="*/ 2147483647 h 252"/>
                      <a:gd name="T20" fmla="*/ 2147483647 w 246"/>
                      <a:gd name="T21" fmla="*/ 2147483647 h 252"/>
                      <a:gd name="T22" fmla="*/ 2147483647 w 246"/>
                      <a:gd name="T23" fmla="*/ 2147483647 h 252"/>
                      <a:gd name="T24" fmla="*/ 2147483647 w 246"/>
                      <a:gd name="T25" fmla="*/ 2147483647 h 252"/>
                      <a:gd name="T26" fmla="*/ 2147483647 w 246"/>
                      <a:gd name="T27" fmla="*/ 2147483647 h 252"/>
                      <a:gd name="T28" fmla="*/ 2147483647 w 246"/>
                      <a:gd name="T29" fmla="*/ 2147483647 h 252"/>
                      <a:gd name="T30" fmla="*/ 2147483647 w 246"/>
                      <a:gd name="T31" fmla="*/ 2147483647 h 252"/>
                      <a:gd name="T32" fmla="*/ 2147483647 w 246"/>
                      <a:gd name="T33" fmla="*/ 2147483647 h 252"/>
                      <a:gd name="T34" fmla="*/ 2147483647 w 246"/>
                      <a:gd name="T35" fmla="*/ 2147483647 h 252"/>
                      <a:gd name="T36" fmla="*/ 2147483647 w 246"/>
                      <a:gd name="T37" fmla="*/ 2147483647 h 252"/>
                      <a:gd name="T38" fmla="*/ 2147483647 w 246"/>
                      <a:gd name="T39" fmla="*/ 0 h 252"/>
                      <a:gd name="T40" fmla="*/ 2147483647 w 246"/>
                      <a:gd name="T41" fmla="*/ 2147483647 h 252"/>
                      <a:gd name="T42" fmla="*/ 0 w 246"/>
                      <a:gd name="T43" fmla="*/ 2147483647 h 252"/>
                      <a:gd name="T44" fmla="*/ 2147483647 w 246"/>
                      <a:gd name="T45" fmla="*/ 2147483647 h 252"/>
                      <a:gd name="T46" fmla="*/ 2147483647 w 246"/>
                      <a:gd name="T47" fmla="*/ 2147483647 h 252"/>
                      <a:gd name="T48" fmla="*/ 2147483647 w 246"/>
                      <a:gd name="T49" fmla="*/ 2147483647 h 252"/>
                      <a:gd name="T50" fmla="*/ 2147483647 w 246"/>
                      <a:gd name="T51" fmla="*/ 2147483647 h 252"/>
                      <a:gd name="T52" fmla="*/ 2147483647 w 246"/>
                      <a:gd name="T53" fmla="*/ 2147483647 h 252"/>
                      <a:gd name="T54" fmla="*/ 2147483647 w 246"/>
                      <a:gd name="T55" fmla="*/ 2147483647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5" name="Freeform 396"/>
                  <p:cNvSpPr>
                    <a:spLocks/>
                  </p:cNvSpPr>
                  <p:nvPr/>
                </p:nvSpPr>
                <p:spPr bwMode="auto">
                  <a:xfrm>
                    <a:off x="4474321" y="3650802"/>
                    <a:ext cx="78394" cy="98385"/>
                  </a:xfrm>
                  <a:custGeom>
                    <a:avLst/>
                    <a:gdLst>
                      <a:gd name="T0" fmla="*/ 0 w 10"/>
                      <a:gd name="T1" fmla="*/ 2147483647 h 12"/>
                      <a:gd name="T2" fmla="*/ 2147483647 w 10"/>
                      <a:gd name="T3" fmla="*/ 2147483647 h 12"/>
                      <a:gd name="T4" fmla="*/ 2147483647 w 10"/>
                      <a:gd name="T5" fmla="*/ 2147483647 h 12"/>
                      <a:gd name="T6" fmla="*/ 2147483647 w 10"/>
                      <a:gd name="T7" fmla="*/ 2147483647 h 12"/>
                      <a:gd name="T8" fmla="*/ 2147483647 w 10"/>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2">
                        <a:moveTo>
                          <a:pt x="0" y="12"/>
                        </a:moveTo>
                        <a:cubicBezTo>
                          <a:pt x="4" y="11"/>
                          <a:pt x="4" y="11"/>
                          <a:pt x="4" y="11"/>
                        </a:cubicBezTo>
                        <a:cubicBezTo>
                          <a:pt x="9" y="10"/>
                          <a:pt x="9" y="10"/>
                          <a:pt x="9" y="10"/>
                        </a:cubicBezTo>
                        <a:cubicBezTo>
                          <a:pt x="9" y="10"/>
                          <a:pt x="10" y="8"/>
                          <a:pt x="10" y="8"/>
                        </a:cubicBezTo>
                        <a:cubicBezTo>
                          <a:pt x="10" y="7"/>
                          <a:pt x="10" y="0"/>
                          <a:pt x="10" y="0"/>
                        </a:cubicBez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6" name="Freeform 397"/>
                  <p:cNvSpPr>
                    <a:spLocks/>
                  </p:cNvSpPr>
                  <p:nvPr/>
                </p:nvSpPr>
                <p:spPr bwMode="auto">
                  <a:xfrm>
                    <a:off x="220664" y="1472992"/>
                    <a:ext cx="667917" cy="968841"/>
                  </a:xfrm>
                  <a:custGeom>
                    <a:avLst/>
                    <a:gdLst>
                      <a:gd name="T0" fmla="*/ 2147483647 w 516"/>
                      <a:gd name="T1" fmla="*/ 2147483647 h 709"/>
                      <a:gd name="T2" fmla="*/ 2147483647 w 516"/>
                      <a:gd name="T3" fmla="*/ 2147483647 h 709"/>
                      <a:gd name="T4" fmla="*/ 2147483647 w 516"/>
                      <a:gd name="T5" fmla="*/ 2147483647 h 709"/>
                      <a:gd name="T6" fmla="*/ 2147483647 w 516"/>
                      <a:gd name="T7" fmla="*/ 2147483647 h 709"/>
                      <a:gd name="T8" fmla="*/ 2147483647 w 516"/>
                      <a:gd name="T9" fmla="*/ 2147483647 h 709"/>
                      <a:gd name="T10" fmla="*/ 2147483647 w 516"/>
                      <a:gd name="T11" fmla="*/ 2147483647 h 709"/>
                      <a:gd name="T12" fmla="*/ 2147483647 w 516"/>
                      <a:gd name="T13" fmla="*/ 2147483647 h 709"/>
                      <a:gd name="T14" fmla="*/ 2147483647 w 516"/>
                      <a:gd name="T15" fmla="*/ 0 h 709"/>
                      <a:gd name="T16" fmla="*/ 2147483647 w 516"/>
                      <a:gd name="T17" fmla="*/ 2147483647 h 709"/>
                      <a:gd name="T18" fmla="*/ 2147483647 w 516"/>
                      <a:gd name="T19" fmla="*/ 2147483647 h 709"/>
                      <a:gd name="T20" fmla="*/ 2147483647 w 516"/>
                      <a:gd name="T21" fmla="*/ 2147483647 h 709"/>
                      <a:gd name="T22" fmla="*/ 2147483647 w 516"/>
                      <a:gd name="T23" fmla="*/ 2147483647 h 709"/>
                      <a:gd name="T24" fmla="*/ 2147483647 w 516"/>
                      <a:gd name="T25" fmla="*/ 2147483647 h 709"/>
                      <a:gd name="T26" fmla="*/ 2147483647 w 516"/>
                      <a:gd name="T27" fmla="*/ 2147483647 h 709"/>
                      <a:gd name="T28" fmla="*/ 2147483647 w 516"/>
                      <a:gd name="T29" fmla="*/ 2147483647 h 709"/>
                      <a:gd name="T30" fmla="*/ 2147483647 w 516"/>
                      <a:gd name="T31" fmla="*/ 2147483647 h 709"/>
                      <a:gd name="T32" fmla="*/ 2147483647 w 516"/>
                      <a:gd name="T33" fmla="*/ 2147483647 h 709"/>
                      <a:gd name="T34" fmla="*/ 2147483647 w 516"/>
                      <a:gd name="T35" fmla="*/ 2147483647 h 709"/>
                      <a:gd name="T36" fmla="*/ 2147483647 w 516"/>
                      <a:gd name="T37" fmla="*/ 2147483647 h 709"/>
                      <a:gd name="T38" fmla="*/ 0 w 516"/>
                      <a:gd name="T39" fmla="*/ 2147483647 h 709"/>
                      <a:gd name="T40" fmla="*/ 2147483647 w 516"/>
                      <a:gd name="T41" fmla="*/ 2147483647 h 709"/>
                      <a:gd name="T42" fmla="*/ 2147483647 w 516"/>
                      <a:gd name="T43" fmla="*/ 2147483647 h 709"/>
                      <a:gd name="T44" fmla="*/ 2147483647 w 516"/>
                      <a:gd name="T45" fmla="*/ 2147483647 h 709"/>
                      <a:gd name="T46" fmla="*/ 2147483647 w 516"/>
                      <a:gd name="T47" fmla="*/ 2147483647 h 709"/>
                      <a:gd name="T48" fmla="*/ 2147483647 w 516"/>
                      <a:gd name="T49" fmla="*/ 2147483647 h 709"/>
                      <a:gd name="T50" fmla="*/ 2147483647 w 516"/>
                      <a:gd name="T51" fmla="*/ 2147483647 h 709"/>
                      <a:gd name="T52" fmla="*/ 2147483647 w 516"/>
                      <a:gd name="T53" fmla="*/ 2147483647 h 709"/>
                      <a:gd name="T54" fmla="*/ 2147483647 w 516"/>
                      <a:gd name="T55" fmla="*/ 2147483647 h 709"/>
                      <a:gd name="T56" fmla="*/ 2147483647 w 516"/>
                      <a:gd name="T57" fmla="*/ 2147483647 h 709"/>
                      <a:gd name="T58" fmla="*/ 2147483647 w 516"/>
                      <a:gd name="T59" fmla="*/ 2147483647 h 709"/>
                      <a:gd name="T60" fmla="*/ 2147483647 w 516"/>
                      <a:gd name="T61" fmla="*/ 2147483647 h 709"/>
                      <a:gd name="T62" fmla="*/ 2147483647 w 516"/>
                      <a:gd name="T63" fmla="*/ 2147483647 h 709"/>
                      <a:gd name="T64" fmla="*/ 2147483647 w 516"/>
                      <a:gd name="T65" fmla="*/ 2147483647 h 709"/>
                      <a:gd name="T66" fmla="*/ 2147483647 w 516"/>
                      <a:gd name="T67" fmla="*/ 2147483647 h 709"/>
                      <a:gd name="T68" fmla="*/ 2147483647 w 516"/>
                      <a:gd name="T69" fmla="*/ 2147483647 h 709"/>
                      <a:gd name="T70" fmla="*/ 2147483647 w 516"/>
                      <a:gd name="T71" fmla="*/ 2147483647 h 709"/>
                      <a:gd name="T72" fmla="*/ 2147483647 w 516"/>
                      <a:gd name="T73" fmla="*/ 2147483647 h 709"/>
                      <a:gd name="T74" fmla="*/ 2147483647 w 516"/>
                      <a:gd name="T75" fmla="*/ 2147483647 h 709"/>
                      <a:gd name="T76" fmla="*/ 2147483647 w 516"/>
                      <a:gd name="T77" fmla="*/ 2147483647 h 709"/>
                      <a:gd name="T78" fmla="*/ 2147483647 w 516"/>
                      <a:gd name="T79" fmla="*/ 2147483647 h 709"/>
                      <a:gd name="T80" fmla="*/ 2147483647 w 516"/>
                      <a:gd name="T81" fmla="*/ 2147483647 h 709"/>
                      <a:gd name="T82" fmla="*/ 2147483647 w 516"/>
                      <a:gd name="T83" fmla="*/ 2147483647 h 709"/>
                      <a:gd name="T84" fmla="*/ 2147483647 w 516"/>
                      <a:gd name="T85" fmla="*/ 2147483647 h 709"/>
                      <a:gd name="T86" fmla="*/ 2147483647 w 516"/>
                      <a:gd name="T87" fmla="*/ 2147483647 h 709"/>
                      <a:gd name="T88" fmla="*/ 2147483647 w 516"/>
                      <a:gd name="T89" fmla="*/ 2147483647 h 709"/>
                      <a:gd name="T90" fmla="*/ 2147483647 w 516"/>
                      <a:gd name="T91" fmla="*/ 2147483647 h 709"/>
                      <a:gd name="T92" fmla="*/ 2147483647 w 516"/>
                      <a:gd name="T93" fmla="*/ 2147483647 h 709"/>
                      <a:gd name="T94" fmla="*/ 2147483647 w 516"/>
                      <a:gd name="T95" fmla="*/ 2147483647 h 7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16" h="709">
                        <a:moveTo>
                          <a:pt x="504" y="96"/>
                        </a:moveTo>
                        <a:lnTo>
                          <a:pt x="486" y="78"/>
                        </a:lnTo>
                        <a:lnTo>
                          <a:pt x="432" y="84"/>
                        </a:lnTo>
                        <a:lnTo>
                          <a:pt x="354" y="48"/>
                        </a:lnTo>
                        <a:lnTo>
                          <a:pt x="318" y="54"/>
                        </a:lnTo>
                        <a:lnTo>
                          <a:pt x="288" y="36"/>
                        </a:lnTo>
                        <a:lnTo>
                          <a:pt x="282" y="18"/>
                        </a:lnTo>
                        <a:lnTo>
                          <a:pt x="228" y="0"/>
                        </a:lnTo>
                        <a:lnTo>
                          <a:pt x="198" y="24"/>
                        </a:lnTo>
                        <a:lnTo>
                          <a:pt x="150" y="42"/>
                        </a:lnTo>
                        <a:lnTo>
                          <a:pt x="114" y="66"/>
                        </a:lnTo>
                        <a:lnTo>
                          <a:pt x="90" y="126"/>
                        </a:lnTo>
                        <a:lnTo>
                          <a:pt x="42" y="138"/>
                        </a:lnTo>
                        <a:lnTo>
                          <a:pt x="42" y="174"/>
                        </a:lnTo>
                        <a:lnTo>
                          <a:pt x="78" y="222"/>
                        </a:lnTo>
                        <a:lnTo>
                          <a:pt x="114" y="240"/>
                        </a:lnTo>
                        <a:lnTo>
                          <a:pt x="114" y="264"/>
                        </a:lnTo>
                        <a:lnTo>
                          <a:pt x="90" y="276"/>
                        </a:lnTo>
                        <a:lnTo>
                          <a:pt x="60" y="264"/>
                        </a:lnTo>
                        <a:lnTo>
                          <a:pt x="0" y="306"/>
                        </a:lnTo>
                        <a:lnTo>
                          <a:pt x="18" y="324"/>
                        </a:lnTo>
                        <a:lnTo>
                          <a:pt x="42" y="348"/>
                        </a:lnTo>
                        <a:lnTo>
                          <a:pt x="96" y="348"/>
                        </a:lnTo>
                        <a:lnTo>
                          <a:pt x="138" y="354"/>
                        </a:lnTo>
                        <a:lnTo>
                          <a:pt x="120" y="396"/>
                        </a:lnTo>
                        <a:lnTo>
                          <a:pt x="72" y="414"/>
                        </a:lnTo>
                        <a:lnTo>
                          <a:pt x="36" y="438"/>
                        </a:lnTo>
                        <a:lnTo>
                          <a:pt x="30" y="468"/>
                        </a:lnTo>
                        <a:lnTo>
                          <a:pt x="72" y="498"/>
                        </a:lnTo>
                        <a:lnTo>
                          <a:pt x="78" y="529"/>
                        </a:lnTo>
                        <a:lnTo>
                          <a:pt x="108" y="541"/>
                        </a:lnTo>
                        <a:lnTo>
                          <a:pt x="114" y="583"/>
                        </a:lnTo>
                        <a:lnTo>
                          <a:pt x="156" y="577"/>
                        </a:lnTo>
                        <a:lnTo>
                          <a:pt x="210" y="577"/>
                        </a:lnTo>
                        <a:lnTo>
                          <a:pt x="180" y="631"/>
                        </a:lnTo>
                        <a:lnTo>
                          <a:pt x="90" y="709"/>
                        </a:lnTo>
                        <a:lnTo>
                          <a:pt x="192" y="655"/>
                        </a:lnTo>
                        <a:lnTo>
                          <a:pt x="270" y="571"/>
                        </a:lnTo>
                        <a:lnTo>
                          <a:pt x="264" y="553"/>
                        </a:lnTo>
                        <a:lnTo>
                          <a:pt x="312" y="492"/>
                        </a:lnTo>
                        <a:lnTo>
                          <a:pt x="324" y="517"/>
                        </a:lnTo>
                        <a:lnTo>
                          <a:pt x="330" y="547"/>
                        </a:lnTo>
                        <a:lnTo>
                          <a:pt x="366" y="517"/>
                        </a:lnTo>
                        <a:lnTo>
                          <a:pt x="408" y="492"/>
                        </a:lnTo>
                        <a:lnTo>
                          <a:pt x="426" y="505"/>
                        </a:lnTo>
                        <a:lnTo>
                          <a:pt x="516" y="523"/>
                        </a:lnTo>
                        <a:lnTo>
                          <a:pt x="516" y="96"/>
                        </a:lnTo>
                        <a:lnTo>
                          <a:pt x="504" y="96"/>
                        </a:lnTo>
                        <a:close/>
                      </a:path>
                    </a:pathLst>
                  </a:custGeom>
                  <a:solidFill>
                    <a:srgbClr val="1F497D">
                      <a:lumMod val="60000"/>
                      <a:lumOff val="40000"/>
                    </a:srgb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7" name="Freeform 398"/>
                  <p:cNvSpPr>
                    <a:spLocks/>
                  </p:cNvSpPr>
                  <p:nvPr/>
                </p:nvSpPr>
                <p:spPr bwMode="auto">
                  <a:xfrm>
                    <a:off x="888581" y="1432971"/>
                    <a:ext cx="2093119" cy="1525801"/>
                  </a:xfrm>
                  <a:custGeom>
                    <a:avLst/>
                    <a:gdLst>
                      <a:gd name="T0" fmla="*/ 2147483647 w 1622"/>
                      <a:gd name="T1" fmla="*/ 2147483647 h 1117"/>
                      <a:gd name="T2" fmla="*/ 2147483647 w 1622"/>
                      <a:gd name="T3" fmla="*/ 2147483647 h 1117"/>
                      <a:gd name="T4" fmla="*/ 2147483647 w 1622"/>
                      <a:gd name="T5" fmla="*/ 2147483647 h 1117"/>
                      <a:gd name="T6" fmla="*/ 2147483647 w 1622"/>
                      <a:gd name="T7" fmla="*/ 2147483647 h 1117"/>
                      <a:gd name="T8" fmla="*/ 2147483647 w 1622"/>
                      <a:gd name="T9" fmla="*/ 2147483647 h 1117"/>
                      <a:gd name="T10" fmla="*/ 2147483647 w 1622"/>
                      <a:gd name="T11" fmla="*/ 2147483647 h 1117"/>
                      <a:gd name="T12" fmla="*/ 2147483647 w 1622"/>
                      <a:gd name="T13" fmla="*/ 2147483647 h 1117"/>
                      <a:gd name="T14" fmla="*/ 2147483647 w 1622"/>
                      <a:gd name="T15" fmla="*/ 2147483647 h 1117"/>
                      <a:gd name="T16" fmla="*/ 2147483647 w 1622"/>
                      <a:gd name="T17" fmla="*/ 2147483647 h 1117"/>
                      <a:gd name="T18" fmla="*/ 2147483647 w 1622"/>
                      <a:gd name="T19" fmla="*/ 2147483647 h 1117"/>
                      <a:gd name="T20" fmla="*/ 2147483647 w 1622"/>
                      <a:gd name="T21" fmla="*/ 2147483647 h 1117"/>
                      <a:gd name="T22" fmla="*/ 2147483647 w 1622"/>
                      <a:gd name="T23" fmla="*/ 2147483647 h 1117"/>
                      <a:gd name="T24" fmla="*/ 2147483647 w 1622"/>
                      <a:gd name="T25" fmla="*/ 2147483647 h 1117"/>
                      <a:gd name="T26" fmla="*/ 2147483647 w 1622"/>
                      <a:gd name="T27" fmla="*/ 2147483647 h 1117"/>
                      <a:gd name="T28" fmla="*/ 2147483647 w 1622"/>
                      <a:gd name="T29" fmla="*/ 2147483647 h 1117"/>
                      <a:gd name="T30" fmla="*/ 2147483647 w 1622"/>
                      <a:gd name="T31" fmla="*/ 2147483647 h 1117"/>
                      <a:gd name="T32" fmla="*/ 2147483647 w 1622"/>
                      <a:gd name="T33" fmla="*/ 2147483647 h 1117"/>
                      <a:gd name="T34" fmla="*/ 2147483647 w 1622"/>
                      <a:gd name="T35" fmla="*/ 2147483647 h 1117"/>
                      <a:gd name="T36" fmla="*/ 2147483647 w 1622"/>
                      <a:gd name="T37" fmla="*/ 2147483647 h 1117"/>
                      <a:gd name="T38" fmla="*/ 2147483647 w 1622"/>
                      <a:gd name="T39" fmla="*/ 2147483647 h 1117"/>
                      <a:gd name="T40" fmla="*/ 2147483647 w 1622"/>
                      <a:gd name="T41" fmla="*/ 2147483647 h 1117"/>
                      <a:gd name="T42" fmla="*/ 2147483647 w 1622"/>
                      <a:gd name="T43" fmla="*/ 2147483647 h 1117"/>
                      <a:gd name="T44" fmla="*/ 2147483647 w 1622"/>
                      <a:gd name="T45" fmla="*/ 2147483647 h 1117"/>
                      <a:gd name="T46" fmla="*/ 2147483647 w 1622"/>
                      <a:gd name="T47" fmla="*/ 2147483647 h 1117"/>
                      <a:gd name="T48" fmla="*/ 2147483647 w 1622"/>
                      <a:gd name="T49" fmla="*/ 2147483647 h 1117"/>
                      <a:gd name="T50" fmla="*/ 2147483647 w 1622"/>
                      <a:gd name="T51" fmla="*/ 2147483647 h 1117"/>
                      <a:gd name="T52" fmla="*/ 2147483647 w 1622"/>
                      <a:gd name="T53" fmla="*/ 2147483647 h 1117"/>
                      <a:gd name="T54" fmla="*/ 2147483647 w 1622"/>
                      <a:gd name="T55" fmla="*/ 2147483647 h 1117"/>
                      <a:gd name="T56" fmla="*/ 2147483647 w 1622"/>
                      <a:gd name="T57" fmla="*/ 2147483647 h 1117"/>
                      <a:gd name="T58" fmla="*/ 2147483647 w 1622"/>
                      <a:gd name="T59" fmla="*/ 2147483647 h 1117"/>
                      <a:gd name="T60" fmla="*/ 2147483647 w 1622"/>
                      <a:gd name="T61" fmla="*/ 2147483647 h 1117"/>
                      <a:gd name="T62" fmla="*/ 2147483647 w 1622"/>
                      <a:gd name="T63" fmla="*/ 2147483647 h 1117"/>
                      <a:gd name="T64" fmla="*/ 2147483647 w 1622"/>
                      <a:gd name="T65" fmla="*/ 2147483647 h 1117"/>
                      <a:gd name="T66" fmla="*/ 2147483647 w 1622"/>
                      <a:gd name="T67" fmla="*/ 2147483647 h 1117"/>
                      <a:gd name="T68" fmla="*/ 2147483647 w 1622"/>
                      <a:gd name="T69" fmla="*/ 2147483647 h 1117"/>
                      <a:gd name="T70" fmla="*/ 2147483647 w 1622"/>
                      <a:gd name="T71" fmla="*/ 2147483647 h 1117"/>
                      <a:gd name="T72" fmla="*/ 2147483647 w 1622"/>
                      <a:gd name="T73" fmla="*/ 2147483647 h 1117"/>
                      <a:gd name="T74" fmla="*/ 2147483647 w 1622"/>
                      <a:gd name="T75" fmla="*/ 2147483647 h 1117"/>
                      <a:gd name="T76" fmla="*/ 2147483647 w 1622"/>
                      <a:gd name="T77" fmla="*/ 2147483647 h 1117"/>
                      <a:gd name="T78" fmla="*/ 2147483647 w 1622"/>
                      <a:gd name="T79" fmla="*/ 2147483647 h 1117"/>
                      <a:gd name="T80" fmla="*/ 2147483647 w 1622"/>
                      <a:gd name="T81" fmla="*/ 0 h 1117"/>
                      <a:gd name="T82" fmla="*/ 2147483647 w 1622"/>
                      <a:gd name="T83" fmla="*/ 2147483647 h 1117"/>
                      <a:gd name="T84" fmla="*/ 2147483647 w 1622"/>
                      <a:gd name="T85" fmla="*/ 2147483647 h 1117"/>
                      <a:gd name="T86" fmla="*/ 2147483647 w 1622"/>
                      <a:gd name="T87" fmla="*/ 2147483647 h 1117"/>
                      <a:gd name="T88" fmla="*/ 2147483647 w 1622"/>
                      <a:gd name="T89" fmla="*/ 2147483647 h 1117"/>
                      <a:gd name="T90" fmla="*/ 2147483647 w 1622"/>
                      <a:gd name="T91" fmla="*/ 2147483647 h 1117"/>
                      <a:gd name="T92" fmla="*/ 2147483647 w 1622"/>
                      <a:gd name="T93" fmla="*/ 2147483647 h 1117"/>
                      <a:gd name="T94" fmla="*/ 2147483647 w 1622"/>
                      <a:gd name="T95" fmla="*/ 2147483647 h 1117"/>
                      <a:gd name="T96" fmla="*/ 2147483647 w 1622"/>
                      <a:gd name="T97" fmla="*/ 2147483647 h 1117"/>
                      <a:gd name="T98" fmla="*/ 2147483647 w 1622"/>
                      <a:gd name="T99" fmla="*/ 2147483647 h 1117"/>
                      <a:gd name="T100" fmla="*/ 2147483647 w 1622"/>
                      <a:gd name="T101" fmla="*/ 2147483647 h 1117"/>
                      <a:gd name="T102" fmla="*/ 2147483647 w 1622"/>
                      <a:gd name="T103" fmla="*/ 2147483647 h 1117"/>
                      <a:gd name="T104" fmla="*/ 2147483647 w 1622"/>
                      <a:gd name="T105" fmla="*/ 2147483647 h 1117"/>
                      <a:gd name="T106" fmla="*/ 2147483647 w 1622"/>
                      <a:gd name="T107" fmla="*/ 2147483647 h 1117"/>
                      <a:gd name="T108" fmla="*/ 2147483647 w 1622"/>
                      <a:gd name="T109" fmla="*/ 2147483647 h 1117"/>
                      <a:gd name="T110" fmla="*/ 0 w 1622"/>
                      <a:gd name="T111" fmla="*/ 2147483647 h 1117"/>
                      <a:gd name="T112" fmla="*/ 2147483647 w 1622"/>
                      <a:gd name="T113" fmla="*/ 2147483647 h 1117"/>
                      <a:gd name="T114" fmla="*/ 2147483647 w 1622"/>
                      <a:gd name="T115" fmla="*/ 2147483647 h 1117"/>
                      <a:gd name="T116" fmla="*/ 2147483647 w 1622"/>
                      <a:gd name="T117" fmla="*/ 2147483647 h 1117"/>
                      <a:gd name="T118" fmla="*/ 2147483647 w 1622"/>
                      <a:gd name="T119" fmla="*/ 2147483647 h 1117"/>
                      <a:gd name="T120" fmla="*/ 2147483647 w 1622"/>
                      <a:gd name="T121" fmla="*/ 2147483647 h 1117"/>
                      <a:gd name="T122" fmla="*/ 2147483647 w 1622"/>
                      <a:gd name="T123" fmla="*/ 2147483647 h 111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622" h="1117">
                        <a:moveTo>
                          <a:pt x="931" y="943"/>
                        </a:moveTo>
                        <a:lnTo>
                          <a:pt x="973" y="955"/>
                        </a:lnTo>
                        <a:lnTo>
                          <a:pt x="1075" y="1003"/>
                        </a:lnTo>
                        <a:lnTo>
                          <a:pt x="1111" y="1081"/>
                        </a:lnTo>
                        <a:lnTo>
                          <a:pt x="1111" y="1117"/>
                        </a:lnTo>
                        <a:lnTo>
                          <a:pt x="1190" y="1093"/>
                        </a:lnTo>
                        <a:lnTo>
                          <a:pt x="1232" y="1057"/>
                        </a:lnTo>
                        <a:lnTo>
                          <a:pt x="1262" y="1051"/>
                        </a:lnTo>
                        <a:lnTo>
                          <a:pt x="1322" y="1039"/>
                        </a:lnTo>
                        <a:lnTo>
                          <a:pt x="1370" y="979"/>
                        </a:lnTo>
                        <a:lnTo>
                          <a:pt x="1394" y="985"/>
                        </a:lnTo>
                        <a:lnTo>
                          <a:pt x="1406" y="1045"/>
                        </a:lnTo>
                        <a:lnTo>
                          <a:pt x="1430" y="1027"/>
                        </a:lnTo>
                        <a:lnTo>
                          <a:pt x="1448" y="1033"/>
                        </a:lnTo>
                        <a:lnTo>
                          <a:pt x="1436" y="1051"/>
                        </a:lnTo>
                        <a:lnTo>
                          <a:pt x="1448" y="1075"/>
                        </a:lnTo>
                        <a:lnTo>
                          <a:pt x="1502" y="1033"/>
                        </a:lnTo>
                        <a:lnTo>
                          <a:pt x="1520" y="1009"/>
                        </a:lnTo>
                        <a:lnTo>
                          <a:pt x="1466" y="1003"/>
                        </a:lnTo>
                        <a:lnTo>
                          <a:pt x="1442" y="967"/>
                        </a:lnTo>
                        <a:lnTo>
                          <a:pt x="1460" y="949"/>
                        </a:lnTo>
                        <a:lnTo>
                          <a:pt x="1466" y="925"/>
                        </a:lnTo>
                        <a:lnTo>
                          <a:pt x="1382" y="943"/>
                        </a:lnTo>
                        <a:lnTo>
                          <a:pt x="1340" y="979"/>
                        </a:lnTo>
                        <a:lnTo>
                          <a:pt x="1358" y="937"/>
                        </a:lnTo>
                        <a:lnTo>
                          <a:pt x="1400" y="913"/>
                        </a:lnTo>
                        <a:lnTo>
                          <a:pt x="1424" y="889"/>
                        </a:lnTo>
                        <a:lnTo>
                          <a:pt x="1496" y="895"/>
                        </a:lnTo>
                        <a:lnTo>
                          <a:pt x="1550" y="889"/>
                        </a:lnTo>
                        <a:lnTo>
                          <a:pt x="1592" y="859"/>
                        </a:lnTo>
                        <a:lnTo>
                          <a:pt x="1622" y="835"/>
                        </a:lnTo>
                        <a:lnTo>
                          <a:pt x="1598" y="775"/>
                        </a:lnTo>
                        <a:lnTo>
                          <a:pt x="1592" y="745"/>
                        </a:lnTo>
                        <a:lnTo>
                          <a:pt x="1514" y="703"/>
                        </a:lnTo>
                        <a:lnTo>
                          <a:pt x="1514" y="679"/>
                        </a:lnTo>
                        <a:lnTo>
                          <a:pt x="1448" y="553"/>
                        </a:lnTo>
                        <a:lnTo>
                          <a:pt x="1430" y="607"/>
                        </a:lnTo>
                        <a:lnTo>
                          <a:pt x="1388" y="619"/>
                        </a:lnTo>
                        <a:lnTo>
                          <a:pt x="1376" y="607"/>
                        </a:lnTo>
                        <a:lnTo>
                          <a:pt x="1358" y="607"/>
                        </a:lnTo>
                        <a:lnTo>
                          <a:pt x="1358" y="522"/>
                        </a:lnTo>
                        <a:lnTo>
                          <a:pt x="1322" y="516"/>
                        </a:lnTo>
                        <a:lnTo>
                          <a:pt x="1292" y="474"/>
                        </a:lnTo>
                        <a:lnTo>
                          <a:pt x="1262" y="480"/>
                        </a:lnTo>
                        <a:lnTo>
                          <a:pt x="1226" y="468"/>
                        </a:lnTo>
                        <a:lnTo>
                          <a:pt x="1202" y="474"/>
                        </a:lnTo>
                        <a:lnTo>
                          <a:pt x="1202" y="504"/>
                        </a:lnTo>
                        <a:lnTo>
                          <a:pt x="1202" y="535"/>
                        </a:lnTo>
                        <a:lnTo>
                          <a:pt x="1196" y="601"/>
                        </a:lnTo>
                        <a:lnTo>
                          <a:pt x="1190" y="625"/>
                        </a:lnTo>
                        <a:lnTo>
                          <a:pt x="1226" y="697"/>
                        </a:lnTo>
                        <a:lnTo>
                          <a:pt x="1166" y="751"/>
                        </a:lnTo>
                        <a:lnTo>
                          <a:pt x="1178" y="841"/>
                        </a:lnTo>
                        <a:lnTo>
                          <a:pt x="1154" y="859"/>
                        </a:lnTo>
                        <a:lnTo>
                          <a:pt x="1130" y="847"/>
                        </a:lnTo>
                        <a:lnTo>
                          <a:pt x="1117" y="739"/>
                        </a:lnTo>
                        <a:lnTo>
                          <a:pt x="1057" y="733"/>
                        </a:lnTo>
                        <a:lnTo>
                          <a:pt x="943" y="667"/>
                        </a:lnTo>
                        <a:lnTo>
                          <a:pt x="919" y="667"/>
                        </a:lnTo>
                        <a:lnTo>
                          <a:pt x="901" y="613"/>
                        </a:lnTo>
                        <a:lnTo>
                          <a:pt x="883" y="595"/>
                        </a:lnTo>
                        <a:lnTo>
                          <a:pt x="931" y="450"/>
                        </a:lnTo>
                        <a:lnTo>
                          <a:pt x="961" y="420"/>
                        </a:lnTo>
                        <a:lnTo>
                          <a:pt x="991" y="402"/>
                        </a:lnTo>
                        <a:lnTo>
                          <a:pt x="1009" y="402"/>
                        </a:lnTo>
                        <a:lnTo>
                          <a:pt x="1027" y="342"/>
                        </a:lnTo>
                        <a:lnTo>
                          <a:pt x="1039" y="294"/>
                        </a:lnTo>
                        <a:lnTo>
                          <a:pt x="1099" y="282"/>
                        </a:lnTo>
                        <a:lnTo>
                          <a:pt x="1130" y="258"/>
                        </a:lnTo>
                        <a:lnTo>
                          <a:pt x="1111" y="204"/>
                        </a:lnTo>
                        <a:lnTo>
                          <a:pt x="1124" y="168"/>
                        </a:lnTo>
                        <a:lnTo>
                          <a:pt x="1099" y="138"/>
                        </a:lnTo>
                        <a:lnTo>
                          <a:pt x="1063" y="132"/>
                        </a:lnTo>
                        <a:lnTo>
                          <a:pt x="1051" y="192"/>
                        </a:lnTo>
                        <a:lnTo>
                          <a:pt x="1015" y="246"/>
                        </a:lnTo>
                        <a:lnTo>
                          <a:pt x="1003" y="180"/>
                        </a:lnTo>
                        <a:lnTo>
                          <a:pt x="985" y="156"/>
                        </a:lnTo>
                        <a:lnTo>
                          <a:pt x="961" y="186"/>
                        </a:lnTo>
                        <a:lnTo>
                          <a:pt x="949" y="156"/>
                        </a:lnTo>
                        <a:lnTo>
                          <a:pt x="925" y="114"/>
                        </a:lnTo>
                        <a:lnTo>
                          <a:pt x="913" y="60"/>
                        </a:lnTo>
                        <a:lnTo>
                          <a:pt x="877" y="0"/>
                        </a:lnTo>
                        <a:lnTo>
                          <a:pt x="847" y="84"/>
                        </a:lnTo>
                        <a:lnTo>
                          <a:pt x="847" y="114"/>
                        </a:lnTo>
                        <a:lnTo>
                          <a:pt x="889" y="150"/>
                        </a:lnTo>
                        <a:lnTo>
                          <a:pt x="895" y="186"/>
                        </a:lnTo>
                        <a:lnTo>
                          <a:pt x="865" y="216"/>
                        </a:lnTo>
                        <a:lnTo>
                          <a:pt x="847" y="204"/>
                        </a:lnTo>
                        <a:lnTo>
                          <a:pt x="823" y="204"/>
                        </a:lnTo>
                        <a:lnTo>
                          <a:pt x="811" y="234"/>
                        </a:lnTo>
                        <a:lnTo>
                          <a:pt x="769" y="222"/>
                        </a:lnTo>
                        <a:lnTo>
                          <a:pt x="709" y="222"/>
                        </a:lnTo>
                        <a:lnTo>
                          <a:pt x="673" y="198"/>
                        </a:lnTo>
                        <a:lnTo>
                          <a:pt x="619" y="210"/>
                        </a:lnTo>
                        <a:lnTo>
                          <a:pt x="625" y="228"/>
                        </a:lnTo>
                        <a:lnTo>
                          <a:pt x="631" y="264"/>
                        </a:lnTo>
                        <a:lnTo>
                          <a:pt x="613" y="258"/>
                        </a:lnTo>
                        <a:lnTo>
                          <a:pt x="583" y="222"/>
                        </a:lnTo>
                        <a:lnTo>
                          <a:pt x="517" y="234"/>
                        </a:lnTo>
                        <a:lnTo>
                          <a:pt x="487" y="210"/>
                        </a:lnTo>
                        <a:lnTo>
                          <a:pt x="499" y="186"/>
                        </a:lnTo>
                        <a:lnTo>
                          <a:pt x="457" y="174"/>
                        </a:lnTo>
                        <a:lnTo>
                          <a:pt x="409" y="150"/>
                        </a:lnTo>
                        <a:lnTo>
                          <a:pt x="343" y="132"/>
                        </a:lnTo>
                        <a:lnTo>
                          <a:pt x="301" y="144"/>
                        </a:lnTo>
                        <a:lnTo>
                          <a:pt x="259" y="96"/>
                        </a:lnTo>
                        <a:lnTo>
                          <a:pt x="145" y="150"/>
                        </a:lnTo>
                        <a:lnTo>
                          <a:pt x="115" y="180"/>
                        </a:lnTo>
                        <a:lnTo>
                          <a:pt x="67" y="168"/>
                        </a:lnTo>
                        <a:lnTo>
                          <a:pt x="37" y="138"/>
                        </a:lnTo>
                        <a:lnTo>
                          <a:pt x="0" y="126"/>
                        </a:lnTo>
                        <a:lnTo>
                          <a:pt x="0" y="553"/>
                        </a:lnTo>
                        <a:lnTo>
                          <a:pt x="61" y="583"/>
                        </a:lnTo>
                        <a:lnTo>
                          <a:pt x="109" y="559"/>
                        </a:lnTo>
                        <a:lnTo>
                          <a:pt x="175" y="679"/>
                        </a:lnTo>
                        <a:lnTo>
                          <a:pt x="217" y="709"/>
                        </a:lnTo>
                        <a:lnTo>
                          <a:pt x="211" y="757"/>
                        </a:lnTo>
                        <a:lnTo>
                          <a:pt x="229" y="793"/>
                        </a:lnTo>
                        <a:lnTo>
                          <a:pt x="277" y="859"/>
                        </a:lnTo>
                        <a:lnTo>
                          <a:pt x="343" y="901"/>
                        </a:lnTo>
                        <a:lnTo>
                          <a:pt x="349" y="931"/>
                        </a:lnTo>
                        <a:lnTo>
                          <a:pt x="871" y="931"/>
                        </a:lnTo>
                        <a:lnTo>
                          <a:pt x="931" y="943"/>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8" name="Freeform 399"/>
                  <p:cNvSpPr>
                    <a:spLocks/>
                  </p:cNvSpPr>
                  <p:nvPr/>
                </p:nvSpPr>
                <p:spPr bwMode="auto">
                  <a:xfrm>
                    <a:off x="1283686" y="2703638"/>
                    <a:ext cx="1417363" cy="778743"/>
                  </a:xfrm>
                  <a:custGeom>
                    <a:avLst/>
                    <a:gdLst>
                      <a:gd name="T0" fmla="*/ 2147483647 w 1099"/>
                      <a:gd name="T1" fmla="*/ 2147483647 h 571"/>
                      <a:gd name="T2" fmla="*/ 2147483647 w 1099"/>
                      <a:gd name="T3" fmla="*/ 2147483647 h 571"/>
                      <a:gd name="T4" fmla="*/ 2147483647 w 1099"/>
                      <a:gd name="T5" fmla="*/ 2147483647 h 571"/>
                      <a:gd name="T6" fmla="*/ 2147483647 w 1099"/>
                      <a:gd name="T7" fmla="*/ 2147483647 h 571"/>
                      <a:gd name="T8" fmla="*/ 2147483647 w 1099"/>
                      <a:gd name="T9" fmla="*/ 2147483647 h 571"/>
                      <a:gd name="T10" fmla="*/ 2147483647 w 1099"/>
                      <a:gd name="T11" fmla="*/ 2147483647 h 571"/>
                      <a:gd name="T12" fmla="*/ 2147483647 w 1099"/>
                      <a:gd name="T13" fmla="*/ 2147483647 h 571"/>
                      <a:gd name="T14" fmla="*/ 2147483647 w 1099"/>
                      <a:gd name="T15" fmla="*/ 2147483647 h 571"/>
                      <a:gd name="T16" fmla="*/ 2147483647 w 1099"/>
                      <a:gd name="T17" fmla="*/ 2147483647 h 571"/>
                      <a:gd name="T18" fmla="*/ 2147483647 w 1099"/>
                      <a:gd name="T19" fmla="*/ 2147483647 h 571"/>
                      <a:gd name="T20" fmla="*/ 2147483647 w 1099"/>
                      <a:gd name="T21" fmla="*/ 2147483647 h 571"/>
                      <a:gd name="T22" fmla="*/ 2147483647 w 1099"/>
                      <a:gd name="T23" fmla="*/ 2147483647 h 571"/>
                      <a:gd name="T24" fmla="*/ 2147483647 w 1099"/>
                      <a:gd name="T25" fmla="*/ 2147483647 h 571"/>
                      <a:gd name="T26" fmla="*/ 2147483647 w 1099"/>
                      <a:gd name="T27" fmla="*/ 2147483647 h 571"/>
                      <a:gd name="T28" fmla="*/ 2147483647 w 1099"/>
                      <a:gd name="T29" fmla="*/ 2147483647 h 571"/>
                      <a:gd name="T30" fmla="*/ 2147483647 w 1099"/>
                      <a:gd name="T31" fmla="*/ 2147483647 h 571"/>
                      <a:gd name="T32" fmla="*/ 2147483647 w 1099"/>
                      <a:gd name="T33" fmla="*/ 2147483647 h 571"/>
                      <a:gd name="T34" fmla="*/ 2147483647 w 1099"/>
                      <a:gd name="T35" fmla="*/ 2147483647 h 571"/>
                      <a:gd name="T36" fmla="*/ 2147483647 w 1099"/>
                      <a:gd name="T37" fmla="*/ 2147483647 h 571"/>
                      <a:gd name="T38" fmla="*/ 2147483647 w 1099"/>
                      <a:gd name="T39" fmla="*/ 2147483647 h 571"/>
                      <a:gd name="T40" fmla="*/ 2147483647 w 1099"/>
                      <a:gd name="T41" fmla="*/ 2147483647 h 571"/>
                      <a:gd name="T42" fmla="*/ 2147483647 w 1099"/>
                      <a:gd name="T43" fmla="*/ 2147483647 h 571"/>
                      <a:gd name="T44" fmla="*/ 2147483647 w 1099"/>
                      <a:gd name="T45" fmla="*/ 2147483647 h 571"/>
                      <a:gd name="T46" fmla="*/ 2147483647 w 1099"/>
                      <a:gd name="T47" fmla="*/ 2147483647 h 571"/>
                      <a:gd name="T48" fmla="*/ 2147483647 w 1099"/>
                      <a:gd name="T49" fmla="*/ 2147483647 h 571"/>
                      <a:gd name="T50" fmla="*/ 2147483647 w 1099"/>
                      <a:gd name="T51" fmla="*/ 0 h 571"/>
                      <a:gd name="T52" fmla="*/ 2147483647 w 1099"/>
                      <a:gd name="T53" fmla="*/ 2147483647 h 571"/>
                      <a:gd name="T54" fmla="*/ 2147483647 w 1099"/>
                      <a:gd name="T55" fmla="*/ 2147483647 h 571"/>
                      <a:gd name="T56" fmla="*/ 2147483647 w 1099"/>
                      <a:gd name="T57" fmla="*/ 2147483647 h 571"/>
                      <a:gd name="T58" fmla="*/ 0 w 1099"/>
                      <a:gd name="T59" fmla="*/ 2147483647 h 571"/>
                      <a:gd name="T60" fmla="*/ 2147483647 w 1099"/>
                      <a:gd name="T61" fmla="*/ 2147483647 h 571"/>
                      <a:gd name="T62" fmla="*/ 2147483647 w 1099"/>
                      <a:gd name="T63" fmla="*/ 2147483647 h 571"/>
                      <a:gd name="T64" fmla="*/ 2147483647 w 1099"/>
                      <a:gd name="T65" fmla="*/ 2147483647 h 571"/>
                      <a:gd name="T66" fmla="*/ 2147483647 w 1099"/>
                      <a:gd name="T67" fmla="*/ 2147483647 h 57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99" h="571">
                        <a:moveTo>
                          <a:pt x="252" y="439"/>
                        </a:moveTo>
                        <a:lnTo>
                          <a:pt x="300" y="439"/>
                        </a:lnTo>
                        <a:lnTo>
                          <a:pt x="318" y="427"/>
                        </a:lnTo>
                        <a:lnTo>
                          <a:pt x="348" y="433"/>
                        </a:lnTo>
                        <a:lnTo>
                          <a:pt x="396" y="487"/>
                        </a:lnTo>
                        <a:lnTo>
                          <a:pt x="432" y="475"/>
                        </a:lnTo>
                        <a:lnTo>
                          <a:pt x="456" y="493"/>
                        </a:lnTo>
                        <a:lnTo>
                          <a:pt x="474" y="523"/>
                        </a:lnTo>
                        <a:lnTo>
                          <a:pt x="498" y="547"/>
                        </a:lnTo>
                        <a:lnTo>
                          <a:pt x="528" y="553"/>
                        </a:lnTo>
                        <a:lnTo>
                          <a:pt x="528" y="511"/>
                        </a:lnTo>
                        <a:lnTo>
                          <a:pt x="552" y="487"/>
                        </a:lnTo>
                        <a:lnTo>
                          <a:pt x="570" y="469"/>
                        </a:lnTo>
                        <a:lnTo>
                          <a:pt x="630" y="475"/>
                        </a:lnTo>
                        <a:lnTo>
                          <a:pt x="666" y="475"/>
                        </a:lnTo>
                        <a:lnTo>
                          <a:pt x="714" y="463"/>
                        </a:lnTo>
                        <a:lnTo>
                          <a:pt x="744" y="463"/>
                        </a:lnTo>
                        <a:lnTo>
                          <a:pt x="774" y="457"/>
                        </a:lnTo>
                        <a:lnTo>
                          <a:pt x="780" y="487"/>
                        </a:lnTo>
                        <a:lnTo>
                          <a:pt x="792" y="529"/>
                        </a:lnTo>
                        <a:lnTo>
                          <a:pt x="829" y="565"/>
                        </a:lnTo>
                        <a:lnTo>
                          <a:pt x="847" y="571"/>
                        </a:lnTo>
                        <a:lnTo>
                          <a:pt x="841" y="511"/>
                        </a:lnTo>
                        <a:lnTo>
                          <a:pt x="817" y="445"/>
                        </a:lnTo>
                        <a:lnTo>
                          <a:pt x="847" y="409"/>
                        </a:lnTo>
                        <a:lnTo>
                          <a:pt x="877" y="397"/>
                        </a:lnTo>
                        <a:lnTo>
                          <a:pt x="931" y="343"/>
                        </a:lnTo>
                        <a:lnTo>
                          <a:pt x="925" y="307"/>
                        </a:lnTo>
                        <a:lnTo>
                          <a:pt x="919" y="271"/>
                        </a:lnTo>
                        <a:lnTo>
                          <a:pt x="937" y="283"/>
                        </a:lnTo>
                        <a:lnTo>
                          <a:pt x="943" y="277"/>
                        </a:lnTo>
                        <a:lnTo>
                          <a:pt x="937" y="253"/>
                        </a:lnTo>
                        <a:lnTo>
                          <a:pt x="949" y="253"/>
                        </a:lnTo>
                        <a:lnTo>
                          <a:pt x="967" y="247"/>
                        </a:lnTo>
                        <a:lnTo>
                          <a:pt x="979" y="217"/>
                        </a:lnTo>
                        <a:lnTo>
                          <a:pt x="1003" y="211"/>
                        </a:lnTo>
                        <a:lnTo>
                          <a:pt x="1039" y="193"/>
                        </a:lnTo>
                        <a:lnTo>
                          <a:pt x="1039" y="144"/>
                        </a:lnTo>
                        <a:lnTo>
                          <a:pt x="1099" y="114"/>
                        </a:lnTo>
                        <a:lnTo>
                          <a:pt x="1087" y="54"/>
                        </a:lnTo>
                        <a:lnTo>
                          <a:pt x="1063" y="48"/>
                        </a:lnTo>
                        <a:lnTo>
                          <a:pt x="1015" y="108"/>
                        </a:lnTo>
                        <a:lnTo>
                          <a:pt x="955" y="120"/>
                        </a:lnTo>
                        <a:lnTo>
                          <a:pt x="925" y="126"/>
                        </a:lnTo>
                        <a:lnTo>
                          <a:pt x="883" y="162"/>
                        </a:lnTo>
                        <a:lnTo>
                          <a:pt x="804" y="186"/>
                        </a:lnTo>
                        <a:lnTo>
                          <a:pt x="804" y="150"/>
                        </a:lnTo>
                        <a:lnTo>
                          <a:pt x="768" y="72"/>
                        </a:lnTo>
                        <a:lnTo>
                          <a:pt x="666" y="24"/>
                        </a:lnTo>
                        <a:lnTo>
                          <a:pt x="624" y="12"/>
                        </a:lnTo>
                        <a:lnTo>
                          <a:pt x="564" y="0"/>
                        </a:lnTo>
                        <a:lnTo>
                          <a:pt x="42" y="0"/>
                        </a:lnTo>
                        <a:lnTo>
                          <a:pt x="48" y="36"/>
                        </a:lnTo>
                        <a:lnTo>
                          <a:pt x="30" y="48"/>
                        </a:lnTo>
                        <a:lnTo>
                          <a:pt x="36" y="24"/>
                        </a:lnTo>
                        <a:lnTo>
                          <a:pt x="0" y="12"/>
                        </a:lnTo>
                        <a:lnTo>
                          <a:pt x="18" y="78"/>
                        </a:lnTo>
                        <a:lnTo>
                          <a:pt x="12" y="126"/>
                        </a:lnTo>
                        <a:lnTo>
                          <a:pt x="0" y="174"/>
                        </a:lnTo>
                        <a:lnTo>
                          <a:pt x="12" y="211"/>
                        </a:lnTo>
                        <a:lnTo>
                          <a:pt x="12" y="235"/>
                        </a:lnTo>
                        <a:lnTo>
                          <a:pt x="42" y="295"/>
                        </a:lnTo>
                        <a:lnTo>
                          <a:pt x="66" y="337"/>
                        </a:lnTo>
                        <a:lnTo>
                          <a:pt x="84" y="367"/>
                        </a:lnTo>
                        <a:lnTo>
                          <a:pt x="138" y="403"/>
                        </a:lnTo>
                        <a:lnTo>
                          <a:pt x="144" y="415"/>
                        </a:lnTo>
                        <a:lnTo>
                          <a:pt x="192" y="409"/>
                        </a:lnTo>
                        <a:lnTo>
                          <a:pt x="252" y="439"/>
                        </a:lnTo>
                        <a:close/>
                      </a:path>
                    </a:pathLst>
                  </a:custGeom>
                  <a:solidFill>
                    <a:srgbClr val="1F497D">
                      <a:lumMod val="60000"/>
                      <a:lumOff val="40000"/>
                    </a:srgb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79" name="Freeform 400"/>
                  <p:cNvSpPr>
                    <a:spLocks/>
                  </p:cNvSpPr>
                  <p:nvPr/>
                </p:nvSpPr>
                <p:spPr bwMode="auto">
                  <a:xfrm>
                    <a:off x="2188353" y="3760859"/>
                    <a:ext cx="109752" cy="118395"/>
                  </a:xfrm>
                  <a:custGeom>
                    <a:avLst/>
                    <a:gdLst>
                      <a:gd name="T0" fmla="*/ 2147483647 w 14"/>
                      <a:gd name="T1" fmla="*/ 2147483647 h 14"/>
                      <a:gd name="T2" fmla="*/ 2147483647 w 14"/>
                      <a:gd name="T3" fmla="*/ 2147483647 h 14"/>
                      <a:gd name="T4" fmla="*/ 2147483647 w 14"/>
                      <a:gd name="T5" fmla="*/ 0 h 14"/>
                      <a:gd name="T6" fmla="*/ 2147483647 w 14"/>
                      <a:gd name="T7" fmla="*/ 2147483647 h 14"/>
                      <a:gd name="T8" fmla="*/ 0 w 14"/>
                      <a:gd name="T9" fmla="*/ 2147483647 h 14"/>
                      <a:gd name="T10" fmla="*/ 2147483647 w 14"/>
                      <a:gd name="T11" fmla="*/ 2147483647 h 14"/>
                      <a:gd name="T12" fmla="*/ 2147483647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4">
                        <a:moveTo>
                          <a:pt x="14" y="14"/>
                        </a:moveTo>
                        <a:cubicBezTo>
                          <a:pt x="14" y="12"/>
                          <a:pt x="13" y="11"/>
                          <a:pt x="13" y="11"/>
                        </a:cubicBezTo>
                        <a:cubicBezTo>
                          <a:pt x="14" y="0"/>
                          <a:pt x="14" y="0"/>
                          <a:pt x="14" y="0"/>
                        </a:cubicBezTo>
                        <a:cubicBezTo>
                          <a:pt x="7" y="3"/>
                          <a:pt x="7" y="3"/>
                          <a:pt x="7" y="3"/>
                        </a:cubicBezTo>
                        <a:cubicBezTo>
                          <a:pt x="0" y="6"/>
                          <a:pt x="0" y="6"/>
                          <a:pt x="0" y="6"/>
                        </a:cubicBezTo>
                        <a:cubicBezTo>
                          <a:pt x="5" y="14"/>
                          <a:pt x="5" y="14"/>
                          <a:pt x="5" y="14"/>
                        </a:cubicBezTo>
                        <a:cubicBezTo>
                          <a:pt x="9" y="13"/>
                          <a:pt x="9" y="13"/>
                          <a:pt x="9" y="13"/>
                        </a:cubicBezTo>
                        <a:lnTo>
                          <a:pt x="14" y="1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0" name="Freeform 401"/>
                  <p:cNvSpPr>
                    <a:spLocks/>
                  </p:cNvSpPr>
                  <p:nvPr/>
                </p:nvSpPr>
                <p:spPr bwMode="auto">
                  <a:xfrm>
                    <a:off x="2227551" y="3869249"/>
                    <a:ext cx="94072" cy="73372"/>
                  </a:xfrm>
                  <a:custGeom>
                    <a:avLst/>
                    <a:gdLst>
                      <a:gd name="T0" fmla="*/ 2147483647 w 12"/>
                      <a:gd name="T1" fmla="*/ 2147483647 h 9"/>
                      <a:gd name="T2" fmla="*/ 2147483647 w 12"/>
                      <a:gd name="T3" fmla="*/ 0 h 9"/>
                      <a:gd name="T4" fmla="*/ 0 w 12"/>
                      <a:gd name="T5" fmla="*/ 2147483647 h 9"/>
                      <a:gd name="T6" fmla="*/ 2147483647 w 12"/>
                      <a:gd name="T7" fmla="*/ 2147483647 h 9"/>
                      <a:gd name="T8" fmla="*/ 2147483647 w 12"/>
                      <a:gd name="T9" fmla="*/ 2147483647 h 9"/>
                      <a:gd name="T10" fmla="*/ 2147483647 w 12"/>
                      <a:gd name="T11" fmla="*/ 2147483647 h 9"/>
                      <a:gd name="T12" fmla="*/ 2147483647 w 12"/>
                      <a:gd name="T13" fmla="*/ 2147483647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9">
                        <a:moveTo>
                          <a:pt x="9" y="1"/>
                        </a:moveTo>
                        <a:cubicBezTo>
                          <a:pt x="4" y="0"/>
                          <a:pt x="4" y="0"/>
                          <a:pt x="4" y="0"/>
                        </a:cubicBezTo>
                        <a:cubicBezTo>
                          <a:pt x="0" y="1"/>
                          <a:pt x="0" y="1"/>
                          <a:pt x="0" y="1"/>
                        </a:cubicBezTo>
                        <a:cubicBezTo>
                          <a:pt x="2" y="3"/>
                          <a:pt x="2" y="3"/>
                          <a:pt x="2" y="3"/>
                        </a:cubicBezTo>
                        <a:cubicBezTo>
                          <a:pt x="11" y="9"/>
                          <a:pt x="11" y="9"/>
                          <a:pt x="11" y="9"/>
                        </a:cubicBezTo>
                        <a:cubicBezTo>
                          <a:pt x="12" y="5"/>
                          <a:pt x="12" y="5"/>
                          <a:pt x="12" y="5"/>
                        </a:cubicBezTo>
                        <a:cubicBezTo>
                          <a:pt x="11" y="4"/>
                          <a:pt x="10" y="2"/>
                          <a:pt x="9" y="1"/>
                        </a:cubicBez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1" name="Freeform 402"/>
                  <p:cNvSpPr>
                    <a:spLocks/>
                  </p:cNvSpPr>
                  <p:nvPr/>
                </p:nvSpPr>
                <p:spPr bwMode="auto">
                  <a:xfrm>
                    <a:off x="2313783" y="3910938"/>
                    <a:ext cx="139543" cy="63367"/>
                  </a:xfrm>
                  <a:custGeom>
                    <a:avLst/>
                    <a:gdLst>
                      <a:gd name="T0" fmla="*/ 2147483647 w 18"/>
                      <a:gd name="T1" fmla="*/ 2147483647 h 8"/>
                      <a:gd name="T2" fmla="*/ 2147483647 w 18"/>
                      <a:gd name="T3" fmla="*/ 2147483647 h 8"/>
                      <a:gd name="T4" fmla="*/ 2147483647 w 18"/>
                      <a:gd name="T5" fmla="*/ 2147483647 h 8"/>
                      <a:gd name="T6" fmla="*/ 2147483647 w 18"/>
                      <a:gd name="T7" fmla="*/ 0 h 8"/>
                      <a:gd name="T8" fmla="*/ 0 w 18"/>
                      <a:gd name="T9" fmla="*/ 2147483647 h 8"/>
                      <a:gd name="T10" fmla="*/ 2147483647 w 18"/>
                      <a:gd name="T11" fmla="*/ 2147483647 h 8"/>
                      <a:gd name="T12" fmla="*/ 2147483647 w 18"/>
                      <a:gd name="T13" fmla="*/ 2147483647 h 8"/>
                      <a:gd name="T14" fmla="*/ 2147483647 w 18"/>
                      <a:gd name="T15" fmla="*/ 2147483647 h 8"/>
                      <a:gd name="T16" fmla="*/ 2147483647 w 18"/>
                      <a:gd name="T17" fmla="*/ 2147483647 h 8"/>
                      <a:gd name="T18" fmla="*/ 2147483647 w 18"/>
                      <a:gd name="T19" fmla="*/ 2147483647 h 8"/>
                      <a:gd name="T20" fmla="*/ 2147483647 w 18"/>
                      <a:gd name="T21" fmla="*/ 2147483647 h 8"/>
                      <a:gd name="T22" fmla="*/ 2147483647 w 18"/>
                      <a:gd name="T23" fmla="*/ 2147483647 h 8"/>
                      <a:gd name="T24" fmla="*/ 2147483647 w 18"/>
                      <a:gd name="T25" fmla="*/ 2147483647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2" name="Freeform 403"/>
                  <p:cNvSpPr>
                    <a:spLocks/>
                  </p:cNvSpPr>
                  <p:nvPr/>
                </p:nvSpPr>
                <p:spPr bwMode="auto">
                  <a:xfrm>
                    <a:off x="2406288" y="3837566"/>
                    <a:ext cx="286922" cy="335177"/>
                  </a:xfrm>
                  <a:custGeom>
                    <a:avLst/>
                    <a:gdLst>
                      <a:gd name="T0" fmla="*/ 2147483647 w 37"/>
                      <a:gd name="T1" fmla="*/ 2147483647 h 41"/>
                      <a:gd name="T2" fmla="*/ 2147483647 w 37"/>
                      <a:gd name="T3" fmla="*/ 2147483647 h 41"/>
                      <a:gd name="T4" fmla="*/ 2147483647 w 37"/>
                      <a:gd name="T5" fmla="*/ 2147483647 h 41"/>
                      <a:gd name="T6" fmla="*/ 2147483647 w 37"/>
                      <a:gd name="T7" fmla="*/ 2147483647 h 41"/>
                      <a:gd name="T8" fmla="*/ 2147483647 w 37"/>
                      <a:gd name="T9" fmla="*/ 2147483647 h 41"/>
                      <a:gd name="T10" fmla="*/ 2147483647 w 37"/>
                      <a:gd name="T11" fmla="*/ 2147483647 h 41"/>
                      <a:gd name="T12" fmla="*/ 2147483647 w 37"/>
                      <a:gd name="T13" fmla="*/ 2147483647 h 41"/>
                      <a:gd name="T14" fmla="*/ 2147483647 w 37"/>
                      <a:gd name="T15" fmla="*/ 2147483647 h 41"/>
                      <a:gd name="T16" fmla="*/ 2147483647 w 37"/>
                      <a:gd name="T17" fmla="*/ 2147483647 h 41"/>
                      <a:gd name="T18" fmla="*/ 2147483647 w 37"/>
                      <a:gd name="T19" fmla="*/ 2147483647 h 41"/>
                      <a:gd name="T20" fmla="*/ 2147483647 w 37"/>
                      <a:gd name="T21" fmla="*/ 0 h 41"/>
                      <a:gd name="T22" fmla="*/ 2147483647 w 37"/>
                      <a:gd name="T23" fmla="*/ 2147483647 h 41"/>
                      <a:gd name="T24" fmla="*/ 2147483647 w 37"/>
                      <a:gd name="T25" fmla="*/ 2147483647 h 41"/>
                      <a:gd name="T26" fmla="*/ 2147483647 w 37"/>
                      <a:gd name="T27" fmla="*/ 2147483647 h 41"/>
                      <a:gd name="T28" fmla="*/ 2147483647 w 37"/>
                      <a:gd name="T29" fmla="*/ 2147483647 h 41"/>
                      <a:gd name="T30" fmla="*/ 2147483647 w 37"/>
                      <a:gd name="T31" fmla="*/ 2147483647 h 41"/>
                      <a:gd name="T32" fmla="*/ 2147483647 w 37"/>
                      <a:gd name="T33" fmla="*/ 2147483647 h 41"/>
                      <a:gd name="T34" fmla="*/ 2147483647 w 37"/>
                      <a:gd name="T35" fmla="*/ 2147483647 h 41"/>
                      <a:gd name="T36" fmla="*/ 2147483647 w 37"/>
                      <a:gd name="T37" fmla="*/ 2147483647 h 41"/>
                      <a:gd name="T38" fmla="*/ 2147483647 w 37"/>
                      <a:gd name="T39" fmla="*/ 2147483647 h 41"/>
                      <a:gd name="T40" fmla="*/ 2147483647 w 37"/>
                      <a:gd name="T41" fmla="*/ 2147483647 h 41"/>
                      <a:gd name="T42" fmla="*/ 2147483647 w 37"/>
                      <a:gd name="T43" fmla="*/ 2147483647 h 41"/>
                      <a:gd name="T44" fmla="*/ 0 w 37"/>
                      <a:gd name="T45" fmla="*/ 2147483647 h 41"/>
                      <a:gd name="T46" fmla="*/ 2147483647 w 37"/>
                      <a:gd name="T47" fmla="*/ 2147483647 h 41"/>
                      <a:gd name="T48" fmla="*/ 2147483647 w 37"/>
                      <a:gd name="T49" fmla="*/ 2147483647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7" h="41">
                        <a:moveTo>
                          <a:pt x="37" y="34"/>
                        </a:moveTo>
                        <a:cubicBezTo>
                          <a:pt x="37" y="34"/>
                          <a:pt x="37" y="34"/>
                          <a:pt x="37" y="34"/>
                        </a:cubicBezTo>
                        <a:cubicBezTo>
                          <a:pt x="37" y="27"/>
                          <a:pt x="37" y="27"/>
                          <a:pt x="37" y="27"/>
                        </a:cubicBezTo>
                        <a:cubicBezTo>
                          <a:pt x="35" y="23"/>
                          <a:pt x="35" y="23"/>
                          <a:pt x="35" y="23"/>
                        </a:cubicBezTo>
                        <a:cubicBezTo>
                          <a:pt x="36" y="21"/>
                          <a:pt x="36" y="21"/>
                          <a:pt x="36" y="21"/>
                        </a:cubicBezTo>
                        <a:cubicBezTo>
                          <a:pt x="31" y="20"/>
                          <a:pt x="31" y="20"/>
                          <a:pt x="31" y="20"/>
                        </a:cubicBezTo>
                        <a:cubicBezTo>
                          <a:pt x="21" y="16"/>
                          <a:pt x="21" y="16"/>
                          <a:pt x="21" y="16"/>
                        </a:cubicBezTo>
                        <a:cubicBezTo>
                          <a:pt x="19" y="11"/>
                          <a:pt x="19" y="11"/>
                          <a:pt x="19" y="11"/>
                        </a:cubicBezTo>
                        <a:cubicBezTo>
                          <a:pt x="20" y="3"/>
                          <a:pt x="20" y="3"/>
                          <a:pt x="20" y="3"/>
                        </a:cubicBezTo>
                        <a:cubicBezTo>
                          <a:pt x="24" y="1"/>
                          <a:pt x="24" y="1"/>
                          <a:pt x="24" y="1"/>
                        </a:cubicBezTo>
                        <a:cubicBezTo>
                          <a:pt x="24" y="0"/>
                          <a:pt x="24" y="0"/>
                          <a:pt x="24" y="0"/>
                        </a:cubicBezTo>
                        <a:cubicBezTo>
                          <a:pt x="17" y="2"/>
                          <a:pt x="17" y="2"/>
                          <a:pt x="17" y="2"/>
                        </a:cubicBezTo>
                        <a:cubicBezTo>
                          <a:pt x="13" y="4"/>
                          <a:pt x="13" y="4"/>
                          <a:pt x="13" y="4"/>
                        </a:cubicBezTo>
                        <a:cubicBezTo>
                          <a:pt x="11" y="9"/>
                          <a:pt x="11" y="9"/>
                          <a:pt x="11" y="9"/>
                        </a:cubicBezTo>
                        <a:cubicBezTo>
                          <a:pt x="9" y="10"/>
                          <a:pt x="9" y="10"/>
                          <a:pt x="9" y="10"/>
                        </a:cubicBezTo>
                        <a:cubicBezTo>
                          <a:pt x="6" y="13"/>
                          <a:pt x="6" y="13"/>
                          <a:pt x="6" y="13"/>
                        </a:cubicBezTo>
                        <a:cubicBezTo>
                          <a:pt x="3" y="16"/>
                          <a:pt x="3" y="16"/>
                          <a:pt x="3" y="16"/>
                        </a:cubicBezTo>
                        <a:cubicBezTo>
                          <a:pt x="4" y="18"/>
                          <a:pt x="4" y="18"/>
                          <a:pt x="4" y="18"/>
                        </a:cubicBezTo>
                        <a:cubicBezTo>
                          <a:pt x="5" y="23"/>
                          <a:pt x="5" y="23"/>
                          <a:pt x="5" y="23"/>
                        </a:cubicBezTo>
                        <a:cubicBezTo>
                          <a:pt x="5" y="26"/>
                          <a:pt x="5" y="26"/>
                          <a:pt x="5" y="26"/>
                        </a:cubicBezTo>
                        <a:cubicBezTo>
                          <a:pt x="6" y="30"/>
                          <a:pt x="6" y="30"/>
                          <a:pt x="6" y="30"/>
                        </a:cubicBezTo>
                        <a:cubicBezTo>
                          <a:pt x="2" y="33"/>
                          <a:pt x="2" y="33"/>
                          <a:pt x="2" y="33"/>
                        </a:cubicBezTo>
                        <a:cubicBezTo>
                          <a:pt x="0" y="35"/>
                          <a:pt x="0" y="35"/>
                          <a:pt x="0" y="35"/>
                        </a:cubicBezTo>
                        <a:cubicBezTo>
                          <a:pt x="8" y="38"/>
                          <a:pt x="8" y="38"/>
                          <a:pt x="8" y="38"/>
                        </a:cubicBezTo>
                        <a:cubicBezTo>
                          <a:pt x="12" y="41"/>
                          <a:pt x="12" y="41"/>
                          <a:pt x="12" y="41"/>
                        </a:cubicBezTo>
                      </a:path>
                    </a:pathLst>
                  </a:custGeom>
                  <a:solidFill>
                    <a:srgbClr val="6C41DA"/>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3" name="Freeform 422"/>
                  <p:cNvSpPr>
                    <a:spLocks/>
                  </p:cNvSpPr>
                  <p:nvPr/>
                </p:nvSpPr>
                <p:spPr bwMode="auto">
                  <a:xfrm>
                    <a:off x="2149157" y="3737513"/>
                    <a:ext cx="148948" cy="73372"/>
                  </a:xfrm>
                  <a:custGeom>
                    <a:avLst/>
                    <a:gdLst>
                      <a:gd name="T0" fmla="*/ 2147483647 w 19"/>
                      <a:gd name="T1" fmla="*/ 2147483647 h 9"/>
                      <a:gd name="T2" fmla="*/ 2147483647 w 19"/>
                      <a:gd name="T3" fmla="*/ 2147483647 h 9"/>
                      <a:gd name="T4" fmla="*/ 2147483647 w 19"/>
                      <a:gd name="T5" fmla="*/ 0 h 9"/>
                      <a:gd name="T6" fmla="*/ 2147483647 w 19"/>
                      <a:gd name="T7" fmla="*/ 2147483647 h 9"/>
                      <a:gd name="T8" fmla="*/ 0 w 19"/>
                      <a:gd name="T9" fmla="*/ 2147483647 h 9"/>
                      <a:gd name="T10" fmla="*/ 0 w 19"/>
                      <a:gd name="T11" fmla="*/ 2147483647 h 9"/>
                      <a:gd name="T12" fmla="*/ 2147483647 w 19"/>
                      <a:gd name="T13" fmla="*/ 2147483647 h 9"/>
                      <a:gd name="T14" fmla="*/ 2147483647 w 19"/>
                      <a:gd name="T15" fmla="*/ 2147483647 h 9"/>
                      <a:gd name="T16" fmla="*/ 2147483647 w 19"/>
                      <a:gd name="T17" fmla="*/ 2147483647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9">
                        <a:moveTo>
                          <a:pt x="19" y="3"/>
                        </a:moveTo>
                        <a:cubicBezTo>
                          <a:pt x="19" y="3"/>
                          <a:pt x="10" y="1"/>
                          <a:pt x="8" y="1"/>
                        </a:cubicBezTo>
                        <a:cubicBezTo>
                          <a:pt x="7" y="1"/>
                          <a:pt x="6" y="0"/>
                          <a:pt x="5" y="0"/>
                        </a:cubicBezTo>
                        <a:cubicBezTo>
                          <a:pt x="1" y="3"/>
                          <a:pt x="1" y="3"/>
                          <a:pt x="1" y="3"/>
                        </a:cubicBezTo>
                        <a:cubicBezTo>
                          <a:pt x="0" y="6"/>
                          <a:pt x="0" y="6"/>
                          <a:pt x="0" y="6"/>
                        </a:cubicBezTo>
                        <a:cubicBezTo>
                          <a:pt x="0" y="6"/>
                          <a:pt x="0" y="6"/>
                          <a:pt x="0" y="6"/>
                        </a:cubicBezTo>
                        <a:cubicBezTo>
                          <a:pt x="5" y="9"/>
                          <a:pt x="5" y="9"/>
                          <a:pt x="5" y="9"/>
                        </a:cubicBezTo>
                        <a:cubicBezTo>
                          <a:pt x="12" y="6"/>
                          <a:pt x="12" y="6"/>
                          <a:pt x="12" y="6"/>
                        </a:cubicBezTo>
                        <a:lnTo>
                          <a:pt x="19" y="3"/>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4" name="Freeform 423"/>
                  <p:cNvSpPr>
                    <a:spLocks/>
                  </p:cNvSpPr>
                  <p:nvPr/>
                </p:nvSpPr>
                <p:spPr bwMode="auto">
                  <a:xfrm>
                    <a:off x="2070763" y="3694156"/>
                    <a:ext cx="117590" cy="103387"/>
                  </a:xfrm>
                  <a:custGeom>
                    <a:avLst/>
                    <a:gdLst>
                      <a:gd name="T0" fmla="*/ 2147483647 w 15"/>
                      <a:gd name="T1" fmla="*/ 2147483647 h 12"/>
                      <a:gd name="T2" fmla="*/ 2147483647 w 15"/>
                      <a:gd name="T3" fmla="*/ 2147483647 h 12"/>
                      <a:gd name="T4" fmla="*/ 2147483647 w 15"/>
                      <a:gd name="T5" fmla="*/ 0 h 12"/>
                      <a:gd name="T6" fmla="*/ 2147483647 w 15"/>
                      <a:gd name="T7" fmla="*/ 0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0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5" h="12">
                        <a:moveTo>
                          <a:pt x="15" y="5"/>
                        </a:moveTo>
                        <a:cubicBezTo>
                          <a:pt x="13" y="5"/>
                          <a:pt x="11" y="4"/>
                          <a:pt x="11" y="4"/>
                        </a:cubicBezTo>
                        <a:cubicBezTo>
                          <a:pt x="11" y="0"/>
                          <a:pt x="11" y="0"/>
                          <a:pt x="11" y="0"/>
                        </a:cubicBezTo>
                        <a:cubicBezTo>
                          <a:pt x="6" y="0"/>
                          <a:pt x="6" y="0"/>
                          <a:pt x="6" y="0"/>
                        </a:cubicBezTo>
                        <a:cubicBezTo>
                          <a:pt x="4" y="1"/>
                          <a:pt x="4" y="1"/>
                          <a:pt x="4" y="1"/>
                        </a:cubicBezTo>
                        <a:cubicBezTo>
                          <a:pt x="6" y="5"/>
                          <a:pt x="6" y="5"/>
                          <a:pt x="6" y="5"/>
                        </a:cubicBezTo>
                        <a:cubicBezTo>
                          <a:pt x="3" y="5"/>
                          <a:pt x="3" y="5"/>
                          <a:pt x="3" y="5"/>
                        </a:cubicBezTo>
                        <a:cubicBezTo>
                          <a:pt x="1" y="8"/>
                          <a:pt x="1" y="8"/>
                          <a:pt x="1" y="8"/>
                        </a:cubicBezTo>
                        <a:cubicBezTo>
                          <a:pt x="0" y="10"/>
                          <a:pt x="0" y="10"/>
                          <a:pt x="0" y="10"/>
                        </a:cubicBezTo>
                        <a:cubicBezTo>
                          <a:pt x="1" y="11"/>
                          <a:pt x="1" y="11"/>
                          <a:pt x="1" y="11"/>
                        </a:cubicBezTo>
                        <a:cubicBezTo>
                          <a:pt x="7" y="12"/>
                          <a:pt x="7" y="12"/>
                          <a:pt x="7" y="12"/>
                        </a:cubicBezTo>
                        <a:cubicBezTo>
                          <a:pt x="10" y="11"/>
                          <a:pt x="10" y="11"/>
                          <a:pt x="10" y="11"/>
                        </a:cubicBezTo>
                        <a:cubicBezTo>
                          <a:pt x="11" y="8"/>
                          <a:pt x="11" y="8"/>
                          <a:pt x="11" y="8"/>
                        </a:cubicBezTo>
                        <a:lnTo>
                          <a:pt x="15" y="5"/>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5" name="Freeform 424"/>
                  <p:cNvSpPr>
                    <a:spLocks/>
                  </p:cNvSpPr>
                  <p:nvPr/>
                </p:nvSpPr>
                <p:spPr bwMode="auto">
                  <a:xfrm>
                    <a:off x="1468696" y="3260596"/>
                    <a:ext cx="744742" cy="518606"/>
                  </a:xfrm>
                  <a:custGeom>
                    <a:avLst/>
                    <a:gdLst>
                      <a:gd name="T0" fmla="*/ 2147483647 w 576"/>
                      <a:gd name="T1" fmla="*/ 2147483647 h 379"/>
                      <a:gd name="T2" fmla="*/ 2147483647 w 576"/>
                      <a:gd name="T3" fmla="*/ 2147483647 h 379"/>
                      <a:gd name="T4" fmla="*/ 2147483647 w 576"/>
                      <a:gd name="T5" fmla="*/ 2147483647 h 379"/>
                      <a:gd name="T6" fmla="*/ 2147483647 w 576"/>
                      <a:gd name="T7" fmla="*/ 2147483647 h 379"/>
                      <a:gd name="T8" fmla="*/ 2147483647 w 576"/>
                      <a:gd name="T9" fmla="*/ 2147483647 h 379"/>
                      <a:gd name="T10" fmla="*/ 2147483647 w 576"/>
                      <a:gd name="T11" fmla="*/ 2147483647 h 379"/>
                      <a:gd name="T12" fmla="*/ 2147483647 w 576"/>
                      <a:gd name="T13" fmla="*/ 2147483647 h 379"/>
                      <a:gd name="T14" fmla="*/ 2147483647 w 576"/>
                      <a:gd name="T15" fmla="*/ 2147483647 h 379"/>
                      <a:gd name="T16" fmla="*/ 2147483647 w 576"/>
                      <a:gd name="T17" fmla="*/ 2147483647 h 379"/>
                      <a:gd name="T18" fmla="*/ 2147483647 w 576"/>
                      <a:gd name="T19" fmla="*/ 2147483647 h 379"/>
                      <a:gd name="T20" fmla="*/ 2147483647 w 576"/>
                      <a:gd name="T21" fmla="*/ 2147483647 h 379"/>
                      <a:gd name="T22" fmla="*/ 2147483647 w 576"/>
                      <a:gd name="T23" fmla="*/ 2147483647 h 379"/>
                      <a:gd name="T24" fmla="*/ 2147483647 w 576"/>
                      <a:gd name="T25" fmla="*/ 2147483647 h 379"/>
                      <a:gd name="T26" fmla="*/ 2147483647 w 576"/>
                      <a:gd name="T27" fmla="*/ 2147483647 h 379"/>
                      <a:gd name="T28" fmla="*/ 2147483647 w 576"/>
                      <a:gd name="T29" fmla="*/ 2147483647 h 379"/>
                      <a:gd name="T30" fmla="*/ 2147483647 w 576"/>
                      <a:gd name="T31" fmla="*/ 2147483647 h 379"/>
                      <a:gd name="T32" fmla="*/ 2147483647 w 576"/>
                      <a:gd name="T33" fmla="*/ 2147483647 h 379"/>
                      <a:gd name="T34" fmla="*/ 2147483647 w 576"/>
                      <a:gd name="T35" fmla="*/ 2147483647 h 379"/>
                      <a:gd name="T36" fmla="*/ 2147483647 w 576"/>
                      <a:gd name="T37" fmla="*/ 2147483647 h 379"/>
                      <a:gd name="T38" fmla="*/ 2147483647 w 576"/>
                      <a:gd name="T39" fmla="*/ 2147483647 h 379"/>
                      <a:gd name="T40" fmla="*/ 2147483647 w 576"/>
                      <a:gd name="T41" fmla="*/ 2147483647 h 379"/>
                      <a:gd name="T42" fmla="*/ 2147483647 w 576"/>
                      <a:gd name="T43" fmla="*/ 2147483647 h 379"/>
                      <a:gd name="T44" fmla="*/ 2147483647 w 576"/>
                      <a:gd name="T45" fmla="*/ 2147483647 h 379"/>
                      <a:gd name="T46" fmla="*/ 2147483647 w 576"/>
                      <a:gd name="T47" fmla="*/ 2147483647 h 379"/>
                      <a:gd name="T48" fmla="*/ 2147483647 w 576"/>
                      <a:gd name="T49" fmla="*/ 0 h 379"/>
                      <a:gd name="T50" fmla="*/ 0 w 576"/>
                      <a:gd name="T51" fmla="*/ 2147483647 h 379"/>
                      <a:gd name="T52" fmla="*/ 2147483647 w 576"/>
                      <a:gd name="T53" fmla="*/ 2147483647 h 379"/>
                      <a:gd name="T54" fmla="*/ 2147483647 w 576"/>
                      <a:gd name="T55" fmla="*/ 2147483647 h 379"/>
                      <a:gd name="T56" fmla="*/ 2147483647 w 576"/>
                      <a:gd name="T57" fmla="*/ 2147483647 h 379"/>
                      <a:gd name="T58" fmla="*/ 2147483647 w 576"/>
                      <a:gd name="T59" fmla="*/ 2147483647 h 379"/>
                      <a:gd name="T60" fmla="*/ 2147483647 w 576"/>
                      <a:gd name="T61" fmla="*/ 2147483647 h 379"/>
                      <a:gd name="T62" fmla="*/ 2147483647 w 576"/>
                      <a:gd name="T63" fmla="*/ 2147483647 h 379"/>
                      <a:gd name="T64" fmla="*/ 2147483647 w 576"/>
                      <a:gd name="T65" fmla="*/ 2147483647 h 379"/>
                      <a:gd name="T66" fmla="*/ 2147483647 w 576"/>
                      <a:gd name="T67" fmla="*/ 2147483647 h 379"/>
                      <a:gd name="T68" fmla="*/ 2147483647 w 576"/>
                      <a:gd name="T69" fmla="*/ 2147483647 h 379"/>
                      <a:gd name="T70" fmla="*/ 2147483647 w 576"/>
                      <a:gd name="T71" fmla="*/ 2147483647 h 379"/>
                      <a:gd name="T72" fmla="*/ 2147483647 w 576"/>
                      <a:gd name="T73" fmla="*/ 2147483647 h 379"/>
                      <a:gd name="T74" fmla="*/ 2147483647 w 576"/>
                      <a:gd name="T75" fmla="*/ 2147483647 h 379"/>
                      <a:gd name="T76" fmla="*/ 2147483647 w 576"/>
                      <a:gd name="T77" fmla="*/ 2147483647 h 379"/>
                      <a:gd name="T78" fmla="*/ 2147483647 w 576"/>
                      <a:gd name="T79" fmla="*/ 2147483647 h 379"/>
                      <a:gd name="T80" fmla="*/ 2147483647 w 576"/>
                      <a:gd name="T81" fmla="*/ 2147483647 h 379"/>
                      <a:gd name="T82" fmla="*/ 2147483647 w 576"/>
                      <a:gd name="T83" fmla="*/ 2147483647 h 379"/>
                      <a:gd name="T84" fmla="*/ 2147483647 w 576"/>
                      <a:gd name="T85" fmla="*/ 2147483647 h 379"/>
                      <a:gd name="T86" fmla="*/ 2147483647 w 576"/>
                      <a:gd name="T87" fmla="*/ 2147483647 h 379"/>
                      <a:gd name="T88" fmla="*/ 2147483647 w 576"/>
                      <a:gd name="T89" fmla="*/ 2147483647 h 379"/>
                      <a:gd name="T90" fmla="*/ 2147483647 w 576"/>
                      <a:gd name="T91" fmla="*/ 2147483647 h 379"/>
                      <a:gd name="T92" fmla="*/ 2147483647 w 576"/>
                      <a:gd name="T93" fmla="*/ 2147483647 h 379"/>
                      <a:gd name="T94" fmla="*/ 2147483647 w 576"/>
                      <a:gd name="T95" fmla="*/ 2147483647 h 379"/>
                      <a:gd name="T96" fmla="*/ 2147483647 w 576"/>
                      <a:gd name="T97" fmla="*/ 2147483647 h 379"/>
                      <a:gd name="T98" fmla="*/ 2147483647 w 576"/>
                      <a:gd name="T99" fmla="*/ 2147483647 h 379"/>
                      <a:gd name="T100" fmla="*/ 2147483647 w 576"/>
                      <a:gd name="T101" fmla="*/ 2147483647 h 379"/>
                      <a:gd name="T102" fmla="*/ 2147483647 w 576"/>
                      <a:gd name="T103" fmla="*/ 2147483647 h 379"/>
                      <a:gd name="T104" fmla="*/ 2147483647 w 576"/>
                      <a:gd name="T105" fmla="*/ 2147483647 h 379"/>
                      <a:gd name="T106" fmla="*/ 2147483647 w 576"/>
                      <a:gd name="T107" fmla="*/ 2147483647 h 379"/>
                      <a:gd name="T108" fmla="*/ 2147483647 w 576"/>
                      <a:gd name="T109" fmla="*/ 2147483647 h 379"/>
                      <a:gd name="T110" fmla="*/ 2147483647 w 576"/>
                      <a:gd name="T111" fmla="*/ 2147483647 h 37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76" h="379">
                        <a:moveTo>
                          <a:pt x="486" y="348"/>
                        </a:moveTo>
                        <a:lnTo>
                          <a:pt x="504" y="348"/>
                        </a:lnTo>
                        <a:lnTo>
                          <a:pt x="492" y="324"/>
                        </a:lnTo>
                        <a:lnTo>
                          <a:pt x="504" y="318"/>
                        </a:lnTo>
                        <a:lnTo>
                          <a:pt x="534" y="318"/>
                        </a:lnTo>
                        <a:lnTo>
                          <a:pt x="528" y="312"/>
                        </a:lnTo>
                        <a:lnTo>
                          <a:pt x="546" y="300"/>
                        </a:lnTo>
                        <a:lnTo>
                          <a:pt x="564" y="288"/>
                        </a:lnTo>
                        <a:lnTo>
                          <a:pt x="576" y="240"/>
                        </a:lnTo>
                        <a:lnTo>
                          <a:pt x="504" y="252"/>
                        </a:lnTo>
                        <a:lnTo>
                          <a:pt x="474" y="294"/>
                        </a:lnTo>
                        <a:lnTo>
                          <a:pt x="426" y="300"/>
                        </a:lnTo>
                        <a:lnTo>
                          <a:pt x="378" y="240"/>
                        </a:lnTo>
                        <a:lnTo>
                          <a:pt x="372" y="162"/>
                        </a:lnTo>
                        <a:lnTo>
                          <a:pt x="384" y="144"/>
                        </a:lnTo>
                        <a:lnTo>
                          <a:pt x="354" y="138"/>
                        </a:lnTo>
                        <a:lnTo>
                          <a:pt x="330" y="114"/>
                        </a:lnTo>
                        <a:lnTo>
                          <a:pt x="312" y="84"/>
                        </a:lnTo>
                        <a:lnTo>
                          <a:pt x="288" y="66"/>
                        </a:lnTo>
                        <a:lnTo>
                          <a:pt x="252" y="78"/>
                        </a:lnTo>
                        <a:lnTo>
                          <a:pt x="204" y="24"/>
                        </a:lnTo>
                        <a:lnTo>
                          <a:pt x="174" y="18"/>
                        </a:lnTo>
                        <a:lnTo>
                          <a:pt x="156" y="30"/>
                        </a:lnTo>
                        <a:lnTo>
                          <a:pt x="108" y="30"/>
                        </a:lnTo>
                        <a:lnTo>
                          <a:pt x="48" y="0"/>
                        </a:lnTo>
                        <a:lnTo>
                          <a:pt x="0" y="6"/>
                        </a:lnTo>
                        <a:lnTo>
                          <a:pt x="36" y="72"/>
                        </a:lnTo>
                        <a:lnTo>
                          <a:pt x="60" y="108"/>
                        </a:lnTo>
                        <a:lnTo>
                          <a:pt x="54" y="120"/>
                        </a:lnTo>
                        <a:lnTo>
                          <a:pt x="96" y="150"/>
                        </a:lnTo>
                        <a:lnTo>
                          <a:pt x="102" y="180"/>
                        </a:lnTo>
                        <a:lnTo>
                          <a:pt x="120" y="192"/>
                        </a:lnTo>
                        <a:lnTo>
                          <a:pt x="144" y="216"/>
                        </a:lnTo>
                        <a:lnTo>
                          <a:pt x="150" y="198"/>
                        </a:lnTo>
                        <a:lnTo>
                          <a:pt x="126" y="180"/>
                        </a:lnTo>
                        <a:lnTo>
                          <a:pt x="102" y="126"/>
                        </a:lnTo>
                        <a:lnTo>
                          <a:pt x="60" y="66"/>
                        </a:lnTo>
                        <a:lnTo>
                          <a:pt x="48" y="30"/>
                        </a:lnTo>
                        <a:lnTo>
                          <a:pt x="78" y="42"/>
                        </a:lnTo>
                        <a:lnTo>
                          <a:pt x="108" y="102"/>
                        </a:lnTo>
                        <a:lnTo>
                          <a:pt x="120" y="120"/>
                        </a:lnTo>
                        <a:lnTo>
                          <a:pt x="150" y="138"/>
                        </a:lnTo>
                        <a:lnTo>
                          <a:pt x="150" y="156"/>
                        </a:lnTo>
                        <a:lnTo>
                          <a:pt x="174" y="168"/>
                        </a:lnTo>
                        <a:lnTo>
                          <a:pt x="186" y="186"/>
                        </a:lnTo>
                        <a:lnTo>
                          <a:pt x="216" y="216"/>
                        </a:lnTo>
                        <a:lnTo>
                          <a:pt x="222" y="258"/>
                        </a:lnTo>
                        <a:lnTo>
                          <a:pt x="222" y="276"/>
                        </a:lnTo>
                        <a:lnTo>
                          <a:pt x="300" y="324"/>
                        </a:lnTo>
                        <a:lnTo>
                          <a:pt x="336" y="342"/>
                        </a:lnTo>
                        <a:lnTo>
                          <a:pt x="402" y="360"/>
                        </a:lnTo>
                        <a:lnTo>
                          <a:pt x="420" y="354"/>
                        </a:lnTo>
                        <a:lnTo>
                          <a:pt x="438" y="354"/>
                        </a:lnTo>
                        <a:lnTo>
                          <a:pt x="468" y="379"/>
                        </a:lnTo>
                        <a:lnTo>
                          <a:pt x="474" y="366"/>
                        </a:lnTo>
                        <a:lnTo>
                          <a:pt x="486" y="348"/>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6" name="Freeform 425"/>
                  <p:cNvSpPr>
                    <a:spLocks/>
                  </p:cNvSpPr>
                  <p:nvPr/>
                </p:nvSpPr>
                <p:spPr bwMode="auto">
                  <a:xfrm rot="20747712">
                    <a:off x="2686939" y="1182839"/>
                    <a:ext cx="802755" cy="942161"/>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7" name="Freeform 426"/>
                  <p:cNvSpPr>
                    <a:spLocks/>
                  </p:cNvSpPr>
                  <p:nvPr/>
                </p:nvSpPr>
                <p:spPr bwMode="auto">
                  <a:xfrm>
                    <a:off x="1732100" y="1436306"/>
                    <a:ext cx="40765" cy="38354"/>
                  </a:xfrm>
                  <a:custGeom>
                    <a:avLst/>
                    <a:gdLst>
                      <a:gd name="T0" fmla="*/ 2147483647 w 40"/>
                      <a:gd name="T1" fmla="*/ 2147483647 h 36"/>
                      <a:gd name="T2" fmla="*/ 2147483647 w 40"/>
                      <a:gd name="T3" fmla="*/ 2147483647 h 36"/>
                      <a:gd name="T4" fmla="*/ 2147483647 w 40"/>
                      <a:gd name="T5" fmla="*/ 2147483647 h 36"/>
                      <a:gd name="T6" fmla="*/ 2147483647 w 40"/>
                      <a:gd name="T7" fmla="*/ 2147483647 h 36"/>
                      <a:gd name="T8" fmla="*/ 2147483647 w 40"/>
                      <a:gd name="T9" fmla="*/ 2147483647 h 36"/>
                      <a:gd name="T10" fmla="*/ 2147483647 w 40"/>
                      <a:gd name="T11" fmla="*/ 2147483647 h 36"/>
                      <a:gd name="T12" fmla="*/ 2147483647 w 40"/>
                      <a:gd name="T13" fmla="*/ 2147483647 h 36"/>
                      <a:gd name="T14" fmla="*/ 2147483647 w 40"/>
                      <a:gd name="T15" fmla="*/ 2147483647 h 36"/>
                      <a:gd name="T16" fmla="*/ 2147483647 w 40"/>
                      <a:gd name="T17" fmla="*/ 2147483647 h 36"/>
                      <a:gd name="T18" fmla="*/ 2147483647 w 40"/>
                      <a:gd name="T19" fmla="*/ 2147483647 h 36"/>
                      <a:gd name="T20" fmla="*/ 2147483647 w 40"/>
                      <a:gd name="T21" fmla="*/ 2147483647 h 36"/>
                      <a:gd name="T22" fmla="*/ 2147483647 w 40"/>
                      <a:gd name="T23" fmla="*/ 2147483647 h 36"/>
                      <a:gd name="T24" fmla="*/ 2147483647 w 40"/>
                      <a:gd name="T25" fmla="*/ 2147483647 h 36"/>
                      <a:gd name="T26" fmla="*/ 2147483647 w 40"/>
                      <a:gd name="T27" fmla="*/ 2147483647 h 36"/>
                      <a:gd name="T28" fmla="*/ 0 w 40"/>
                      <a:gd name="T29" fmla="*/ 2147483647 h 36"/>
                      <a:gd name="T30" fmla="*/ 2147483647 w 40"/>
                      <a:gd name="T31" fmla="*/ 2147483647 h 36"/>
                      <a:gd name="T32" fmla="*/ 2147483647 w 40"/>
                      <a:gd name="T33" fmla="*/ 2147483647 h 36"/>
                      <a:gd name="T34" fmla="*/ 2147483647 w 40"/>
                      <a:gd name="T35" fmla="*/ 2147483647 h 36"/>
                      <a:gd name="T36" fmla="*/ 2147483647 w 40"/>
                      <a:gd name="T37" fmla="*/ 2147483647 h 36"/>
                      <a:gd name="T38" fmla="*/ 2147483647 w 40"/>
                      <a:gd name="T39" fmla="*/ 0 h 36"/>
                      <a:gd name="T40" fmla="*/ 2147483647 w 40"/>
                      <a:gd name="T41" fmla="*/ 2147483647 h 36"/>
                      <a:gd name="T42" fmla="*/ 2147483647 w 40"/>
                      <a:gd name="T43" fmla="*/ 2147483647 h 36"/>
                      <a:gd name="T44" fmla="*/ 2147483647 w 40"/>
                      <a:gd name="T45" fmla="*/ 2147483647 h 36"/>
                      <a:gd name="T46" fmla="*/ 2147483647 w 40"/>
                      <a:gd name="T47" fmla="*/ 2147483647 h 36"/>
                      <a:gd name="T48" fmla="*/ 2147483647 w 40"/>
                      <a:gd name="T49" fmla="*/ 2147483647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6">
                        <a:moveTo>
                          <a:pt x="39" y="19"/>
                        </a:moveTo>
                        <a:lnTo>
                          <a:pt x="38" y="21"/>
                        </a:lnTo>
                        <a:lnTo>
                          <a:pt x="35" y="25"/>
                        </a:lnTo>
                        <a:lnTo>
                          <a:pt x="31" y="29"/>
                        </a:lnTo>
                        <a:lnTo>
                          <a:pt x="27" y="33"/>
                        </a:lnTo>
                        <a:lnTo>
                          <a:pt x="23" y="35"/>
                        </a:lnTo>
                        <a:lnTo>
                          <a:pt x="18" y="36"/>
                        </a:lnTo>
                        <a:lnTo>
                          <a:pt x="13" y="36"/>
                        </a:lnTo>
                        <a:lnTo>
                          <a:pt x="12" y="36"/>
                        </a:lnTo>
                        <a:lnTo>
                          <a:pt x="11" y="35"/>
                        </a:lnTo>
                        <a:lnTo>
                          <a:pt x="10" y="33"/>
                        </a:lnTo>
                        <a:lnTo>
                          <a:pt x="8" y="31"/>
                        </a:lnTo>
                        <a:lnTo>
                          <a:pt x="4" y="27"/>
                        </a:lnTo>
                        <a:lnTo>
                          <a:pt x="1" y="24"/>
                        </a:lnTo>
                        <a:lnTo>
                          <a:pt x="0" y="19"/>
                        </a:lnTo>
                        <a:lnTo>
                          <a:pt x="1" y="16"/>
                        </a:lnTo>
                        <a:lnTo>
                          <a:pt x="7" y="11"/>
                        </a:lnTo>
                        <a:lnTo>
                          <a:pt x="12" y="6"/>
                        </a:lnTo>
                        <a:lnTo>
                          <a:pt x="16" y="2"/>
                        </a:lnTo>
                        <a:lnTo>
                          <a:pt x="19" y="0"/>
                        </a:lnTo>
                        <a:lnTo>
                          <a:pt x="24" y="1"/>
                        </a:lnTo>
                        <a:lnTo>
                          <a:pt x="31" y="3"/>
                        </a:lnTo>
                        <a:lnTo>
                          <a:pt x="37" y="6"/>
                        </a:lnTo>
                        <a:lnTo>
                          <a:pt x="40" y="11"/>
                        </a:lnTo>
                        <a:lnTo>
                          <a:pt x="39" y="19"/>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8" name="Freeform 427"/>
                  <p:cNvSpPr>
                    <a:spLocks/>
                  </p:cNvSpPr>
                  <p:nvPr/>
                </p:nvSpPr>
                <p:spPr bwMode="auto">
                  <a:xfrm>
                    <a:off x="2080170" y="1746469"/>
                    <a:ext cx="0" cy="5003"/>
                  </a:xfrm>
                  <a:custGeom>
                    <a:avLst/>
                    <a:gdLst>
                      <a:gd name="T0" fmla="*/ 1 w 1"/>
                      <a:gd name="T1" fmla="*/ 2147483647 h 4"/>
                      <a:gd name="T2" fmla="*/ 1 w 1"/>
                      <a:gd name="T3" fmla="*/ 2147483647 h 4"/>
                      <a:gd name="T4" fmla="*/ 1 w 1"/>
                      <a:gd name="T5" fmla="*/ 2147483647 h 4"/>
                      <a:gd name="T6" fmla="*/ 0 w 1"/>
                      <a:gd name="T7" fmla="*/ 0 h 4"/>
                      <a:gd name="T8" fmla="*/ 0 w 1"/>
                      <a:gd name="T9" fmla="*/ 0 h 4"/>
                      <a:gd name="T10" fmla="*/ 1 w 1"/>
                      <a:gd name="T11" fmla="*/ 2147483647 h 4"/>
                      <a:gd name="T12" fmla="*/ 1 w 1"/>
                      <a:gd name="T13" fmla="*/ 2147483647 h 4"/>
                      <a:gd name="T14" fmla="*/ 1 w 1"/>
                      <a:gd name="T15" fmla="*/ 2147483647 h 4"/>
                      <a:gd name="T16" fmla="*/ 1 w 1"/>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 h="4">
                        <a:moveTo>
                          <a:pt x="1" y="2"/>
                        </a:moveTo>
                        <a:lnTo>
                          <a:pt x="1" y="1"/>
                        </a:lnTo>
                        <a:lnTo>
                          <a:pt x="0" y="0"/>
                        </a:lnTo>
                        <a:lnTo>
                          <a:pt x="1" y="2"/>
                        </a:lnTo>
                        <a:lnTo>
                          <a:pt x="1" y="4"/>
                        </a:lnTo>
                        <a:lnTo>
                          <a:pt x="1" y="2"/>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89" name="Freeform 428"/>
                  <p:cNvSpPr>
                    <a:spLocks/>
                  </p:cNvSpPr>
                  <p:nvPr/>
                </p:nvSpPr>
                <p:spPr bwMode="auto">
                  <a:xfrm>
                    <a:off x="2432942" y="1781489"/>
                    <a:ext cx="3136" cy="6670"/>
                  </a:xfrm>
                  <a:custGeom>
                    <a:avLst/>
                    <a:gdLst>
                      <a:gd name="T0" fmla="*/ 2147483647 w 5"/>
                      <a:gd name="T1" fmla="*/ 2147483647 h 8"/>
                      <a:gd name="T2" fmla="*/ 2147483647 w 5"/>
                      <a:gd name="T3" fmla="*/ 2147483647 h 8"/>
                      <a:gd name="T4" fmla="*/ 2147483647 w 5"/>
                      <a:gd name="T5" fmla="*/ 2147483647 h 8"/>
                      <a:gd name="T6" fmla="*/ 2147483647 w 5"/>
                      <a:gd name="T7" fmla="*/ 2147483647 h 8"/>
                      <a:gd name="T8" fmla="*/ 2147483647 w 5"/>
                      <a:gd name="T9" fmla="*/ 0 h 8"/>
                      <a:gd name="T10" fmla="*/ 0 w 5"/>
                      <a:gd name="T11" fmla="*/ 0 h 8"/>
                      <a:gd name="T12" fmla="*/ 0 w 5"/>
                      <a:gd name="T13" fmla="*/ 2147483647 h 8"/>
                      <a:gd name="T14" fmla="*/ 2147483647 w 5"/>
                      <a:gd name="T15" fmla="*/ 2147483647 h 8"/>
                      <a:gd name="T16" fmla="*/ 2147483647 w 5"/>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8">
                        <a:moveTo>
                          <a:pt x="5" y="8"/>
                        </a:moveTo>
                        <a:lnTo>
                          <a:pt x="5" y="6"/>
                        </a:lnTo>
                        <a:lnTo>
                          <a:pt x="5" y="5"/>
                        </a:lnTo>
                        <a:lnTo>
                          <a:pt x="5" y="2"/>
                        </a:lnTo>
                        <a:lnTo>
                          <a:pt x="3" y="0"/>
                        </a:lnTo>
                        <a:lnTo>
                          <a:pt x="0" y="0"/>
                        </a:lnTo>
                        <a:lnTo>
                          <a:pt x="0" y="1"/>
                        </a:lnTo>
                        <a:lnTo>
                          <a:pt x="2" y="5"/>
                        </a:lnTo>
                        <a:lnTo>
                          <a:pt x="5" y="8"/>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90" name="Freeform 429"/>
                  <p:cNvSpPr>
                    <a:spLocks/>
                  </p:cNvSpPr>
                  <p:nvPr/>
                </p:nvSpPr>
                <p:spPr bwMode="auto">
                  <a:xfrm>
                    <a:off x="2086441" y="1342924"/>
                    <a:ext cx="14111" cy="15008"/>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2147483647 w 14"/>
                      <a:gd name="T9" fmla="*/ 2147483647 h 15"/>
                      <a:gd name="T10" fmla="*/ 2147483647 w 14"/>
                      <a:gd name="T11" fmla="*/ 2147483647 h 15"/>
                      <a:gd name="T12" fmla="*/ 2147483647 w 14"/>
                      <a:gd name="T13" fmla="*/ 2147483647 h 15"/>
                      <a:gd name="T14" fmla="*/ 2147483647 w 14"/>
                      <a:gd name="T15" fmla="*/ 2147483647 h 15"/>
                      <a:gd name="T16" fmla="*/ 2147483647 w 14"/>
                      <a:gd name="T17" fmla="*/ 0 h 15"/>
                      <a:gd name="T18" fmla="*/ 2147483647 w 14"/>
                      <a:gd name="T19" fmla="*/ 2147483647 h 15"/>
                      <a:gd name="T20" fmla="*/ 2147483647 w 14"/>
                      <a:gd name="T21" fmla="*/ 2147483647 h 15"/>
                      <a:gd name="T22" fmla="*/ 2147483647 w 14"/>
                      <a:gd name="T23" fmla="*/ 2147483647 h 15"/>
                      <a:gd name="T24" fmla="*/ 0 w 14"/>
                      <a:gd name="T25" fmla="*/ 2147483647 h 15"/>
                      <a:gd name="T26" fmla="*/ 2147483647 w 14"/>
                      <a:gd name="T27" fmla="*/ 2147483647 h 15"/>
                      <a:gd name="T28" fmla="*/ 2147483647 w 14"/>
                      <a:gd name="T29" fmla="*/ 2147483647 h 15"/>
                      <a:gd name="T30" fmla="*/ 2147483647 w 14"/>
                      <a:gd name="T31" fmla="*/ 2147483647 h 15"/>
                      <a:gd name="T32" fmla="*/ 2147483647 w 14"/>
                      <a:gd name="T33" fmla="*/ 2147483647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 h="15">
                        <a:moveTo>
                          <a:pt x="2" y="7"/>
                        </a:moveTo>
                        <a:lnTo>
                          <a:pt x="9" y="13"/>
                        </a:lnTo>
                        <a:lnTo>
                          <a:pt x="14" y="15"/>
                        </a:lnTo>
                        <a:lnTo>
                          <a:pt x="14" y="14"/>
                        </a:lnTo>
                        <a:lnTo>
                          <a:pt x="10" y="7"/>
                        </a:lnTo>
                        <a:lnTo>
                          <a:pt x="9" y="5"/>
                        </a:lnTo>
                        <a:lnTo>
                          <a:pt x="9" y="3"/>
                        </a:lnTo>
                        <a:lnTo>
                          <a:pt x="8" y="1"/>
                        </a:lnTo>
                        <a:lnTo>
                          <a:pt x="7" y="0"/>
                        </a:lnTo>
                        <a:lnTo>
                          <a:pt x="6" y="1"/>
                        </a:lnTo>
                        <a:lnTo>
                          <a:pt x="3" y="2"/>
                        </a:lnTo>
                        <a:lnTo>
                          <a:pt x="2" y="3"/>
                        </a:lnTo>
                        <a:lnTo>
                          <a:pt x="0" y="5"/>
                        </a:lnTo>
                        <a:lnTo>
                          <a:pt x="1" y="6"/>
                        </a:lnTo>
                        <a:lnTo>
                          <a:pt x="2" y="7"/>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91" name="Freeform 430"/>
                  <p:cNvSpPr>
                    <a:spLocks/>
                  </p:cNvSpPr>
                  <p:nvPr/>
                </p:nvSpPr>
                <p:spPr bwMode="auto">
                  <a:xfrm>
                    <a:off x="2271450" y="1834849"/>
                    <a:ext cx="142677" cy="126733"/>
                  </a:xfrm>
                  <a:custGeom>
                    <a:avLst/>
                    <a:gdLst>
                      <a:gd name="T0" fmla="*/ 2147483647 w 135"/>
                      <a:gd name="T1" fmla="*/ 2147483647 h 119"/>
                      <a:gd name="T2" fmla="*/ 2147483647 w 135"/>
                      <a:gd name="T3" fmla="*/ 2147483647 h 119"/>
                      <a:gd name="T4" fmla="*/ 2147483647 w 135"/>
                      <a:gd name="T5" fmla="*/ 2147483647 h 119"/>
                      <a:gd name="T6" fmla="*/ 2147483647 w 135"/>
                      <a:gd name="T7" fmla="*/ 2147483647 h 119"/>
                      <a:gd name="T8" fmla="*/ 2147483647 w 135"/>
                      <a:gd name="T9" fmla="*/ 2147483647 h 119"/>
                      <a:gd name="T10" fmla="*/ 2147483647 w 135"/>
                      <a:gd name="T11" fmla="*/ 2147483647 h 119"/>
                      <a:gd name="T12" fmla="*/ 2147483647 w 135"/>
                      <a:gd name="T13" fmla="*/ 2147483647 h 119"/>
                      <a:gd name="T14" fmla="*/ 2147483647 w 135"/>
                      <a:gd name="T15" fmla="*/ 2147483647 h 119"/>
                      <a:gd name="T16" fmla="*/ 2147483647 w 135"/>
                      <a:gd name="T17" fmla="*/ 2147483647 h 119"/>
                      <a:gd name="T18" fmla="*/ 2147483647 w 135"/>
                      <a:gd name="T19" fmla="*/ 2147483647 h 119"/>
                      <a:gd name="T20" fmla="*/ 2147483647 w 135"/>
                      <a:gd name="T21" fmla="*/ 2147483647 h 119"/>
                      <a:gd name="T22" fmla="*/ 2147483647 w 135"/>
                      <a:gd name="T23" fmla="*/ 2147483647 h 119"/>
                      <a:gd name="T24" fmla="*/ 2147483647 w 135"/>
                      <a:gd name="T25" fmla="*/ 2147483647 h 119"/>
                      <a:gd name="T26" fmla="*/ 2147483647 w 135"/>
                      <a:gd name="T27" fmla="*/ 2147483647 h 119"/>
                      <a:gd name="T28" fmla="*/ 2147483647 w 135"/>
                      <a:gd name="T29" fmla="*/ 2147483647 h 119"/>
                      <a:gd name="T30" fmla="*/ 2147483647 w 135"/>
                      <a:gd name="T31" fmla="*/ 2147483647 h 119"/>
                      <a:gd name="T32" fmla="*/ 2147483647 w 135"/>
                      <a:gd name="T33" fmla="*/ 2147483647 h 119"/>
                      <a:gd name="T34" fmla="*/ 2147483647 w 135"/>
                      <a:gd name="T35" fmla="*/ 2147483647 h 119"/>
                      <a:gd name="T36" fmla="*/ 2147483647 w 135"/>
                      <a:gd name="T37" fmla="*/ 2147483647 h 119"/>
                      <a:gd name="T38" fmla="*/ 2147483647 w 135"/>
                      <a:gd name="T39" fmla="*/ 2147483647 h 119"/>
                      <a:gd name="T40" fmla="*/ 2147483647 w 135"/>
                      <a:gd name="T41" fmla="*/ 2147483647 h 119"/>
                      <a:gd name="T42" fmla="*/ 2147483647 w 135"/>
                      <a:gd name="T43" fmla="*/ 2147483647 h 119"/>
                      <a:gd name="T44" fmla="*/ 2147483647 w 135"/>
                      <a:gd name="T45" fmla="*/ 2147483647 h 119"/>
                      <a:gd name="T46" fmla="*/ 2147483647 w 135"/>
                      <a:gd name="T47" fmla="*/ 2147483647 h 119"/>
                      <a:gd name="T48" fmla="*/ 2147483647 w 135"/>
                      <a:gd name="T49" fmla="*/ 2147483647 h 119"/>
                      <a:gd name="T50" fmla="*/ 2147483647 w 135"/>
                      <a:gd name="T51" fmla="*/ 2147483647 h 119"/>
                      <a:gd name="T52" fmla="*/ 2147483647 w 135"/>
                      <a:gd name="T53" fmla="*/ 2147483647 h 119"/>
                      <a:gd name="T54" fmla="*/ 2147483647 w 135"/>
                      <a:gd name="T55" fmla="*/ 2147483647 h 119"/>
                      <a:gd name="T56" fmla="*/ 2147483647 w 135"/>
                      <a:gd name="T57" fmla="*/ 2147483647 h 119"/>
                      <a:gd name="T58" fmla="*/ 2147483647 w 135"/>
                      <a:gd name="T59" fmla="*/ 2147483647 h 119"/>
                      <a:gd name="T60" fmla="*/ 2147483647 w 135"/>
                      <a:gd name="T61" fmla="*/ 2147483647 h 119"/>
                      <a:gd name="T62" fmla="*/ 2147483647 w 135"/>
                      <a:gd name="T63" fmla="*/ 2147483647 h 119"/>
                      <a:gd name="T64" fmla="*/ 2147483647 w 135"/>
                      <a:gd name="T65" fmla="*/ 2147483647 h 119"/>
                      <a:gd name="T66" fmla="*/ 2147483647 w 135"/>
                      <a:gd name="T67" fmla="*/ 2147483647 h 119"/>
                      <a:gd name="T68" fmla="*/ 2147483647 w 135"/>
                      <a:gd name="T69" fmla="*/ 2147483647 h 119"/>
                      <a:gd name="T70" fmla="*/ 2147483647 w 135"/>
                      <a:gd name="T71" fmla="*/ 2147483647 h 119"/>
                      <a:gd name="T72" fmla="*/ 2147483647 w 135"/>
                      <a:gd name="T73" fmla="*/ 2147483647 h 119"/>
                      <a:gd name="T74" fmla="*/ 2147483647 w 135"/>
                      <a:gd name="T75" fmla="*/ 2147483647 h 119"/>
                      <a:gd name="T76" fmla="*/ 2147483647 w 135"/>
                      <a:gd name="T77" fmla="*/ 2147483647 h 119"/>
                      <a:gd name="T78" fmla="*/ 2147483647 w 135"/>
                      <a:gd name="T79" fmla="*/ 2147483647 h 119"/>
                      <a:gd name="T80" fmla="*/ 2147483647 w 135"/>
                      <a:gd name="T81" fmla="*/ 2147483647 h 1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119">
                        <a:moveTo>
                          <a:pt x="122" y="59"/>
                        </a:moveTo>
                        <a:lnTo>
                          <a:pt x="124" y="60"/>
                        </a:lnTo>
                        <a:lnTo>
                          <a:pt x="130" y="62"/>
                        </a:lnTo>
                        <a:lnTo>
                          <a:pt x="135" y="67"/>
                        </a:lnTo>
                        <a:lnTo>
                          <a:pt x="133" y="71"/>
                        </a:lnTo>
                        <a:lnTo>
                          <a:pt x="129" y="76"/>
                        </a:lnTo>
                        <a:lnTo>
                          <a:pt x="126" y="78"/>
                        </a:lnTo>
                        <a:lnTo>
                          <a:pt x="124" y="81"/>
                        </a:lnTo>
                        <a:lnTo>
                          <a:pt x="121" y="83"/>
                        </a:lnTo>
                        <a:lnTo>
                          <a:pt x="118" y="83"/>
                        </a:lnTo>
                        <a:lnTo>
                          <a:pt x="116" y="83"/>
                        </a:lnTo>
                        <a:lnTo>
                          <a:pt x="114" y="82"/>
                        </a:lnTo>
                        <a:lnTo>
                          <a:pt x="108" y="79"/>
                        </a:lnTo>
                        <a:lnTo>
                          <a:pt x="101" y="77"/>
                        </a:lnTo>
                        <a:lnTo>
                          <a:pt x="95" y="75"/>
                        </a:lnTo>
                        <a:lnTo>
                          <a:pt x="91" y="74"/>
                        </a:lnTo>
                        <a:lnTo>
                          <a:pt x="86" y="71"/>
                        </a:lnTo>
                        <a:lnTo>
                          <a:pt x="82" y="68"/>
                        </a:lnTo>
                        <a:lnTo>
                          <a:pt x="77" y="66"/>
                        </a:lnTo>
                        <a:lnTo>
                          <a:pt x="72" y="66"/>
                        </a:lnTo>
                        <a:lnTo>
                          <a:pt x="70" y="70"/>
                        </a:lnTo>
                        <a:lnTo>
                          <a:pt x="71" y="78"/>
                        </a:lnTo>
                        <a:lnTo>
                          <a:pt x="72" y="85"/>
                        </a:lnTo>
                        <a:lnTo>
                          <a:pt x="72" y="92"/>
                        </a:lnTo>
                        <a:lnTo>
                          <a:pt x="68" y="96"/>
                        </a:lnTo>
                        <a:lnTo>
                          <a:pt x="61" y="99"/>
                        </a:lnTo>
                        <a:lnTo>
                          <a:pt x="58" y="102"/>
                        </a:lnTo>
                        <a:lnTo>
                          <a:pt x="57" y="107"/>
                        </a:lnTo>
                        <a:lnTo>
                          <a:pt x="56" y="111"/>
                        </a:lnTo>
                        <a:lnTo>
                          <a:pt x="53" y="114"/>
                        </a:lnTo>
                        <a:lnTo>
                          <a:pt x="48" y="117"/>
                        </a:lnTo>
                        <a:lnTo>
                          <a:pt x="44" y="119"/>
                        </a:lnTo>
                        <a:lnTo>
                          <a:pt x="40" y="116"/>
                        </a:lnTo>
                        <a:lnTo>
                          <a:pt x="39" y="111"/>
                        </a:lnTo>
                        <a:lnTo>
                          <a:pt x="38" y="105"/>
                        </a:lnTo>
                        <a:lnTo>
                          <a:pt x="34" y="100"/>
                        </a:lnTo>
                        <a:lnTo>
                          <a:pt x="29" y="99"/>
                        </a:lnTo>
                        <a:lnTo>
                          <a:pt x="23" y="99"/>
                        </a:lnTo>
                        <a:lnTo>
                          <a:pt x="20" y="100"/>
                        </a:lnTo>
                        <a:lnTo>
                          <a:pt x="17" y="101"/>
                        </a:lnTo>
                        <a:lnTo>
                          <a:pt x="10" y="104"/>
                        </a:lnTo>
                        <a:lnTo>
                          <a:pt x="3" y="105"/>
                        </a:lnTo>
                        <a:lnTo>
                          <a:pt x="0" y="101"/>
                        </a:lnTo>
                        <a:lnTo>
                          <a:pt x="1" y="97"/>
                        </a:lnTo>
                        <a:lnTo>
                          <a:pt x="4" y="90"/>
                        </a:lnTo>
                        <a:lnTo>
                          <a:pt x="9" y="84"/>
                        </a:lnTo>
                        <a:lnTo>
                          <a:pt x="12" y="82"/>
                        </a:lnTo>
                        <a:lnTo>
                          <a:pt x="16" y="79"/>
                        </a:lnTo>
                        <a:lnTo>
                          <a:pt x="16" y="75"/>
                        </a:lnTo>
                        <a:lnTo>
                          <a:pt x="14" y="68"/>
                        </a:lnTo>
                        <a:lnTo>
                          <a:pt x="12" y="61"/>
                        </a:lnTo>
                        <a:lnTo>
                          <a:pt x="11" y="55"/>
                        </a:lnTo>
                        <a:lnTo>
                          <a:pt x="12" y="48"/>
                        </a:lnTo>
                        <a:lnTo>
                          <a:pt x="12" y="44"/>
                        </a:lnTo>
                        <a:lnTo>
                          <a:pt x="10" y="39"/>
                        </a:lnTo>
                        <a:lnTo>
                          <a:pt x="8" y="35"/>
                        </a:lnTo>
                        <a:lnTo>
                          <a:pt x="8" y="26"/>
                        </a:lnTo>
                        <a:lnTo>
                          <a:pt x="8" y="16"/>
                        </a:lnTo>
                        <a:lnTo>
                          <a:pt x="8" y="8"/>
                        </a:lnTo>
                        <a:lnTo>
                          <a:pt x="9" y="2"/>
                        </a:lnTo>
                        <a:lnTo>
                          <a:pt x="12" y="0"/>
                        </a:lnTo>
                        <a:lnTo>
                          <a:pt x="18" y="1"/>
                        </a:lnTo>
                        <a:lnTo>
                          <a:pt x="24" y="3"/>
                        </a:lnTo>
                        <a:lnTo>
                          <a:pt x="27" y="9"/>
                        </a:lnTo>
                        <a:lnTo>
                          <a:pt x="30" y="18"/>
                        </a:lnTo>
                        <a:lnTo>
                          <a:pt x="32" y="26"/>
                        </a:lnTo>
                        <a:lnTo>
                          <a:pt x="33" y="30"/>
                        </a:lnTo>
                        <a:lnTo>
                          <a:pt x="37" y="30"/>
                        </a:lnTo>
                        <a:lnTo>
                          <a:pt x="40" y="28"/>
                        </a:lnTo>
                        <a:lnTo>
                          <a:pt x="44" y="25"/>
                        </a:lnTo>
                        <a:lnTo>
                          <a:pt x="48" y="23"/>
                        </a:lnTo>
                        <a:lnTo>
                          <a:pt x="54" y="23"/>
                        </a:lnTo>
                        <a:lnTo>
                          <a:pt x="61" y="24"/>
                        </a:lnTo>
                        <a:lnTo>
                          <a:pt x="70" y="26"/>
                        </a:lnTo>
                        <a:lnTo>
                          <a:pt x="78" y="30"/>
                        </a:lnTo>
                        <a:lnTo>
                          <a:pt x="85" y="33"/>
                        </a:lnTo>
                        <a:lnTo>
                          <a:pt x="90" y="40"/>
                        </a:lnTo>
                        <a:lnTo>
                          <a:pt x="93" y="48"/>
                        </a:lnTo>
                        <a:lnTo>
                          <a:pt x="98" y="54"/>
                        </a:lnTo>
                        <a:lnTo>
                          <a:pt x="100" y="58"/>
                        </a:lnTo>
                        <a:lnTo>
                          <a:pt x="101" y="59"/>
                        </a:lnTo>
                        <a:lnTo>
                          <a:pt x="122" y="59"/>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srgbClr val="FF0000"/>
                      </a:solidFill>
                      <a:latin typeface="Calibri"/>
                    </a:endParaRPr>
                  </a:p>
                </p:txBody>
              </p:sp>
              <p:sp>
                <p:nvSpPr>
                  <p:cNvPr id="592" name="Freeform 431"/>
                  <p:cNvSpPr>
                    <a:spLocks/>
                  </p:cNvSpPr>
                  <p:nvPr/>
                </p:nvSpPr>
                <p:spPr bwMode="auto">
                  <a:xfrm>
                    <a:off x="2156995" y="1454650"/>
                    <a:ext cx="591091" cy="420221"/>
                  </a:xfrm>
                  <a:custGeom>
                    <a:avLst/>
                    <a:gdLst>
                      <a:gd name="T0" fmla="*/ 2147483647 w 556"/>
                      <a:gd name="T1" fmla="*/ 2147483647 h 395"/>
                      <a:gd name="T2" fmla="*/ 2147483647 w 556"/>
                      <a:gd name="T3" fmla="*/ 2147483647 h 395"/>
                      <a:gd name="T4" fmla="*/ 2147483647 w 556"/>
                      <a:gd name="T5" fmla="*/ 2147483647 h 395"/>
                      <a:gd name="T6" fmla="*/ 2147483647 w 556"/>
                      <a:gd name="T7" fmla="*/ 2147483647 h 395"/>
                      <a:gd name="T8" fmla="*/ 2147483647 w 556"/>
                      <a:gd name="T9" fmla="*/ 2147483647 h 395"/>
                      <a:gd name="T10" fmla="*/ 2147483647 w 556"/>
                      <a:gd name="T11" fmla="*/ 2147483647 h 395"/>
                      <a:gd name="T12" fmla="*/ 2147483647 w 556"/>
                      <a:gd name="T13" fmla="*/ 2147483647 h 395"/>
                      <a:gd name="T14" fmla="*/ 2147483647 w 556"/>
                      <a:gd name="T15" fmla="*/ 2147483647 h 395"/>
                      <a:gd name="T16" fmla="*/ 2147483647 w 556"/>
                      <a:gd name="T17" fmla="*/ 2147483647 h 395"/>
                      <a:gd name="T18" fmla="*/ 2147483647 w 556"/>
                      <a:gd name="T19" fmla="*/ 2147483647 h 395"/>
                      <a:gd name="T20" fmla="*/ 2147483647 w 556"/>
                      <a:gd name="T21" fmla="*/ 2147483647 h 395"/>
                      <a:gd name="T22" fmla="*/ 2147483647 w 556"/>
                      <a:gd name="T23" fmla="*/ 2147483647 h 395"/>
                      <a:gd name="T24" fmla="*/ 2147483647 w 556"/>
                      <a:gd name="T25" fmla="*/ 2147483647 h 395"/>
                      <a:gd name="T26" fmla="*/ 2147483647 w 556"/>
                      <a:gd name="T27" fmla="*/ 2147483647 h 395"/>
                      <a:gd name="T28" fmla="*/ 2147483647 w 556"/>
                      <a:gd name="T29" fmla="*/ 2147483647 h 395"/>
                      <a:gd name="T30" fmla="*/ 2147483647 w 556"/>
                      <a:gd name="T31" fmla="*/ 2147483647 h 395"/>
                      <a:gd name="T32" fmla="*/ 2147483647 w 556"/>
                      <a:gd name="T33" fmla="*/ 2147483647 h 395"/>
                      <a:gd name="T34" fmla="*/ 2147483647 w 556"/>
                      <a:gd name="T35" fmla="*/ 2147483647 h 395"/>
                      <a:gd name="T36" fmla="*/ 2147483647 w 556"/>
                      <a:gd name="T37" fmla="*/ 2147483647 h 395"/>
                      <a:gd name="T38" fmla="*/ 2147483647 w 556"/>
                      <a:gd name="T39" fmla="*/ 2147483647 h 395"/>
                      <a:gd name="T40" fmla="*/ 2147483647 w 556"/>
                      <a:gd name="T41" fmla="*/ 2147483647 h 395"/>
                      <a:gd name="T42" fmla="*/ 2147483647 w 556"/>
                      <a:gd name="T43" fmla="*/ 2147483647 h 395"/>
                      <a:gd name="T44" fmla="*/ 2147483647 w 556"/>
                      <a:gd name="T45" fmla="*/ 2147483647 h 395"/>
                      <a:gd name="T46" fmla="*/ 2147483647 w 556"/>
                      <a:gd name="T47" fmla="*/ 2147483647 h 395"/>
                      <a:gd name="T48" fmla="*/ 2147483647 w 556"/>
                      <a:gd name="T49" fmla="*/ 2147483647 h 395"/>
                      <a:gd name="T50" fmla="*/ 0 w 556"/>
                      <a:gd name="T51" fmla="*/ 2147483647 h 395"/>
                      <a:gd name="T52" fmla="*/ 2147483647 w 556"/>
                      <a:gd name="T53" fmla="*/ 2147483647 h 395"/>
                      <a:gd name="T54" fmla="*/ 2147483647 w 556"/>
                      <a:gd name="T55" fmla="*/ 2147483647 h 395"/>
                      <a:gd name="T56" fmla="*/ 2147483647 w 556"/>
                      <a:gd name="T57" fmla="*/ 2147483647 h 395"/>
                      <a:gd name="T58" fmla="*/ 2147483647 w 556"/>
                      <a:gd name="T59" fmla="*/ 2147483647 h 395"/>
                      <a:gd name="T60" fmla="*/ 2147483647 w 556"/>
                      <a:gd name="T61" fmla="*/ 2147483647 h 395"/>
                      <a:gd name="T62" fmla="*/ 2147483647 w 556"/>
                      <a:gd name="T63" fmla="*/ 2147483647 h 395"/>
                      <a:gd name="T64" fmla="*/ 2147483647 w 556"/>
                      <a:gd name="T65" fmla="*/ 2147483647 h 395"/>
                      <a:gd name="T66" fmla="*/ 2147483647 w 556"/>
                      <a:gd name="T67" fmla="*/ 2147483647 h 395"/>
                      <a:gd name="T68" fmla="*/ 2147483647 w 556"/>
                      <a:gd name="T69" fmla="*/ 2147483647 h 395"/>
                      <a:gd name="T70" fmla="*/ 2147483647 w 556"/>
                      <a:gd name="T71" fmla="*/ 2147483647 h 395"/>
                      <a:gd name="T72" fmla="*/ 2147483647 w 556"/>
                      <a:gd name="T73" fmla="*/ 2147483647 h 395"/>
                      <a:gd name="T74" fmla="*/ 2147483647 w 556"/>
                      <a:gd name="T75" fmla="*/ 2147483647 h 395"/>
                      <a:gd name="T76" fmla="*/ 2147483647 w 556"/>
                      <a:gd name="T77" fmla="*/ 2147483647 h 395"/>
                      <a:gd name="T78" fmla="*/ 2147483647 w 556"/>
                      <a:gd name="T79" fmla="*/ 2147483647 h 395"/>
                      <a:gd name="T80" fmla="*/ 2147483647 w 556"/>
                      <a:gd name="T81" fmla="*/ 2147483647 h 395"/>
                      <a:gd name="T82" fmla="*/ 2147483647 w 556"/>
                      <a:gd name="T83" fmla="*/ 2147483647 h 395"/>
                      <a:gd name="T84" fmla="*/ 2147483647 w 556"/>
                      <a:gd name="T85" fmla="*/ 2147483647 h 395"/>
                      <a:gd name="T86" fmla="*/ 2147483647 w 556"/>
                      <a:gd name="T87" fmla="*/ 2147483647 h 395"/>
                      <a:gd name="T88" fmla="*/ 2147483647 w 556"/>
                      <a:gd name="T89" fmla="*/ 2147483647 h 395"/>
                      <a:gd name="T90" fmla="*/ 2147483647 w 556"/>
                      <a:gd name="T91" fmla="*/ 2147483647 h 395"/>
                      <a:gd name="T92" fmla="*/ 2147483647 w 556"/>
                      <a:gd name="T93" fmla="*/ 2147483647 h 395"/>
                      <a:gd name="T94" fmla="*/ 2147483647 w 556"/>
                      <a:gd name="T95" fmla="*/ 2147483647 h 395"/>
                      <a:gd name="T96" fmla="*/ 2147483647 w 556"/>
                      <a:gd name="T97" fmla="*/ 2147483647 h 395"/>
                      <a:gd name="T98" fmla="*/ 2147483647 w 556"/>
                      <a:gd name="T99" fmla="*/ 2147483647 h 395"/>
                      <a:gd name="T100" fmla="*/ 2147483647 w 556"/>
                      <a:gd name="T101" fmla="*/ 2147483647 h 395"/>
                      <a:gd name="T102" fmla="*/ 2147483647 w 556"/>
                      <a:gd name="T103" fmla="*/ 2147483647 h 395"/>
                      <a:gd name="T104" fmla="*/ 2147483647 w 556"/>
                      <a:gd name="T105" fmla="*/ 2147483647 h 395"/>
                      <a:gd name="T106" fmla="*/ 2147483647 w 556"/>
                      <a:gd name="T107" fmla="*/ 2147483647 h 395"/>
                      <a:gd name="T108" fmla="*/ 2147483647 w 556"/>
                      <a:gd name="T109" fmla="*/ 2147483647 h 395"/>
                      <a:gd name="T110" fmla="*/ 2147483647 w 556"/>
                      <a:gd name="T111" fmla="*/ 2147483647 h 395"/>
                      <a:gd name="T112" fmla="*/ 2147483647 w 556"/>
                      <a:gd name="T113" fmla="*/ 2147483647 h 395"/>
                      <a:gd name="T114" fmla="*/ 2147483647 w 556"/>
                      <a:gd name="T115" fmla="*/ 2147483647 h 395"/>
                      <a:gd name="T116" fmla="*/ 2147483647 w 556"/>
                      <a:gd name="T117" fmla="*/ 2147483647 h 395"/>
                      <a:gd name="T118" fmla="*/ 2147483647 w 556"/>
                      <a:gd name="T119" fmla="*/ 2147483647 h 395"/>
                      <a:gd name="T120" fmla="*/ 2147483647 w 556"/>
                      <a:gd name="T121" fmla="*/ 2147483647 h 395"/>
                      <a:gd name="T122" fmla="*/ 2147483647 w 556"/>
                      <a:gd name="T123" fmla="*/ 2147483647 h 395"/>
                      <a:gd name="T124" fmla="*/ 2147483647 w 556"/>
                      <a:gd name="T125" fmla="*/ 2147483647 h 39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56" h="395">
                        <a:moveTo>
                          <a:pt x="539" y="379"/>
                        </a:moveTo>
                        <a:lnTo>
                          <a:pt x="540" y="380"/>
                        </a:lnTo>
                        <a:lnTo>
                          <a:pt x="542" y="383"/>
                        </a:lnTo>
                        <a:lnTo>
                          <a:pt x="541" y="387"/>
                        </a:lnTo>
                        <a:lnTo>
                          <a:pt x="533" y="388"/>
                        </a:lnTo>
                        <a:lnTo>
                          <a:pt x="527" y="388"/>
                        </a:lnTo>
                        <a:lnTo>
                          <a:pt x="523" y="387"/>
                        </a:lnTo>
                        <a:lnTo>
                          <a:pt x="518" y="387"/>
                        </a:lnTo>
                        <a:lnTo>
                          <a:pt x="514" y="388"/>
                        </a:lnTo>
                        <a:lnTo>
                          <a:pt x="510" y="388"/>
                        </a:lnTo>
                        <a:lnTo>
                          <a:pt x="506" y="389"/>
                        </a:lnTo>
                        <a:lnTo>
                          <a:pt x="501" y="390"/>
                        </a:lnTo>
                        <a:lnTo>
                          <a:pt x="495" y="392"/>
                        </a:lnTo>
                        <a:lnTo>
                          <a:pt x="488" y="393"/>
                        </a:lnTo>
                        <a:lnTo>
                          <a:pt x="482" y="394"/>
                        </a:lnTo>
                        <a:lnTo>
                          <a:pt x="478" y="395"/>
                        </a:lnTo>
                        <a:lnTo>
                          <a:pt x="473" y="395"/>
                        </a:lnTo>
                        <a:lnTo>
                          <a:pt x="468" y="395"/>
                        </a:lnTo>
                        <a:lnTo>
                          <a:pt x="464" y="394"/>
                        </a:lnTo>
                        <a:lnTo>
                          <a:pt x="459" y="394"/>
                        </a:lnTo>
                        <a:lnTo>
                          <a:pt x="453" y="393"/>
                        </a:lnTo>
                        <a:lnTo>
                          <a:pt x="449" y="393"/>
                        </a:lnTo>
                        <a:lnTo>
                          <a:pt x="444" y="393"/>
                        </a:lnTo>
                        <a:lnTo>
                          <a:pt x="440" y="394"/>
                        </a:lnTo>
                        <a:lnTo>
                          <a:pt x="435" y="395"/>
                        </a:lnTo>
                        <a:lnTo>
                          <a:pt x="430" y="395"/>
                        </a:lnTo>
                        <a:lnTo>
                          <a:pt x="427" y="395"/>
                        </a:lnTo>
                        <a:lnTo>
                          <a:pt x="422" y="394"/>
                        </a:lnTo>
                        <a:lnTo>
                          <a:pt x="419" y="392"/>
                        </a:lnTo>
                        <a:lnTo>
                          <a:pt x="414" y="386"/>
                        </a:lnTo>
                        <a:lnTo>
                          <a:pt x="413" y="380"/>
                        </a:lnTo>
                        <a:lnTo>
                          <a:pt x="409" y="375"/>
                        </a:lnTo>
                        <a:lnTo>
                          <a:pt x="397" y="372"/>
                        </a:lnTo>
                        <a:lnTo>
                          <a:pt x="389" y="371"/>
                        </a:lnTo>
                        <a:lnTo>
                          <a:pt x="382" y="368"/>
                        </a:lnTo>
                        <a:lnTo>
                          <a:pt x="376" y="366"/>
                        </a:lnTo>
                        <a:lnTo>
                          <a:pt x="372" y="364"/>
                        </a:lnTo>
                        <a:lnTo>
                          <a:pt x="368" y="362"/>
                        </a:lnTo>
                        <a:lnTo>
                          <a:pt x="365" y="359"/>
                        </a:lnTo>
                        <a:lnTo>
                          <a:pt x="362" y="358"/>
                        </a:lnTo>
                        <a:lnTo>
                          <a:pt x="359" y="356"/>
                        </a:lnTo>
                        <a:lnTo>
                          <a:pt x="354" y="352"/>
                        </a:lnTo>
                        <a:lnTo>
                          <a:pt x="350" y="351"/>
                        </a:lnTo>
                        <a:lnTo>
                          <a:pt x="344" y="352"/>
                        </a:lnTo>
                        <a:lnTo>
                          <a:pt x="335" y="357"/>
                        </a:lnTo>
                        <a:lnTo>
                          <a:pt x="324" y="362"/>
                        </a:lnTo>
                        <a:lnTo>
                          <a:pt x="316" y="363"/>
                        </a:lnTo>
                        <a:lnTo>
                          <a:pt x="309" y="365"/>
                        </a:lnTo>
                        <a:lnTo>
                          <a:pt x="304" y="370"/>
                        </a:lnTo>
                        <a:lnTo>
                          <a:pt x="297" y="377"/>
                        </a:lnTo>
                        <a:lnTo>
                          <a:pt x="290" y="381"/>
                        </a:lnTo>
                        <a:lnTo>
                          <a:pt x="283" y="381"/>
                        </a:lnTo>
                        <a:lnTo>
                          <a:pt x="276" y="377"/>
                        </a:lnTo>
                        <a:lnTo>
                          <a:pt x="271" y="373"/>
                        </a:lnTo>
                        <a:lnTo>
                          <a:pt x="267" y="370"/>
                        </a:lnTo>
                        <a:lnTo>
                          <a:pt x="262" y="366"/>
                        </a:lnTo>
                        <a:lnTo>
                          <a:pt x="259" y="363"/>
                        </a:lnTo>
                        <a:lnTo>
                          <a:pt x="256" y="358"/>
                        </a:lnTo>
                        <a:lnTo>
                          <a:pt x="256" y="355"/>
                        </a:lnTo>
                        <a:lnTo>
                          <a:pt x="260" y="350"/>
                        </a:lnTo>
                        <a:lnTo>
                          <a:pt x="268" y="344"/>
                        </a:lnTo>
                        <a:lnTo>
                          <a:pt x="277" y="340"/>
                        </a:lnTo>
                        <a:lnTo>
                          <a:pt x="283" y="337"/>
                        </a:lnTo>
                        <a:lnTo>
                          <a:pt x="288" y="337"/>
                        </a:lnTo>
                        <a:lnTo>
                          <a:pt x="291" y="337"/>
                        </a:lnTo>
                        <a:lnTo>
                          <a:pt x="293" y="337"/>
                        </a:lnTo>
                        <a:lnTo>
                          <a:pt x="296" y="336"/>
                        </a:lnTo>
                        <a:lnTo>
                          <a:pt x="300" y="334"/>
                        </a:lnTo>
                        <a:lnTo>
                          <a:pt x="305" y="329"/>
                        </a:lnTo>
                        <a:lnTo>
                          <a:pt x="316" y="320"/>
                        </a:lnTo>
                        <a:lnTo>
                          <a:pt x="326" y="313"/>
                        </a:lnTo>
                        <a:lnTo>
                          <a:pt x="330" y="307"/>
                        </a:lnTo>
                        <a:lnTo>
                          <a:pt x="327" y="301"/>
                        </a:lnTo>
                        <a:lnTo>
                          <a:pt x="318" y="295"/>
                        </a:lnTo>
                        <a:lnTo>
                          <a:pt x="308" y="292"/>
                        </a:lnTo>
                        <a:lnTo>
                          <a:pt x="305" y="287"/>
                        </a:lnTo>
                        <a:lnTo>
                          <a:pt x="309" y="273"/>
                        </a:lnTo>
                        <a:lnTo>
                          <a:pt x="320" y="258"/>
                        </a:lnTo>
                        <a:lnTo>
                          <a:pt x="328" y="246"/>
                        </a:lnTo>
                        <a:lnTo>
                          <a:pt x="327" y="235"/>
                        </a:lnTo>
                        <a:lnTo>
                          <a:pt x="315" y="218"/>
                        </a:lnTo>
                        <a:lnTo>
                          <a:pt x="306" y="208"/>
                        </a:lnTo>
                        <a:lnTo>
                          <a:pt x="297" y="200"/>
                        </a:lnTo>
                        <a:lnTo>
                          <a:pt x="289" y="193"/>
                        </a:lnTo>
                        <a:lnTo>
                          <a:pt x="282" y="188"/>
                        </a:lnTo>
                        <a:lnTo>
                          <a:pt x="274" y="183"/>
                        </a:lnTo>
                        <a:lnTo>
                          <a:pt x="267" y="180"/>
                        </a:lnTo>
                        <a:lnTo>
                          <a:pt x="260" y="176"/>
                        </a:lnTo>
                        <a:lnTo>
                          <a:pt x="252" y="173"/>
                        </a:lnTo>
                        <a:lnTo>
                          <a:pt x="244" y="169"/>
                        </a:lnTo>
                        <a:lnTo>
                          <a:pt x="236" y="166"/>
                        </a:lnTo>
                        <a:lnTo>
                          <a:pt x="228" y="161"/>
                        </a:lnTo>
                        <a:lnTo>
                          <a:pt x="221" y="156"/>
                        </a:lnTo>
                        <a:lnTo>
                          <a:pt x="214" y="152"/>
                        </a:lnTo>
                        <a:lnTo>
                          <a:pt x="208" y="148"/>
                        </a:lnTo>
                        <a:lnTo>
                          <a:pt x="202" y="145"/>
                        </a:lnTo>
                        <a:lnTo>
                          <a:pt x="199" y="142"/>
                        </a:lnTo>
                        <a:lnTo>
                          <a:pt x="191" y="137"/>
                        </a:lnTo>
                        <a:lnTo>
                          <a:pt x="183" y="132"/>
                        </a:lnTo>
                        <a:lnTo>
                          <a:pt x="178" y="131"/>
                        </a:lnTo>
                        <a:lnTo>
                          <a:pt x="179" y="137"/>
                        </a:lnTo>
                        <a:lnTo>
                          <a:pt x="185" y="146"/>
                        </a:lnTo>
                        <a:lnTo>
                          <a:pt x="186" y="152"/>
                        </a:lnTo>
                        <a:lnTo>
                          <a:pt x="183" y="155"/>
                        </a:lnTo>
                        <a:lnTo>
                          <a:pt x="171" y="155"/>
                        </a:lnTo>
                        <a:lnTo>
                          <a:pt x="163" y="155"/>
                        </a:lnTo>
                        <a:lnTo>
                          <a:pt x="159" y="155"/>
                        </a:lnTo>
                        <a:lnTo>
                          <a:pt x="154" y="156"/>
                        </a:lnTo>
                        <a:lnTo>
                          <a:pt x="151" y="159"/>
                        </a:lnTo>
                        <a:lnTo>
                          <a:pt x="147" y="161"/>
                        </a:lnTo>
                        <a:lnTo>
                          <a:pt x="142" y="162"/>
                        </a:lnTo>
                        <a:lnTo>
                          <a:pt x="138" y="163"/>
                        </a:lnTo>
                        <a:lnTo>
                          <a:pt x="131" y="165"/>
                        </a:lnTo>
                        <a:lnTo>
                          <a:pt x="124" y="166"/>
                        </a:lnTo>
                        <a:lnTo>
                          <a:pt x="118" y="167"/>
                        </a:lnTo>
                        <a:lnTo>
                          <a:pt x="114" y="168"/>
                        </a:lnTo>
                        <a:lnTo>
                          <a:pt x="110" y="169"/>
                        </a:lnTo>
                        <a:lnTo>
                          <a:pt x="106" y="170"/>
                        </a:lnTo>
                        <a:lnTo>
                          <a:pt x="101" y="170"/>
                        </a:lnTo>
                        <a:lnTo>
                          <a:pt x="95" y="170"/>
                        </a:lnTo>
                        <a:lnTo>
                          <a:pt x="87" y="169"/>
                        </a:lnTo>
                        <a:lnTo>
                          <a:pt x="74" y="166"/>
                        </a:lnTo>
                        <a:lnTo>
                          <a:pt x="70" y="162"/>
                        </a:lnTo>
                        <a:lnTo>
                          <a:pt x="66" y="160"/>
                        </a:lnTo>
                        <a:lnTo>
                          <a:pt x="60" y="161"/>
                        </a:lnTo>
                        <a:lnTo>
                          <a:pt x="51" y="166"/>
                        </a:lnTo>
                        <a:lnTo>
                          <a:pt x="47" y="168"/>
                        </a:lnTo>
                        <a:lnTo>
                          <a:pt x="43" y="168"/>
                        </a:lnTo>
                        <a:lnTo>
                          <a:pt x="35" y="163"/>
                        </a:lnTo>
                        <a:lnTo>
                          <a:pt x="30" y="160"/>
                        </a:lnTo>
                        <a:lnTo>
                          <a:pt x="24" y="156"/>
                        </a:lnTo>
                        <a:lnTo>
                          <a:pt x="18" y="153"/>
                        </a:lnTo>
                        <a:lnTo>
                          <a:pt x="13" y="151"/>
                        </a:lnTo>
                        <a:lnTo>
                          <a:pt x="10" y="148"/>
                        </a:lnTo>
                        <a:lnTo>
                          <a:pt x="9" y="145"/>
                        </a:lnTo>
                        <a:lnTo>
                          <a:pt x="11" y="143"/>
                        </a:lnTo>
                        <a:lnTo>
                          <a:pt x="16" y="140"/>
                        </a:lnTo>
                        <a:lnTo>
                          <a:pt x="23" y="138"/>
                        </a:lnTo>
                        <a:lnTo>
                          <a:pt x="30" y="137"/>
                        </a:lnTo>
                        <a:lnTo>
                          <a:pt x="36" y="136"/>
                        </a:lnTo>
                        <a:lnTo>
                          <a:pt x="41" y="135"/>
                        </a:lnTo>
                        <a:lnTo>
                          <a:pt x="45" y="133"/>
                        </a:lnTo>
                        <a:lnTo>
                          <a:pt x="45" y="132"/>
                        </a:lnTo>
                        <a:lnTo>
                          <a:pt x="42" y="130"/>
                        </a:lnTo>
                        <a:lnTo>
                          <a:pt x="35" y="128"/>
                        </a:lnTo>
                        <a:lnTo>
                          <a:pt x="27" y="125"/>
                        </a:lnTo>
                        <a:lnTo>
                          <a:pt x="19" y="123"/>
                        </a:lnTo>
                        <a:lnTo>
                          <a:pt x="13" y="122"/>
                        </a:lnTo>
                        <a:lnTo>
                          <a:pt x="9" y="121"/>
                        </a:lnTo>
                        <a:lnTo>
                          <a:pt x="4" y="118"/>
                        </a:lnTo>
                        <a:lnTo>
                          <a:pt x="2" y="116"/>
                        </a:lnTo>
                        <a:lnTo>
                          <a:pt x="0" y="112"/>
                        </a:lnTo>
                        <a:lnTo>
                          <a:pt x="0" y="105"/>
                        </a:lnTo>
                        <a:lnTo>
                          <a:pt x="0" y="93"/>
                        </a:lnTo>
                        <a:lnTo>
                          <a:pt x="0" y="85"/>
                        </a:lnTo>
                        <a:lnTo>
                          <a:pt x="0" y="76"/>
                        </a:lnTo>
                        <a:lnTo>
                          <a:pt x="1" y="60"/>
                        </a:lnTo>
                        <a:lnTo>
                          <a:pt x="5" y="39"/>
                        </a:lnTo>
                        <a:lnTo>
                          <a:pt x="12" y="21"/>
                        </a:lnTo>
                        <a:lnTo>
                          <a:pt x="22" y="9"/>
                        </a:lnTo>
                        <a:lnTo>
                          <a:pt x="31" y="3"/>
                        </a:lnTo>
                        <a:lnTo>
                          <a:pt x="39" y="3"/>
                        </a:lnTo>
                        <a:lnTo>
                          <a:pt x="46" y="6"/>
                        </a:lnTo>
                        <a:lnTo>
                          <a:pt x="50" y="10"/>
                        </a:lnTo>
                        <a:lnTo>
                          <a:pt x="49" y="19"/>
                        </a:lnTo>
                        <a:lnTo>
                          <a:pt x="43" y="40"/>
                        </a:lnTo>
                        <a:lnTo>
                          <a:pt x="42" y="56"/>
                        </a:lnTo>
                        <a:lnTo>
                          <a:pt x="45" y="70"/>
                        </a:lnTo>
                        <a:lnTo>
                          <a:pt x="50" y="80"/>
                        </a:lnTo>
                        <a:lnTo>
                          <a:pt x="56" y="90"/>
                        </a:lnTo>
                        <a:lnTo>
                          <a:pt x="62" y="97"/>
                        </a:lnTo>
                        <a:lnTo>
                          <a:pt x="68" y="102"/>
                        </a:lnTo>
                        <a:lnTo>
                          <a:pt x="71" y="108"/>
                        </a:lnTo>
                        <a:lnTo>
                          <a:pt x="70" y="107"/>
                        </a:lnTo>
                        <a:lnTo>
                          <a:pt x="63" y="87"/>
                        </a:lnTo>
                        <a:lnTo>
                          <a:pt x="56" y="62"/>
                        </a:lnTo>
                        <a:lnTo>
                          <a:pt x="55" y="41"/>
                        </a:lnTo>
                        <a:lnTo>
                          <a:pt x="58" y="26"/>
                        </a:lnTo>
                        <a:lnTo>
                          <a:pt x="62" y="12"/>
                        </a:lnTo>
                        <a:lnTo>
                          <a:pt x="69" y="3"/>
                        </a:lnTo>
                        <a:lnTo>
                          <a:pt x="79" y="0"/>
                        </a:lnTo>
                        <a:lnTo>
                          <a:pt x="91" y="2"/>
                        </a:lnTo>
                        <a:lnTo>
                          <a:pt x="100" y="7"/>
                        </a:lnTo>
                        <a:lnTo>
                          <a:pt x="106" y="14"/>
                        </a:lnTo>
                        <a:lnTo>
                          <a:pt x="109" y="21"/>
                        </a:lnTo>
                        <a:lnTo>
                          <a:pt x="111" y="26"/>
                        </a:lnTo>
                        <a:lnTo>
                          <a:pt x="114" y="32"/>
                        </a:lnTo>
                        <a:lnTo>
                          <a:pt x="115" y="39"/>
                        </a:lnTo>
                        <a:lnTo>
                          <a:pt x="116" y="47"/>
                        </a:lnTo>
                        <a:lnTo>
                          <a:pt x="118" y="53"/>
                        </a:lnTo>
                        <a:lnTo>
                          <a:pt x="124" y="54"/>
                        </a:lnTo>
                        <a:lnTo>
                          <a:pt x="132" y="52"/>
                        </a:lnTo>
                        <a:lnTo>
                          <a:pt x="140" y="47"/>
                        </a:lnTo>
                        <a:lnTo>
                          <a:pt x="146" y="41"/>
                        </a:lnTo>
                        <a:lnTo>
                          <a:pt x="147" y="36"/>
                        </a:lnTo>
                        <a:lnTo>
                          <a:pt x="149" y="31"/>
                        </a:lnTo>
                        <a:lnTo>
                          <a:pt x="156" y="27"/>
                        </a:lnTo>
                        <a:lnTo>
                          <a:pt x="164" y="23"/>
                        </a:lnTo>
                        <a:lnTo>
                          <a:pt x="169" y="19"/>
                        </a:lnTo>
                        <a:lnTo>
                          <a:pt x="175" y="19"/>
                        </a:lnTo>
                        <a:lnTo>
                          <a:pt x="185" y="24"/>
                        </a:lnTo>
                        <a:lnTo>
                          <a:pt x="197" y="32"/>
                        </a:lnTo>
                        <a:lnTo>
                          <a:pt x="202" y="38"/>
                        </a:lnTo>
                        <a:lnTo>
                          <a:pt x="206" y="44"/>
                        </a:lnTo>
                        <a:lnTo>
                          <a:pt x="209" y="49"/>
                        </a:lnTo>
                        <a:lnTo>
                          <a:pt x="214" y="55"/>
                        </a:lnTo>
                        <a:lnTo>
                          <a:pt x="221" y="60"/>
                        </a:lnTo>
                        <a:lnTo>
                          <a:pt x="227" y="61"/>
                        </a:lnTo>
                        <a:lnTo>
                          <a:pt x="231" y="56"/>
                        </a:lnTo>
                        <a:lnTo>
                          <a:pt x="237" y="49"/>
                        </a:lnTo>
                        <a:lnTo>
                          <a:pt x="246" y="46"/>
                        </a:lnTo>
                        <a:lnTo>
                          <a:pt x="256" y="46"/>
                        </a:lnTo>
                        <a:lnTo>
                          <a:pt x="263" y="49"/>
                        </a:lnTo>
                        <a:lnTo>
                          <a:pt x="266" y="54"/>
                        </a:lnTo>
                        <a:lnTo>
                          <a:pt x="268" y="56"/>
                        </a:lnTo>
                        <a:lnTo>
                          <a:pt x="271" y="59"/>
                        </a:lnTo>
                        <a:lnTo>
                          <a:pt x="281" y="61"/>
                        </a:lnTo>
                        <a:lnTo>
                          <a:pt x="288" y="62"/>
                        </a:lnTo>
                        <a:lnTo>
                          <a:pt x="296" y="62"/>
                        </a:lnTo>
                        <a:lnTo>
                          <a:pt x="304" y="63"/>
                        </a:lnTo>
                        <a:lnTo>
                          <a:pt x="311" y="63"/>
                        </a:lnTo>
                        <a:lnTo>
                          <a:pt x="318" y="63"/>
                        </a:lnTo>
                        <a:lnTo>
                          <a:pt x="321" y="64"/>
                        </a:lnTo>
                        <a:lnTo>
                          <a:pt x="323" y="67"/>
                        </a:lnTo>
                        <a:lnTo>
                          <a:pt x="321" y="69"/>
                        </a:lnTo>
                        <a:lnTo>
                          <a:pt x="319" y="72"/>
                        </a:lnTo>
                        <a:lnTo>
                          <a:pt x="322" y="72"/>
                        </a:lnTo>
                        <a:lnTo>
                          <a:pt x="329" y="72"/>
                        </a:lnTo>
                        <a:lnTo>
                          <a:pt x="335" y="74"/>
                        </a:lnTo>
                        <a:lnTo>
                          <a:pt x="339" y="78"/>
                        </a:lnTo>
                        <a:lnTo>
                          <a:pt x="345" y="83"/>
                        </a:lnTo>
                        <a:lnTo>
                          <a:pt x="349" y="86"/>
                        </a:lnTo>
                        <a:lnTo>
                          <a:pt x="351" y="87"/>
                        </a:lnTo>
                        <a:lnTo>
                          <a:pt x="350" y="87"/>
                        </a:lnTo>
                        <a:lnTo>
                          <a:pt x="345" y="89"/>
                        </a:lnTo>
                        <a:lnTo>
                          <a:pt x="342" y="91"/>
                        </a:lnTo>
                        <a:lnTo>
                          <a:pt x="339" y="93"/>
                        </a:lnTo>
                        <a:lnTo>
                          <a:pt x="343" y="97"/>
                        </a:lnTo>
                        <a:lnTo>
                          <a:pt x="352" y="100"/>
                        </a:lnTo>
                        <a:lnTo>
                          <a:pt x="361" y="102"/>
                        </a:lnTo>
                        <a:lnTo>
                          <a:pt x="361" y="105"/>
                        </a:lnTo>
                        <a:lnTo>
                          <a:pt x="357" y="107"/>
                        </a:lnTo>
                        <a:lnTo>
                          <a:pt x="353" y="108"/>
                        </a:lnTo>
                        <a:lnTo>
                          <a:pt x="351" y="110"/>
                        </a:lnTo>
                        <a:lnTo>
                          <a:pt x="351" y="115"/>
                        </a:lnTo>
                        <a:lnTo>
                          <a:pt x="350" y="118"/>
                        </a:lnTo>
                        <a:lnTo>
                          <a:pt x="349" y="123"/>
                        </a:lnTo>
                        <a:lnTo>
                          <a:pt x="349" y="127"/>
                        </a:lnTo>
                        <a:lnTo>
                          <a:pt x="353" y="132"/>
                        </a:lnTo>
                        <a:lnTo>
                          <a:pt x="361" y="135"/>
                        </a:lnTo>
                        <a:lnTo>
                          <a:pt x="371" y="133"/>
                        </a:lnTo>
                        <a:lnTo>
                          <a:pt x="377" y="133"/>
                        </a:lnTo>
                        <a:lnTo>
                          <a:pt x="384" y="136"/>
                        </a:lnTo>
                        <a:lnTo>
                          <a:pt x="392" y="143"/>
                        </a:lnTo>
                        <a:lnTo>
                          <a:pt x="400" y="150"/>
                        </a:lnTo>
                        <a:lnTo>
                          <a:pt x="407" y="152"/>
                        </a:lnTo>
                        <a:lnTo>
                          <a:pt x="409" y="150"/>
                        </a:lnTo>
                        <a:lnTo>
                          <a:pt x="406" y="144"/>
                        </a:lnTo>
                        <a:lnTo>
                          <a:pt x="403" y="139"/>
                        </a:lnTo>
                        <a:lnTo>
                          <a:pt x="403" y="137"/>
                        </a:lnTo>
                        <a:lnTo>
                          <a:pt x="409" y="139"/>
                        </a:lnTo>
                        <a:lnTo>
                          <a:pt x="414" y="140"/>
                        </a:lnTo>
                        <a:lnTo>
                          <a:pt x="421" y="142"/>
                        </a:lnTo>
                        <a:lnTo>
                          <a:pt x="429" y="143"/>
                        </a:lnTo>
                        <a:lnTo>
                          <a:pt x="436" y="143"/>
                        </a:lnTo>
                        <a:lnTo>
                          <a:pt x="442" y="144"/>
                        </a:lnTo>
                        <a:lnTo>
                          <a:pt x="447" y="145"/>
                        </a:lnTo>
                        <a:lnTo>
                          <a:pt x="450" y="146"/>
                        </a:lnTo>
                        <a:lnTo>
                          <a:pt x="451" y="148"/>
                        </a:lnTo>
                        <a:lnTo>
                          <a:pt x="450" y="152"/>
                        </a:lnTo>
                        <a:lnTo>
                          <a:pt x="451" y="154"/>
                        </a:lnTo>
                        <a:lnTo>
                          <a:pt x="453" y="155"/>
                        </a:lnTo>
                        <a:lnTo>
                          <a:pt x="457" y="155"/>
                        </a:lnTo>
                        <a:lnTo>
                          <a:pt x="461" y="155"/>
                        </a:lnTo>
                        <a:lnTo>
                          <a:pt x="466" y="153"/>
                        </a:lnTo>
                        <a:lnTo>
                          <a:pt x="472" y="152"/>
                        </a:lnTo>
                        <a:lnTo>
                          <a:pt x="480" y="152"/>
                        </a:lnTo>
                        <a:lnTo>
                          <a:pt x="490" y="153"/>
                        </a:lnTo>
                        <a:lnTo>
                          <a:pt x="501" y="154"/>
                        </a:lnTo>
                        <a:lnTo>
                          <a:pt x="509" y="158"/>
                        </a:lnTo>
                        <a:lnTo>
                          <a:pt x="511" y="163"/>
                        </a:lnTo>
                        <a:lnTo>
                          <a:pt x="508" y="169"/>
                        </a:lnTo>
                        <a:lnTo>
                          <a:pt x="501" y="173"/>
                        </a:lnTo>
                        <a:lnTo>
                          <a:pt x="496" y="176"/>
                        </a:lnTo>
                        <a:lnTo>
                          <a:pt x="496" y="180"/>
                        </a:lnTo>
                        <a:lnTo>
                          <a:pt x="501" y="183"/>
                        </a:lnTo>
                        <a:lnTo>
                          <a:pt x="505" y="186"/>
                        </a:lnTo>
                        <a:lnTo>
                          <a:pt x="510" y="191"/>
                        </a:lnTo>
                        <a:lnTo>
                          <a:pt x="511" y="196"/>
                        </a:lnTo>
                        <a:lnTo>
                          <a:pt x="511" y="200"/>
                        </a:lnTo>
                        <a:lnTo>
                          <a:pt x="509" y="204"/>
                        </a:lnTo>
                        <a:lnTo>
                          <a:pt x="505" y="207"/>
                        </a:lnTo>
                        <a:lnTo>
                          <a:pt x="501" y="209"/>
                        </a:lnTo>
                        <a:lnTo>
                          <a:pt x="497" y="212"/>
                        </a:lnTo>
                        <a:lnTo>
                          <a:pt x="497" y="214"/>
                        </a:lnTo>
                        <a:lnTo>
                          <a:pt x="499" y="219"/>
                        </a:lnTo>
                        <a:lnTo>
                          <a:pt x="505" y="223"/>
                        </a:lnTo>
                        <a:lnTo>
                          <a:pt x="511" y="228"/>
                        </a:lnTo>
                        <a:lnTo>
                          <a:pt x="514" y="234"/>
                        </a:lnTo>
                        <a:lnTo>
                          <a:pt x="514" y="239"/>
                        </a:lnTo>
                        <a:lnTo>
                          <a:pt x="511" y="244"/>
                        </a:lnTo>
                        <a:lnTo>
                          <a:pt x="506" y="248"/>
                        </a:lnTo>
                        <a:lnTo>
                          <a:pt x="503" y="249"/>
                        </a:lnTo>
                        <a:lnTo>
                          <a:pt x="501" y="249"/>
                        </a:lnTo>
                        <a:lnTo>
                          <a:pt x="495" y="245"/>
                        </a:lnTo>
                        <a:lnTo>
                          <a:pt x="487" y="242"/>
                        </a:lnTo>
                        <a:lnTo>
                          <a:pt x="480" y="238"/>
                        </a:lnTo>
                        <a:lnTo>
                          <a:pt x="474" y="235"/>
                        </a:lnTo>
                        <a:lnTo>
                          <a:pt x="468" y="231"/>
                        </a:lnTo>
                        <a:lnTo>
                          <a:pt x="465" y="229"/>
                        </a:lnTo>
                        <a:lnTo>
                          <a:pt x="460" y="228"/>
                        </a:lnTo>
                        <a:lnTo>
                          <a:pt x="456" y="226"/>
                        </a:lnTo>
                        <a:lnTo>
                          <a:pt x="449" y="223"/>
                        </a:lnTo>
                        <a:lnTo>
                          <a:pt x="440" y="220"/>
                        </a:lnTo>
                        <a:lnTo>
                          <a:pt x="432" y="219"/>
                        </a:lnTo>
                        <a:lnTo>
                          <a:pt x="425" y="220"/>
                        </a:lnTo>
                        <a:lnTo>
                          <a:pt x="421" y="224"/>
                        </a:lnTo>
                        <a:lnTo>
                          <a:pt x="421" y="230"/>
                        </a:lnTo>
                        <a:lnTo>
                          <a:pt x="423" y="236"/>
                        </a:lnTo>
                        <a:lnTo>
                          <a:pt x="428" y="243"/>
                        </a:lnTo>
                        <a:lnTo>
                          <a:pt x="435" y="251"/>
                        </a:lnTo>
                        <a:lnTo>
                          <a:pt x="440" y="254"/>
                        </a:lnTo>
                        <a:lnTo>
                          <a:pt x="443" y="259"/>
                        </a:lnTo>
                        <a:lnTo>
                          <a:pt x="449" y="262"/>
                        </a:lnTo>
                        <a:lnTo>
                          <a:pt x="453" y="265"/>
                        </a:lnTo>
                        <a:lnTo>
                          <a:pt x="459" y="268"/>
                        </a:lnTo>
                        <a:lnTo>
                          <a:pt x="465" y="271"/>
                        </a:lnTo>
                        <a:lnTo>
                          <a:pt x="471" y="272"/>
                        </a:lnTo>
                        <a:lnTo>
                          <a:pt x="476" y="273"/>
                        </a:lnTo>
                        <a:lnTo>
                          <a:pt x="487" y="275"/>
                        </a:lnTo>
                        <a:lnTo>
                          <a:pt x="495" y="277"/>
                        </a:lnTo>
                        <a:lnTo>
                          <a:pt x="501" y="281"/>
                        </a:lnTo>
                        <a:lnTo>
                          <a:pt x="505" y="286"/>
                        </a:lnTo>
                        <a:lnTo>
                          <a:pt x="512" y="289"/>
                        </a:lnTo>
                        <a:lnTo>
                          <a:pt x="520" y="291"/>
                        </a:lnTo>
                        <a:lnTo>
                          <a:pt x="528" y="294"/>
                        </a:lnTo>
                        <a:lnTo>
                          <a:pt x="533" y="301"/>
                        </a:lnTo>
                        <a:lnTo>
                          <a:pt x="534" y="307"/>
                        </a:lnTo>
                        <a:lnTo>
                          <a:pt x="533" y="311"/>
                        </a:lnTo>
                        <a:lnTo>
                          <a:pt x="533" y="315"/>
                        </a:lnTo>
                        <a:lnTo>
                          <a:pt x="536" y="324"/>
                        </a:lnTo>
                        <a:lnTo>
                          <a:pt x="541" y="332"/>
                        </a:lnTo>
                        <a:lnTo>
                          <a:pt x="543" y="337"/>
                        </a:lnTo>
                        <a:lnTo>
                          <a:pt x="544" y="342"/>
                        </a:lnTo>
                        <a:lnTo>
                          <a:pt x="548" y="345"/>
                        </a:lnTo>
                        <a:lnTo>
                          <a:pt x="552" y="350"/>
                        </a:lnTo>
                        <a:lnTo>
                          <a:pt x="556" y="354"/>
                        </a:lnTo>
                        <a:lnTo>
                          <a:pt x="555" y="357"/>
                        </a:lnTo>
                        <a:lnTo>
                          <a:pt x="549" y="356"/>
                        </a:lnTo>
                        <a:lnTo>
                          <a:pt x="544" y="352"/>
                        </a:lnTo>
                        <a:lnTo>
                          <a:pt x="541" y="349"/>
                        </a:lnTo>
                        <a:lnTo>
                          <a:pt x="535" y="345"/>
                        </a:lnTo>
                        <a:lnTo>
                          <a:pt x="525" y="345"/>
                        </a:lnTo>
                        <a:lnTo>
                          <a:pt x="513" y="348"/>
                        </a:lnTo>
                        <a:lnTo>
                          <a:pt x="505" y="349"/>
                        </a:lnTo>
                        <a:lnTo>
                          <a:pt x="499" y="349"/>
                        </a:lnTo>
                        <a:lnTo>
                          <a:pt x="493" y="345"/>
                        </a:lnTo>
                        <a:lnTo>
                          <a:pt x="488" y="343"/>
                        </a:lnTo>
                        <a:lnTo>
                          <a:pt x="483" y="342"/>
                        </a:lnTo>
                        <a:lnTo>
                          <a:pt x="478" y="340"/>
                        </a:lnTo>
                        <a:lnTo>
                          <a:pt x="472" y="339"/>
                        </a:lnTo>
                        <a:lnTo>
                          <a:pt x="466" y="337"/>
                        </a:lnTo>
                        <a:lnTo>
                          <a:pt x="461" y="337"/>
                        </a:lnTo>
                        <a:lnTo>
                          <a:pt x="457" y="337"/>
                        </a:lnTo>
                        <a:lnTo>
                          <a:pt x="453" y="337"/>
                        </a:lnTo>
                        <a:lnTo>
                          <a:pt x="451" y="340"/>
                        </a:lnTo>
                        <a:lnTo>
                          <a:pt x="455" y="343"/>
                        </a:lnTo>
                        <a:lnTo>
                          <a:pt x="463" y="347"/>
                        </a:lnTo>
                        <a:lnTo>
                          <a:pt x="476" y="352"/>
                        </a:lnTo>
                        <a:lnTo>
                          <a:pt x="485" y="355"/>
                        </a:lnTo>
                        <a:lnTo>
                          <a:pt x="490" y="357"/>
                        </a:lnTo>
                        <a:lnTo>
                          <a:pt x="496" y="358"/>
                        </a:lnTo>
                        <a:lnTo>
                          <a:pt x="499" y="358"/>
                        </a:lnTo>
                        <a:lnTo>
                          <a:pt x="503" y="359"/>
                        </a:lnTo>
                        <a:lnTo>
                          <a:pt x="506" y="360"/>
                        </a:lnTo>
                        <a:lnTo>
                          <a:pt x="509" y="362"/>
                        </a:lnTo>
                        <a:lnTo>
                          <a:pt x="511" y="364"/>
                        </a:lnTo>
                        <a:lnTo>
                          <a:pt x="517" y="367"/>
                        </a:lnTo>
                        <a:lnTo>
                          <a:pt x="525" y="371"/>
                        </a:lnTo>
                        <a:lnTo>
                          <a:pt x="533" y="374"/>
                        </a:lnTo>
                        <a:lnTo>
                          <a:pt x="539" y="379"/>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srgbClr val="FF0000"/>
                      </a:solidFill>
                      <a:latin typeface="Calibri"/>
                    </a:endParaRPr>
                  </a:p>
                </p:txBody>
              </p:sp>
              <p:sp>
                <p:nvSpPr>
                  <p:cNvPr id="593" name="Freeform 432"/>
                  <p:cNvSpPr>
                    <a:spLocks/>
                  </p:cNvSpPr>
                  <p:nvPr/>
                </p:nvSpPr>
                <p:spPr bwMode="auto">
                  <a:xfrm>
                    <a:off x="1645866" y="1384614"/>
                    <a:ext cx="156788" cy="153413"/>
                  </a:xfrm>
                  <a:custGeom>
                    <a:avLst/>
                    <a:gdLst>
                      <a:gd name="T0" fmla="*/ 2147483647 w 148"/>
                      <a:gd name="T1" fmla="*/ 2147483647 h 146"/>
                      <a:gd name="T2" fmla="*/ 2147483647 w 148"/>
                      <a:gd name="T3" fmla="*/ 2147483647 h 146"/>
                      <a:gd name="T4" fmla="*/ 2147483647 w 148"/>
                      <a:gd name="T5" fmla="*/ 2147483647 h 146"/>
                      <a:gd name="T6" fmla="*/ 2147483647 w 148"/>
                      <a:gd name="T7" fmla="*/ 2147483647 h 146"/>
                      <a:gd name="T8" fmla="*/ 2147483647 w 148"/>
                      <a:gd name="T9" fmla="*/ 2147483647 h 146"/>
                      <a:gd name="T10" fmla="*/ 2147483647 w 148"/>
                      <a:gd name="T11" fmla="*/ 2147483647 h 146"/>
                      <a:gd name="T12" fmla="*/ 2147483647 w 148"/>
                      <a:gd name="T13" fmla="*/ 2147483647 h 146"/>
                      <a:gd name="T14" fmla="*/ 2147483647 w 148"/>
                      <a:gd name="T15" fmla="*/ 2147483647 h 146"/>
                      <a:gd name="T16" fmla="*/ 2147483647 w 148"/>
                      <a:gd name="T17" fmla="*/ 2147483647 h 146"/>
                      <a:gd name="T18" fmla="*/ 2147483647 w 148"/>
                      <a:gd name="T19" fmla="*/ 0 h 146"/>
                      <a:gd name="T20" fmla="*/ 2147483647 w 148"/>
                      <a:gd name="T21" fmla="*/ 2147483647 h 146"/>
                      <a:gd name="T22" fmla="*/ 2147483647 w 148"/>
                      <a:gd name="T23" fmla="*/ 2147483647 h 146"/>
                      <a:gd name="T24" fmla="*/ 2147483647 w 148"/>
                      <a:gd name="T25" fmla="*/ 2147483647 h 146"/>
                      <a:gd name="T26" fmla="*/ 2147483647 w 148"/>
                      <a:gd name="T27" fmla="*/ 2147483647 h 146"/>
                      <a:gd name="T28" fmla="*/ 2147483647 w 148"/>
                      <a:gd name="T29" fmla="*/ 2147483647 h 146"/>
                      <a:gd name="T30" fmla="*/ 2147483647 w 148"/>
                      <a:gd name="T31" fmla="*/ 2147483647 h 146"/>
                      <a:gd name="T32" fmla="*/ 2147483647 w 148"/>
                      <a:gd name="T33" fmla="*/ 2147483647 h 146"/>
                      <a:gd name="T34" fmla="*/ 2147483647 w 148"/>
                      <a:gd name="T35" fmla="*/ 2147483647 h 146"/>
                      <a:gd name="T36" fmla="*/ 2147483647 w 148"/>
                      <a:gd name="T37" fmla="*/ 2147483647 h 146"/>
                      <a:gd name="T38" fmla="*/ 2147483647 w 148"/>
                      <a:gd name="T39" fmla="*/ 2147483647 h 146"/>
                      <a:gd name="T40" fmla="*/ 2147483647 w 148"/>
                      <a:gd name="T41" fmla="*/ 2147483647 h 146"/>
                      <a:gd name="T42" fmla="*/ 2147483647 w 148"/>
                      <a:gd name="T43" fmla="*/ 2147483647 h 146"/>
                      <a:gd name="T44" fmla="*/ 2147483647 w 148"/>
                      <a:gd name="T45" fmla="*/ 2147483647 h 146"/>
                      <a:gd name="T46" fmla="*/ 2147483647 w 148"/>
                      <a:gd name="T47" fmla="*/ 2147483647 h 146"/>
                      <a:gd name="T48" fmla="*/ 2147483647 w 148"/>
                      <a:gd name="T49" fmla="*/ 2147483647 h 146"/>
                      <a:gd name="T50" fmla="*/ 2147483647 w 148"/>
                      <a:gd name="T51" fmla="*/ 2147483647 h 146"/>
                      <a:gd name="T52" fmla="*/ 2147483647 w 148"/>
                      <a:gd name="T53" fmla="*/ 2147483647 h 146"/>
                      <a:gd name="T54" fmla="*/ 2147483647 w 148"/>
                      <a:gd name="T55" fmla="*/ 2147483647 h 146"/>
                      <a:gd name="T56" fmla="*/ 2147483647 w 148"/>
                      <a:gd name="T57" fmla="*/ 2147483647 h 146"/>
                      <a:gd name="T58" fmla="*/ 2147483647 w 148"/>
                      <a:gd name="T59" fmla="*/ 2147483647 h 146"/>
                      <a:gd name="T60" fmla="*/ 2147483647 w 148"/>
                      <a:gd name="T61" fmla="*/ 2147483647 h 146"/>
                      <a:gd name="T62" fmla="*/ 2147483647 w 148"/>
                      <a:gd name="T63" fmla="*/ 2147483647 h 1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8" h="146">
                        <a:moveTo>
                          <a:pt x="148" y="71"/>
                        </a:moveTo>
                        <a:lnTo>
                          <a:pt x="146" y="67"/>
                        </a:lnTo>
                        <a:lnTo>
                          <a:pt x="145" y="56"/>
                        </a:lnTo>
                        <a:lnTo>
                          <a:pt x="141" y="44"/>
                        </a:lnTo>
                        <a:lnTo>
                          <a:pt x="135" y="36"/>
                        </a:lnTo>
                        <a:lnTo>
                          <a:pt x="129" y="33"/>
                        </a:lnTo>
                        <a:lnTo>
                          <a:pt x="125" y="33"/>
                        </a:lnTo>
                        <a:lnTo>
                          <a:pt x="120" y="35"/>
                        </a:lnTo>
                        <a:lnTo>
                          <a:pt x="115" y="32"/>
                        </a:lnTo>
                        <a:lnTo>
                          <a:pt x="111" y="26"/>
                        </a:lnTo>
                        <a:lnTo>
                          <a:pt x="108" y="20"/>
                        </a:lnTo>
                        <a:lnTo>
                          <a:pt x="104" y="14"/>
                        </a:lnTo>
                        <a:lnTo>
                          <a:pt x="95" y="12"/>
                        </a:lnTo>
                        <a:lnTo>
                          <a:pt x="88" y="10"/>
                        </a:lnTo>
                        <a:lnTo>
                          <a:pt x="82" y="9"/>
                        </a:lnTo>
                        <a:lnTo>
                          <a:pt x="77" y="7"/>
                        </a:lnTo>
                        <a:lnTo>
                          <a:pt x="73" y="3"/>
                        </a:lnTo>
                        <a:lnTo>
                          <a:pt x="68" y="1"/>
                        </a:lnTo>
                        <a:lnTo>
                          <a:pt x="65" y="0"/>
                        </a:lnTo>
                        <a:lnTo>
                          <a:pt x="62" y="0"/>
                        </a:lnTo>
                        <a:lnTo>
                          <a:pt x="60" y="2"/>
                        </a:lnTo>
                        <a:lnTo>
                          <a:pt x="58" y="8"/>
                        </a:lnTo>
                        <a:lnTo>
                          <a:pt x="58" y="15"/>
                        </a:lnTo>
                        <a:lnTo>
                          <a:pt x="57" y="20"/>
                        </a:lnTo>
                        <a:lnTo>
                          <a:pt x="55" y="24"/>
                        </a:lnTo>
                        <a:lnTo>
                          <a:pt x="50" y="31"/>
                        </a:lnTo>
                        <a:lnTo>
                          <a:pt x="42" y="40"/>
                        </a:lnTo>
                        <a:lnTo>
                          <a:pt x="32" y="50"/>
                        </a:lnTo>
                        <a:lnTo>
                          <a:pt x="27" y="55"/>
                        </a:lnTo>
                        <a:lnTo>
                          <a:pt x="20" y="62"/>
                        </a:lnTo>
                        <a:lnTo>
                          <a:pt x="11" y="71"/>
                        </a:lnTo>
                        <a:lnTo>
                          <a:pt x="3" y="82"/>
                        </a:lnTo>
                        <a:lnTo>
                          <a:pt x="0" y="90"/>
                        </a:lnTo>
                        <a:lnTo>
                          <a:pt x="3" y="91"/>
                        </a:lnTo>
                        <a:lnTo>
                          <a:pt x="4" y="91"/>
                        </a:lnTo>
                        <a:lnTo>
                          <a:pt x="6" y="94"/>
                        </a:lnTo>
                        <a:lnTo>
                          <a:pt x="11" y="107"/>
                        </a:lnTo>
                        <a:lnTo>
                          <a:pt x="14" y="123"/>
                        </a:lnTo>
                        <a:lnTo>
                          <a:pt x="14" y="136"/>
                        </a:lnTo>
                        <a:lnTo>
                          <a:pt x="15" y="144"/>
                        </a:lnTo>
                        <a:lnTo>
                          <a:pt x="20" y="146"/>
                        </a:lnTo>
                        <a:lnTo>
                          <a:pt x="27" y="143"/>
                        </a:lnTo>
                        <a:lnTo>
                          <a:pt x="32" y="139"/>
                        </a:lnTo>
                        <a:lnTo>
                          <a:pt x="36" y="137"/>
                        </a:lnTo>
                        <a:lnTo>
                          <a:pt x="39" y="138"/>
                        </a:lnTo>
                        <a:lnTo>
                          <a:pt x="44" y="143"/>
                        </a:lnTo>
                        <a:lnTo>
                          <a:pt x="50" y="146"/>
                        </a:lnTo>
                        <a:lnTo>
                          <a:pt x="55" y="145"/>
                        </a:lnTo>
                        <a:lnTo>
                          <a:pt x="60" y="135"/>
                        </a:lnTo>
                        <a:lnTo>
                          <a:pt x="66" y="124"/>
                        </a:lnTo>
                        <a:lnTo>
                          <a:pt x="75" y="119"/>
                        </a:lnTo>
                        <a:lnTo>
                          <a:pt x="83" y="116"/>
                        </a:lnTo>
                        <a:lnTo>
                          <a:pt x="87" y="111"/>
                        </a:lnTo>
                        <a:lnTo>
                          <a:pt x="87" y="104"/>
                        </a:lnTo>
                        <a:lnTo>
                          <a:pt x="87" y="99"/>
                        </a:lnTo>
                        <a:lnTo>
                          <a:pt x="91" y="96"/>
                        </a:lnTo>
                        <a:lnTo>
                          <a:pt x="104" y="92"/>
                        </a:lnTo>
                        <a:lnTo>
                          <a:pt x="112" y="90"/>
                        </a:lnTo>
                        <a:lnTo>
                          <a:pt x="120" y="89"/>
                        </a:lnTo>
                        <a:lnTo>
                          <a:pt x="128" y="86"/>
                        </a:lnTo>
                        <a:lnTo>
                          <a:pt x="135" y="84"/>
                        </a:lnTo>
                        <a:lnTo>
                          <a:pt x="140" y="82"/>
                        </a:lnTo>
                        <a:lnTo>
                          <a:pt x="144" y="78"/>
                        </a:lnTo>
                        <a:lnTo>
                          <a:pt x="146" y="75"/>
                        </a:lnTo>
                        <a:lnTo>
                          <a:pt x="148" y="71"/>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srgbClr val="FF0000"/>
                      </a:solidFill>
                      <a:latin typeface="Calibri"/>
                    </a:endParaRPr>
                  </a:p>
                </p:txBody>
              </p:sp>
              <p:sp>
                <p:nvSpPr>
                  <p:cNvPr id="594" name="Freeform 433"/>
                  <p:cNvSpPr>
                    <a:spLocks/>
                  </p:cNvSpPr>
                  <p:nvPr/>
                </p:nvSpPr>
                <p:spPr bwMode="auto">
                  <a:xfrm>
                    <a:off x="1812061" y="1327916"/>
                    <a:ext cx="142677" cy="98385"/>
                  </a:xfrm>
                  <a:custGeom>
                    <a:avLst/>
                    <a:gdLst>
                      <a:gd name="T0" fmla="*/ 2147483647 w 133"/>
                      <a:gd name="T1" fmla="*/ 2147483647 h 91"/>
                      <a:gd name="T2" fmla="*/ 2147483647 w 133"/>
                      <a:gd name="T3" fmla="*/ 2147483647 h 91"/>
                      <a:gd name="T4" fmla="*/ 2147483647 w 133"/>
                      <a:gd name="T5" fmla="*/ 2147483647 h 91"/>
                      <a:gd name="T6" fmla="*/ 2147483647 w 133"/>
                      <a:gd name="T7" fmla="*/ 2147483647 h 91"/>
                      <a:gd name="T8" fmla="*/ 2147483647 w 133"/>
                      <a:gd name="T9" fmla="*/ 2147483647 h 91"/>
                      <a:gd name="T10" fmla="*/ 2147483647 w 133"/>
                      <a:gd name="T11" fmla="*/ 2147483647 h 91"/>
                      <a:gd name="T12" fmla="*/ 2147483647 w 133"/>
                      <a:gd name="T13" fmla="*/ 2147483647 h 91"/>
                      <a:gd name="T14" fmla="*/ 2147483647 w 133"/>
                      <a:gd name="T15" fmla="*/ 2147483647 h 91"/>
                      <a:gd name="T16" fmla="*/ 2147483647 w 133"/>
                      <a:gd name="T17" fmla="*/ 2147483647 h 91"/>
                      <a:gd name="T18" fmla="*/ 2147483647 w 133"/>
                      <a:gd name="T19" fmla="*/ 2147483647 h 91"/>
                      <a:gd name="T20" fmla="*/ 2147483647 w 133"/>
                      <a:gd name="T21" fmla="*/ 2147483647 h 91"/>
                      <a:gd name="T22" fmla="*/ 2147483647 w 133"/>
                      <a:gd name="T23" fmla="*/ 2147483647 h 91"/>
                      <a:gd name="T24" fmla="*/ 2147483647 w 133"/>
                      <a:gd name="T25" fmla="*/ 2147483647 h 91"/>
                      <a:gd name="T26" fmla="*/ 2147483647 w 133"/>
                      <a:gd name="T27" fmla="*/ 2147483647 h 91"/>
                      <a:gd name="T28" fmla="*/ 2147483647 w 133"/>
                      <a:gd name="T29" fmla="*/ 2147483647 h 91"/>
                      <a:gd name="T30" fmla="*/ 2147483647 w 133"/>
                      <a:gd name="T31" fmla="*/ 2147483647 h 91"/>
                      <a:gd name="T32" fmla="*/ 2147483647 w 133"/>
                      <a:gd name="T33" fmla="*/ 2147483647 h 91"/>
                      <a:gd name="T34" fmla="*/ 2147483647 w 133"/>
                      <a:gd name="T35" fmla="*/ 2147483647 h 91"/>
                      <a:gd name="T36" fmla="*/ 2147483647 w 133"/>
                      <a:gd name="T37" fmla="*/ 2147483647 h 91"/>
                      <a:gd name="T38" fmla="*/ 2147483647 w 133"/>
                      <a:gd name="T39" fmla="*/ 2147483647 h 91"/>
                      <a:gd name="T40" fmla="*/ 2147483647 w 133"/>
                      <a:gd name="T41" fmla="*/ 2147483647 h 91"/>
                      <a:gd name="T42" fmla="*/ 2147483647 w 133"/>
                      <a:gd name="T43" fmla="*/ 2147483647 h 91"/>
                      <a:gd name="T44" fmla="*/ 2147483647 w 133"/>
                      <a:gd name="T45" fmla="*/ 2147483647 h 91"/>
                      <a:gd name="T46" fmla="*/ 2147483647 w 133"/>
                      <a:gd name="T47" fmla="*/ 2147483647 h 91"/>
                      <a:gd name="T48" fmla="*/ 2147483647 w 133"/>
                      <a:gd name="T49" fmla="*/ 2147483647 h 91"/>
                      <a:gd name="T50" fmla="*/ 2147483647 w 133"/>
                      <a:gd name="T51" fmla="*/ 2147483647 h 91"/>
                      <a:gd name="T52" fmla="*/ 2147483647 w 133"/>
                      <a:gd name="T53" fmla="*/ 2147483647 h 91"/>
                      <a:gd name="T54" fmla="*/ 2147483647 w 133"/>
                      <a:gd name="T55" fmla="*/ 2147483647 h 91"/>
                      <a:gd name="T56" fmla="*/ 0 w 133"/>
                      <a:gd name="T57" fmla="*/ 2147483647 h 91"/>
                      <a:gd name="T58" fmla="*/ 2147483647 w 133"/>
                      <a:gd name="T59" fmla="*/ 2147483647 h 91"/>
                      <a:gd name="T60" fmla="*/ 2147483647 w 133"/>
                      <a:gd name="T61" fmla="*/ 2147483647 h 91"/>
                      <a:gd name="T62" fmla="*/ 2147483647 w 133"/>
                      <a:gd name="T63" fmla="*/ 2147483647 h 91"/>
                      <a:gd name="T64" fmla="*/ 2147483647 w 133"/>
                      <a:gd name="T65" fmla="*/ 2147483647 h 91"/>
                      <a:gd name="T66" fmla="*/ 2147483647 w 133"/>
                      <a:gd name="T67" fmla="*/ 2147483647 h 91"/>
                      <a:gd name="T68" fmla="*/ 2147483647 w 133"/>
                      <a:gd name="T69" fmla="*/ 0 h 91"/>
                      <a:gd name="T70" fmla="*/ 2147483647 w 133"/>
                      <a:gd name="T71" fmla="*/ 2147483647 h 91"/>
                      <a:gd name="T72" fmla="*/ 2147483647 w 133"/>
                      <a:gd name="T73" fmla="*/ 2147483647 h 91"/>
                      <a:gd name="T74" fmla="*/ 2147483647 w 133"/>
                      <a:gd name="T75" fmla="*/ 2147483647 h 91"/>
                      <a:gd name="T76" fmla="*/ 2147483647 w 133"/>
                      <a:gd name="T77" fmla="*/ 2147483647 h 91"/>
                      <a:gd name="T78" fmla="*/ 2147483647 w 133"/>
                      <a:gd name="T79" fmla="*/ 2147483647 h 91"/>
                      <a:gd name="T80" fmla="*/ 2147483647 w 133"/>
                      <a:gd name="T81" fmla="*/ 2147483647 h 91"/>
                      <a:gd name="T82" fmla="*/ 2147483647 w 133"/>
                      <a:gd name="T83" fmla="*/ 2147483647 h 91"/>
                      <a:gd name="T84" fmla="*/ 2147483647 w 133"/>
                      <a:gd name="T85" fmla="*/ 2147483647 h 91"/>
                      <a:gd name="T86" fmla="*/ 2147483647 w 133"/>
                      <a:gd name="T87" fmla="*/ 2147483647 h 91"/>
                      <a:gd name="T88" fmla="*/ 2147483647 w 133"/>
                      <a:gd name="T89" fmla="*/ 2147483647 h 91"/>
                      <a:gd name="T90" fmla="*/ 2147483647 w 133"/>
                      <a:gd name="T91" fmla="*/ 2147483647 h 91"/>
                      <a:gd name="T92" fmla="*/ 2147483647 w 133"/>
                      <a:gd name="T93" fmla="*/ 2147483647 h 91"/>
                      <a:gd name="T94" fmla="*/ 2147483647 w 133"/>
                      <a:gd name="T95" fmla="*/ 2147483647 h 91"/>
                      <a:gd name="T96" fmla="*/ 2147483647 w 133"/>
                      <a:gd name="T97" fmla="*/ 2147483647 h 91"/>
                      <a:gd name="T98" fmla="*/ 2147483647 w 133"/>
                      <a:gd name="T99" fmla="*/ 2147483647 h 91"/>
                      <a:gd name="T100" fmla="*/ 2147483647 w 133"/>
                      <a:gd name="T101" fmla="*/ 2147483647 h 91"/>
                      <a:gd name="T102" fmla="*/ 2147483647 w 133"/>
                      <a:gd name="T103" fmla="*/ 2147483647 h 9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 h="91">
                        <a:moveTo>
                          <a:pt x="104" y="0"/>
                        </a:moveTo>
                        <a:lnTo>
                          <a:pt x="104" y="4"/>
                        </a:lnTo>
                        <a:lnTo>
                          <a:pt x="103" y="13"/>
                        </a:lnTo>
                        <a:lnTo>
                          <a:pt x="103" y="23"/>
                        </a:lnTo>
                        <a:lnTo>
                          <a:pt x="102" y="30"/>
                        </a:lnTo>
                        <a:lnTo>
                          <a:pt x="101" y="35"/>
                        </a:lnTo>
                        <a:lnTo>
                          <a:pt x="101" y="39"/>
                        </a:lnTo>
                        <a:lnTo>
                          <a:pt x="102" y="44"/>
                        </a:lnTo>
                        <a:lnTo>
                          <a:pt x="107" y="46"/>
                        </a:lnTo>
                        <a:lnTo>
                          <a:pt x="111" y="43"/>
                        </a:lnTo>
                        <a:lnTo>
                          <a:pt x="113" y="37"/>
                        </a:lnTo>
                        <a:lnTo>
                          <a:pt x="115" y="34"/>
                        </a:lnTo>
                        <a:lnTo>
                          <a:pt x="121" y="36"/>
                        </a:lnTo>
                        <a:lnTo>
                          <a:pt x="128" y="42"/>
                        </a:lnTo>
                        <a:lnTo>
                          <a:pt x="132" y="45"/>
                        </a:lnTo>
                        <a:lnTo>
                          <a:pt x="133" y="49"/>
                        </a:lnTo>
                        <a:lnTo>
                          <a:pt x="132" y="54"/>
                        </a:lnTo>
                        <a:lnTo>
                          <a:pt x="132" y="60"/>
                        </a:lnTo>
                        <a:lnTo>
                          <a:pt x="132" y="62"/>
                        </a:lnTo>
                        <a:lnTo>
                          <a:pt x="131" y="66"/>
                        </a:lnTo>
                        <a:lnTo>
                          <a:pt x="128" y="72"/>
                        </a:lnTo>
                        <a:lnTo>
                          <a:pt x="123" y="78"/>
                        </a:lnTo>
                        <a:lnTo>
                          <a:pt x="121" y="82"/>
                        </a:lnTo>
                        <a:lnTo>
                          <a:pt x="116" y="84"/>
                        </a:lnTo>
                        <a:lnTo>
                          <a:pt x="107" y="83"/>
                        </a:lnTo>
                        <a:lnTo>
                          <a:pt x="96" y="81"/>
                        </a:lnTo>
                        <a:lnTo>
                          <a:pt x="88" y="78"/>
                        </a:lnTo>
                        <a:lnTo>
                          <a:pt x="83" y="77"/>
                        </a:lnTo>
                        <a:lnTo>
                          <a:pt x="79" y="80"/>
                        </a:lnTo>
                        <a:lnTo>
                          <a:pt x="76" y="83"/>
                        </a:lnTo>
                        <a:lnTo>
                          <a:pt x="72" y="85"/>
                        </a:lnTo>
                        <a:lnTo>
                          <a:pt x="68" y="88"/>
                        </a:lnTo>
                        <a:lnTo>
                          <a:pt x="61" y="90"/>
                        </a:lnTo>
                        <a:lnTo>
                          <a:pt x="54" y="91"/>
                        </a:lnTo>
                        <a:lnTo>
                          <a:pt x="49" y="91"/>
                        </a:lnTo>
                        <a:lnTo>
                          <a:pt x="45" y="91"/>
                        </a:lnTo>
                        <a:lnTo>
                          <a:pt x="39" y="91"/>
                        </a:lnTo>
                        <a:lnTo>
                          <a:pt x="32" y="89"/>
                        </a:lnTo>
                        <a:lnTo>
                          <a:pt x="24" y="85"/>
                        </a:lnTo>
                        <a:lnTo>
                          <a:pt x="18" y="82"/>
                        </a:lnTo>
                        <a:lnTo>
                          <a:pt x="19" y="78"/>
                        </a:lnTo>
                        <a:lnTo>
                          <a:pt x="25" y="77"/>
                        </a:lnTo>
                        <a:lnTo>
                          <a:pt x="32" y="77"/>
                        </a:lnTo>
                        <a:lnTo>
                          <a:pt x="38" y="77"/>
                        </a:lnTo>
                        <a:lnTo>
                          <a:pt x="43" y="75"/>
                        </a:lnTo>
                        <a:lnTo>
                          <a:pt x="48" y="70"/>
                        </a:lnTo>
                        <a:lnTo>
                          <a:pt x="49" y="64"/>
                        </a:lnTo>
                        <a:lnTo>
                          <a:pt x="48" y="60"/>
                        </a:lnTo>
                        <a:lnTo>
                          <a:pt x="42" y="60"/>
                        </a:lnTo>
                        <a:lnTo>
                          <a:pt x="35" y="65"/>
                        </a:lnTo>
                        <a:lnTo>
                          <a:pt x="32" y="67"/>
                        </a:lnTo>
                        <a:lnTo>
                          <a:pt x="27" y="67"/>
                        </a:lnTo>
                        <a:lnTo>
                          <a:pt x="20" y="62"/>
                        </a:lnTo>
                        <a:lnTo>
                          <a:pt x="14" y="57"/>
                        </a:lnTo>
                        <a:lnTo>
                          <a:pt x="8" y="53"/>
                        </a:lnTo>
                        <a:lnTo>
                          <a:pt x="4" y="51"/>
                        </a:lnTo>
                        <a:lnTo>
                          <a:pt x="2" y="46"/>
                        </a:lnTo>
                        <a:lnTo>
                          <a:pt x="0" y="42"/>
                        </a:lnTo>
                        <a:lnTo>
                          <a:pt x="0" y="38"/>
                        </a:lnTo>
                        <a:lnTo>
                          <a:pt x="2" y="35"/>
                        </a:lnTo>
                        <a:lnTo>
                          <a:pt x="8" y="30"/>
                        </a:lnTo>
                        <a:lnTo>
                          <a:pt x="12" y="25"/>
                        </a:lnTo>
                        <a:lnTo>
                          <a:pt x="14" y="22"/>
                        </a:lnTo>
                        <a:lnTo>
                          <a:pt x="15" y="20"/>
                        </a:lnTo>
                        <a:lnTo>
                          <a:pt x="18" y="14"/>
                        </a:lnTo>
                        <a:lnTo>
                          <a:pt x="23" y="7"/>
                        </a:lnTo>
                        <a:lnTo>
                          <a:pt x="25" y="4"/>
                        </a:lnTo>
                        <a:lnTo>
                          <a:pt x="28" y="1"/>
                        </a:lnTo>
                        <a:lnTo>
                          <a:pt x="34" y="0"/>
                        </a:lnTo>
                        <a:lnTo>
                          <a:pt x="41" y="0"/>
                        </a:lnTo>
                        <a:lnTo>
                          <a:pt x="45" y="2"/>
                        </a:lnTo>
                        <a:lnTo>
                          <a:pt x="46" y="5"/>
                        </a:lnTo>
                        <a:lnTo>
                          <a:pt x="45" y="8"/>
                        </a:lnTo>
                        <a:lnTo>
                          <a:pt x="46" y="13"/>
                        </a:lnTo>
                        <a:lnTo>
                          <a:pt x="50" y="15"/>
                        </a:lnTo>
                        <a:lnTo>
                          <a:pt x="55" y="19"/>
                        </a:lnTo>
                        <a:lnTo>
                          <a:pt x="56" y="23"/>
                        </a:lnTo>
                        <a:lnTo>
                          <a:pt x="56" y="28"/>
                        </a:lnTo>
                        <a:lnTo>
                          <a:pt x="61" y="31"/>
                        </a:lnTo>
                        <a:lnTo>
                          <a:pt x="65" y="35"/>
                        </a:lnTo>
                        <a:lnTo>
                          <a:pt x="68" y="39"/>
                        </a:lnTo>
                        <a:lnTo>
                          <a:pt x="68" y="44"/>
                        </a:lnTo>
                        <a:lnTo>
                          <a:pt x="68" y="47"/>
                        </a:lnTo>
                        <a:lnTo>
                          <a:pt x="70" y="50"/>
                        </a:lnTo>
                        <a:lnTo>
                          <a:pt x="75" y="52"/>
                        </a:lnTo>
                        <a:lnTo>
                          <a:pt x="80" y="55"/>
                        </a:lnTo>
                        <a:lnTo>
                          <a:pt x="86" y="59"/>
                        </a:lnTo>
                        <a:lnTo>
                          <a:pt x="90" y="59"/>
                        </a:lnTo>
                        <a:lnTo>
                          <a:pt x="91" y="54"/>
                        </a:lnTo>
                        <a:lnTo>
                          <a:pt x="91" y="47"/>
                        </a:lnTo>
                        <a:lnTo>
                          <a:pt x="91" y="42"/>
                        </a:lnTo>
                        <a:lnTo>
                          <a:pt x="91" y="37"/>
                        </a:lnTo>
                        <a:lnTo>
                          <a:pt x="91" y="32"/>
                        </a:lnTo>
                        <a:lnTo>
                          <a:pt x="88" y="30"/>
                        </a:lnTo>
                        <a:lnTo>
                          <a:pt x="86" y="30"/>
                        </a:lnTo>
                        <a:lnTo>
                          <a:pt x="85" y="29"/>
                        </a:lnTo>
                        <a:lnTo>
                          <a:pt x="84" y="24"/>
                        </a:lnTo>
                        <a:lnTo>
                          <a:pt x="84" y="19"/>
                        </a:lnTo>
                        <a:lnTo>
                          <a:pt x="84" y="14"/>
                        </a:lnTo>
                        <a:lnTo>
                          <a:pt x="85" y="11"/>
                        </a:lnTo>
                        <a:lnTo>
                          <a:pt x="88" y="8"/>
                        </a:lnTo>
                        <a:lnTo>
                          <a:pt x="94" y="6"/>
                        </a:lnTo>
                        <a:lnTo>
                          <a:pt x="99" y="4"/>
                        </a:lnTo>
                        <a:lnTo>
                          <a:pt x="103" y="1"/>
                        </a:lnTo>
                        <a:lnTo>
                          <a:pt x="104" y="0"/>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95" name="Freeform 434"/>
                  <p:cNvSpPr>
                    <a:spLocks/>
                  </p:cNvSpPr>
                  <p:nvPr/>
                </p:nvSpPr>
                <p:spPr bwMode="auto">
                  <a:xfrm>
                    <a:off x="1752481" y="1276222"/>
                    <a:ext cx="108185" cy="65035"/>
                  </a:xfrm>
                  <a:custGeom>
                    <a:avLst/>
                    <a:gdLst>
                      <a:gd name="T0" fmla="*/ 2147483647 w 102"/>
                      <a:gd name="T1" fmla="*/ 2147483647 h 60"/>
                      <a:gd name="T2" fmla="*/ 2147483647 w 102"/>
                      <a:gd name="T3" fmla="*/ 2147483647 h 60"/>
                      <a:gd name="T4" fmla="*/ 2147483647 w 102"/>
                      <a:gd name="T5" fmla="*/ 2147483647 h 60"/>
                      <a:gd name="T6" fmla="*/ 2147483647 w 102"/>
                      <a:gd name="T7" fmla="*/ 2147483647 h 60"/>
                      <a:gd name="T8" fmla="*/ 2147483647 w 102"/>
                      <a:gd name="T9" fmla="*/ 2147483647 h 60"/>
                      <a:gd name="T10" fmla="*/ 2147483647 w 102"/>
                      <a:gd name="T11" fmla="*/ 2147483647 h 60"/>
                      <a:gd name="T12" fmla="*/ 2147483647 w 102"/>
                      <a:gd name="T13" fmla="*/ 2147483647 h 60"/>
                      <a:gd name="T14" fmla="*/ 2147483647 w 102"/>
                      <a:gd name="T15" fmla="*/ 2147483647 h 60"/>
                      <a:gd name="T16" fmla="*/ 2147483647 w 102"/>
                      <a:gd name="T17" fmla="*/ 2147483647 h 60"/>
                      <a:gd name="T18" fmla="*/ 2147483647 w 102"/>
                      <a:gd name="T19" fmla="*/ 2147483647 h 60"/>
                      <a:gd name="T20" fmla="*/ 2147483647 w 102"/>
                      <a:gd name="T21" fmla="*/ 2147483647 h 60"/>
                      <a:gd name="T22" fmla="*/ 2147483647 w 102"/>
                      <a:gd name="T23" fmla="*/ 2147483647 h 60"/>
                      <a:gd name="T24" fmla="*/ 2147483647 w 102"/>
                      <a:gd name="T25" fmla="*/ 2147483647 h 60"/>
                      <a:gd name="T26" fmla="*/ 2147483647 w 102"/>
                      <a:gd name="T27" fmla="*/ 2147483647 h 60"/>
                      <a:gd name="T28" fmla="*/ 2147483647 w 102"/>
                      <a:gd name="T29" fmla="*/ 2147483647 h 60"/>
                      <a:gd name="T30" fmla="*/ 2147483647 w 102"/>
                      <a:gd name="T31" fmla="*/ 2147483647 h 60"/>
                      <a:gd name="T32" fmla="*/ 2147483647 w 102"/>
                      <a:gd name="T33" fmla="*/ 2147483647 h 60"/>
                      <a:gd name="T34" fmla="*/ 2147483647 w 102"/>
                      <a:gd name="T35" fmla="*/ 2147483647 h 60"/>
                      <a:gd name="T36" fmla="*/ 2147483647 w 102"/>
                      <a:gd name="T37" fmla="*/ 2147483647 h 60"/>
                      <a:gd name="T38" fmla="*/ 2147483647 w 102"/>
                      <a:gd name="T39" fmla="*/ 2147483647 h 60"/>
                      <a:gd name="T40" fmla="*/ 2147483647 w 102"/>
                      <a:gd name="T41" fmla="*/ 2147483647 h 60"/>
                      <a:gd name="T42" fmla="*/ 2147483647 w 102"/>
                      <a:gd name="T43" fmla="*/ 2147483647 h 60"/>
                      <a:gd name="T44" fmla="*/ 2147483647 w 102"/>
                      <a:gd name="T45" fmla="*/ 2147483647 h 60"/>
                      <a:gd name="T46" fmla="*/ 0 w 102"/>
                      <a:gd name="T47" fmla="*/ 2147483647 h 60"/>
                      <a:gd name="T48" fmla="*/ 2147483647 w 102"/>
                      <a:gd name="T49" fmla="*/ 2147483647 h 60"/>
                      <a:gd name="T50" fmla="*/ 2147483647 w 102"/>
                      <a:gd name="T51" fmla="*/ 2147483647 h 60"/>
                      <a:gd name="T52" fmla="*/ 2147483647 w 102"/>
                      <a:gd name="T53" fmla="*/ 2147483647 h 60"/>
                      <a:gd name="T54" fmla="*/ 2147483647 w 102"/>
                      <a:gd name="T55" fmla="*/ 2147483647 h 60"/>
                      <a:gd name="T56" fmla="*/ 2147483647 w 102"/>
                      <a:gd name="T57" fmla="*/ 2147483647 h 60"/>
                      <a:gd name="T58" fmla="*/ 2147483647 w 102"/>
                      <a:gd name="T59" fmla="*/ 2147483647 h 60"/>
                      <a:gd name="T60" fmla="*/ 2147483647 w 102"/>
                      <a:gd name="T61" fmla="*/ 2147483647 h 60"/>
                      <a:gd name="T62" fmla="*/ 2147483647 w 102"/>
                      <a:gd name="T63" fmla="*/ 2147483647 h 60"/>
                      <a:gd name="T64" fmla="*/ 2147483647 w 102"/>
                      <a:gd name="T65" fmla="*/ 0 h 60"/>
                      <a:gd name="T66" fmla="*/ 2147483647 w 102"/>
                      <a:gd name="T67" fmla="*/ 0 h 60"/>
                      <a:gd name="T68" fmla="*/ 2147483647 w 102"/>
                      <a:gd name="T69" fmla="*/ 0 h 60"/>
                      <a:gd name="T70" fmla="*/ 2147483647 w 102"/>
                      <a:gd name="T71" fmla="*/ 0 h 60"/>
                      <a:gd name="T72" fmla="*/ 2147483647 w 102"/>
                      <a:gd name="T73" fmla="*/ 0 h 60"/>
                      <a:gd name="T74" fmla="*/ 2147483647 w 102"/>
                      <a:gd name="T75" fmla="*/ 0 h 60"/>
                      <a:gd name="T76" fmla="*/ 2147483647 w 102"/>
                      <a:gd name="T77" fmla="*/ 2147483647 h 60"/>
                      <a:gd name="T78" fmla="*/ 2147483647 w 102"/>
                      <a:gd name="T79" fmla="*/ 2147483647 h 60"/>
                      <a:gd name="T80" fmla="*/ 2147483647 w 102"/>
                      <a:gd name="T81" fmla="*/ 2147483647 h 60"/>
                      <a:gd name="T82" fmla="*/ 2147483647 w 102"/>
                      <a:gd name="T83" fmla="*/ 2147483647 h 60"/>
                      <a:gd name="T84" fmla="*/ 2147483647 w 102"/>
                      <a:gd name="T85" fmla="*/ 2147483647 h 60"/>
                      <a:gd name="T86" fmla="*/ 2147483647 w 102"/>
                      <a:gd name="T87" fmla="*/ 2147483647 h 60"/>
                      <a:gd name="T88" fmla="*/ 2147483647 w 102"/>
                      <a:gd name="T89" fmla="*/ 2147483647 h 60"/>
                      <a:gd name="T90" fmla="*/ 2147483647 w 102"/>
                      <a:gd name="T91" fmla="*/ 2147483647 h 60"/>
                      <a:gd name="T92" fmla="*/ 2147483647 w 102"/>
                      <a:gd name="T93" fmla="*/ 2147483647 h 60"/>
                      <a:gd name="T94" fmla="*/ 2147483647 w 102"/>
                      <a:gd name="T95" fmla="*/ 2147483647 h 60"/>
                      <a:gd name="T96" fmla="*/ 2147483647 w 102"/>
                      <a:gd name="T97" fmla="*/ 2147483647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02" h="60">
                        <a:moveTo>
                          <a:pt x="76" y="40"/>
                        </a:moveTo>
                        <a:lnTo>
                          <a:pt x="75" y="41"/>
                        </a:lnTo>
                        <a:lnTo>
                          <a:pt x="72" y="45"/>
                        </a:lnTo>
                        <a:lnTo>
                          <a:pt x="68" y="46"/>
                        </a:lnTo>
                        <a:lnTo>
                          <a:pt x="66" y="42"/>
                        </a:lnTo>
                        <a:lnTo>
                          <a:pt x="64" y="35"/>
                        </a:lnTo>
                        <a:lnTo>
                          <a:pt x="61" y="30"/>
                        </a:lnTo>
                        <a:lnTo>
                          <a:pt x="58" y="27"/>
                        </a:lnTo>
                        <a:lnTo>
                          <a:pt x="56" y="31"/>
                        </a:lnTo>
                        <a:lnTo>
                          <a:pt x="55" y="38"/>
                        </a:lnTo>
                        <a:lnTo>
                          <a:pt x="55" y="44"/>
                        </a:lnTo>
                        <a:lnTo>
                          <a:pt x="53" y="47"/>
                        </a:lnTo>
                        <a:lnTo>
                          <a:pt x="48" y="47"/>
                        </a:lnTo>
                        <a:lnTo>
                          <a:pt x="42" y="47"/>
                        </a:lnTo>
                        <a:lnTo>
                          <a:pt x="38" y="52"/>
                        </a:lnTo>
                        <a:lnTo>
                          <a:pt x="38" y="57"/>
                        </a:lnTo>
                        <a:lnTo>
                          <a:pt x="38" y="60"/>
                        </a:lnTo>
                        <a:lnTo>
                          <a:pt x="37" y="57"/>
                        </a:lnTo>
                        <a:lnTo>
                          <a:pt x="33" y="54"/>
                        </a:lnTo>
                        <a:lnTo>
                          <a:pt x="27" y="50"/>
                        </a:lnTo>
                        <a:lnTo>
                          <a:pt x="22" y="48"/>
                        </a:lnTo>
                        <a:lnTo>
                          <a:pt x="15" y="48"/>
                        </a:lnTo>
                        <a:lnTo>
                          <a:pt x="6" y="48"/>
                        </a:lnTo>
                        <a:lnTo>
                          <a:pt x="0" y="46"/>
                        </a:lnTo>
                        <a:lnTo>
                          <a:pt x="4" y="40"/>
                        </a:lnTo>
                        <a:lnTo>
                          <a:pt x="11" y="34"/>
                        </a:lnTo>
                        <a:lnTo>
                          <a:pt x="17" y="30"/>
                        </a:lnTo>
                        <a:lnTo>
                          <a:pt x="23" y="25"/>
                        </a:lnTo>
                        <a:lnTo>
                          <a:pt x="35" y="19"/>
                        </a:lnTo>
                        <a:lnTo>
                          <a:pt x="46" y="12"/>
                        </a:lnTo>
                        <a:lnTo>
                          <a:pt x="55" y="7"/>
                        </a:lnTo>
                        <a:lnTo>
                          <a:pt x="60" y="2"/>
                        </a:lnTo>
                        <a:lnTo>
                          <a:pt x="68" y="0"/>
                        </a:lnTo>
                        <a:lnTo>
                          <a:pt x="76" y="0"/>
                        </a:lnTo>
                        <a:lnTo>
                          <a:pt x="80" y="0"/>
                        </a:lnTo>
                        <a:lnTo>
                          <a:pt x="83" y="0"/>
                        </a:lnTo>
                        <a:lnTo>
                          <a:pt x="87" y="0"/>
                        </a:lnTo>
                        <a:lnTo>
                          <a:pt x="93" y="0"/>
                        </a:lnTo>
                        <a:lnTo>
                          <a:pt x="98" y="2"/>
                        </a:lnTo>
                        <a:lnTo>
                          <a:pt x="102" y="6"/>
                        </a:lnTo>
                        <a:lnTo>
                          <a:pt x="99" y="10"/>
                        </a:lnTo>
                        <a:lnTo>
                          <a:pt x="95" y="15"/>
                        </a:lnTo>
                        <a:lnTo>
                          <a:pt x="93" y="17"/>
                        </a:lnTo>
                        <a:lnTo>
                          <a:pt x="93" y="19"/>
                        </a:lnTo>
                        <a:lnTo>
                          <a:pt x="91" y="24"/>
                        </a:lnTo>
                        <a:lnTo>
                          <a:pt x="89" y="31"/>
                        </a:lnTo>
                        <a:lnTo>
                          <a:pt x="86" y="35"/>
                        </a:lnTo>
                        <a:lnTo>
                          <a:pt x="81" y="39"/>
                        </a:lnTo>
                        <a:lnTo>
                          <a:pt x="76" y="40"/>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srgbClr val="FF0000"/>
                      </a:solidFill>
                      <a:latin typeface="Calibri"/>
                    </a:endParaRPr>
                  </a:p>
                </p:txBody>
              </p:sp>
              <p:sp>
                <p:nvSpPr>
                  <p:cNvPr id="596" name="Freeform 435"/>
                  <p:cNvSpPr>
                    <a:spLocks/>
                  </p:cNvSpPr>
                  <p:nvPr/>
                </p:nvSpPr>
                <p:spPr bwMode="auto">
                  <a:xfrm>
                    <a:off x="1965714" y="1341257"/>
                    <a:ext cx="90938" cy="85044"/>
                  </a:xfrm>
                  <a:custGeom>
                    <a:avLst/>
                    <a:gdLst>
                      <a:gd name="T0" fmla="*/ 2147483647 w 86"/>
                      <a:gd name="T1" fmla="*/ 2147483647 h 80"/>
                      <a:gd name="T2" fmla="*/ 2147483647 w 86"/>
                      <a:gd name="T3" fmla="*/ 0 h 80"/>
                      <a:gd name="T4" fmla="*/ 2147483647 w 86"/>
                      <a:gd name="T5" fmla="*/ 2147483647 h 80"/>
                      <a:gd name="T6" fmla="*/ 2147483647 w 86"/>
                      <a:gd name="T7" fmla="*/ 2147483647 h 80"/>
                      <a:gd name="T8" fmla="*/ 2147483647 w 86"/>
                      <a:gd name="T9" fmla="*/ 2147483647 h 80"/>
                      <a:gd name="T10" fmla="*/ 2147483647 w 86"/>
                      <a:gd name="T11" fmla="*/ 2147483647 h 80"/>
                      <a:gd name="T12" fmla="*/ 2147483647 w 86"/>
                      <a:gd name="T13" fmla="*/ 2147483647 h 80"/>
                      <a:gd name="T14" fmla="*/ 2147483647 w 86"/>
                      <a:gd name="T15" fmla="*/ 2147483647 h 80"/>
                      <a:gd name="T16" fmla="*/ 2147483647 w 86"/>
                      <a:gd name="T17" fmla="*/ 2147483647 h 80"/>
                      <a:gd name="T18" fmla="*/ 2147483647 w 86"/>
                      <a:gd name="T19" fmla="*/ 2147483647 h 80"/>
                      <a:gd name="T20" fmla="*/ 2147483647 w 86"/>
                      <a:gd name="T21" fmla="*/ 2147483647 h 80"/>
                      <a:gd name="T22" fmla="*/ 2147483647 w 86"/>
                      <a:gd name="T23" fmla="*/ 2147483647 h 80"/>
                      <a:gd name="T24" fmla="*/ 2147483647 w 86"/>
                      <a:gd name="T25" fmla="*/ 2147483647 h 80"/>
                      <a:gd name="T26" fmla="*/ 2147483647 w 86"/>
                      <a:gd name="T27" fmla="*/ 2147483647 h 80"/>
                      <a:gd name="T28" fmla="*/ 2147483647 w 86"/>
                      <a:gd name="T29" fmla="*/ 2147483647 h 80"/>
                      <a:gd name="T30" fmla="*/ 2147483647 w 86"/>
                      <a:gd name="T31" fmla="*/ 2147483647 h 80"/>
                      <a:gd name="T32" fmla="*/ 2147483647 w 86"/>
                      <a:gd name="T33" fmla="*/ 2147483647 h 80"/>
                      <a:gd name="T34" fmla="*/ 2147483647 w 86"/>
                      <a:gd name="T35" fmla="*/ 2147483647 h 80"/>
                      <a:gd name="T36" fmla="*/ 2147483647 w 86"/>
                      <a:gd name="T37" fmla="*/ 2147483647 h 80"/>
                      <a:gd name="T38" fmla="*/ 2147483647 w 86"/>
                      <a:gd name="T39" fmla="*/ 2147483647 h 80"/>
                      <a:gd name="T40" fmla="*/ 2147483647 w 86"/>
                      <a:gd name="T41" fmla="*/ 2147483647 h 80"/>
                      <a:gd name="T42" fmla="*/ 2147483647 w 86"/>
                      <a:gd name="T43" fmla="*/ 2147483647 h 80"/>
                      <a:gd name="T44" fmla="*/ 2147483647 w 86"/>
                      <a:gd name="T45" fmla="*/ 2147483647 h 80"/>
                      <a:gd name="T46" fmla="*/ 2147483647 w 86"/>
                      <a:gd name="T47" fmla="*/ 2147483647 h 80"/>
                      <a:gd name="T48" fmla="*/ 2147483647 w 86"/>
                      <a:gd name="T49" fmla="*/ 2147483647 h 80"/>
                      <a:gd name="T50" fmla="*/ 2147483647 w 86"/>
                      <a:gd name="T51" fmla="*/ 2147483647 h 80"/>
                      <a:gd name="T52" fmla="*/ 2147483647 w 86"/>
                      <a:gd name="T53" fmla="*/ 2147483647 h 80"/>
                      <a:gd name="T54" fmla="*/ 2147483647 w 86"/>
                      <a:gd name="T55" fmla="*/ 2147483647 h 80"/>
                      <a:gd name="T56" fmla="*/ 2147483647 w 86"/>
                      <a:gd name="T57" fmla="*/ 2147483647 h 80"/>
                      <a:gd name="T58" fmla="*/ 2147483647 w 86"/>
                      <a:gd name="T59" fmla="*/ 2147483647 h 80"/>
                      <a:gd name="T60" fmla="*/ 2147483647 w 86"/>
                      <a:gd name="T61" fmla="*/ 2147483647 h 80"/>
                      <a:gd name="T62" fmla="*/ 2147483647 w 86"/>
                      <a:gd name="T63" fmla="*/ 2147483647 h 80"/>
                      <a:gd name="T64" fmla="*/ 2147483647 w 86"/>
                      <a:gd name="T65" fmla="*/ 2147483647 h 80"/>
                      <a:gd name="T66" fmla="*/ 2147483647 w 86"/>
                      <a:gd name="T67" fmla="*/ 2147483647 h 8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 h="80">
                        <a:moveTo>
                          <a:pt x="20" y="16"/>
                        </a:moveTo>
                        <a:lnTo>
                          <a:pt x="17" y="12"/>
                        </a:lnTo>
                        <a:lnTo>
                          <a:pt x="10" y="5"/>
                        </a:lnTo>
                        <a:lnTo>
                          <a:pt x="3" y="0"/>
                        </a:lnTo>
                        <a:lnTo>
                          <a:pt x="0" y="2"/>
                        </a:lnTo>
                        <a:lnTo>
                          <a:pt x="1" y="9"/>
                        </a:lnTo>
                        <a:lnTo>
                          <a:pt x="2" y="15"/>
                        </a:lnTo>
                        <a:lnTo>
                          <a:pt x="3" y="22"/>
                        </a:lnTo>
                        <a:lnTo>
                          <a:pt x="4" y="27"/>
                        </a:lnTo>
                        <a:lnTo>
                          <a:pt x="5" y="33"/>
                        </a:lnTo>
                        <a:lnTo>
                          <a:pt x="8" y="38"/>
                        </a:lnTo>
                        <a:lnTo>
                          <a:pt x="11" y="41"/>
                        </a:lnTo>
                        <a:lnTo>
                          <a:pt x="15" y="42"/>
                        </a:lnTo>
                        <a:lnTo>
                          <a:pt x="18" y="42"/>
                        </a:lnTo>
                        <a:lnTo>
                          <a:pt x="22" y="42"/>
                        </a:lnTo>
                        <a:lnTo>
                          <a:pt x="24" y="43"/>
                        </a:lnTo>
                        <a:lnTo>
                          <a:pt x="23" y="47"/>
                        </a:lnTo>
                        <a:lnTo>
                          <a:pt x="20" y="52"/>
                        </a:lnTo>
                        <a:lnTo>
                          <a:pt x="22" y="54"/>
                        </a:lnTo>
                        <a:lnTo>
                          <a:pt x="24" y="54"/>
                        </a:lnTo>
                        <a:lnTo>
                          <a:pt x="31" y="54"/>
                        </a:lnTo>
                        <a:lnTo>
                          <a:pt x="38" y="53"/>
                        </a:lnTo>
                        <a:lnTo>
                          <a:pt x="41" y="53"/>
                        </a:lnTo>
                        <a:lnTo>
                          <a:pt x="42" y="54"/>
                        </a:lnTo>
                        <a:lnTo>
                          <a:pt x="42" y="58"/>
                        </a:lnTo>
                        <a:lnTo>
                          <a:pt x="40" y="65"/>
                        </a:lnTo>
                        <a:lnTo>
                          <a:pt x="38" y="73"/>
                        </a:lnTo>
                        <a:lnTo>
                          <a:pt x="38" y="79"/>
                        </a:lnTo>
                        <a:lnTo>
                          <a:pt x="43" y="80"/>
                        </a:lnTo>
                        <a:lnTo>
                          <a:pt x="54" y="77"/>
                        </a:lnTo>
                        <a:lnTo>
                          <a:pt x="64" y="72"/>
                        </a:lnTo>
                        <a:lnTo>
                          <a:pt x="72" y="66"/>
                        </a:lnTo>
                        <a:lnTo>
                          <a:pt x="76" y="64"/>
                        </a:lnTo>
                        <a:lnTo>
                          <a:pt x="75" y="62"/>
                        </a:lnTo>
                        <a:lnTo>
                          <a:pt x="72" y="57"/>
                        </a:lnTo>
                        <a:lnTo>
                          <a:pt x="72" y="54"/>
                        </a:lnTo>
                        <a:lnTo>
                          <a:pt x="75" y="54"/>
                        </a:lnTo>
                        <a:lnTo>
                          <a:pt x="79" y="56"/>
                        </a:lnTo>
                        <a:lnTo>
                          <a:pt x="84" y="58"/>
                        </a:lnTo>
                        <a:lnTo>
                          <a:pt x="86" y="57"/>
                        </a:lnTo>
                        <a:lnTo>
                          <a:pt x="83" y="50"/>
                        </a:lnTo>
                        <a:lnTo>
                          <a:pt x="77" y="42"/>
                        </a:lnTo>
                        <a:lnTo>
                          <a:pt x="72" y="39"/>
                        </a:lnTo>
                        <a:lnTo>
                          <a:pt x="71" y="37"/>
                        </a:lnTo>
                        <a:lnTo>
                          <a:pt x="72" y="31"/>
                        </a:lnTo>
                        <a:lnTo>
                          <a:pt x="76" y="22"/>
                        </a:lnTo>
                        <a:lnTo>
                          <a:pt x="77" y="15"/>
                        </a:lnTo>
                        <a:lnTo>
                          <a:pt x="76" y="9"/>
                        </a:lnTo>
                        <a:lnTo>
                          <a:pt x="71" y="7"/>
                        </a:lnTo>
                        <a:lnTo>
                          <a:pt x="65" y="8"/>
                        </a:lnTo>
                        <a:lnTo>
                          <a:pt x="64" y="10"/>
                        </a:lnTo>
                        <a:lnTo>
                          <a:pt x="63" y="12"/>
                        </a:lnTo>
                        <a:lnTo>
                          <a:pt x="60" y="11"/>
                        </a:lnTo>
                        <a:lnTo>
                          <a:pt x="55" y="8"/>
                        </a:lnTo>
                        <a:lnTo>
                          <a:pt x="50" y="3"/>
                        </a:lnTo>
                        <a:lnTo>
                          <a:pt x="47" y="2"/>
                        </a:lnTo>
                        <a:lnTo>
                          <a:pt x="45" y="3"/>
                        </a:lnTo>
                        <a:lnTo>
                          <a:pt x="45" y="7"/>
                        </a:lnTo>
                        <a:lnTo>
                          <a:pt x="47" y="11"/>
                        </a:lnTo>
                        <a:lnTo>
                          <a:pt x="48" y="13"/>
                        </a:lnTo>
                        <a:lnTo>
                          <a:pt x="47" y="16"/>
                        </a:lnTo>
                        <a:lnTo>
                          <a:pt x="43" y="15"/>
                        </a:lnTo>
                        <a:lnTo>
                          <a:pt x="39" y="11"/>
                        </a:lnTo>
                        <a:lnTo>
                          <a:pt x="35" y="9"/>
                        </a:lnTo>
                        <a:lnTo>
                          <a:pt x="32" y="11"/>
                        </a:lnTo>
                        <a:lnTo>
                          <a:pt x="28" y="15"/>
                        </a:lnTo>
                        <a:lnTo>
                          <a:pt x="25" y="16"/>
                        </a:lnTo>
                        <a:lnTo>
                          <a:pt x="22" y="16"/>
                        </a:lnTo>
                        <a:lnTo>
                          <a:pt x="20" y="16"/>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srgbClr val="FF0000"/>
                      </a:solidFill>
                      <a:latin typeface="Calibri"/>
                    </a:endParaRPr>
                  </a:p>
                </p:txBody>
              </p:sp>
              <p:sp>
                <p:nvSpPr>
                  <p:cNvPr id="597" name="Freeform 436"/>
                  <p:cNvSpPr>
                    <a:spLocks/>
                  </p:cNvSpPr>
                  <p:nvPr/>
                </p:nvSpPr>
                <p:spPr bwMode="auto">
                  <a:xfrm>
                    <a:off x="2058219" y="1392950"/>
                    <a:ext cx="36060" cy="48359"/>
                  </a:xfrm>
                  <a:custGeom>
                    <a:avLst/>
                    <a:gdLst>
                      <a:gd name="T0" fmla="*/ 2147483647 w 34"/>
                      <a:gd name="T1" fmla="*/ 2147483647 h 46"/>
                      <a:gd name="T2" fmla="*/ 2147483647 w 34"/>
                      <a:gd name="T3" fmla="*/ 2147483647 h 46"/>
                      <a:gd name="T4" fmla="*/ 2147483647 w 34"/>
                      <a:gd name="T5" fmla="*/ 2147483647 h 46"/>
                      <a:gd name="T6" fmla="*/ 2147483647 w 34"/>
                      <a:gd name="T7" fmla="*/ 2147483647 h 46"/>
                      <a:gd name="T8" fmla="*/ 2147483647 w 34"/>
                      <a:gd name="T9" fmla="*/ 2147483647 h 46"/>
                      <a:gd name="T10" fmla="*/ 2147483647 w 34"/>
                      <a:gd name="T11" fmla="*/ 2147483647 h 46"/>
                      <a:gd name="T12" fmla="*/ 2147483647 w 34"/>
                      <a:gd name="T13" fmla="*/ 2147483647 h 46"/>
                      <a:gd name="T14" fmla="*/ 0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0 h 46"/>
                      <a:gd name="T50" fmla="*/ 2147483647 w 34"/>
                      <a:gd name="T51" fmla="*/ 0 h 46"/>
                      <a:gd name="T52" fmla="*/ 2147483647 w 34"/>
                      <a:gd name="T53" fmla="*/ 0 h 46"/>
                      <a:gd name="T54" fmla="*/ 2147483647 w 34"/>
                      <a:gd name="T55" fmla="*/ 2147483647 h 46"/>
                      <a:gd name="T56" fmla="*/ 2147483647 w 34"/>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4" h="46">
                        <a:moveTo>
                          <a:pt x="14" y="4"/>
                        </a:moveTo>
                        <a:lnTo>
                          <a:pt x="14" y="5"/>
                        </a:lnTo>
                        <a:lnTo>
                          <a:pt x="13" y="7"/>
                        </a:lnTo>
                        <a:lnTo>
                          <a:pt x="11" y="12"/>
                        </a:lnTo>
                        <a:lnTo>
                          <a:pt x="7" y="15"/>
                        </a:lnTo>
                        <a:lnTo>
                          <a:pt x="4" y="18"/>
                        </a:lnTo>
                        <a:lnTo>
                          <a:pt x="1" y="23"/>
                        </a:lnTo>
                        <a:lnTo>
                          <a:pt x="0" y="28"/>
                        </a:lnTo>
                        <a:lnTo>
                          <a:pt x="3" y="31"/>
                        </a:lnTo>
                        <a:lnTo>
                          <a:pt x="7" y="35"/>
                        </a:lnTo>
                        <a:lnTo>
                          <a:pt x="12" y="37"/>
                        </a:lnTo>
                        <a:lnTo>
                          <a:pt x="16" y="40"/>
                        </a:lnTo>
                        <a:lnTo>
                          <a:pt x="19" y="44"/>
                        </a:lnTo>
                        <a:lnTo>
                          <a:pt x="22" y="46"/>
                        </a:lnTo>
                        <a:lnTo>
                          <a:pt x="27" y="44"/>
                        </a:lnTo>
                        <a:lnTo>
                          <a:pt x="31" y="40"/>
                        </a:lnTo>
                        <a:lnTo>
                          <a:pt x="34" y="35"/>
                        </a:lnTo>
                        <a:lnTo>
                          <a:pt x="34" y="29"/>
                        </a:lnTo>
                        <a:lnTo>
                          <a:pt x="33" y="24"/>
                        </a:lnTo>
                        <a:lnTo>
                          <a:pt x="30" y="20"/>
                        </a:lnTo>
                        <a:lnTo>
                          <a:pt x="30" y="15"/>
                        </a:lnTo>
                        <a:lnTo>
                          <a:pt x="29" y="9"/>
                        </a:lnTo>
                        <a:lnTo>
                          <a:pt x="27" y="5"/>
                        </a:lnTo>
                        <a:lnTo>
                          <a:pt x="23" y="1"/>
                        </a:lnTo>
                        <a:lnTo>
                          <a:pt x="22" y="0"/>
                        </a:lnTo>
                        <a:lnTo>
                          <a:pt x="21" y="0"/>
                        </a:lnTo>
                        <a:lnTo>
                          <a:pt x="19" y="0"/>
                        </a:lnTo>
                        <a:lnTo>
                          <a:pt x="16" y="1"/>
                        </a:lnTo>
                        <a:lnTo>
                          <a:pt x="14" y="4"/>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98" name="Freeform 437"/>
                  <p:cNvSpPr>
                    <a:spLocks/>
                  </p:cNvSpPr>
                  <p:nvPr/>
                </p:nvSpPr>
                <p:spPr bwMode="auto">
                  <a:xfrm>
                    <a:off x="2048812" y="1326249"/>
                    <a:ext cx="213231" cy="108390"/>
                  </a:xfrm>
                  <a:custGeom>
                    <a:avLst/>
                    <a:gdLst>
                      <a:gd name="T0" fmla="*/ 2147483647 w 202"/>
                      <a:gd name="T1" fmla="*/ 2147483647 h 100"/>
                      <a:gd name="T2" fmla="*/ 2147483647 w 202"/>
                      <a:gd name="T3" fmla="*/ 2147483647 h 100"/>
                      <a:gd name="T4" fmla="*/ 2147483647 w 202"/>
                      <a:gd name="T5" fmla="*/ 2147483647 h 100"/>
                      <a:gd name="T6" fmla="*/ 2147483647 w 202"/>
                      <a:gd name="T7" fmla="*/ 2147483647 h 100"/>
                      <a:gd name="T8" fmla="*/ 2147483647 w 202"/>
                      <a:gd name="T9" fmla="*/ 2147483647 h 100"/>
                      <a:gd name="T10" fmla="*/ 2147483647 w 202"/>
                      <a:gd name="T11" fmla="*/ 2147483647 h 100"/>
                      <a:gd name="T12" fmla="*/ 2147483647 w 202"/>
                      <a:gd name="T13" fmla="*/ 2147483647 h 100"/>
                      <a:gd name="T14" fmla="*/ 2147483647 w 202"/>
                      <a:gd name="T15" fmla="*/ 2147483647 h 100"/>
                      <a:gd name="T16" fmla="*/ 2147483647 w 202"/>
                      <a:gd name="T17" fmla="*/ 2147483647 h 100"/>
                      <a:gd name="T18" fmla="*/ 2147483647 w 202"/>
                      <a:gd name="T19" fmla="*/ 2147483647 h 100"/>
                      <a:gd name="T20" fmla="*/ 2147483647 w 202"/>
                      <a:gd name="T21" fmla="*/ 2147483647 h 100"/>
                      <a:gd name="T22" fmla="*/ 2147483647 w 202"/>
                      <a:gd name="T23" fmla="*/ 2147483647 h 100"/>
                      <a:gd name="T24" fmla="*/ 2147483647 w 202"/>
                      <a:gd name="T25" fmla="*/ 2147483647 h 100"/>
                      <a:gd name="T26" fmla="*/ 2147483647 w 202"/>
                      <a:gd name="T27" fmla="*/ 2147483647 h 100"/>
                      <a:gd name="T28" fmla="*/ 2147483647 w 202"/>
                      <a:gd name="T29" fmla="*/ 2147483647 h 100"/>
                      <a:gd name="T30" fmla="*/ 2147483647 w 202"/>
                      <a:gd name="T31" fmla="*/ 2147483647 h 100"/>
                      <a:gd name="T32" fmla="*/ 2147483647 w 202"/>
                      <a:gd name="T33" fmla="*/ 2147483647 h 100"/>
                      <a:gd name="T34" fmla="*/ 2147483647 w 202"/>
                      <a:gd name="T35" fmla="*/ 2147483647 h 100"/>
                      <a:gd name="T36" fmla="*/ 2147483647 w 202"/>
                      <a:gd name="T37" fmla="*/ 2147483647 h 100"/>
                      <a:gd name="T38" fmla="*/ 2147483647 w 202"/>
                      <a:gd name="T39" fmla="*/ 2147483647 h 100"/>
                      <a:gd name="T40" fmla="*/ 2147483647 w 202"/>
                      <a:gd name="T41" fmla="*/ 2147483647 h 100"/>
                      <a:gd name="T42" fmla="*/ 2147483647 w 202"/>
                      <a:gd name="T43" fmla="*/ 2147483647 h 100"/>
                      <a:gd name="T44" fmla="*/ 2147483647 w 202"/>
                      <a:gd name="T45" fmla="*/ 2147483647 h 100"/>
                      <a:gd name="T46" fmla="*/ 2147483647 w 202"/>
                      <a:gd name="T47" fmla="*/ 2147483647 h 100"/>
                      <a:gd name="T48" fmla="*/ 2147483647 w 202"/>
                      <a:gd name="T49" fmla="*/ 2147483647 h 100"/>
                      <a:gd name="T50" fmla="*/ 2147483647 w 202"/>
                      <a:gd name="T51" fmla="*/ 2147483647 h 100"/>
                      <a:gd name="T52" fmla="*/ 2147483647 w 202"/>
                      <a:gd name="T53" fmla="*/ 2147483647 h 100"/>
                      <a:gd name="T54" fmla="*/ 0 w 202"/>
                      <a:gd name="T55" fmla="*/ 2147483647 h 100"/>
                      <a:gd name="T56" fmla="*/ 2147483647 w 202"/>
                      <a:gd name="T57" fmla="*/ 2147483647 h 100"/>
                      <a:gd name="T58" fmla="*/ 2147483647 w 202"/>
                      <a:gd name="T59" fmla="*/ 0 h 100"/>
                      <a:gd name="T60" fmla="*/ 2147483647 w 202"/>
                      <a:gd name="T61" fmla="*/ 2147483647 h 100"/>
                      <a:gd name="T62" fmla="*/ 2147483647 w 202"/>
                      <a:gd name="T63" fmla="*/ 2147483647 h 100"/>
                      <a:gd name="T64" fmla="*/ 2147483647 w 202"/>
                      <a:gd name="T65" fmla="*/ 2147483647 h 100"/>
                      <a:gd name="T66" fmla="*/ 2147483647 w 202"/>
                      <a:gd name="T67" fmla="*/ 2147483647 h 100"/>
                      <a:gd name="T68" fmla="*/ 2147483647 w 202"/>
                      <a:gd name="T69" fmla="*/ 2147483647 h 100"/>
                      <a:gd name="T70" fmla="*/ 2147483647 w 202"/>
                      <a:gd name="T71" fmla="*/ 2147483647 h 100"/>
                      <a:gd name="T72" fmla="*/ 2147483647 w 202"/>
                      <a:gd name="T73" fmla="*/ 2147483647 h 100"/>
                      <a:gd name="T74" fmla="*/ 2147483647 w 202"/>
                      <a:gd name="T75" fmla="*/ 2147483647 h 100"/>
                      <a:gd name="T76" fmla="*/ 2147483647 w 202"/>
                      <a:gd name="T77" fmla="*/ 2147483647 h 100"/>
                      <a:gd name="T78" fmla="*/ 2147483647 w 202"/>
                      <a:gd name="T79" fmla="*/ 2147483647 h 100"/>
                      <a:gd name="T80" fmla="*/ 2147483647 w 202"/>
                      <a:gd name="T81" fmla="*/ 2147483647 h 100"/>
                      <a:gd name="T82" fmla="*/ 2147483647 w 202"/>
                      <a:gd name="T83" fmla="*/ 2147483647 h 100"/>
                      <a:gd name="T84" fmla="*/ 2147483647 w 202"/>
                      <a:gd name="T85" fmla="*/ 2147483647 h 100"/>
                      <a:gd name="T86" fmla="*/ 2147483647 w 202"/>
                      <a:gd name="T87" fmla="*/ 2147483647 h 1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02" h="100">
                        <a:moveTo>
                          <a:pt x="166" y="28"/>
                        </a:moveTo>
                        <a:lnTo>
                          <a:pt x="169" y="29"/>
                        </a:lnTo>
                        <a:lnTo>
                          <a:pt x="176" y="30"/>
                        </a:lnTo>
                        <a:lnTo>
                          <a:pt x="184" y="33"/>
                        </a:lnTo>
                        <a:lnTo>
                          <a:pt x="191" y="37"/>
                        </a:lnTo>
                        <a:lnTo>
                          <a:pt x="196" y="41"/>
                        </a:lnTo>
                        <a:lnTo>
                          <a:pt x="198" y="46"/>
                        </a:lnTo>
                        <a:lnTo>
                          <a:pt x="201" y="52"/>
                        </a:lnTo>
                        <a:lnTo>
                          <a:pt x="201" y="60"/>
                        </a:lnTo>
                        <a:lnTo>
                          <a:pt x="201" y="67"/>
                        </a:lnTo>
                        <a:lnTo>
                          <a:pt x="202" y="69"/>
                        </a:lnTo>
                        <a:lnTo>
                          <a:pt x="201" y="73"/>
                        </a:lnTo>
                        <a:lnTo>
                          <a:pt x="196" y="76"/>
                        </a:lnTo>
                        <a:lnTo>
                          <a:pt x="190" y="81"/>
                        </a:lnTo>
                        <a:lnTo>
                          <a:pt x="186" y="84"/>
                        </a:lnTo>
                        <a:lnTo>
                          <a:pt x="180" y="85"/>
                        </a:lnTo>
                        <a:lnTo>
                          <a:pt x="172" y="85"/>
                        </a:lnTo>
                        <a:lnTo>
                          <a:pt x="166" y="84"/>
                        </a:lnTo>
                        <a:lnTo>
                          <a:pt x="163" y="83"/>
                        </a:lnTo>
                        <a:lnTo>
                          <a:pt x="160" y="84"/>
                        </a:lnTo>
                        <a:lnTo>
                          <a:pt x="156" y="88"/>
                        </a:lnTo>
                        <a:lnTo>
                          <a:pt x="152" y="90"/>
                        </a:lnTo>
                        <a:lnTo>
                          <a:pt x="148" y="91"/>
                        </a:lnTo>
                        <a:lnTo>
                          <a:pt x="142" y="92"/>
                        </a:lnTo>
                        <a:lnTo>
                          <a:pt x="136" y="92"/>
                        </a:lnTo>
                        <a:lnTo>
                          <a:pt x="130" y="93"/>
                        </a:lnTo>
                        <a:lnTo>
                          <a:pt x="125" y="93"/>
                        </a:lnTo>
                        <a:lnTo>
                          <a:pt x="120" y="94"/>
                        </a:lnTo>
                        <a:lnTo>
                          <a:pt x="116" y="96"/>
                        </a:lnTo>
                        <a:lnTo>
                          <a:pt x="111" y="98"/>
                        </a:lnTo>
                        <a:lnTo>
                          <a:pt x="106" y="99"/>
                        </a:lnTo>
                        <a:lnTo>
                          <a:pt x="100" y="100"/>
                        </a:lnTo>
                        <a:lnTo>
                          <a:pt x="92" y="100"/>
                        </a:lnTo>
                        <a:lnTo>
                          <a:pt x="84" y="99"/>
                        </a:lnTo>
                        <a:lnTo>
                          <a:pt x="77" y="99"/>
                        </a:lnTo>
                        <a:lnTo>
                          <a:pt x="73" y="97"/>
                        </a:lnTo>
                        <a:lnTo>
                          <a:pt x="68" y="93"/>
                        </a:lnTo>
                        <a:lnTo>
                          <a:pt x="63" y="90"/>
                        </a:lnTo>
                        <a:lnTo>
                          <a:pt x="58" y="85"/>
                        </a:lnTo>
                        <a:lnTo>
                          <a:pt x="53" y="79"/>
                        </a:lnTo>
                        <a:lnTo>
                          <a:pt x="52" y="71"/>
                        </a:lnTo>
                        <a:lnTo>
                          <a:pt x="53" y="61"/>
                        </a:lnTo>
                        <a:lnTo>
                          <a:pt x="53" y="54"/>
                        </a:lnTo>
                        <a:lnTo>
                          <a:pt x="53" y="48"/>
                        </a:lnTo>
                        <a:lnTo>
                          <a:pt x="51" y="44"/>
                        </a:lnTo>
                        <a:lnTo>
                          <a:pt x="49" y="39"/>
                        </a:lnTo>
                        <a:lnTo>
                          <a:pt x="46" y="35"/>
                        </a:lnTo>
                        <a:lnTo>
                          <a:pt x="42" y="32"/>
                        </a:lnTo>
                        <a:lnTo>
                          <a:pt x="36" y="32"/>
                        </a:lnTo>
                        <a:lnTo>
                          <a:pt x="30" y="33"/>
                        </a:lnTo>
                        <a:lnTo>
                          <a:pt x="28" y="35"/>
                        </a:lnTo>
                        <a:lnTo>
                          <a:pt x="24" y="35"/>
                        </a:lnTo>
                        <a:lnTo>
                          <a:pt x="20" y="31"/>
                        </a:lnTo>
                        <a:lnTo>
                          <a:pt x="12" y="25"/>
                        </a:lnTo>
                        <a:lnTo>
                          <a:pt x="5" y="22"/>
                        </a:lnTo>
                        <a:lnTo>
                          <a:pt x="0" y="16"/>
                        </a:lnTo>
                        <a:lnTo>
                          <a:pt x="1" y="9"/>
                        </a:lnTo>
                        <a:lnTo>
                          <a:pt x="7" y="3"/>
                        </a:lnTo>
                        <a:lnTo>
                          <a:pt x="13" y="0"/>
                        </a:lnTo>
                        <a:lnTo>
                          <a:pt x="19" y="0"/>
                        </a:lnTo>
                        <a:lnTo>
                          <a:pt x="24" y="1"/>
                        </a:lnTo>
                        <a:lnTo>
                          <a:pt x="30" y="6"/>
                        </a:lnTo>
                        <a:lnTo>
                          <a:pt x="34" y="12"/>
                        </a:lnTo>
                        <a:lnTo>
                          <a:pt x="37" y="17"/>
                        </a:lnTo>
                        <a:lnTo>
                          <a:pt x="43" y="21"/>
                        </a:lnTo>
                        <a:lnTo>
                          <a:pt x="49" y="20"/>
                        </a:lnTo>
                        <a:lnTo>
                          <a:pt x="52" y="16"/>
                        </a:lnTo>
                        <a:lnTo>
                          <a:pt x="54" y="13"/>
                        </a:lnTo>
                        <a:lnTo>
                          <a:pt x="59" y="12"/>
                        </a:lnTo>
                        <a:lnTo>
                          <a:pt x="63" y="13"/>
                        </a:lnTo>
                        <a:lnTo>
                          <a:pt x="67" y="13"/>
                        </a:lnTo>
                        <a:lnTo>
                          <a:pt x="69" y="16"/>
                        </a:lnTo>
                        <a:lnTo>
                          <a:pt x="70" y="21"/>
                        </a:lnTo>
                        <a:lnTo>
                          <a:pt x="73" y="29"/>
                        </a:lnTo>
                        <a:lnTo>
                          <a:pt x="80" y="36"/>
                        </a:lnTo>
                        <a:lnTo>
                          <a:pt x="85" y="43"/>
                        </a:lnTo>
                        <a:lnTo>
                          <a:pt x="88" y="50"/>
                        </a:lnTo>
                        <a:lnTo>
                          <a:pt x="91" y="53"/>
                        </a:lnTo>
                        <a:lnTo>
                          <a:pt x="100" y="52"/>
                        </a:lnTo>
                        <a:lnTo>
                          <a:pt x="111" y="51"/>
                        </a:lnTo>
                        <a:lnTo>
                          <a:pt x="119" y="52"/>
                        </a:lnTo>
                        <a:lnTo>
                          <a:pt x="123" y="53"/>
                        </a:lnTo>
                        <a:lnTo>
                          <a:pt x="128" y="51"/>
                        </a:lnTo>
                        <a:lnTo>
                          <a:pt x="133" y="46"/>
                        </a:lnTo>
                        <a:lnTo>
                          <a:pt x="138" y="41"/>
                        </a:lnTo>
                        <a:lnTo>
                          <a:pt x="143" y="37"/>
                        </a:lnTo>
                        <a:lnTo>
                          <a:pt x="149" y="32"/>
                        </a:lnTo>
                        <a:lnTo>
                          <a:pt x="154" y="29"/>
                        </a:lnTo>
                        <a:lnTo>
                          <a:pt x="166" y="28"/>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599" name="Freeform 438"/>
                  <p:cNvSpPr>
                    <a:spLocks/>
                  </p:cNvSpPr>
                  <p:nvPr/>
                </p:nvSpPr>
                <p:spPr bwMode="auto">
                  <a:xfrm>
                    <a:off x="1881048" y="1257880"/>
                    <a:ext cx="43901" cy="40021"/>
                  </a:xfrm>
                  <a:custGeom>
                    <a:avLst/>
                    <a:gdLst>
                      <a:gd name="T0" fmla="*/ 2147483647 w 40"/>
                      <a:gd name="T1" fmla="*/ 2147483647 h 37"/>
                      <a:gd name="T2" fmla="*/ 2147483647 w 40"/>
                      <a:gd name="T3" fmla="*/ 2147483647 h 37"/>
                      <a:gd name="T4" fmla="*/ 2147483647 w 40"/>
                      <a:gd name="T5" fmla="*/ 2147483647 h 37"/>
                      <a:gd name="T6" fmla="*/ 2147483647 w 40"/>
                      <a:gd name="T7" fmla="*/ 2147483647 h 37"/>
                      <a:gd name="T8" fmla="*/ 2147483647 w 40"/>
                      <a:gd name="T9" fmla="*/ 2147483647 h 37"/>
                      <a:gd name="T10" fmla="*/ 2147483647 w 40"/>
                      <a:gd name="T11" fmla="*/ 2147483647 h 37"/>
                      <a:gd name="T12" fmla="*/ 2147483647 w 40"/>
                      <a:gd name="T13" fmla="*/ 2147483647 h 37"/>
                      <a:gd name="T14" fmla="*/ 2147483647 w 40"/>
                      <a:gd name="T15" fmla="*/ 2147483647 h 37"/>
                      <a:gd name="T16" fmla="*/ 2147483647 w 40"/>
                      <a:gd name="T17" fmla="*/ 2147483647 h 37"/>
                      <a:gd name="T18" fmla="*/ 2147483647 w 40"/>
                      <a:gd name="T19" fmla="*/ 2147483647 h 37"/>
                      <a:gd name="T20" fmla="*/ 2147483647 w 40"/>
                      <a:gd name="T21" fmla="*/ 2147483647 h 37"/>
                      <a:gd name="T22" fmla="*/ 2147483647 w 40"/>
                      <a:gd name="T23" fmla="*/ 2147483647 h 37"/>
                      <a:gd name="T24" fmla="*/ 2147483647 w 40"/>
                      <a:gd name="T25" fmla="*/ 2147483647 h 37"/>
                      <a:gd name="T26" fmla="*/ 2147483647 w 40"/>
                      <a:gd name="T27" fmla="*/ 2147483647 h 37"/>
                      <a:gd name="T28" fmla="*/ 0 w 40"/>
                      <a:gd name="T29" fmla="*/ 2147483647 h 37"/>
                      <a:gd name="T30" fmla="*/ 2147483647 w 40"/>
                      <a:gd name="T31" fmla="*/ 2147483647 h 37"/>
                      <a:gd name="T32" fmla="*/ 2147483647 w 40"/>
                      <a:gd name="T33" fmla="*/ 2147483647 h 37"/>
                      <a:gd name="T34" fmla="*/ 2147483647 w 40"/>
                      <a:gd name="T35" fmla="*/ 2147483647 h 37"/>
                      <a:gd name="T36" fmla="*/ 2147483647 w 40"/>
                      <a:gd name="T37" fmla="*/ 2147483647 h 37"/>
                      <a:gd name="T38" fmla="*/ 2147483647 w 40"/>
                      <a:gd name="T39" fmla="*/ 0 h 37"/>
                      <a:gd name="T40" fmla="*/ 2147483647 w 40"/>
                      <a:gd name="T41" fmla="*/ 2147483647 h 37"/>
                      <a:gd name="T42" fmla="*/ 2147483647 w 40"/>
                      <a:gd name="T43" fmla="*/ 2147483647 h 37"/>
                      <a:gd name="T44" fmla="*/ 2147483647 w 40"/>
                      <a:gd name="T45" fmla="*/ 2147483647 h 37"/>
                      <a:gd name="T46" fmla="*/ 2147483647 w 40"/>
                      <a:gd name="T47" fmla="*/ 2147483647 h 37"/>
                      <a:gd name="T48" fmla="*/ 2147483647 w 40"/>
                      <a:gd name="T49" fmla="*/ 2147483647 h 3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37">
                        <a:moveTo>
                          <a:pt x="38" y="20"/>
                        </a:moveTo>
                        <a:lnTo>
                          <a:pt x="37" y="21"/>
                        </a:lnTo>
                        <a:lnTo>
                          <a:pt x="35" y="26"/>
                        </a:lnTo>
                        <a:lnTo>
                          <a:pt x="32" y="30"/>
                        </a:lnTo>
                        <a:lnTo>
                          <a:pt x="28" y="34"/>
                        </a:lnTo>
                        <a:lnTo>
                          <a:pt x="24" y="36"/>
                        </a:lnTo>
                        <a:lnTo>
                          <a:pt x="19" y="37"/>
                        </a:lnTo>
                        <a:lnTo>
                          <a:pt x="14" y="37"/>
                        </a:lnTo>
                        <a:lnTo>
                          <a:pt x="13" y="37"/>
                        </a:lnTo>
                        <a:lnTo>
                          <a:pt x="12" y="36"/>
                        </a:lnTo>
                        <a:lnTo>
                          <a:pt x="11" y="34"/>
                        </a:lnTo>
                        <a:lnTo>
                          <a:pt x="9" y="32"/>
                        </a:lnTo>
                        <a:lnTo>
                          <a:pt x="5" y="28"/>
                        </a:lnTo>
                        <a:lnTo>
                          <a:pt x="2" y="24"/>
                        </a:lnTo>
                        <a:lnTo>
                          <a:pt x="0" y="20"/>
                        </a:lnTo>
                        <a:lnTo>
                          <a:pt x="2" y="17"/>
                        </a:lnTo>
                        <a:lnTo>
                          <a:pt x="6" y="12"/>
                        </a:lnTo>
                        <a:lnTo>
                          <a:pt x="12" y="7"/>
                        </a:lnTo>
                        <a:lnTo>
                          <a:pt x="17" y="3"/>
                        </a:lnTo>
                        <a:lnTo>
                          <a:pt x="20" y="0"/>
                        </a:lnTo>
                        <a:lnTo>
                          <a:pt x="25" y="2"/>
                        </a:lnTo>
                        <a:lnTo>
                          <a:pt x="32" y="4"/>
                        </a:lnTo>
                        <a:lnTo>
                          <a:pt x="37" y="7"/>
                        </a:lnTo>
                        <a:lnTo>
                          <a:pt x="40" y="12"/>
                        </a:lnTo>
                        <a:lnTo>
                          <a:pt x="38" y="20"/>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srgbClr val="FF0000"/>
                      </a:solidFill>
                      <a:latin typeface="Calibri"/>
                    </a:endParaRPr>
                  </a:p>
                </p:txBody>
              </p:sp>
              <p:sp>
                <p:nvSpPr>
                  <p:cNvPr id="600" name="Freeform 439"/>
                  <p:cNvSpPr>
                    <a:spLocks/>
                  </p:cNvSpPr>
                  <p:nvPr/>
                </p:nvSpPr>
                <p:spPr bwMode="auto">
                  <a:xfrm flipV="1">
                    <a:off x="2048812" y="1004413"/>
                    <a:ext cx="213231" cy="340178"/>
                  </a:xfrm>
                  <a:custGeom>
                    <a:avLst/>
                    <a:gdLst>
                      <a:gd name="T0" fmla="*/ 2147483647 w 201"/>
                      <a:gd name="T1" fmla="*/ 2147483647 h 319"/>
                      <a:gd name="T2" fmla="*/ 2147483647 w 201"/>
                      <a:gd name="T3" fmla="*/ 2147483647 h 319"/>
                      <a:gd name="T4" fmla="*/ 2147483647 w 201"/>
                      <a:gd name="T5" fmla="*/ 2147483647 h 319"/>
                      <a:gd name="T6" fmla="*/ 2147483647 w 201"/>
                      <a:gd name="T7" fmla="*/ 2147483647 h 319"/>
                      <a:gd name="T8" fmla="*/ 2147483647 w 201"/>
                      <a:gd name="T9" fmla="*/ 2147483647 h 319"/>
                      <a:gd name="T10" fmla="*/ 2147483647 w 201"/>
                      <a:gd name="T11" fmla="*/ 2147483647 h 319"/>
                      <a:gd name="T12" fmla="*/ 2147483647 w 201"/>
                      <a:gd name="T13" fmla="*/ 2147483647 h 319"/>
                      <a:gd name="T14" fmla="*/ 2147483647 w 201"/>
                      <a:gd name="T15" fmla="*/ 2147483647 h 319"/>
                      <a:gd name="T16" fmla="*/ 2147483647 w 201"/>
                      <a:gd name="T17" fmla="*/ 2147483647 h 319"/>
                      <a:gd name="T18" fmla="*/ 2147483647 w 201"/>
                      <a:gd name="T19" fmla="*/ 2147483647 h 319"/>
                      <a:gd name="T20" fmla="*/ 2147483647 w 201"/>
                      <a:gd name="T21" fmla="*/ 2147483647 h 319"/>
                      <a:gd name="T22" fmla="*/ 2147483647 w 201"/>
                      <a:gd name="T23" fmla="*/ 2147483647 h 319"/>
                      <a:gd name="T24" fmla="*/ 2147483647 w 201"/>
                      <a:gd name="T25" fmla="*/ 2147483647 h 319"/>
                      <a:gd name="T26" fmla="*/ 2147483647 w 201"/>
                      <a:gd name="T27" fmla="*/ 2147483647 h 319"/>
                      <a:gd name="T28" fmla="*/ 2147483647 w 201"/>
                      <a:gd name="T29" fmla="*/ 2147483647 h 319"/>
                      <a:gd name="T30" fmla="*/ 2147483647 w 201"/>
                      <a:gd name="T31" fmla="*/ 2147483647 h 319"/>
                      <a:gd name="T32" fmla="*/ 2147483647 w 201"/>
                      <a:gd name="T33" fmla="*/ 2147483647 h 319"/>
                      <a:gd name="T34" fmla="*/ 2147483647 w 201"/>
                      <a:gd name="T35" fmla="*/ 2147483647 h 319"/>
                      <a:gd name="T36" fmla="*/ 2147483647 w 201"/>
                      <a:gd name="T37" fmla="*/ 2147483647 h 319"/>
                      <a:gd name="T38" fmla="*/ 2147483647 w 201"/>
                      <a:gd name="T39" fmla="*/ 2147483647 h 319"/>
                      <a:gd name="T40" fmla="*/ 2147483647 w 201"/>
                      <a:gd name="T41" fmla="*/ 2147483647 h 319"/>
                      <a:gd name="T42" fmla="*/ 2147483647 w 201"/>
                      <a:gd name="T43" fmla="*/ 2147483647 h 319"/>
                      <a:gd name="T44" fmla="*/ 2147483647 w 201"/>
                      <a:gd name="T45" fmla="*/ 2147483647 h 319"/>
                      <a:gd name="T46" fmla="*/ 2147483647 w 201"/>
                      <a:gd name="T47" fmla="*/ 2147483647 h 319"/>
                      <a:gd name="T48" fmla="*/ 2147483647 w 201"/>
                      <a:gd name="T49" fmla="*/ 2147483647 h 319"/>
                      <a:gd name="T50" fmla="*/ 2147483647 w 201"/>
                      <a:gd name="T51" fmla="*/ 0 h 319"/>
                      <a:gd name="T52" fmla="*/ 2147483647 w 201"/>
                      <a:gd name="T53" fmla="*/ 2147483647 h 319"/>
                      <a:gd name="T54" fmla="*/ 2147483647 w 201"/>
                      <a:gd name="T55" fmla="*/ 2147483647 h 319"/>
                      <a:gd name="T56" fmla="*/ 2147483647 w 201"/>
                      <a:gd name="T57" fmla="*/ 2147483647 h 319"/>
                      <a:gd name="T58" fmla="*/ 2147483647 w 201"/>
                      <a:gd name="T59" fmla="*/ 2147483647 h 319"/>
                      <a:gd name="T60" fmla="*/ 2147483647 w 201"/>
                      <a:gd name="T61" fmla="*/ 2147483647 h 319"/>
                      <a:gd name="T62" fmla="*/ 2147483647 w 201"/>
                      <a:gd name="T63" fmla="*/ 2147483647 h 319"/>
                      <a:gd name="T64" fmla="*/ 2147483647 w 201"/>
                      <a:gd name="T65" fmla="*/ 2147483647 h 319"/>
                      <a:gd name="T66" fmla="*/ 2147483647 w 201"/>
                      <a:gd name="T67" fmla="*/ 2147483647 h 319"/>
                      <a:gd name="T68" fmla="*/ 2147483647 w 201"/>
                      <a:gd name="T69" fmla="*/ 2147483647 h 319"/>
                      <a:gd name="T70" fmla="*/ 2147483647 w 201"/>
                      <a:gd name="T71" fmla="*/ 2147483647 h 319"/>
                      <a:gd name="T72" fmla="*/ 2147483647 w 201"/>
                      <a:gd name="T73" fmla="*/ 2147483647 h 319"/>
                      <a:gd name="T74" fmla="*/ 2147483647 w 201"/>
                      <a:gd name="T75" fmla="*/ 2147483647 h 319"/>
                      <a:gd name="T76" fmla="*/ 2147483647 w 201"/>
                      <a:gd name="T77" fmla="*/ 2147483647 h 319"/>
                      <a:gd name="T78" fmla="*/ 2147483647 w 201"/>
                      <a:gd name="T79" fmla="*/ 2147483647 h 319"/>
                      <a:gd name="T80" fmla="*/ 2147483647 w 201"/>
                      <a:gd name="T81" fmla="*/ 2147483647 h 319"/>
                      <a:gd name="T82" fmla="*/ 2147483647 w 201"/>
                      <a:gd name="T83" fmla="*/ 2147483647 h 319"/>
                      <a:gd name="T84" fmla="*/ 2147483647 w 201"/>
                      <a:gd name="T85" fmla="*/ 2147483647 h 319"/>
                      <a:gd name="T86" fmla="*/ 0 w 201"/>
                      <a:gd name="T87" fmla="*/ 2147483647 h 319"/>
                      <a:gd name="T88" fmla="*/ 2147483647 w 201"/>
                      <a:gd name="T89" fmla="*/ 2147483647 h 319"/>
                      <a:gd name="T90" fmla="*/ 2147483647 w 201"/>
                      <a:gd name="T91" fmla="*/ 2147483647 h 319"/>
                      <a:gd name="T92" fmla="*/ 2147483647 w 201"/>
                      <a:gd name="T93" fmla="*/ 2147483647 h 319"/>
                      <a:gd name="T94" fmla="*/ 2147483647 w 201"/>
                      <a:gd name="T95" fmla="*/ 2147483647 h 319"/>
                      <a:gd name="T96" fmla="*/ 2147483647 w 201"/>
                      <a:gd name="T97" fmla="*/ 2147483647 h 319"/>
                      <a:gd name="T98" fmla="*/ 2147483647 w 201"/>
                      <a:gd name="T99" fmla="*/ 2147483647 h 319"/>
                      <a:gd name="T100" fmla="*/ 2147483647 w 201"/>
                      <a:gd name="T101" fmla="*/ 2147483647 h 319"/>
                      <a:gd name="T102" fmla="*/ 2147483647 w 201"/>
                      <a:gd name="T103" fmla="*/ 2147483647 h 319"/>
                      <a:gd name="T104" fmla="*/ 2147483647 w 201"/>
                      <a:gd name="T105" fmla="*/ 2147483647 h 319"/>
                      <a:gd name="T106" fmla="*/ 2147483647 w 201"/>
                      <a:gd name="T107" fmla="*/ 2147483647 h 319"/>
                      <a:gd name="T108" fmla="*/ 2147483647 w 201"/>
                      <a:gd name="T109" fmla="*/ 2147483647 h 319"/>
                      <a:gd name="T110" fmla="*/ 2147483647 w 201"/>
                      <a:gd name="T111" fmla="*/ 2147483647 h 3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01" h="319">
                        <a:moveTo>
                          <a:pt x="84" y="267"/>
                        </a:moveTo>
                        <a:lnTo>
                          <a:pt x="88" y="270"/>
                        </a:lnTo>
                        <a:lnTo>
                          <a:pt x="93" y="277"/>
                        </a:lnTo>
                        <a:lnTo>
                          <a:pt x="97" y="283"/>
                        </a:lnTo>
                        <a:lnTo>
                          <a:pt x="95" y="290"/>
                        </a:lnTo>
                        <a:lnTo>
                          <a:pt x="88" y="294"/>
                        </a:lnTo>
                        <a:lnTo>
                          <a:pt x="82" y="296"/>
                        </a:lnTo>
                        <a:lnTo>
                          <a:pt x="78" y="301"/>
                        </a:lnTo>
                        <a:lnTo>
                          <a:pt x="80" y="308"/>
                        </a:lnTo>
                        <a:lnTo>
                          <a:pt x="82" y="315"/>
                        </a:lnTo>
                        <a:lnTo>
                          <a:pt x="85" y="318"/>
                        </a:lnTo>
                        <a:lnTo>
                          <a:pt x="92" y="319"/>
                        </a:lnTo>
                        <a:lnTo>
                          <a:pt x="104" y="319"/>
                        </a:lnTo>
                        <a:lnTo>
                          <a:pt x="116" y="319"/>
                        </a:lnTo>
                        <a:lnTo>
                          <a:pt x="123" y="318"/>
                        </a:lnTo>
                        <a:lnTo>
                          <a:pt x="129" y="316"/>
                        </a:lnTo>
                        <a:lnTo>
                          <a:pt x="136" y="312"/>
                        </a:lnTo>
                        <a:lnTo>
                          <a:pt x="144" y="309"/>
                        </a:lnTo>
                        <a:lnTo>
                          <a:pt x="151" y="305"/>
                        </a:lnTo>
                        <a:lnTo>
                          <a:pt x="158" y="304"/>
                        </a:lnTo>
                        <a:lnTo>
                          <a:pt x="164" y="304"/>
                        </a:lnTo>
                        <a:lnTo>
                          <a:pt x="171" y="306"/>
                        </a:lnTo>
                        <a:lnTo>
                          <a:pt x="176" y="306"/>
                        </a:lnTo>
                        <a:lnTo>
                          <a:pt x="182" y="305"/>
                        </a:lnTo>
                        <a:lnTo>
                          <a:pt x="187" y="300"/>
                        </a:lnTo>
                        <a:lnTo>
                          <a:pt x="191" y="294"/>
                        </a:lnTo>
                        <a:lnTo>
                          <a:pt x="197" y="289"/>
                        </a:lnTo>
                        <a:lnTo>
                          <a:pt x="198" y="285"/>
                        </a:lnTo>
                        <a:lnTo>
                          <a:pt x="191" y="279"/>
                        </a:lnTo>
                        <a:lnTo>
                          <a:pt x="180" y="273"/>
                        </a:lnTo>
                        <a:lnTo>
                          <a:pt x="173" y="270"/>
                        </a:lnTo>
                        <a:lnTo>
                          <a:pt x="169" y="266"/>
                        </a:lnTo>
                        <a:lnTo>
                          <a:pt x="172" y="263"/>
                        </a:lnTo>
                        <a:lnTo>
                          <a:pt x="177" y="259"/>
                        </a:lnTo>
                        <a:lnTo>
                          <a:pt x="181" y="256"/>
                        </a:lnTo>
                        <a:lnTo>
                          <a:pt x="182" y="251"/>
                        </a:lnTo>
                        <a:lnTo>
                          <a:pt x="182" y="244"/>
                        </a:lnTo>
                        <a:lnTo>
                          <a:pt x="180" y="238"/>
                        </a:lnTo>
                        <a:lnTo>
                          <a:pt x="179" y="235"/>
                        </a:lnTo>
                        <a:lnTo>
                          <a:pt x="179" y="232"/>
                        </a:lnTo>
                        <a:lnTo>
                          <a:pt x="182" y="227"/>
                        </a:lnTo>
                        <a:lnTo>
                          <a:pt x="188" y="219"/>
                        </a:lnTo>
                        <a:lnTo>
                          <a:pt x="195" y="209"/>
                        </a:lnTo>
                        <a:lnTo>
                          <a:pt x="197" y="197"/>
                        </a:lnTo>
                        <a:lnTo>
                          <a:pt x="190" y="187"/>
                        </a:lnTo>
                        <a:lnTo>
                          <a:pt x="177" y="179"/>
                        </a:lnTo>
                        <a:lnTo>
                          <a:pt x="168" y="173"/>
                        </a:lnTo>
                        <a:lnTo>
                          <a:pt x="165" y="168"/>
                        </a:lnTo>
                        <a:lnTo>
                          <a:pt x="168" y="162"/>
                        </a:lnTo>
                        <a:lnTo>
                          <a:pt x="177" y="156"/>
                        </a:lnTo>
                        <a:lnTo>
                          <a:pt x="188" y="149"/>
                        </a:lnTo>
                        <a:lnTo>
                          <a:pt x="195" y="139"/>
                        </a:lnTo>
                        <a:lnTo>
                          <a:pt x="195" y="130"/>
                        </a:lnTo>
                        <a:lnTo>
                          <a:pt x="192" y="120"/>
                        </a:lnTo>
                        <a:lnTo>
                          <a:pt x="194" y="109"/>
                        </a:lnTo>
                        <a:lnTo>
                          <a:pt x="195" y="100"/>
                        </a:lnTo>
                        <a:lnTo>
                          <a:pt x="196" y="90"/>
                        </a:lnTo>
                        <a:lnTo>
                          <a:pt x="197" y="77"/>
                        </a:lnTo>
                        <a:lnTo>
                          <a:pt x="199" y="65"/>
                        </a:lnTo>
                        <a:lnTo>
                          <a:pt x="201" y="55"/>
                        </a:lnTo>
                        <a:lnTo>
                          <a:pt x="196" y="52"/>
                        </a:lnTo>
                        <a:lnTo>
                          <a:pt x="189" y="54"/>
                        </a:lnTo>
                        <a:lnTo>
                          <a:pt x="183" y="54"/>
                        </a:lnTo>
                        <a:lnTo>
                          <a:pt x="183" y="51"/>
                        </a:lnTo>
                        <a:lnTo>
                          <a:pt x="190" y="40"/>
                        </a:lnTo>
                        <a:lnTo>
                          <a:pt x="197" y="29"/>
                        </a:lnTo>
                        <a:lnTo>
                          <a:pt x="199" y="18"/>
                        </a:lnTo>
                        <a:lnTo>
                          <a:pt x="198" y="10"/>
                        </a:lnTo>
                        <a:lnTo>
                          <a:pt x="194" y="6"/>
                        </a:lnTo>
                        <a:lnTo>
                          <a:pt x="192" y="5"/>
                        </a:lnTo>
                        <a:lnTo>
                          <a:pt x="190" y="5"/>
                        </a:lnTo>
                        <a:lnTo>
                          <a:pt x="189" y="5"/>
                        </a:lnTo>
                        <a:lnTo>
                          <a:pt x="187" y="5"/>
                        </a:lnTo>
                        <a:lnTo>
                          <a:pt x="179" y="6"/>
                        </a:lnTo>
                        <a:lnTo>
                          <a:pt x="173" y="3"/>
                        </a:lnTo>
                        <a:lnTo>
                          <a:pt x="168" y="1"/>
                        </a:lnTo>
                        <a:lnTo>
                          <a:pt x="164" y="0"/>
                        </a:lnTo>
                        <a:lnTo>
                          <a:pt x="163" y="0"/>
                        </a:lnTo>
                        <a:lnTo>
                          <a:pt x="161" y="0"/>
                        </a:lnTo>
                        <a:lnTo>
                          <a:pt x="160" y="1"/>
                        </a:lnTo>
                        <a:lnTo>
                          <a:pt x="159" y="2"/>
                        </a:lnTo>
                        <a:lnTo>
                          <a:pt x="156" y="5"/>
                        </a:lnTo>
                        <a:lnTo>
                          <a:pt x="151" y="6"/>
                        </a:lnTo>
                        <a:lnTo>
                          <a:pt x="145" y="6"/>
                        </a:lnTo>
                        <a:lnTo>
                          <a:pt x="139" y="7"/>
                        </a:lnTo>
                        <a:lnTo>
                          <a:pt x="135" y="8"/>
                        </a:lnTo>
                        <a:lnTo>
                          <a:pt x="129" y="9"/>
                        </a:lnTo>
                        <a:lnTo>
                          <a:pt x="126" y="10"/>
                        </a:lnTo>
                        <a:lnTo>
                          <a:pt x="123" y="14"/>
                        </a:lnTo>
                        <a:lnTo>
                          <a:pt x="121" y="17"/>
                        </a:lnTo>
                        <a:lnTo>
                          <a:pt x="119" y="18"/>
                        </a:lnTo>
                        <a:lnTo>
                          <a:pt x="115" y="18"/>
                        </a:lnTo>
                        <a:lnTo>
                          <a:pt x="108" y="20"/>
                        </a:lnTo>
                        <a:lnTo>
                          <a:pt x="100" y="23"/>
                        </a:lnTo>
                        <a:lnTo>
                          <a:pt x="93" y="26"/>
                        </a:lnTo>
                        <a:lnTo>
                          <a:pt x="87" y="31"/>
                        </a:lnTo>
                        <a:lnTo>
                          <a:pt x="82" y="39"/>
                        </a:lnTo>
                        <a:lnTo>
                          <a:pt x="80" y="47"/>
                        </a:lnTo>
                        <a:lnTo>
                          <a:pt x="81" y="54"/>
                        </a:lnTo>
                        <a:lnTo>
                          <a:pt x="81" y="59"/>
                        </a:lnTo>
                        <a:lnTo>
                          <a:pt x="80" y="60"/>
                        </a:lnTo>
                        <a:lnTo>
                          <a:pt x="74" y="61"/>
                        </a:lnTo>
                        <a:lnTo>
                          <a:pt x="67" y="62"/>
                        </a:lnTo>
                        <a:lnTo>
                          <a:pt x="60" y="66"/>
                        </a:lnTo>
                        <a:lnTo>
                          <a:pt x="59" y="70"/>
                        </a:lnTo>
                        <a:lnTo>
                          <a:pt x="57" y="74"/>
                        </a:lnTo>
                        <a:lnTo>
                          <a:pt x="52" y="77"/>
                        </a:lnTo>
                        <a:lnTo>
                          <a:pt x="46" y="81"/>
                        </a:lnTo>
                        <a:lnTo>
                          <a:pt x="43" y="84"/>
                        </a:lnTo>
                        <a:lnTo>
                          <a:pt x="40" y="89"/>
                        </a:lnTo>
                        <a:lnTo>
                          <a:pt x="37" y="93"/>
                        </a:lnTo>
                        <a:lnTo>
                          <a:pt x="35" y="99"/>
                        </a:lnTo>
                        <a:lnTo>
                          <a:pt x="38" y="107"/>
                        </a:lnTo>
                        <a:lnTo>
                          <a:pt x="44" y="115"/>
                        </a:lnTo>
                        <a:lnTo>
                          <a:pt x="47" y="122"/>
                        </a:lnTo>
                        <a:lnTo>
                          <a:pt x="49" y="128"/>
                        </a:lnTo>
                        <a:lnTo>
                          <a:pt x="47" y="132"/>
                        </a:lnTo>
                        <a:lnTo>
                          <a:pt x="45" y="138"/>
                        </a:lnTo>
                        <a:lnTo>
                          <a:pt x="44" y="143"/>
                        </a:lnTo>
                        <a:lnTo>
                          <a:pt x="43" y="143"/>
                        </a:lnTo>
                        <a:lnTo>
                          <a:pt x="38" y="136"/>
                        </a:lnTo>
                        <a:lnTo>
                          <a:pt x="34" y="126"/>
                        </a:lnTo>
                        <a:lnTo>
                          <a:pt x="31" y="118"/>
                        </a:lnTo>
                        <a:lnTo>
                          <a:pt x="28" y="113"/>
                        </a:lnTo>
                        <a:lnTo>
                          <a:pt x="24" y="114"/>
                        </a:lnTo>
                        <a:lnTo>
                          <a:pt x="21" y="118"/>
                        </a:lnTo>
                        <a:lnTo>
                          <a:pt x="16" y="123"/>
                        </a:lnTo>
                        <a:lnTo>
                          <a:pt x="12" y="128"/>
                        </a:lnTo>
                        <a:lnTo>
                          <a:pt x="9" y="132"/>
                        </a:lnTo>
                        <a:lnTo>
                          <a:pt x="7" y="141"/>
                        </a:lnTo>
                        <a:lnTo>
                          <a:pt x="4" y="153"/>
                        </a:lnTo>
                        <a:lnTo>
                          <a:pt x="0" y="166"/>
                        </a:lnTo>
                        <a:lnTo>
                          <a:pt x="0" y="176"/>
                        </a:lnTo>
                        <a:lnTo>
                          <a:pt x="1" y="184"/>
                        </a:lnTo>
                        <a:lnTo>
                          <a:pt x="2" y="190"/>
                        </a:lnTo>
                        <a:lnTo>
                          <a:pt x="6" y="195"/>
                        </a:lnTo>
                        <a:lnTo>
                          <a:pt x="12" y="198"/>
                        </a:lnTo>
                        <a:lnTo>
                          <a:pt x="19" y="199"/>
                        </a:lnTo>
                        <a:lnTo>
                          <a:pt x="23" y="200"/>
                        </a:lnTo>
                        <a:lnTo>
                          <a:pt x="27" y="200"/>
                        </a:lnTo>
                        <a:lnTo>
                          <a:pt x="30" y="199"/>
                        </a:lnTo>
                        <a:lnTo>
                          <a:pt x="31" y="200"/>
                        </a:lnTo>
                        <a:lnTo>
                          <a:pt x="30" y="205"/>
                        </a:lnTo>
                        <a:lnTo>
                          <a:pt x="28" y="211"/>
                        </a:lnTo>
                        <a:lnTo>
                          <a:pt x="24" y="215"/>
                        </a:lnTo>
                        <a:lnTo>
                          <a:pt x="23" y="219"/>
                        </a:lnTo>
                        <a:lnTo>
                          <a:pt x="24" y="224"/>
                        </a:lnTo>
                        <a:lnTo>
                          <a:pt x="28" y="229"/>
                        </a:lnTo>
                        <a:lnTo>
                          <a:pt x="31" y="234"/>
                        </a:lnTo>
                        <a:lnTo>
                          <a:pt x="36" y="238"/>
                        </a:lnTo>
                        <a:lnTo>
                          <a:pt x="44" y="245"/>
                        </a:lnTo>
                        <a:lnTo>
                          <a:pt x="54" y="248"/>
                        </a:lnTo>
                        <a:lnTo>
                          <a:pt x="63" y="244"/>
                        </a:lnTo>
                        <a:lnTo>
                          <a:pt x="70" y="237"/>
                        </a:lnTo>
                        <a:lnTo>
                          <a:pt x="75" y="232"/>
                        </a:lnTo>
                        <a:lnTo>
                          <a:pt x="77" y="229"/>
                        </a:lnTo>
                        <a:lnTo>
                          <a:pt x="82" y="230"/>
                        </a:lnTo>
                        <a:lnTo>
                          <a:pt x="88" y="234"/>
                        </a:lnTo>
                        <a:lnTo>
                          <a:pt x="96" y="240"/>
                        </a:lnTo>
                        <a:lnTo>
                          <a:pt x="104" y="247"/>
                        </a:lnTo>
                        <a:lnTo>
                          <a:pt x="111" y="256"/>
                        </a:lnTo>
                        <a:lnTo>
                          <a:pt x="113" y="263"/>
                        </a:lnTo>
                        <a:lnTo>
                          <a:pt x="113" y="264"/>
                        </a:lnTo>
                        <a:lnTo>
                          <a:pt x="110" y="262"/>
                        </a:lnTo>
                        <a:lnTo>
                          <a:pt x="103" y="256"/>
                        </a:lnTo>
                        <a:lnTo>
                          <a:pt x="93" y="252"/>
                        </a:lnTo>
                        <a:lnTo>
                          <a:pt x="85" y="252"/>
                        </a:lnTo>
                        <a:lnTo>
                          <a:pt x="82" y="258"/>
                        </a:lnTo>
                        <a:lnTo>
                          <a:pt x="84" y="267"/>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srgbClr val="FF0000"/>
                      </a:solidFill>
                      <a:latin typeface="Calibri"/>
                    </a:endParaRPr>
                  </a:p>
                </p:txBody>
              </p:sp>
              <p:sp>
                <p:nvSpPr>
                  <p:cNvPr id="601" name="Freeform 440"/>
                  <p:cNvSpPr>
                    <a:spLocks/>
                  </p:cNvSpPr>
                  <p:nvPr/>
                </p:nvSpPr>
                <p:spPr bwMode="auto">
                  <a:xfrm>
                    <a:off x="2053516" y="1286227"/>
                    <a:ext cx="36062" cy="18343"/>
                  </a:xfrm>
                  <a:custGeom>
                    <a:avLst/>
                    <a:gdLst>
                      <a:gd name="T0" fmla="*/ 2147483647 w 34"/>
                      <a:gd name="T1" fmla="*/ 0 h 18"/>
                      <a:gd name="T2" fmla="*/ 2147483647 w 34"/>
                      <a:gd name="T3" fmla="*/ 2147483647 h 18"/>
                      <a:gd name="T4" fmla="*/ 2147483647 w 34"/>
                      <a:gd name="T5" fmla="*/ 2147483647 h 18"/>
                      <a:gd name="T6" fmla="*/ 2147483647 w 34"/>
                      <a:gd name="T7" fmla="*/ 2147483647 h 18"/>
                      <a:gd name="T8" fmla="*/ 2147483647 w 34"/>
                      <a:gd name="T9" fmla="*/ 2147483647 h 18"/>
                      <a:gd name="T10" fmla="*/ 2147483647 w 34"/>
                      <a:gd name="T11" fmla="*/ 2147483647 h 18"/>
                      <a:gd name="T12" fmla="*/ 2147483647 w 34"/>
                      <a:gd name="T13" fmla="*/ 2147483647 h 18"/>
                      <a:gd name="T14" fmla="*/ 2147483647 w 34"/>
                      <a:gd name="T15" fmla="*/ 2147483647 h 18"/>
                      <a:gd name="T16" fmla="*/ 2147483647 w 34"/>
                      <a:gd name="T17" fmla="*/ 2147483647 h 18"/>
                      <a:gd name="T18" fmla="*/ 2147483647 w 34"/>
                      <a:gd name="T19" fmla="*/ 2147483647 h 18"/>
                      <a:gd name="T20" fmla="*/ 0 w 34"/>
                      <a:gd name="T21" fmla="*/ 2147483647 h 18"/>
                      <a:gd name="T22" fmla="*/ 0 w 34"/>
                      <a:gd name="T23" fmla="*/ 2147483647 h 18"/>
                      <a:gd name="T24" fmla="*/ 2147483647 w 34"/>
                      <a:gd name="T25" fmla="*/ 2147483647 h 18"/>
                      <a:gd name="T26" fmla="*/ 2147483647 w 34"/>
                      <a:gd name="T27" fmla="*/ 2147483647 h 18"/>
                      <a:gd name="T28" fmla="*/ 2147483647 w 34"/>
                      <a:gd name="T29" fmla="*/ 2147483647 h 18"/>
                      <a:gd name="T30" fmla="*/ 2147483647 w 34"/>
                      <a:gd name="T31" fmla="*/ 2147483647 h 18"/>
                      <a:gd name="T32" fmla="*/ 2147483647 w 34"/>
                      <a:gd name="T33" fmla="*/ 0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18">
                        <a:moveTo>
                          <a:pt x="31" y="0"/>
                        </a:moveTo>
                        <a:lnTo>
                          <a:pt x="32" y="1"/>
                        </a:lnTo>
                        <a:lnTo>
                          <a:pt x="34" y="3"/>
                        </a:lnTo>
                        <a:lnTo>
                          <a:pt x="34" y="6"/>
                        </a:lnTo>
                        <a:lnTo>
                          <a:pt x="30" y="10"/>
                        </a:lnTo>
                        <a:lnTo>
                          <a:pt x="24" y="14"/>
                        </a:lnTo>
                        <a:lnTo>
                          <a:pt x="22" y="16"/>
                        </a:lnTo>
                        <a:lnTo>
                          <a:pt x="19" y="18"/>
                        </a:lnTo>
                        <a:lnTo>
                          <a:pt x="12" y="18"/>
                        </a:lnTo>
                        <a:lnTo>
                          <a:pt x="4" y="16"/>
                        </a:lnTo>
                        <a:lnTo>
                          <a:pt x="0" y="13"/>
                        </a:lnTo>
                        <a:lnTo>
                          <a:pt x="0" y="9"/>
                        </a:lnTo>
                        <a:lnTo>
                          <a:pt x="4" y="7"/>
                        </a:lnTo>
                        <a:lnTo>
                          <a:pt x="14" y="4"/>
                        </a:lnTo>
                        <a:lnTo>
                          <a:pt x="22" y="2"/>
                        </a:lnTo>
                        <a:lnTo>
                          <a:pt x="29" y="1"/>
                        </a:lnTo>
                        <a:lnTo>
                          <a:pt x="31" y="0"/>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02" name="Freeform 441"/>
                  <p:cNvSpPr>
                    <a:spLocks/>
                  </p:cNvSpPr>
                  <p:nvPr/>
                </p:nvSpPr>
                <p:spPr bwMode="auto">
                  <a:xfrm>
                    <a:off x="2034701" y="1237870"/>
                    <a:ext cx="32925" cy="50026"/>
                  </a:xfrm>
                  <a:custGeom>
                    <a:avLst/>
                    <a:gdLst>
                      <a:gd name="T0" fmla="*/ 2147483647 w 34"/>
                      <a:gd name="T1" fmla="*/ 2147483647 h 46"/>
                      <a:gd name="T2" fmla="*/ 2147483647 w 34"/>
                      <a:gd name="T3" fmla="*/ 2147483647 h 46"/>
                      <a:gd name="T4" fmla="*/ 2147483647 w 34"/>
                      <a:gd name="T5" fmla="*/ 2147483647 h 46"/>
                      <a:gd name="T6" fmla="*/ 2147483647 w 34"/>
                      <a:gd name="T7" fmla="*/ 0 h 46"/>
                      <a:gd name="T8" fmla="*/ 2147483647 w 34"/>
                      <a:gd name="T9" fmla="*/ 0 h 46"/>
                      <a:gd name="T10" fmla="*/ 2147483647 w 34"/>
                      <a:gd name="T11" fmla="*/ 2147483647 h 46"/>
                      <a:gd name="T12" fmla="*/ 0 w 34"/>
                      <a:gd name="T13" fmla="*/ 2147483647 h 46"/>
                      <a:gd name="T14" fmla="*/ 2147483647 w 34"/>
                      <a:gd name="T15" fmla="*/ 2147483647 h 46"/>
                      <a:gd name="T16" fmla="*/ 2147483647 w 34"/>
                      <a:gd name="T17" fmla="*/ 2147483647 h 46"/>
                      <a:gd name="T18" fmla="*/ 2147483647 w 34"/>
                      <a:gd name="T19" fmla="*/ 2147483647 h 46"/>
                      <a:gd name="T20" fmla="*/ 2147483647 w 34"/>
                      <a:gd name="T21" fmla="*/ 2147483647 h 46"/>
                      <a:gd name="T22" fmla="*/ 2147483647 w 34"/>
                      <a:gd name="T23" fmla="*/ 2147483647 h 46"/>
                      <a:gd name="T24" fmla="*/ 2147483647 w 34"/>
                      <a:gd name="T25" fmla="*/ 2147483647 h 46"/>
                      <a:gd name="T26" fmla="*/ 2147483647 w 34"/>
                      <a:gd name="T27" fmla="*/ 2147483647 h 46"/>
                      <a:gd name="T28" fmla="*/ 2147483647 w 34"/>
                      <a:gd name="T29" fmla="*/ 2147483647 h 46"/>
                      <a:gd name="T30" fmla="*/ 2147483647 w 34"/>
                      <a:gd name="T31" fmla="*/ 2147483647 h 46"/>
                      <a:gd name="T32" fmla="*/ 2147483647 w 34"/>
                      <a:gd name="T33" fmla="*/ 2147483647 h 46"/>
                      <a:gd name="T34" fmla="*/ 2147483647 w 34"/>
                      <a:gd name="T35" fmla="*/ 2147483647 h 46"/>
                      <a:gd name="T36" fmla="*/ 2147483647 w 34"/>
                      <a:gd name="T37" fmla="*/ 2147483647 h 46"/>
                      <a:gd name="T38" fmla="*/ 2147483647 w 34"/>
                      <a:gd name="T39" fmla="*/ 2147483647 h 46"/>
                      <a:gd name="T40" fmla="*/ 2147483647 w 34"/>
                      <a:gd name="T41" fmla="*/ 2147483647 h 46"/>
                      <a:gd name="T42" fmla="*/ 2147483647 w 34"/>
                      <a:gd name="T43" fmla="*/ 2147483647 h 46"/>
                      <a:gd name="T44" fmla="*/ 2147483647 w 34"/>
                      <a:gd name="T45" fmla="*/ 2147483647 h 46"/>
                      <a:gd name="T46" fmla="*/ 2147483647 w 34"/>
                      <a:gd name="T47" fmla="*/ 2147483647 h 46"/>
                      <a:gd name="T48" fmla="*/ 2147483647 w 34"/>
                      <a:gd name="T49" fmla="*/ 2147483647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4" h="46">
                        <a:moveTo>
                          <a:pt x="22" y="14"/>
                        </a:moveTo>
                        <a:lnTo>
                          <a:pt x="20" y="10"/>
                        </a:lnTo>
                        <a:lnTo>
                          <a:pt x="14" y="5"/>
                        </a:lnTo>
                        <a:lnTo>
                          <a:pt x="7" y="0"/>
                        </a:lnTo>
                        <a:lnTo>
                          <a:pt x="3" y="0"/>
                        </a:lnTo>
                        <a:lnTo>
                          <a:pt x="1" y="5"/>
                        </a:lnTo>
                        <a:lnTo>
                          <a:pt x="0" y="10"/>
                        </a:lnTo>
                        <a:lnTo>
                          <a:pt x="1" y="15"/>
                        </a:lnTo>
                        <a:lnTo>
                          <a:pt x="1" y="20"/>
                        </a:lnTo>
                        <a:lnTo>
                          <a:pt x="3" y="27"/>
                        </a:lnTo>
                        <a:lnTo>
                          <a:pt x="4" y="36"/>
                        </a:lnTo>
                        <a:lnTo>
                          <a:pt x="7" y="43"/>
                        </a:lnTo>
                        <a:lnTo>
                          <a:pt x="11" y="46"/>
                        </a:lnTo>
                        <a:lnTo>
                          <a:pt x="16" y="46"/>
                        </a:lnTo>
                        <a:lnTo>
                          <a:pt x="21" y="44"/>
                        </a:lnTo>
                        <a:lnTo>
                          <a:pt x="26" y="42"/>
                        </a:lnTo>
                        <a:lnTo>
                          <a:pt x="29" y="38"/>
                        </a:lnTo>
                        <a:lnTo>
                          <a:pt x="31" y="33"/>
                        </a:lnTo>
                        <a:lnTo>
                          <a:pt x="34" y="30"/>
                        </a:lnTo>
                        <a:lnTo>
                          <a:pt x="34" y="27"/>
                        </a:lnTo>
                        <a:lnTo>
                          <a:pt x="30" y="22"/>
                        </a:lnTo>
                        <a:lnTo>
                          <a:pt x="26" y="17"/>
                        </a:lnTo>
                        <a:lnTo>
                          <a:pt x="23" y="15"/>
                        </a:lnTo>
                        <a:lnTo>
                          <a:pt x="22" y="14"/>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03" name="Freeform 442"/>
                  <p:cNvSpPr>
                    <a:spLocks/>
                  </p:cNvSpPr>
                  <p:nvPr/>
                </p:nvSpPr>
                <p:spPr bwMode="auto">
                  <a:xfrm>
                    <a:off x="1968849" y="1214524"/>
                    <a:ext cx="59580" cy="71703"/>
                  </a:xfrm>
                  <a:custGeom>
                    <a:avLst/>
                    <a:gdLst>
                      <a:gd name="T0" fmla="*/ 2147483647 w 58"/>
                      <a:gd name="T1" fmla="*/ 2147483647 h 67"/>
                      <a:gd name="T2" fmla="*/ 2147483647 w 58"/>
                      <a:gd name="T3" fmla="*/ 2147483647 h 67"/>
                      <a:gd name="T4" fmla="*/ 2147483647 w 58"/>
                      <a:gd name="T5" fmla="*/ 2147483647 h 67"/>
                      <a:gd name="T6" fmla="*/ 2147483647 w 58"/>
                      <a:gd name="T7" fmla="*/ 2147483647 h 67"/>
                      <a:gd name="T8" fmla="*/ 2147483647 w 58"/>
                      <a:gd name="T9" fmla="*/ 2147483647 h 67"/>
                      <a:gd name="T10" fmla="*/ 2147483647 w 58"/>
                      <a:gd name="T11" fmla="*/ 2147483647 h 67"/>
                      <a:gd name="T12" fmla="*/ 2147483647 w 58"/>
                      <a:gd name="T13" fmla="*/ 2147483647 h 67"/>
                      <a:gd name="T14" fmla="*/ 2147483647 w 58"/>
                      <a:gd name="T15" fmla="*/ 2147483647 h 67"/>
                      <a:gd name="T16" fmla="*/ 2147483647 w 58"/>
                      <a:gd name="T17" fmla="*/ 2147483647 h 67"/>
                      <a:gd name="T18" fmla="*/ 2147483647 w 58"/>
                      <a:gd name="T19" fmla="*/ 2147483647 h 67"/>
                      <a:gd name="T20" fmla="*/ 2147483647 w 58"/>
                      <a:gd name="T21" fmla="*/ 2147483647 h 67"/>
                      <a:gd name="T22" fmla="*/ 2147483647 w 58"/>
                      <a:gd name="T23" fmla="*/ 2147483647 h 67"/>
                      <a:gd name="T24" fmla="*/ 2147483647 w 58"/>
                      <a:gd name="T25" fmla="*/ 2147483647 h 67"/>
                      <a:gd name="T26" fmla="*/ 2147483647 w 58"/>
                      <a:gd name="T27" fmla="*/ 2147483647 h 67"/>
                      <a:gd name="T28" fmla="*/ 2147483647 w 58"/>
                      <a:gd name="T29" fmla="*/ 2147483647 h 67"/>
                      <a:gd name="T30" fmla="*/ 2147483647 w 58"/>
                      <a:gd name="T31" fmla="*/ 2147483647 h 67"/>
                      <a:gd name="T32" fmla="*/ 2147483647 w 58"/>
                      <a:gd name="T33" fmla="*/ 2147483647 h 67"/>
                      <a:gd name="T34" fmla="*/ 2147483647 w 58"/>
                      <a:gd name="T35" fmla="*/ 2147483647 h 67"/>
                      <a:gd name="T36" fmla="*/ 2147483647 w 58"/>
                      <a:gd name="T37" fmla="*/ 2147483647 h 67"/>
                      <a:gd name="T38" fmla="*/ 2147483647 w 58"/>
                      <a:gd name="T39" fmla="*/ 2147483647 h 67"/>
                      <a:gd name="T40" fmla="*/ 2147483647 w 58"/>
                      <a:gd name="T41" fmla="*/ 2147483647 h 67"/>
                      <a:gd name="T42" fmla="*/ 2147483647 w 58"/>
                      <a:gd name="T43" fmla="*/ 2147483647 h 67"/>
                      <a:gd name="T44" fmla="*/ 2147483647 w 58"/>
                      <a:gd name="T45" fmla="*/ 2147483647 h 67"/>
                      <a:gd name="T46" fmla="*/ 0 w 58"/>
                      <a:gd name="T47" fmla="*/ 2147483647 h 67"/>
                      <a:gd name="T48" fmla="*/ 2147483647 w 58"/>
                      <a:gd name="T49" fmla="*/ 0 h 67"/>
                      <a:gd name="T50" fmla="*/ 2147483647 w 58"/>
                      <a:gd name="T51" fmla="*/ 0 h 67"/>
                      <a:gd name="T52" fmla="*/ 2147483647 w 58"/>
                      <a:gd name="T53" fmla="*/ 0 h 67"/>
                      <a:gd name="T54" fmla="*/ 2147483647 w 58"/>
                      <a:gd name="T55" fmla="*/ 2147483647 h 67"/>
                      <a:gd name="T56" fmla="*/ 2147483647 w 58"/>
                      <a:gd name="T57" fmla="*/ 2147483647 h 67"/>
                      <a:gd name="T58" fmla="*/ 2147483647 w 58"/>
                      <a:gd name="T59" fmla="*/ 2147483647 h 67"/>
                      <a:gd name="T60" fmla="*/ 2147483647 w 58"/>
                      <a:gd name="T61" fmla="*/ 2147483647 h 67"/>
                      <a:gd name="T62" fmla="*/ 2147483647 w 58"/>
                      <a:gd name="T63" fmla="*/ 2147483647 h 67"/>
                      <a:gd name="T64" fmla="*/ 2147483647 w 58"/>
                      <a:gd name="T65" fmla="*/ 2147483647 h 67"/>
                      <a:gd name="T66" fmla="*/ 2147483647 w 58"/>
                      <a:gd name="T67" fmla="*/ 2147483647 h 67"/>
                      <a:gd name="T68" fmla="*/ 2147483647 w 58"/>
                      <a:gd name="T69" fmla="*/ 2147483647 h 67"/>
                      <a:gd name="T70" fmla="*/ 2147483647 w 58"/>
                      <a:gd name="T71" fmla="*/ 2147483647 h 67"/>
                      <a:gd name="T72" fmla="*/ 2147483647 w 58"/>
                      <a:gd name="T73" fmla="*/ 2147483647 h 6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8" h="67">
                        <a:moveTo>
                          <a:pt x="53" y="34"/>
                        </a:moveTo>
                        <a:lnTo>
                          <a:pt x="54" y="37"/>
                        </a:lnTo>
                        <a:lnTo>
                          <a:pt x="57" y="44"/>
                        </a:lnTo>
                        <a:lnTo>
                          <a:pt x="58" y="53"/>
                        </a:lnTo>
                        <a:lnTo>
                          <a:pt x="57" y="60"/>
                        </a:lnTo>
                        <a:lnTo>
                          <a:pt x="54" y="64"/>
                        </a:lnTo>
                        <a:lnTo>
                          <a:pt x="52" y="66"/>
                        </a:lnTo>
                        <a:lnTo>
                          <a:pt x="48" y="67"/>
                        </a:lnTo>
                        <a:lnTo>
                          <a:pt x="44" y="65"/>
                        </a:lnTo>
                        <a:lnTo>
                          <a:pt x="39" y="62"/>
                        </a:lnTo>
                        <a:lnTo>
                          <a:pt x="35" y="60"/>
                        </a:lnTo>
                        <a:lnTo>
                          <a:pt x="32" y="58"/>
                        </a:lnTo>
                        <a:lnTo>
                          <a:pt x="29" y="53"/>
                        </a:lnTo>
                        <a:lnTo>
                          <a:pt x="24" y="50"/>
                        </a:lnTo>
                        <a:lnTo>
                          <a:pt x="17" y="49"/>
                        </a:lnTo>
                        <a:lnTo>
                          <a:pt x="12" y="47"/>
                        </a:lnTo>
                        <a:lnTo>
                          <a:pt x="8" y="42"/>
                        </a:lnTo>
                        <a:lnTo>
                          <a:pt x="9" y="37"/>
                        </a:lnTo>
                        <a:lnTo>
                          <a:pt x="13" y="37"/>
                        </a:lnTo>
                        <a:lnTo>
                          <a:pt x="15" y="36"/>
                        </a:lnTo>
                        <a:lnTo>
                          <a:pt x="13" y="30"/>
                        </a:lnTo>
                        <a:lnTo>
                          <a:pt x="7" y="20"/>
                        </a:lnTo>
                        <a:lnTo>
                          <a:pt x="2" y="11"/>
                        </a:lnTo>
                        <a:lnTo>
                          <a:pt x="0" y="4"/>
                        </a:lnTo>
                        <a:lnTo>
                          <a:pt x="4" y="0"/>
                        </a:lnTo>
                        <a:lnTo>
                          <a:pt x="9" y="0"/>
                        </a:lnTo>
                        <a:lnTo>
                          <a:pt x="14" y="0"/>
                        </a:lnTo>
                        <a:lnTo>
                          <a:pt x="19" y="2"/>
                        </a:lnTo>
                        <a:lnTo>
                          <a:pt x="23" y="8"/>
                        </a:lnTo>
                        <a:lnTo>
                          <a:pt x="28" y="13"/>
                        </a:lnTo>
                        <a:lnTo>
                          <a:pt x="34" y="15"/>
                        </a:lnTo>
                        <a:lnTo>
                          <a:pt x="38" y="16"/>
                        </a:lnTo>
                        <a:lnTo>
                          <a:pt x="40" y="19"/>
                        </a:lnTo>
                        <a:lnTo>
                          <a:pt x="43" y="24"/>
                        </a:lnTo>
                        <a:lnTo>
                          <a:pt x="47" y="29"/>
                        </a:lnTo>
                        <a:lnTo>
                          <a:pt x="51" y="32"/>
                        </a:lnTo>
                        <a:lnTo>
                          <a:pt x="53" y="34"/>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04" name="Freeform 443"/>
                  <p:cNvSpPr>
                    <a:spLocks/>
                  </p:cNvSpPr>
                  <p:nvPr/>
                </p:nvSpPr>
                <p:spPr bwMode="auto">
                  <a:xfrm>
                    <a:off x="1728965" y="1474660"/>
                    <a:ext cx="266540" cy="246796"/>
                  </a:xfrm>
                  <a:custGeom>
                    <a:avLst/>
                    <a:gdLst>
                      <a:gd name="T0" fmla="*/ 2147483647 w 249"/>
                      <a:gd name="T1" fmla="*/ 2147483647 h 231"/>
                      <a:gd name="T2" fmla="*/ 2147483647 w 249"/>
                      <a:gd name="T3" fmla="*/ 2147483647 h 231"/>
                      <a:gd name="T4" fmla="*/ 2147483647 w 249"/>
                      <a:gd name="T5" fmla="*/ 2147483647 h 231"/>
                      <a:gd name="T6" fmla="*/ 2147483647 w 249"/>
                      <a:gd name="T7" fmla="*/ 2147483647 h 231"/>
                      <a:gd name="T8" fmla="*/ 2147483647 w 249"/>
                      <a:gd name="T9" fmla="*/ 2147483647 h 231"/>
                      <a:gd name="T10" fmla="*/ 2147483647 w 249"/>
                      <a:gd name="T11" fmla="*/ 2147483647 h 231"/>
                      <a:gd name="T12" fmla="*/ 2147483647 w 249"/>
                      <a:gd name="T13" fmla="*/ 2147483647 h 231"/>
                      <a:gd name="T14" fmla="*/ 2147483647 w 249"/>
                      <a:gd name="T15" fmla="*/ 2147483647 h 231"/>
                      <a:gd name="T16" fmla="*/ 2147483647 w 249"/>
                      <a:gd name="T17" fmla="*/ 2147483647 h 231"/>
                      <a:gd name="T18" fmla="*/ 2147483647 w 249"/>
                      <a:gd name="T19" fmla="*/ 2147483647 h 231"/>
                      <a:gd name="T20" fmla="*/ 2147483647 w 249"/>
                      <a:gd name="T21" fmla="*/ 2147483647 h 231"/>
                      <a:gd name="T22" fmla="*/ 2147483647 w 249"/>
                      <a:gd name="T23" fmla="*/ 2147483647 h 231"/>
                      <a:gd name="T24" fmla="*/ 2147483647 w 249"/>
                      <a:gd name="T25" fmla="*/ 2147483647 h 231"/>
                      <a:gd name="T26" fmla="*/ 2147483647 w 249"/>
                      <a:gd name="T27" fmla="*/ 2147483647 h 231"/>
                      <a:gd name="T28" fmla="*/ 2147483647 w 249"/>
                      <a:gd name="T29" fmla="*/ 2147483647 h 231"/>
                      <a:gd name="T30" fmla="*/ 2147483647 w 249"/>
                      <a:gd name="T31" fmla="*/ 2147483647 h 231"/>
                      <a:gd name="T32" fmla="*/ 2147483647 w 249"/>
                      <a:gd name="T33" fmla="*/ 2147483647 h 231"/>
                      <a:gd name="T34" fmla="*/ 2147483647 w 249"/>
                      <a:gd name="T35" fmla="*/ 2147483647 h 231"/>
                      <a:gd name="T36" fmla="*/ 2147483647 w 249"/>
                      <a:gd name="T37" fmla="*/ 2147483647 h 231"/>
                      <a:gd name="T38" fmla="*/ 2147483647 w 249"/>
                      <a:gd name="T39" fmla="*/ 2147483647 h 231"/>
                      <a:gd name="T40" fmla="*/ 2147483647 w 249"/>
                      <a:gd name="T41" fmla="*/ 2147483647 h 231"/>
                      <a:gd name="T42" fmla="*/ 2147483647 w 249"/>
                      <a:gd name="T43" fmla="*/ 2147483647 h 231"/>
                      <a:gd name="T44" fmla="*/ 2147483647 w 249"/>
                      <a:gd name="T45" fmla="*/ 2147483647 h 231"/>
                      <a:gd name="T46" fmla="*/ 2147483647 w 249"/>
                      <a:gd name="T47" fmla="*/ 2147483647 h 231"/>
                      <a:gd name="T48" fmla="*/ 2147483647 w 249"/>
                      <a:gd name="T49" fmla="*/ 2147483647 h 231"/>
                      <a:gd name="T50" fmla="*/ 2147483647 w 249"/>
                      <a:gd name="T51" fmla="*/ 2147483647 h 231"/>
                      <a:gd name="T52" fmla="*/ 2147483647 w 249"/>
                      <a:gd name="T53" fmla="*/ 2147483647 h 231"/>
                      <a:gd name="T54" fmla="*/ 2147483647 w 249"/>
                      <a:gd name="T55" fmla="*/ 2147483647 h 231"/>
                      <a:gd name="T56" fmla="*/ 2147483647 w 249"/>
                      <a:gd name="T57" fmla="*/ 2147483647 h 231"/>
                      <a:gd name="T58" fmla="*/ 2147483647 w 249"/>
                      <a:gd name="T59" fmla="*/ 2147483647 h 231"/>
                      <a:gd name="T60" fmla="*/ 2147483647 w 249"/>
                      <a:gd name="T61" fmla="*/ 2147483647 h 231"/>
                      <a:gd name="T62" fmla="*/ 2147483647 w 249"/>
                      <a:gd name="T63" fmla="*/ 2147483647 h 231"/>
                      <a:gd name="T64" fmla="*/ 2147483647 w 249"/>
                      <a:gd name="T65" fmla="*/ 2147483647 h 231"/>
                      <a:gd name="T66" fmla="*/ 2147483647 w 249"/>
                      <a:gd name="T67" fmla="*/ 2147483647 h 231"/>
                      <a:gd name="T68" fmla="*/ 2147483647 w 249"/>
                      <a:gd name="T69" fmla="*/ 2147483647 h 231"/>
                      <a:gd name="T70" fmla="*/ 2147483647 w 249"/>
                      <a:gd name="T71" fmla="*/ 2147483647 h 231"/>
                      <a:gd name="T72" fmla="*/ 2147483647 w 249"/>
                      <a:gd name="T73" fmla="*/ 2147483647 h 231"/>
                      <a:gd name="T74" fmla="*/ 2147483647 w 249"/>
                      <a:gd name="T75" fmla="*/ 2147483647 h 231"/>
                      <a:gd name="T76" fmla="*/ 2147483647 w 249"/>
                      <a:gd name="T77" fmla="*/ 2147483647 h 231"/>
                      <a:gd name="T78" fmla="*/ 2147483647 w 249"/>
                      <a:gd name="T79" fmla="*/ 2147483647 h 231"/>
                      <a:gd name="T80" fmla="*/ 2147483647 w 249"/>
                      <a:gd name="T81" fmla="*/ 2147483647 h 231"/>
                      <a:gd name="T82" fmla="*/ 2147483647 w 249"/>
                      <a:gd name="T83" fmla="*/ 2147483647 h 231"/>
                      <a:gd name="T84" fmla="*/ 2147483647 w 249"/>
                      <a:gd name="T85" fmla="*/ 2147483647 h 231"/>
                      <a:gd name="T86" fmla="*/ 2147483647 w 249"/>
                      <a:gd name="T87" fmla="*/ 2147483647 h 231"/>
                      <a:gd name="T88" fmla="*/ 2147483647 w 249"/>
                      <a:gd name="T89" fmla="*/ 2147483647 h 231"/>
                      <a:gd name="T90" fmla="*/ 2147483647 w 249"/>
                      <a:gd name="T91" fmla="*/ 2147483647 h 231"/>
                      <a:gd name="T92" fmla="*/ 2147483647 w 249"/>
                      <a:gd name="T93" fmla="*/ 2147483647 h 231"/>
                      <a:gd name="T94" fmla="*/ 2147483647 w 249"/>
                      <a:gd name="T95" fmla="*/ 2147483647 h 231"/>
                      <a:gd name="T96" fmla="*/ 2147483647 w 249"/>
                      <a:gd name="T97" fmla="*/ 2147483647 h 2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9" h="231">
                        <a:moveTo>
                          <a:pt x="239" y="162"/>
                        </a:moveTo>
                        <a:lnTo>
                          <a:pt x="241" y="164"/>
                        </a:lnTo>
                        <a:lnTo>
                          <a:pt x="246" y="168"/>
                        </a:lnTo>
                        <a:lnTo>
                          <a:pt x="249" y="175"/>
                        </a:lnTo>
                        <a:lnTo>
                          <a:pt x="248" y="182"/>
                        </a:lnTo>
                        <a:lnTo>
                          <a:pt x="244" y="187"/>
                        </a:lnTo>
                        <a:lnTo>
                          <a:pt x="239" y="188"/>
                        </a:lnTo>
                        <a:lnTo>
                          <a:pt x="236" y="187"/>
                        </a:lnTo>
                        <a:lnTo>
                          <a:pt x="232" y="187"/>
                        </a:lnTo>
                        <a:lnTo>
                          <a:pt x="229" y="187"/>
                        </a:lnTo>
                        <a:lnTo>
                          <a:pt x="226" y="187"/>
                        </a:lnTo>
                        <a:lnTo>
                          <a:pt x="226" y="189"/>
                        </a:lnTo>
                        <a:lnTo>
                          <a:pt x="228" y="195"/>
                        </a:lnTo>
                        <a:lnTo>
                          <a:pt x="230" y="204"/>
                        </a:lnTo>
                        <a:lnTo>
                          <a:pt x="232" y="213"/>
                        </a:lnTo>
                        <a:lnTo>
                          <a:pt x="231" y="220"/>
                        </a:lnTo>
                        <a:lnTo>
                          <a:pt x="224" y="225"/>
                        </a:lnTo>
                        <a:lnTo>
                          <a:pt x="216" y="227"/>
                        </a:lnTo>
                        <a:lnTo>
                          <a:pt x="211" y="230"/>
                        </a:lnTo>
                        <a:lnTo>
                          <a:pt x="205" y="231"/>
                        </a:lnTo>
                        <a:lnTo>
                          <a:pt x="195" y="225"/>
                        </a:lnTo>
                        <a:lnTo>
                          <a:pt x="190" y="220"/>
                        </a:lnTo>
                        <a:lnTo>
                          <a:pt x="184" y="215"/>
                        </a:lnTo>
                        <a:lnTo>
                          <a:pt x="178" y="210"/>
                        </a:lnTo>
                        <a:lnTo>
                          <a:pt x="173" y="205"/>
                        </a:lnTo>
                        <a:lnTo>
                          <a:pt x="170" y="202"/>
                        </a:lnTo>
                        <a:lnTo>
                          <a:pt x="165" y="198"/>
                        </a:lnTo>
                        <a:lnTo>
                          <a:pt x="163" y="196"/>
                        </a:lnTo>
                        <a:lnTo>
                          <a:pt x="161" y="195"/>
                        </a:lnTo>
                        <a:lnTo>
                          <a:pt x="158" y="194"/>
                        </a:lnTo>
                        <a:lnTo>
                          <a:pt x="157" y="194"/>
                        </a:lnTo>
                        <a:lnTo>
                          <a:pt x="154" y="196"/>
                        </a:lnTo>
                        <a:lnTo>
                          <a:pt x="146" y="202"/>
                        </a:lnTo>
                        <a:lnTo>
                          <a:pt x="140" y="206"/>
                        </a:lnTo>
                        <a:lnTo>
                          <a:pt x="132" y="210"/>
                        </a:lnTo>
                        <a:lnTo>
                          <a:pt x="123" y="213"/>
                        </a:lnTo>
                        <a:lnTo>
                          <a:pt x="114" y="216"/>
                        </a:lnTo>
                        <a:lnTo>
                          <a:pt x="104" y="219"/>
                        </a:lnTo>
                        <a:lnTo>
                          <a:pt x="95" y="220"/>
                        </a:lnTo>
                        <a:lnTo>
                          <a:pt x="89" y="221"/>
                        </a:lnTo>
                        <a:lnTo>
                          <a:pt x="85" y="223"/>
                        </a:lnTo>
                        <a:lnTo>
                          <a:pt x="81" y="223"/>
                        </a:lnTo>
                        <a:lnTo>
                          <a:pt x="78" y="223"/>
                        </a:lnTo>
                        <a:lnTo>
                          <a:pt x="73" y="221"/>
                        </a:lnTo>
                        <a:lnTo>
                          <a:pt x="67" y="219"/>
                        </a:lnTo>
                        <a:lnTo>
                          <a:pt x="62" y="218"/>
                        </a:lnTo>
                        <a:lnTo>
                          <a:pt x="57" y="216"/>
                        </a:lnTo>
                        <a:lnTo>
                          <a:pt x="52" y="215"/>
                        </a:lnTo>
                        <a:lnTo>
                          <a:pt x="49" y="215"/>
                        </a:lnTo>
                        <a:lnTo>
                          <a:pt x="46" y="213"/>
                        </a:lnTo>
                        <a:lnTo>
                          <a:pt x="44" y="210"/>
                        </a:lnTo>
                        <a:lnTo>
                          <a:pt x="44" y="204"/>
                        </a:lnTo>
                        <a:lnTo>
                          <a:pt x="43" y="197"/>
                        </a:lnTo>
                        <a:lnTo>
                          <a:pt x="40" y="188"/>
                        </a:lnTo>
                        <a:lnTo>
                          <a:pt x="33" y="180"/>
                        </a:lnTo>
                        <a:lnTo>
                          <a:pt x="25" y="173"/>
                        </a:lnTo>
                        <a:lnTo>
                          <a:pt x="16" y="167"/>
                        </a:lnTo>
                        <a:lnTo>
                          <a:pt x="9" y="164"/>
                        </a:lnTo>
                        <a:lnTo>
                          <a:pt x="3" y="162"/>
                        </a:lnTo>
                        <a:lnTo>
                          <a:pt x="1" y="157"/>
                        </a:lnTo>
                        <a:lnTo>
                          <a:pt x="0" y="151"/>
                        </a:lnTo>
                        <a:lnTo>
                          <a:pt x="0" y="143"/>
                        </a:lnTo>
                        <a:lnTo>
                          <a:pt x="0" y="136"/>
                        </a:lnTo>
                        <a:lnTo>
                          <a:pt x="1" y="130"/>
                        </a:lnTo>
                        <a:lnTo>
                          <a:pt x="5" y="129"/>
                        </a:lnTo>
                        <a:lnTo>
                          <a:pt x="12" y="129"/>
                        </a:lnTo>
                        <a:lnTo>
                          <a:pt x="20" y="128"/>
                        </a:lnTo>
                        <a:lnTo>
                          <a:pt x="27" y="129"/>
                        </a:lnTo>
                        <a:lnTo>
                          <a:pt x="36" y="132"/>
                        </a:lnTo>
                        <a:lnTo>
                          <a:pt x="42" y="135"/>
                        </a:lnTo>
                        <a:lnTo>
                          <a:pt x="49" y="138"/>
                        </a:lnTo>
                        <a:lnTo>
                          <a:pt x="57" y="142"/>
                        </a:lnTo>
                        <a:lnTo>
                          <a:pt x="65" y="147"/>
                        </a:lnTo>
                        <a:lnTo>
                          <a:pt x="72" y="149"/>
                        </a:lnTo>
                        <a:lnTo>
                          <a:pt x="79" y="151"/>
                        </a:lnTo>
                        <a:lnTo>
                          <a:pt x="82" y="151"/>
                        </a:lnTo>
                        <a:lnTo>
                          <a:pt x="85" y="149"/>
                        </a:lnTo>
                        <a:lnTo>
                          <a:pt x="86" y="141"/>
                        </a:lnTo>
                        <a:lnTo>
                          <a:pt x="86" y="133"/>
                        </a:lnTo>
                        <a:lnTo>
                          <a:pt x="81" y="126"/>
                        </a:lnTo>
                        <a:lnTo>
                          <a:pt x="69" y="121"/>
                        </a:lnTo>
                        <a:lnTo>
                          <a:pt x="56" y="118"/>
                        </a:lnTo>
                        <a:lnTo>
                          <a:pt x="50" y="117"/>
                        </a:lnTo>
                        <a:lnTo>
                          <a:pt x="44" y="117"/>
                        </a:lnTo>
                        <a:lnTo>
                          <a:pt x="35" y="115"/>
                        </a:lnTo>
                        <a:lnTo>
                          <a:pt x="24" y="115"/>
                        </a:lnTo>
                        <a:lnTo>
                          <a:pt x="17" y="115"/>
                        </a:lnTo>
                        <a:lnTo>
                          <a:pt x="12" y="114"/>
                        </a:lnTo>
                        <a:lnTo>
                          <a:pt x="8" y="111"/>
                        </a:lnTo>
                        <a:lnTo>
                          <a:pt x="3" y="104"/>
                        </a:lnTo>
                        <a:lnTo>
                          <a:pt x="2" y="96"/>
                        </a:lnTo>
                        <a:lnTo>
                          <a:pt x="2" y="90"/>
                        </a:lnTo>
                        <a:lnTo>
                          <a:pt x="4" y="86"/>
                        </a:lnTo>
                        <a:lnTo>
                          <a:pt x="11" y="84"/>
                        </a:lnTo>
                        <a:lnTo>
                          <a:pt x="20" y="86"/>
                        </a:lnTo>
                        <a:lnTo>
                          <a:pt x="28" y="84"/>
                        </a:lnTo>
                        <a:lnTo>
                          <a:pt x="29" y="79"/>
                        </a:lnTo>
                        <a:lnTo>
                          <a:pt x="26" y="73"/>
                        </a:lnTo>
                        <a:lnTo>
                          <a:pt x="23" y="71"/>
                        </a:lnTo>
                        <a:lnTo>
                          <a:pt x="19" y="68"/>
                        </a:lnTo>
                        <a:lnTo>
                          <a:pt x="13" y="62"/>
                        </a:lnTo>
                        <a:lnTo>
                          <a:pt x="8" y="54"/>
                        </a:lnTo>
                        <a:lnTo>
                          <a:pt x="3" y="49"/>
                        </a:lnTo>
                        <a:lnTo>
                          <a:pt x="3" y="44"/>
                        </a:lnTo>
                        <a:lnTo>
                          <a:pt x="8" y="39"/>
                        </a:lnTo>
                        <a:lnTo>
                          <a:pt x="14" y="37"/>
                        </a:lnTo>
                        <a:lnTo>
                          <a:pt x="19" y="35"/>
                        </a:lnTo>
                        <a:lnTo>
                          <a:pt x="21" y="33"/>
                        </a:lnTo>
                        <a:lnTo>
                          <a:pt x="24" y="27"/>
                        </a:lnTo>
                        <a:lnTo>
                          <a:pt x="25" y="21"/>
                        </a:lnTo>
                        <a:lnTo>
                          <a:pt x="25" y="18"/>
                        </a:lnTo>
                        <a:lnTo>
                          <a:pt x="28" y="15"/>
                        </a:lnTo>
                        <a:lnTo>
                          <a:pt x="33" y="14"/>
                        </a:lnTo>
                        <a:lnTo>
                          <a:pt x="40" y="13"/>
                        </a:lnTo>
                        <a:lnTo>
                          <a:pt x="46" y="9"/>
                        </a:lnTo>
                        <a:lnTo>
                          <a:pt x="51" y="7"/>
                        </a:lnTo>
                        <a:lnTo>
                          <a:pt x="61" y="5"/>
                        </a:lnTo>
                        <a:lnTo>
                          <a:pt x="72" y="3"/>
                        </a:lnTo>
                        <a:lnTo>
                          <a:pt x="81" y="0"/>
                        </a:lnTo>
                        <a:lnTo>
                          <a:pt x="88" y="3"/>
                        </a:lnTo>
                        <a:lnTo>
                          <a:pt x="88" y="9"/>
                        </a:lnTo>
                        <a:lnTo>
                          <a:pt x="85" y="18"/>
                        </a:lnTo>
                        <a:lnTo>
                          <a:pt x="81" y="23"/>
                        </a:lnTo>
                        <a:lnTo>
                          <a:pt x="82" y="27"/>
                        </a:lnTo>
                        <a:lnTo>
                          <a:pt x="88" y="26"/>
                        </a:lnTo>
                        <a:lnTo>
                          <a:pt x="95" y="23"/>
                        </a:lnTo>
                        <a:lnTo>
                          <a:pt x="100" y="24"/>
                        </a:lnTo>
                        <a:lnTo>
                          <a:pt x="102" y="27"/>
                        </a:lnTo>
                        <a:lnTo>
                          <a:pt x="104" y="34"/>
                        </a:lnTo>
                        <a:lnTo>
                          <a:pt x="110" y="41"/>
                        </a:lnTo>
                        <a:lnTo>
                          <a:pt x="117" y="46"/>
                        </a:lnTo>
                        <a:lnTo>
                          <a:pt x="124" y="47"/>
                        </a:lnTo>
                        <a:lnTo>
                          <a:pt x="127" y="45"/>
                        </a:lnTo>
                        <a:lnTo>
                          <a:pt x="127" y="38"/>
                        </a:lnTo>
                        <a:lnTo>
                          <a:pt x="126" y="31"/>
                        </a:lnTo>
                        <a:lnTo>
                          <a:pt x="125" y="27"/>
                        </a:lnTo>
                        <a:lnTo>
                          <a:pt x="129" y="27"/>
                        </a:lnTo>
                        <a:lnTo>
                          <a:pt x="134" y="33"/>
                        </a:lnTo>
                        <a:lnTo>
                          <a:pt x="140" y="39"/>
                        </a:lnTo>
                        <a:lnTo>
                          <a:pt x="145" y="47"/>
                        </a:lnTo>
                        <a:lnTo>
                          <a:pt x="146" y="58"/>
                        </a:lnTo>
                        <a:lnTo>
                          <a:pt x="147" y="69"/>
                        </a:lnTo>
                        <a:lnTo>
                          <a:pt x="148" y="80"/>
                        </a:lnTo>
                        <a:lnTo>
                          <a:pt x="152" y="83"/>
                        </a:lnTo>
                        <a:lnTo>
                          <a:pt x="155" y="75"/>
                        </a:lnTo>
                        <a:lnTo>
                          <a:pt x="158" y="64"/>
                        </a:lnTo>
                        <a:lnTo>
                          <a:pt x="161" y="57"/>
                        </a:lnTo>
                        <a:lnTo>
                          <a:pt x="162" y="51"/>
                        </a:lnTo>
                        <a:lnTo>
                          <a:pt x="160" y="46"/>
                        </a:lnTo>
                        <a:lnTo>
                          <a:pt x="157" y="39"/>
                        </a:lnTo>
                        <a:lnTo>
                          <a:pt x="156" y="33"/>
                        </a:lnTo>
                        <a:lnTo>
                          <a:pt x="157" y="27"/>
                        </a:lnTo>
                        <a:lnTo>
                          <a:pt x="160" y="22"/>
                        </a:lnTo>
                        <a:lnTo>
                          <a:pt x="164" y="20"/>
                        </a:lnTo>
                        <a:lnTo>
                          <a:pt x="169" y="21"/>
                        </a:lnTo>
                        <a:lnTo>
                          <a:pt x="173" y="23"/>
                        </a:lnTo>
                        <a:lnTo>
                          <a:pt x="179" y="26"/>
                        </a:lnTo>
                        <a:lnTo>
                          <a:pt x="181" y="24"/>
                        </a:lnTo>
                        <a:lnTo>
                          <a:pt x="183" y="22"/>
                        </a:lnTo>
                        <a:lnTo>
                          <a:pt x="181" y="19"/>
                        </a:lnTo>
                        <a:lnTo>
                          <a:pt x="181" y="18"/>
                        </a:lnTo>
                        <a:lnTo>
                          <a:pt x="179" y="15"/>
                        </a:lnTo>
                        <a:lnTo>
                          <a:pt x="175" y="11"/>
                        </a:lnTo>
                        <a:lnTo>
                          <a:pt x="172" y="7"/>
                        </a:lnTo>
                        <a:lnTo>
                          <a:pt x="179" y="5"/>
                        </a:lnTo>
                        <a:lnTo>
                          <a:pt x="185" y="5"/>
                        </a:lnTo>
                        <a:lnTo>
                          <a:pt x="192" y="5"/>
                        </a:lnTo>
                        <a:lnTo>
                          <a:pt x="198" y="5"/>
                        </a:lnTo>
                        <a:lnTo>
                          <a:pt x="203" y="6"/>
                        </a:lnTo>
                        <a:lnTo>
                          <a:pt x="208" y="8"/>
                        </a:lnTo>
                        <a:lnTo>
                          <a:pt x="211" y="11"/>
                        </a:lnTo>
                        <a:lnTo>
                          <a:pt x="213" y="15"/>
                        </a:lnTo>
                        <a:lnTo>
                          <a:pt x="211" y="21"/>
                        </a:lnTo>
                        <a:lnTo>
                          <a:pt x="207" y="31"/>
                        </a:lnTo>
                        <a:lnTo>
                          <a:pt x="203" y="37"/>
                        </a:lnTo>
                        <a:lnTo>
                          <a:pt x="199" y="39"/>
                        </a:lnTo>
                        <a:lnTo>
                          <a:pt x="195" y="42"/>
                        </a:lnTo>
                        <a:lnTo>
                          <a:pt x="192" y="45"/>
                        </a:lnTo>
                        <a:lnTo>
                          <a:pt x="193" y="52"/>
                        </a:lnTo>
                        <a:lnTo>
                          <a:pt x="195" y="60"/>
                        </a:lnTo>
                        <a:lnTo>
                          <a:pt x="196" y="69"/>
                        </a:lnTo>
                        <a:lnTo>
                          <a:pt x="198" y="79"/>
                        </a:lnTo>
                        <a:lnTo>
                          <a:pt x="199" y="89"/>
                        </a:lnTo>
                        <a:lnTo>
                          <a:pt x="201" y="98"/>
                        </a:lnTo>
                        <a:lnTo>
                          <a:pt x="201" y="105"/>
                        </a:lnTo>
                        <a:lnTo>
                          <a:pt x="200" y="110"/>
                        </a:lnTo>
                        <a:lnTo>
                          <a:pt x="199" y="112"/>
                        </a:lnTo>
                        <a:lnTo>
                          <a:pt x="198" y="115"/>
                        </a:lnTo>
                        <a:lnTo>
                          <a:pt x="198" y="122"/>
                        </a:lnTo>
                        <a:lnTo>
                          <a:pt x="201" y="130"/>
                        </a:lnTo>
                        <a:lnTo>
                          <a:pt x="205" y="136"/>
                        </a:lnTo>
                        <a:lnTo>
                          <a:pt x="209" y="141"/>
                        </a:lnTo>
                        <a:lnTo>
                          <a:pt x="216" y="147"/>
                        </a:lnTo>
                        <a:lnTo>
                          <a:pt x="224" y="153"/>
                        </a:lnTo>
                        <a:lnTo>
                          <a:pt x="231" y="158"/>
                        </a:lnTo>
                        <a:lnTo>
                          <a:pt x="237" y="160"/>
                        </a:lnTo>
                        <a:lnTo>
                          <a:pt x="239" y="162"/>
                        </a:lnTo>
                        <a:close/>
                      </a:path>
                    </a:pathLst>
                  </a:custGeom>
                  <a:solidFill>
                    <a:schemeClr val="bg1">
                      <a:lumMod val="65000"/>
                    </a:schemeClr>
                  </a:solidFill>
                  <a:ln w="9525">
                    <a:solidFill>
                      <a:sysClr val="window" lastClr="FFFFFF">
                        <a:lumMod val="50000"/>
                      </a:sysClr>
                    </a:solidFill>
                    <a:round/>
                    <a:headEnd/>
                    <a:tailEnd/>
                  </a:ln>
                </p:spPr>
                <p:txBody>
                  <a:bodyPr/>
                  <a:lstStyle/>
                  <a:p>
                    <a:pPr>
                      <a:defRPr/>
                    </a:pPr>
                    <a:endParaRPr lang="en-GB" kern="0">
                      <a:solidFill>
                        <a:srgbClr val="FF0000"/>
                      </a:solidFill>
                      <a:latin typeface="Calibri"/>
                    </a:endParaRPr>
                  </a:p>
                </p:txBody>
              </p:sp>
              <p:sp>
                <p:nvSpPr>
                  <p:cNvPr id="605" name="Freeform 445"/>
                  <p:cNvSpPr>
                    <a:spLocks/>
                  </p:cNvSpPr>
                  <p:nvPr/>
                </p:nvSpPr>
                <p:spPr bwMode="auto">
                  <a:xfrm>
                    <a:off x="2744951" y="3717502"/>
                    <a:ext cx="36060" cy="20010"/>
                  </a:xfrm>
                  <a:custGeom>
                    <a:avLst/>
                    <a:gdLst>
                      <a:gd name="T0" fmla="*/ 2147483647 w 23"/>
                      <a:gd name="T1" fmla="*/ 0 h 18"/>
                      <a:gd name="T2" fmla="*/ 2147483647 w 23"/>
                      <a:gd name="T3" fmla="*/ 2147483647 h 18"/>
                      <a:gd name="T4" fmla="*/ 2147483647 w 23"/>
                      <a:gd name="T5" fmla="*/ 2147483647 h 18"/>
                      <a:gd name="T6" fmla="*/ 0 w 23"/>
                      <a:gd name="T7" fmla="*/ 2147483647 h 18"/>
                      <a:gd name="T8" fmla="*/ 2147483647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solidFill>
                    <a:sysClr val="window" lastClr="FFFFFF"/>
                  </a:solidFill>
                  <a:ln w="6350" cap="flat" cmpd="sng">
                    <a:solidFill>
                      <a:sysClr val="window" lastClr="FFFFFF">
                        <a:lumMod val="50000"/>
                      </a:sys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kern="0">
                      <a:solidFill>
                        <a:prstClr val="black"/>
                      </a:solidFill>
                      <a:latin typeface="Calibri"/>
                    </a:endParaRPr>
                  </a:p>
                </p:txBody>
              </p:sp>
              <p:sp>
                <p:nvSpPr>
                  <p:cNvPr id="606" name="Freeform 450"/>
                  <p:cNvSpPr>
                    <a:spLocks/>
                  </p:cNvSpPr>
                  <p:nvPr/>
                </p:nvSpPr>
                <p:spPr bwMode="auto">
                  <a:xfrm>
                    <a:off x="3775046" y="1854859"/>
                    <a:ext cx="130134" cy="53362"/>
                  </a:xfrm>
                  <a:custGeom>
                    <a:avLst/>
                    <a:gdLst>
                      <a:gd name="T0" fmla="*/ 2147483647 w 114"/>
                      <a:gd name="T1" fmla="*/ 0 h 54"/>
                      <a:gd name="T2" fmla="*/ 2147483647 w 114"/>
                      <a:gd name="T3" fmla="*/ 2147483647 h 54"/>
                      <a:gd name="T4" fmla="*/ 2147483647 w 114"/>
                      <a:gd name="T5" fmla="*/ 2147483647 h 54"/>
                      <a:gd name="T6" fmla="*/ 2147483647 w 114"/>
                      <a:gd name="T7" fmla="*/ 0 h 54"/>
                      <a:gd name="T8" fmla="*/ 2147483647 w 114"/>
                      <a:gd name="T9" fmla="*/ 2147483647 h 54"/>
                      <a:gd name="T10" fmla="*/ 2147483647 w 114"/>
                      <a:gd name="T11" fmla="*/ 2147483647 h 54"/>
                      <a:gd name="T12" fmla="*/ 2147483647 w 114"/>
                      <a:gd name="T13" fmla="*/ 2147483647 h 54"/>
                      <a:gd name="T14" fmla="*/ 2147483647 w 114"/>
                      <a:gd name="T15" fmla="*/ 2147483647 h 54"/>
                      <a:gd name="T16" fmla="*/ 2147483647 w 114"/>
                      <a:gd name="T17" fmla="*/ 2147483647 h 54"/>
                      <a:gd name="T18" fmla="*/ 2147483647 w 114"/>
                      <a:gd name="T19" fmla="*/ 2147483647 h 54"/>
                      <a:gd name="T20" fmla="*/ 2147483647 w 114"/>
                      <a:gd name="T21" fmla="*/ 2147483647 h 54"/>
                      <a:gd name="T22" fmla="*/ 0 w 114"/>
                      <a:gd name="T23" fmla="*/ 2147483647 h 54"/>
                      <a:gd name="T24" fmla="*/ 2147483647 w 114"/>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4" h="54">
                        <a:moveTo>
                          <a:pt x="14" y="0"/>
                        </a:moveTo>
                        <a:lnTo>
                          <a:pt x="26" y="14"/>
                        </a:lnTo>
                        <a:lnTo>
                          <a:pt x="54" y="4"/>
                        </a:lnTo>
                        <a:lnTo>
                          <a:pt x="88" y="0"/>
                        </a:lnTo>
                        <a:lnTo>
                          <a:pt x="114" y="18"/>
                        </a:lnTo>
                        <a:lnTo>
                          <a:pt x="96" y="38"/>
                        </a:lnTo>
                        <a:lnTo>
                          <a:pt x="68" y="54"/>
                        </a:lnTo>
                        <a:lnTo>
                          <a:pt x="30" y="42"/>
                        </a:lnTo>
                        <a:lnTo>
                          <a:pt x="10" y="44"/>
                        </a:lnTo>
                        <a:lnTo>
                          <a:pt x="26" y="36"/>
                        </a:lnTo>
                        <a:lnTo>
                          <a:pt x="16" y="22"/>
                        </a:lnTo>
                        <a:lnTo>
                          <a:pt x="0" y="16"/>
                        </a:lnTo>
                        <a:lnTo>
                          <a:pt x="14" y="0"/>
                        </a:lnTo>
                        <a:close/>
                      </a:path>
                    </a:pathLst>
                  </a:custGeom>
                  <a:solidFill>
                    <a:srgbClr val="FFC000"/>
                  </a:solidFill>
                  <a:ln w="9525" cap="flat" cmpd="sng">
                    <a:solidFill>
                      <a:sysClr val="window" lastClr="FFFFFF">
                        <a:lumMod val="50000"/>
                      </a:sysClr>
                    </a:solidFill>
                    <a:prstDash val="solid"/>
                    <a:round/>
                    <a:headEnd/>
                    <a:tailEnd/>
                  </a:ln>
                  <a:effectLst/>
                </p:spPr>
                <p:txBody>
                  <a:bodyPr anchor="ctr"/>
                  <a:lstStyle/>
                  <a:p>
                    <a:pPr>
                      <a:defRPr/>
                    </a:pPr>
                    <a:endParaRPr lang="en-GB" kern="0">
                      <a:solidFill>
                        <a:prstClr val="black"/>
                      </a:solidFill>
                      <a:latin typeface="Calibri"/>
                    </a:endParaRPr>
                  </a:p>
                </p:txBody>
              </p:sp>
              <p:sp>
                <p:nvSpPr>
                  <p:cNvPr id="607" name="Freeform 451"/>
                  <p:cNvSpPr>
                    <a:spLocks/>
                  </p:cNvSpPr>
                  <p:nvPr/>
                </p:nvSpPr>
                <p:spPr bwMode="auto">
                  <a:xfrm>
                    <a:off x="7721400" y="4096036"/>
                    <a:ext cx="213231" cy="195101"/>
                  </a:xfrm>
                  <a:custGeom>
                    <a:avLst/>
                    <a:gdLst>
                      <a:gd name="T0" fmla="*/ 2147483647 w 575"/>
                      <a:gd name="T1" fmla="*/ 2147483647 h 488"/>
                      <a:gd name="T2" fmla="*/ 2147483647 w 575"/>
                      <a:gd name="T3" fmla="*/ 2147483647 h 488"/>
                      <a:gd name="T4" fmla="*/ 2147483647 w 575"/>
                      <a:gd name="T5" fmla="*/ 2147483647 h 488"/>
                      <a:gd name="T6" fmla="*/ 2147483647 w 575"/>
                      <a:gd name="T7" fmla="*/ 2147483647 h 488"/>
                      <a:gd name="T8" fmla="*/ 2147483647 w 575"/>
                      <a:gd name="T9" fmla="*/ 0 h 488"/>
                      <a:gd name="T10" fmla="*/ 2147483647 w 575"/>
                      <a:gd name="T11" fmla="*/ 2147483647 h 488"/>
                      <a:gd name="T12" fmla="*/ 0 w 575"/>
                      <a:gd name="T13" fmla="*/ 2147483647 h 488"/>
                      <a:gd name="T14" fmla="*/ 2147483647 w 575"/>
                      <a:gd name="T15" fmla="*/ 2147483647 h 488"/>
                      <a:gd name="T16" fmla="*/ 2147483647 w 575"/>
                      <a:gd name="T17" fmla="*/ 2147483647 h 488"/>
                      <a:gd name="T18" fmla="*/ 2147483647 w 575"/>
                      <a:gd name="T19" fmla="*/ 2147483647 h 488"/>
                      <a:gd name="T20" fmla="*/ 2147483647 w 575"/>
                      <a:gd name="T21" fmla="*/ 2147483647 h 488"/>
                      <a:gd name="T22" fmla="*/ 2147483647 w 575"/>
                      <a:gd name="T23" fmla="*/ 2147483647 h 488"/>
                      <a:gd name="T24" fmla="*/ 2147483647 w 575"/>
                      <a:gd name="T25" fmla="*/ 2147483647 h 488"/>
                      <a:gd name="T26" fmla="*/ 2147483647 w 575"/>
                      <a:gd name="T27" fmla="*/ 2147483647 h 488"/>
                      <a:gd name="T28" fmla="*/ 2147483647 w 575"/>
                      <a:gd name="T29" fmla="*/ 2147483647 h 488"/>
                      <a:gd name="T30" fmla="*/ 2147483647 w 575"/>
                      <a:gd name="T31" fmla="*/ 2147483647 h 488"/>
                      <a:gd name="T32" fmla="*/ 2147483647 w 575"/>
                      <a:gd name="T33" fmla="*/ 2147483647 h 488"/>
                      <a:gd name="T34" fmla="*/ 2147483647 w 575"/>
                      <a:gd name="T35" fmla="*/ 2147483647 h 488"/>
                      <a:gd name="T36" fmla="*/ 2147483647 w 575"/>
                      <a:gd name="T37" fmla="*/ 2147483647 h 488"/>
                      <a:gd name="T38" fmla="*/ 2147483647 w 575"/>
                      <a:gd name="T39" fmla="*/ 2147483647 h 488"/>
                      <a:gd name="T40" fmla="*/ 2147483647 w 575"/>
                      <a:gd name="T41" fmla="*/ 2147483647 h 4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75" h="488">
                        <a:moveTo>
                          <a:pt x="410" y="71"/>
                        </a:moveTo>
                        <a:lnTo>
                          <a:pt x="321" y="142"/>
                        </a:lnTo>
                        <a:lnTo>
                          <a:pt x="233" y="142"/>
                        </a:lnTo>
                        <a:lnTo>
                          <a:pt x="178" y="71"/>
                        </a:lnTo>
                        <a:lnTo>
                          <a:pt x="107" y="0"/>
                        </a:lnTo>
                        <a:lnTo>
                          <a:pt x="36" y="19"/>
                        </a:lnTo>
                        <a:lnTo>
                          <a:pt x="0" y="90"/>
                        </a:lnTo>
                        <a:lnTo>
                          <a:pt x="72" y="124"/>
                        </a:lnTo>
                        <a:lnTo>
                          <a:pt x="89" y="159"/>
                        </a:lnTo>
                        <a:lnTo>
                          <a:pt x="107" y="213"/>
                        </a:lnTo>
                        <a:lnTo>
                          <a:pt x="160" y="213"/>
                        </a:lnTo>
                        <a:lnTo>
                          <a:pt x="197" y="230"/>
                        </a:lnTo>
                        <a:lnTo>
                          <a:pt x="321" y="283"/>
                        </a:lnTo>
                        <a:lnTo>
                          <a:pt x="446" y="353"/>
                        </a:lnTo>
                        <a:lnTo>
                          <a:pt x="465" y="389"/>
                        </a:lnTo>
                        <a:lnTo>
                          <a:pt x="393" y="424"/>
                        </a:lnTo>
                        <a:lnTo>
                          <a:pt x="465" y="442"/>
                        </a:lnTo>
                        <a:lnTo>
                          <a:pt x="518" y="459"/>
                        </a:lnTo>
                        <a:lnTo>
                          <a:pt x="575" y="488"/>
                        </a:lnTo>
                        <a:lnTo>
                          <a:pt x="575" y="122"/>
                        </a:lnTo>
                        <a:lnTo>
                          <a:pt x="410" y="71"/>
                        </a:lnTo>
                        <a:close/>
                      </a:path>
                    </a:pathLst>
                  </a:custGeom>
                  <a:solidFill>
                    <a:srgbClr val="007600"/>
                  </a:solidFill>
                  <a:ln w="9525" cap="flat" cmpd="sng">
                    <a:solidFill>
                      <a:sysClr val="window" lastClr="FFFFFF">
                        <a:lumMod val="50000"/>
                      </a:sysClr>
                    </a:solidFill>
                    <a:prstDash val="solid"/>
                    <a:round/>
                    <a:headEnd type="none" w="med" len="med"/>
                    <a:tailEnd type="none" w="med" len="med"/>
                  </a:ln>
                  <a:effectLst/>
                  <a:extLst/>
                </p:spPr>
                <p:txBody>
                  <a:bodyPr/>
                  <a:lstStyle/>
                  <a:p>
                    <a:pPr>
                      <a:defRPr/>
                    </a:pPr>
                    <a:endParaRPr lang="en-GB" kern="0">
                      <a:solidFill>
                        <a:prstClr val="black"/>
                      </a:solidFill>
                      <a:latin typeface="Calibri"/>
                    </a:endParaRPr>
                  </a:p>
                </p:txBody>
              </p:sp>
              <p:sp>
                <p:nvSpPr>
                  <p:cNvPr id="608" name="Freeform 452"/>
                  <p:cNvSpPr>
                    <a:spLocks/>
                  </p:cNvSpPr>
                  <p:nvPr/>
                </p:nvSpPr>
                <p:spPr bwMode="auto">
                  <a:xfrm>
                    <a:off x="7934633" y="4142726"/>
                    <a:ext cx="172466" cy="178426"/>
                  </a:xfrm>
                  <a:custGeom>
                    <a:avLst/>
                    <a:gdLst>
                      <a:gd name="T0" fmla="*/ 2147483647 w 460"/>
                      <a:gd name="T1" fmla="*/ 2147483647 h 443"/>
                      <a:gd name="T2" fmla="*/ 2147483647 w 460"/>
                      <a:gd name="T3" fmla="*/ 2147483647 h 443"/>
                      <a:gd name="T4" fmla="*/ 2147483647 w 460"/>
                      <a:gd name="T5" fmla="*/ 2147483647 h 443"/>
                      <a:gd name="T6" fmla="*/ 2147483647 w 460"/>
                      <a:gd name="T7" fmla="*/ 2147483647 h 443"/>
                      <a:gd name="T8" fmla="*/ 2147483647 w 460"/>
                      <a:gd name="T9" fmla="*/ 2147483647 h 443"/>
                      <a:gd name="T10" fmla="*/ 2147483647 w 460"/>
                      <a:gd name="T11" fmla="*/ 2147483647 h 443"/>
                      <a:gd name="T12" fmla="*/ 0 w 460"/>
                      <a:gd name="T13" fmla="*/ 0 h 443"/>
                      <a:gd name="T14" fmla="*/ 0 w 460"/>
                      <a:gd name="T15" fmla="*/ 2147483647 h 443"/>
                      <a:gd name="T16" fmla="*/ 2147483647 w 460"/>
                      <a:gd name="T17" fmla="*/ 2147483647 h 443"/>
                      <a:gd name="T18" fmla="*/ 2147483647 w 460"/>
                      <a:gd name="T19" fmla="*/ 2147483647 h 443"/>
                      <a:gd name="T20" fmla="*/ 2147483647 w 460"/>
                      <a:gd name="T21" fmla="*/ 2147483647 h 443"/>
                      <a:gd name="T22" fmla="*/ 2147483647 w 460"/>
                      <a:gd name="T23" fmla="*/ 2147483647 h 443"/>
                      <a:gd name="T24" fmla="*/ 2147483647 w 460"/>
                      <a:gd name="T25" fmla="*/ 2147483647 h 443"/>
                      <a:gd name="T26" fmla="*/ 2147483647 w 460"/>
                      <a:gd name="T27" fmla="*/ 2147483647 h 443"/>
                      <a:gd name="T28" fmla="*/ 2147483647 w 460"/>
                      <a:gd name="T29" fmla="*/ 2147483647 h 443"/>
                      <a:gd name="T30" fmla="*/ 2147483647 w 460"/>
                      <a:gd name="T31" fmla="*/ 2147483647 h 443"/>
                      <a:gd name="T32" fmla="*/ 2147483647 w 460"/>
                      <a:gd name="T33" fmla="*/ 2147483647 h 4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0" h="443">
                        <a:moveTo>
                          <a:pt x="353" y="302"/>
                        </a:moveTo>
                        <a:lnTo>
                          <a:pt x="336" y="249"/>
                        </a:lnTo>
                        <a:lnTo>
                          <a:pt x="372" y="214"/>
                        </a:lnTo>
                        <a:lnTo>
                          <a:pt x="283" y="161"/>
                        </a:lnTo>
                        <a:lnTo>
                          <a:pt x="247" y="108"/>
                        </a:lnTo>
                        <a:lnTo>
                          <a:pt x="122" y="37"/>
                        </a:lnTo>
                        <a:lnTo>
                          <a:pt x="0" y="0"/>
                        </a:lnTo>
                        <a:lnTo>
                          <a:pt x="0" y="366"/>
                        </a:lnTo>
                        <a:lnTo>
                          <a:pt x="14" y="373"/>
                        </a:lnTo>
                        <a:lnTo>
                          <a:pt x="67" y="373"/>
                        </a:lnTo>
                        <a:lnTo>
                          <a:pt x="122" y="320"/>
                        </a:lnTo>
                        <a:lnTo>
                          <a:pt x="211" y="284"/>
                        </a:lnTo>
                        <a:lnTo>
                          <a:pt x="264" y="320"/>
                        </a:lnTo>
                        <a:lnTo>
                          <a:pt x="389" y="408"/>
                        </a:lnTo>
                        <a:lnTo>
                          <a:pt x="460" y="443"/>
                        </a:lnTo>
                        <a:lnTo>
                          <a:pt x="460" y="337"/>
                        </a:lnTo>
                        <a:lnTo>
                          <a:pt x="353" y="302"/>
                        </a:lnTo>
                        <a:close/>
                      </a:path>
                    </a:pathLst>
                  </a:custGeom>
                  <a:solidFill>
                    <a:srgbClr val="1F497D">
                      <a:lumMod val="40000"/>
                      <a:lumOff val="60000"/>
                    </a:srgbClr>
                  </a:solidFill>
                  <a:ln w="9525" cap="flat" cmpd="sng">
                    <a:solidFill>
                      <a:sysClr val="window" lastClr="FFFFFF">
                        <a:lumMod val="50000"/>
                      </a:sysClr>
                    </a:solidFill>
                    <a:prstDash val="solid"/>
                    <a:round/>
                    <a:headEnd type="none" w="med" len="med"/>
                    <a:tailEnd type="none" w="med" len="med"/>
                  </a:ln>
                  <a:effectLst/>
                </p:spPr>
                <p:txBody>
                  <a:bodyPr/>
                  <a:lstStyle/>
                  <a:p>
                    <a:pPr>
                      <a:defRPr/>
                    </a:pPr>
                    <a:endParaRPr lang="en-GB" kern="0">
                      <a:solidFill>
                        <a:prstClr val="black"/>
                      </a:solidFill>
                      <a:latin typeface="Calibri"/>
                    </a:endParaRPr>
                  </a:p>
                </p:txBody>
              </p:sp>
              <p:grpSp>
                <p:nvGrpSpPr>
                  <p:cNvPr id="609" name="Group 453"/>
                  <p:cNvGrpSpPr>
                    <a:grpSpLocks/>
                  </p:cNvGrpSpPr>
                  <p:nvPr/>
                </p:nvGrpSpPr>
                <p:grpSpPr bwMode="auto">
                  <a:xfrm>
                    <a:off x="4242276" y="2263406"/>
                    <a:ext cx="247726" cy="386870"/>
                    <a:chOff x="2201" y="1250"/>
                    <a:chExt cx="133" cy="193"/>
                  </a:xfrm>
                  <a:solidFill>
                    <a:srgbClr val="00FF00"/>
                  </a:solidFill>
                </p:grpSpPr>
                <p:sp>
                  <p:nvSpPr>
                    <p:cNvPr id="667" name="Freeform 454"/>
                    <p:cNvSpPr>
                      <a:spLocks/>
                    </p:cNvSpPr>
                    <p:nvPr/>
                  </p:nvSpPr>
                  <p:spPr bwMode="auto">
                    <a:xfrm>
                      <a:off x="2234" y="1250"/>
                      <a:ext cx="100" cy="193"/>
                    </a:xfrm>
                    <a:custGeom>
                      <a:avLst/>
                      <a:gdLst>
                        <a:gd name="T0" fmla="*/ 543767 w 24"/>
                        <a:gd name="T1" fmla="*/ 2833725 h 47"/>
                        <a:gd name="T2" fmla="*/ 371667 w 24"/>
                        <a:gd name="T3" fmla="*/ 2675083 h 47"/>
                        <a:gd name="T4" fmla="*/ 915658 w 24"/>
                        <a:gd name="T5" fmla="*/ 2344646 h 47"/>
                        <a:gd name="T6" fmla="*/ 826458 w 24"/>
                        <a:gd name="T7" fmla="*/ 2028208 h 47"/>
                        <a:gd name="T8" fmla="*/ 722154 w 24"/>
                        <a:gd name="T9" fmla="*/ 1773736 h 47"/>
                        <a:gd name="T10" fmla="*/ 282692 w 24"/>
                        <a:gd name="T11" fmla="*/ 1773736 h 47"/>
                        <a:gd name="T12" fmla="*/ 371667 w 24"/>
                        <a:gd name="T13" fmla="*/ 1299416 h 47"/>
                        <a:gd name="T14" fmla="*/ 89200 w 24"/>
                        <a:gd name="T15" fmla="*/ 1457232 h 47"/>
                        <a:gd name="T16" fmla="*/ 0 w 24"/>
                        <a:gd name="T17" fmla="*/ 1044943 h 47"/>
                        <a:gd name="T18" fmla="*/ 0 w 24"/>
                        <a:gd name="T19" fmla="*/ 651445 h 47"/>
                        <a:gd name="T20" fmla="*/ 89200 w 24"/>
                        <a:gd name="T21" fmla="*/ 316438 h 47"/>
                        <a:gd name="T22" fmla="*/ 460867 w 24"/>
                        <a:gd name="T23" fmla="*/ 0 h 47"/>
                        <a:gd name="T24" fmla="*/ 722154 w 24"/>
                        <a:gd name="T25" fmla="*/ 77060 h 47"/>
                        <a:gd name="T26" fmla="*/ 632950 w 24"/>
                        <a:gd name="T27" fmla="*/ 493916 h 47"/>
                        <a:gd name="T28" fmla="*/ 1177883 w 24"/>
                        <a:gd name="T29" fmla="*/ 493916 h 47"/>
                        <a:gd name="T30" fmla="*/ 1004638 w 24"/>
                        <a:gd name="T31" fmla="*/ 887418 h 47"/>
                        <a:gd name="T32" fmla="*/ 826458 w 24"/>
                        <a:gd name="T33" fmla="*/ 1222355 h 47"/>
                        <a:gd name="T34" fmla="*/ 1177883 w 24"/>
                        <a:gd name="T35" fmla="*/ 1376492 h 47"/>
                        <a:gd name="T36" fmla="*/ 1548613 w 24"/>
                        <a:gd name="T37" fmla="*/ 1951148 h 47"/>
                        <a:gd name="T38" fmla="*/ 1721929 w 24"/>
                        <a:gd name="T39" fmla="*/ 2344646 h 47"/>
                        <a:gd name="T40" fmla="*/ 1721929 w 24"/>
                        <a:gd name="T41" fmla="*/ 2579252 h 47"/>
                        <a:gd name="T42" fmla="*/ 2093613 w 24"/>
                        <a:gd name="T43" fmla="*/ 2579252 h 47"/>
                        <a:gd name="T44" fmla="*/ 2004342 w 24"/>
                        <a:gd name="T45" fmla="*/ 3150228 h 47"/>
                        <a:gd name="T46" fmla="*/ 2182796 w 24"/>
                        <a:gd name="T47" fmla="*/ 3227223 h 47"/>
                        <a:gd name="T48" fmla="*/ 1548613 w 24"/>
                        <a:gd name="T49" fmla="*/ 3485436 h 47"/>
                        <a:gd name="T50" fmla="*/ 1004638 w 24"/>
                        <a:gd name="T51" fmla="*/ 3562497 h 47"/>
                        <a:gd name="T52" fmla="*/ 722154 w 24"/>
                        <a:gd name="T53" fmla="*/ 3644078 h 47"/>
                        <a:gd name="T54" fmla="*/ 371667 w 24"/>
                        <a:gd name="T55" fmla="*/ 3644078 h 47"/>
                        <a:gd name="T56" fmla="*/ 89200 w 24"/>
                        <a:gd name="T57" fmla="*/ 3721139 h 47"/>
                        <a:gd name="T58" fmla="*/ 460867 w 24"/>
                        <a:gd name="T59" fmla="*/ 3384752 h 47"/>
                        <a:gd name="T60" fmla="*/ 543767 w 24"/>
                        <a:gd name="T61" fmla="*/ 3073151 h 47"/>
                        <a:gd name="T62" fmla="*/ 282692 w 24"/>
                        <a:gd name="T63" fmla="*/ 299152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68" name="Freeform 455"/>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solidFill>
                      <a:srgbClr val="FFC000"/>
                    </a:solidFill>
                    <a:ln w="9525" cap="flat" cmpd="sng">
                      <a:solidFill>
                        <a:sysClr val="window" lastClr="FFFFFF">
                          <a:lumMod val="50000"/>
                        </a:sys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kern="0">
                        <a:solidFill>
                          <a:prstClr val="black"/>
                        </a:solidFill>
                        <a:latin typeface="Calibri"/>
                      </a:endParaRPr>
                    </a:p>
                  </p:txBody>
                </p:sp>
              </p:grpSp>
              <p:sp>
                <p:nvSpPr>
                  <p:cNvPr id="610" name="Freeform 458"/>
                  <p:cNvSpPr>
                    <a:spLocks/>
                  </p:cNvSpPr>
                  <p:nvPr/>
                </p:nvSpPr>
                <p:spPr bwMode="auto">
                  <a:xfrm>
                    <a:off x="5212793" y="3155542"/>
                    <a:ext cx="72123" cy="46692"/>
                  </a:xfrm>
                  <a:custGeom>
                    <a:avLst/>
                    <a:gdLst>
                      <a:gd name="T0" fmla="*/ 0 w 46"/>
                      <a:gd name="T1" fmla="*/ 2147483647 h 28"/>
                      <a:gd name="T2" fmla="*/ 2147483647 w 46"/>
                      <a:gd name="T3" fmla="*/ 2147483647 h 28"/>
                      <a:gd name="T4" fmla="*/ 2147483647 w 46"/>
                      <a:gd name="T5" fmla="*/ 2147483647 h 28"/>
                      <a:gd name="T6" fmla="*/ 2147483647 w 46"/>
                      <a:gd name="T7" fmla="*/ 2147483647 h 28"/>
                      <a:gd name="T8" fmla="*/ 2147483647 w 46"/>
                      <a:gd name="T9" fmla="*/ 2147483647 h 28"/>
                      <a:gd name="T10" fmla="*/ 2147483647 w 46"/>
                      <a:gd name="T11" fmla="*/ 0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0 w 46"/>
                      <a:gd name="T29" fmla="*/ 2147483647 h 2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28">
                        <a:moveTo>
                          <a:pt x="0" y="15"/>
                        </a:moveTo>
                        <a:lnTo>
                          <a:pt x="3" y="17"/>
                        </a:lnTo>
                        <a:lnTo>
                          <a:pt x="12" y="14"/>
                        </a:lnTo>
                        <a:lnTo>
                          <a:pt x="13" y="8"/>
                        </a:lnTo>
                        <a:lnTo>
                          <a:pt x="27" y="9"/>
                        </a:lnTo>
                        <a:lnTo>
                          <a:pt x="46" y="0"/>
                        </a:lnTo>
                        <a:lnTo>
                          <a:pt x="46" y="1"/>
                        </a:lnTo>
                        <a:lnTo>
                          <a:pt x="33" y="11"/>
                        </a:lnTo>
                        <a:lnTo>
                          <a:pt x="36" y="18"/>
                        </a:lnTo>
                        <a:lnTo>
                          <a:pt x="27" y="21"/>
                        </a:lnTo>
                        <a:lnTo>
                          <a:pt x="15" y="28"/>
                        </a:lnTo>
                        <a:lnTo>
                          <a:pt x="13" y="28"/>
                        </a:lnTo>
                        <a:lnTo>
                          <a:pt x="8" y="26"/>
                        </a:lnTo>
                        <a:lnTo>
                          <a:pt x="2" y="23"/>
                        </a:lnTo>
                        <a:lnTo>
                          <a:pt x="0" y="15"/>
                        </a:lnTo>
                        <a:close/>
                      </a:path>
                    </a:pathLst>
                  </a:custGeom>
                  <a:solidFill>
                    <a:srgbClr val="FFC000"/>
                  </a:solidFill>
                  <a:ln w="9525" cap="flat" cmpd="sng">
                    <a:solidFill>
                      <a:sysClr val="window" lastClr="FFFFFF">
                        <a:lumMod val="50000"/>
                      </a:sysClr>
                    </a:solidFill>
                    <a:prstDash val="solid"/>
                    <a:round/>
                    <a:headEnd type="none" w="med" len="med"/>
                    <a:tailEnd type="none" w="med" len="med"/>
                  </a:ln>
                  <a:effectLst/>
                </p:spPr>
                <p:txBody>
                  <a:bodyPr/>
                  <a:lstStyle/>
                  <a:p>
                    <a:pPr>
                      <a:defRPr/>
                    </a:pPr>
                    <a:endParaRPr lang="en-GB" kern="0">
                      <a:solidFill>
                        <a:prstClr val="black"/>
                      </a:solidFill>
                      <a:latin typeface="Calibri"/>
                    </a:endParaRPr>
                  </a:p>
                </p:txBody>
              </p:sp>
              <p:sp>
                <p:nvSpPr>
                  <p:cNvPr id="611" name="Freeform 507"/>
                  <p:cNvSpPr>
                    <a:spLocks/>
                  </p:cNvSpPr>
                  <p:nvPr/>
                </p:nvSpPr>
                <p:spPr bwMode="auto">
                  <a:xfrm>
                    <a:off x="6266408" y="2510202"/>
                    <a:ext cx="1489486" cy="1100577"/>
                  </a:xfrm>
                  <a:custGeom>
                    <a:avLst/>
                    <a:gdLst>
                      <a:gd name="T0" fmla="*/ 2147483647 w 950"/>
                      <a:gd name="T1" fmla="*/ 2147483647 h 660"/>
                      <a:gd name="T2" fmla="*/ 2147483647 w 950"/>
                      <a:gd name="T3" fmla="*/ 2147483647 h 660"/>
                      <a:gd name="T4" fmla="*/ 2147483647 w 950"/>
                      <a:gd name="T5" fmla="*/ 2147483647 h 660"/>
                      <a:gd name="T6" fmla="*/ 2147483647 w 950"/>
                      <a:gd name="T7" fmla="*/ 2147483647 h 660"/>
                      <a:gd name="T8" fmla="*/ 2147483647 w 950"/>
                      <a:gd name="T9" fmla="*/ 2147483647 h 660"/>
                      <a:gd name="T10" fmla="*/ 2147483647 w 950"/>
                      <a:gd name="T11" fmla="*/ 2147483647 h 660"/>
                      <a:gd name="T12" fmla="*/ 2147483647 w 950"/>
                      <a:gd name="T13" fmla="*/ 2147483647 h 660"/>
                      <a:gd name="T14" fmla="*/ 2147483647 w 950"/>
                      <a:gd name="T15" fmla="*/ 2147483647 h 660"/>
                      <a:gd name="T16" fmla="*/ 2147483647 w 950"/>
                      <a:gd name="T17" fmla="*/ 2147483647 h 660"/>
                      <a:gd name="T18" fmla="*/ 2147483647 w 950"/>
                      <a:gd name="T19" fmla="*/ 2147483647 h 660"/>
                      <a:gd name="T20" fmla="*/ 2147483647 w 950"/>
                      <a:gd name="T21" fmla="*/ 2147483647 h 660"/>
                      <a:gd name="T22" fmla="*/ 2147483647 w 950"/>
                      <a:gd name="T23" fmla="*/ 2147483647 h 660"/>
                      <a:gd name="T24" fmla="*/ 2147483647 w 950"/>
                      <a:gd name="T25" fmla="*/ 2147483647 h 660"/>
                      <a:gd name="T26" fmla="*/ 2147483647 w 950"/>
                      <a:gd name="T27" fmla="*/ 2147483647 h 660"/>
                      <a:gd name="T28" fmla="*/ 2147483647 w 950"/>
                      <a:gd name="T29" fmla="*/ 2147483647 h 660"/>
                      <a:gd name="T30" fmla="*/ 2147483647 w 950"/>
                      <a:gd name="T31" fmla="*/ 2147483647 h 660"/>
                      <a:gd name="T32" fmla="*/ 2147483647 w 950"/>
                      <a:gd name="T33" fmla="*/ 2147483647 h 660"/>
                      <a:gd name="T34" fmla="*/ 2147483647 w 950"/>
                      <a:gd name="T35" fmla="*/ 2147483647 h 660"/>
                      <a:gd name="T36" fmla="*/ 2147483647 w 950"/>
                      <a:gd name="T37" fmla="*/ 2147483647 h 660"/>
                      <a:gd name="T38" fmla="*/ 2147483647 w 950"/>
                      <a:gd name="T39" fmla="*/ 2147483647 h 660"/>
                      <a:gd name="T40" fmla="*/ 2147483647 w 950"/>
                      <a:gd name="T41" fmla="*/ 2147483647 h 660"/>
                      <a:gd name="T42" fmla="*/ 2147483647 w 950"/>
                      <a:gd name="T43" fmla="*/ 2147483647 h 660"/>
                      <a:gd name="T44" fmla="*/ 2147483647 w 950"/>
                      <a:gd name="T45" fmla="*/ 2147483647 h 660"/>
                      <a:gd name="T46" fmla="*/ 2147483647 w 950"/>
                      <a:gd name="T47" fmla="*/ 2147483647 h 660"/>
                      <a:gd name="T48" fmla="*/ 2147483647 w 950"/>
                      <a:gd name="T49" fmla="*/ 2147483647 h 660"/>
                      <a:gd name="T50" fmla="*/ 2147483647 w 950"/>
                      <a:gd name="T51" fmla="*/ 2147483647 h 660"/>
                      <a:gd name="T52" fmla="*/ 2147483647 w 950"/>
                      <a:gd name="T53" fmla="*/ 2147483647 h 660"/>
                      <a:gd name="T54" fmla="*/ 2147483647 w 950"/>
                      <a:gd name="T55" fmla="*/ 2147483647 h 660"/>
                      <a:gd name="T56" fmla="*/ 2147483647 w 950"/>
                      <a:gd name="T57" fmla="*/ 2147483647 h 660"/>
                      <a:gd name="T58" fmla="*/ 2147483647 w 950"/>
                      <a:gd name="T59" fmla="*/ 2147483647 h 660"/>
                      <a:gd name="T60" fmla="*/ 2147483647 w 950"/>
                      <a:gd name="T61" fmla="*/ 2147483647 h 660"/>
                      <a:gd name="T62" fmla="*/ 2147483647 w 950"/>
                      <a:gd name="T63" fmla="*/ 2147483647 h 660"/>
                      <a:gd name="T64" fmla="*/ 2147483647 w 950"/>
                      <a:gd name="T65" fmla="*/ 2147483647 h 660"/>
                      <a:gd name="T66" fmla="*/ 2147483647 w 950"/>
                      <a:gd name="T67" fmla="*/ 2147483647 h 660"/>
                      <a:gd name="T68" fmla="*/ 2147483647 w 950"/>
                      <a:gd name="T69" fmla="*/ 2147483647 h 660"/>
                      <a:gd name="T70" fmla="*/ 2147483647 w 950"/>
                      <a:gd name="T71" fmla="*/ 2147483647 h 660"/>
                      <a:gd name="T72" fmla="*/ 2147483647 w 950"/>
                      <a:gd name="T73" fmla="*/ 2147483647 h 660"/>
                      <a:gd name="T74" fmla="*/ 2147483647 w 950"/>
                      <a:gd name="T75" fmla="*/ 2147483647 h 660"/>
                      <a:gd name="T76" fmla="*/ 2147483647 w 950"/>
                      <a:gd name="T77" fmla="*/ 2147483647 h 660"/>
                      <a:gd name="T78" fmla="*/ 2147483647 w 950"/>
                      <a:gd name="T79" fmla="*/ 2147483647 h 660"/>
                      <a:gd name="T80" fmla="*/ 2147483647 w 950"/>
                      <a:gd name="T81" fmla="*/ 2147483647 h 660"/>
                      <a:gd name="T82" fmla="*/ 2147483647 w 950"/>
                      <a:gd name="T83" fmla="*/ 2147483647 h 660"/>
                      <a:gd name="T84" fmla="*/ 2147483647 w 950"/>
                      <a:gd name="T85" fmla="*/ 2147483647 h 660"/>
                      <a:gd name="T86" fmla="*/ 2147483647 w 950"/>
                      <a:gd name="T87" fmla="*/ 2147483647 h 660"/>
                      <a:gd name="T88" fmla="*/ 2147483647 w 950"/>
                      <a:gd name="T89" fmla="*/ 2147483647 h 660"/>
                      <a:gd name="T90" fmla="*/ 2147483647 w 950"/>
                      <a:gd name="T91" fmla="*/ 2147483647 h 660"/>
                      <a:gd name="T92" fmla="*/ 2147483647 w 950"/>
                      <a:gd name="T93" fmla="*/ 2147483647 h 660"/>
                      <a:gd name="T94" fmla="*/ 2147483647 w 950"/>
                      <a:gd name="T95" fmla="*/ 2147483647 h 660"/>
                      <a:gd name="T96" fmla="*/ 2147483647 w 950"/>
                      <a:gd name="T97" fmla="*/ 2147483647 h 660"/>
                      <a:gd name="T98" fmla="*/ 2147483647 w 950"/>
                      <a:gd name="T99" fmla="*/ 2147483647 h 660"/>
                      <a:gd name="T100" fmla="*/ 2147483647 w 950"/>
                      <a:gd name="T101" fmla="*/ 2147483647 h 660"/>
                      <a:gd name="T102" fmla="*/ 2147483647 w 950"/>
                      <a:gd name="T103" fmla="*/ 2147483647 h 660"/>
                      <a:gd name="T104" fmla="*/ 2147483647 w 950"/>
                      <a:gd name="T105" fmla="*/ 2147483647 h 660"/>
                      <a:gd name="T106" fmla="*/ 2147483647 w 950"/>
                      <a:gd name="T107" fmla="*/ 2147483647 h 660"/>
                      <a:gd name="T108" fmla="*/ 2147483647 w 950"/>
                      <a:gd name="T109" fmla="*/ 2147483647 h 660"/>
                      <a:gd name="T110" fmla="*/ 2147483647 w 950"/>
                      <a:gd name="T111" fmla="*/ 2147483647 h 660"/>
                      <a:gd name="T112" fmla="*/ 2147483647 w 950"/>
                      <a:gd name="T113" fmla="*/ 2147483647 h 660"/>
                      <a:gd name="T114" fmla="*/ 2147483647 w 950"/>
                      <a:gd name="T115" fmla="*/ 2147483647 h 660"/>
                      <a:gd name="T116" fmla="*/ 2147483647 w 950"/>
                      <a:gd name="T117" fmla="*/ 2147483647 h 660"/>
                      <a:gd name="T118" fmla="*/ 2147483647 w 950"/>
                      <a:gd name="T119" fmla="*/ 2147483647 h 660"/>
                      <a:gd name="T120" fmla="*/ 2147483647 w 950"/>
                      <a:gd name="T121" fmla="*/ 2147483647 h 6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50" h="660">
                        <a:moveTo>
                          <a:pt x="890" y="118"/>
                        </a:moveTo>
                        <a:lnTo>
                          <a:pt x="890" y="118"/>
                        </a:lnTo>
                        <a:lnTo>
                          <a:pt x="880" y="98"/>
                        </a:lnTo>
                        <a:lnTo>
                          <a:pt x="840" y="88"/>
                        </a:lnTo>
                        <a:lnTo>
                          <a:pt x="792" y="0"/>
                        </a:lnTo>
                        <a:lnTo>
                          <a:pt x="746" y="0"/>
                        </a:lnTo>
                        <a:lnTo>
                          <a:pt x="732" y="24"/>
                        </a:lnTo>
                        <a:lnTo>
                          <a:pt x="702" y="78"/>
                        </a:lnTo>
                        <a:lnTo>
                          <a:pt x="672" y="78"/>
                        </a:lnTo>
                        <a:lnTo>
                          <a:pt x="668" y="88"/>
                        </a:lnTo>
                        <a:lnTo>
                          <a:pt x="668" y="90"/>
                        </a:lnTo>
                        <a:lnTo>
                          <a:pt x="670" y="90"/>
                        </a:lnTo>
                        <a:lnTo>
                          <a:pt x="672" y="90"/>
                        </a:lnTo>
                        <a:lnTo>
                          <a:pt x="672" y="92"/>
                        </a:lnTo>
                        <a:lnTo>
                          <a:pt x="674" y="92"/>
                        </a:lnTo>
                        <a:lnTo>
                          <a:pt x="676" y="92"/>
                        </a:lnTo>
                        <a:lnTo>
                          <a:pt x="676" y="94"/>
                        </a:lnTo>
                        <a:lnTo>
                          <a:pt x="678" y="94"/>
                        </a:lnTo>
                        <a:lnTo>
                          <a:pt x="676" y="94"/>
                        </a:lnTo>
                        <a:lnTo>
                          <a:pt x="676" y="92"/>
                        </a:lnTo>
                        <a:lnTo>
                          <a:pt x="674" y="92"/>
                        </a:lnTo>
                        <a:lnTo>
                          <a:pt x="672" y="92"/>
                        </a:lnTo>
                        <a:lnTo>
                          <a:pt x="672" y="90"/>
                        </a:lnTo>
                        <a:lnTo>
                          <a:pt x="670" y="90"/>
                        </a:lnTo>
                        <a:lnTo>
                          <a:pt x="668" y="90"/>
                        </a:lnTo>
                        <a:lnTo>
                          <a:pt x="668" y="88"/>
                        </a:lnTo>
                        <a:lnTo>
                          <a:pt x="658" y="108"/>
                        </a:lnTo>
                        <a:lnTo>
                          <a:pt x="658" y="132"/>
                        </a:lnTo>
                        <a:lnTo>
                          <a:pt x="702" y="138"/>
                        </a:lnTo>
                        <a:lnTo>
                          <a:pt x="712" y="158"/>
                        </a:lnTo>
                        <a:lnTo>
                          <a:pt x="668" y="172"/>
                        </a:lnTo>
                        <a:lnTo>
                          <a:pt x="632" y="188"/>
                        </a:lnTo>
                        <a:lnTo>
                          <a:pt x="598" y="202"/>
                        </a:lnTo>
                        <a:lnTo>
                          <a:pt x="588" y="236"/>
                        </a:lnTo>
                        <a:lnTo>
                          <a:pt x="534" y="242"/>
                        </a:lnTo>
                        <a:lnTo>
                          <a:pt x="480" y="276"/>
                        </a:lnTo>
                        <a:lnTo>
                          <a:pt x="430" y="252"/>
                        </a:lnTo>
                        <a:lnTo>
                          <a:pt x="370" y="246"/>
                        </a:lnTo>
                        <a:lnTo>
                          <a:pt x="326" y="202"/>
                        </a:lnTo>
                        <a:lnTo>
                          <a:pt x="262" y="182"/>
                        </a:lnTo>
                        <a:lnTo>
                          <a:pt x="256" y="132"/>
                        </a:lnTo>
                        <a:lnTo>
                          <a:pt x="226" y="118"/>
                        </a:lnTo>
                        <a:lnTo>
                          <a:pt x="222" y="114"/>
                        </a:lnTo>
                        <a:lnTo>
                          <a:pt x="220" y="116"/>
                        </a:lnTo>
                        <a:lnTo>
                          <a:pt x="218" y="120"/>
                        </a:lnTo>
                        <a:lnTo>
                          <a:pt x="218" y="122"/>
                        </a:lnTo>
                        <a:lnTo>
                          <a:pt x="218" y="124"/>
                        </a:lnTo>
                        <a:lnTo>
                          <a:pt x="218" y="122"/>
                        </a:lnTo>
                        <a:lnTo>
                          <a:pt x="218" y="120"/>
                        </a:lnTo>
                        <a:lnTo>
                          <a:pt x="222" y="114"/>
                        </a:lnTo>
                        <a:lnTo>
                          <a:pt x="218" y="108"/>
                        </a:lnTo>
                        <a:lnTo>
                          <a:pt x="208" y="114"/>
                        </a:lnTo>
                        <a:lnTo>
                          <a:pt x="208" y="124"/>
                        </a:lnTo>
                        <a:lnTo>
                          <a:pt x="208" y="114"/>
                        </a:lnTo>
                        <a:lnTo>
                          <a:pt x="192" y="118"/>
                        </a:lnTo>
                        <a:lnTo>
                          <a:pt x="182" y="148"/>
                        </a:lnTo>
                        <a:lnTo>
                          <a:pt x="142" y="142"/>
                        </a:lnTo>
                        <a:lnTo>
                          <a:pt x="132" y="192"/>
                        </a:lnTo>
                        <a:lnTo>
                          <a:pt x="98" y="198"/>
                        </a:lnTo>
                        <a:lnTo>
                          <a:pt x="88" y="256"/>
                        </a:lnTo>
                        <a:lnTo>
                          <a:pt x="68" y="276"/>
                        </a:lnTo>
                        <a:lnTo>
                          <a:pt x="44" y="296"/>
                        </a:lnTo>
                        <a:lnTo>
                          <a:pt x="4" y="306"/>
                        </a:lnTo>
                        <a:lnTo>
                          <a:pt x="0" y="326"/>
                        </a:lnTo>
                        <a:lnTo>
                          <a:pt x="10" y="334"/>
                        </a:lnTo>
                        <a:lnTo>
                          <a:pt x="14" y="350"/>
                        </a:lnTo>
                        <a:lnTo>
                          <a:pt x="4" y="354"/>
                        </a:lnTo>
                        <a:lnTo>
                          <a:pt x="14" y="364"/>
                        </a:lnTo>
                        <a:lnTo>
                          <a:pt x="30" y="370"/>
                        </a:lnTo>
                        <a:lnTo>
                          <a:pt x="44" y="390"/>
                        </a:lnTo>
                        <a:lnTo>
                          <a:pt x="64" y="390"/>
                        </a:lnTo>
                        <a:lnTo>
                          <a:pt x="94" y="390"/>
                        </a:lnTo>
                        <a:lnTo>
                          <a:pt x="98" y="398"/>
                        </a:lnTo>
                        <a:lnTo>
                          <a:pt x="78" y="428"/>
                        </a:lnTo>
                        <a:lnTo>
                          <a:pt x="84" y="444"/>
                        </a:lnTo>
                        <a:lnTo>
                          <a:pt x="74" y="458"/>
                        </a:lnTo>
                        <a:lnTo>
                          <a:pt x="84" y="478"/>
                        </a:lnTo>
                        <a:lnTo>
                          <a:pt x="108" y="488"/>
                        </a:lnTo>
                        <a:lnTo>
                          <a:pt x="104" y="492"/>
                        </a:lnTo>
                        <a:lnTo>
                          <a:pt x="114" y="492"/>
                        </a:lnTo>
                        <a:lnTo>
                          <a:pt x="148" y="508"/>
                        </a:lnTo>
                        <a:lnTo>
                          <a:pt x="178" y="522"/>
                        </a:lnTo>
                        <a:lnTo>
                          <a:pt x="208" y="528"/>
                        </a:lnTo>
                        <a:lnTo>
                          <a:pt x="218" y="536"/>
                        </a:lnTo>
                        <a:lnTo>
                          <a:pt x="226" y="536"/>
                        </a:lnTo>
                        <a:lnTo>
                          <a:pt x="242" y="546"/>
                        </a:lnTo>
                        <a:lnTo>
                          <a:pt x="262" y="546"/>
                        </a:lnTo>
                        <a:lnTo>
                          <a:pt x="282" y="546"/>
                        </a:lnTo>
                        <a:lnTo>
                          <a:pt x="296" y="528"/>
                        </a:lnTo>
                        <a:lnTo>
                          <a:pt x="316" y="512"/>
                        </a:lnTo>
                        <a:lnTo>
                          <a:pt x="340" y="512"/>
                        </a:lnTo>
                        <a:lnTo>
                          <a:pt x="360" y="528"/>
                        </a:lnTo>
                        <a:lnTo>
                          <a:pt x="370" y="528"/>
                        </a:lnTo>
                        <a:lnTo>
                          <a:pt x="380" y="532"/>
                        </a:lnTo>
                        <a:lnTo>
                          <a:pt x="386" y="556"/>
                        </a:lnTo>
                        <a:lnTo>
                          <a:pt x="376" y="586"/>
                        </a:lnTo>
                        <a:lnTo>
                          <a:pt x="376" y="596"/>
                        </a:lnTo>
                        <a:lnTo>
                          <a:pt x="390" y="600"/>
                        </a:lnTo>
                        <a:lnTo>
                          <a:pt x="400" y="616"/>
                        </a:lnTo>
                        <a:lnTo>
                          <a:pt x="400" y="626"/>
                        </a:lnTo>
                        <a:lnTo>
                          <a:pt x="424" y="636"/>
                        </a:lnTo>
                        <a:lnTo>
                          <a:pt x="420" y="640"/>
                        </a:lnTo>
                        <a:lnTo>
                          <a:pt x="444" y="636"/>
                        </a:lnTo>
                        <a:lnTo>
                          <a:pt x="450" y="616"/>
                        </a:lnTo>
                        <a:lnTo>
                          <a:pt x="500" y="616"/>
                        </a:lnTo>
                        <a:lnTo>
                          <a:pt x="518" y="630"/>
                        </a:lnTo>
                        <a:lnTo>
                          <a:pt x="524" y="646"/>
                        </a:lnTo>
                        <a:lnTo>
                          <a:pt x="534" y="640"/>
                        </a:lnTo>
                        <a:lnTo>
                          <a:pt x="568" y="660"/>
                        </a:lnTo>
                        <a:lnTo>
                          <a:pt x="568" y="646"/>
                        </a:lnTo>
                        <a:lnTo>
                          <a:pt x="608" y="630"/>
                        </a:lnTo>
                        <a:lnTo>
                          <a:pt x="612" y="626"/>
                        </a:lnTo>
                        <a:lnTo>
                          <a:pt x="622" y="620"/>
                        </a:lnTo>
                        <a:lnTo>
                          <a:pt x="632" y="626"/>
                        </a:lnTo>
                        <a:lnTo>
                          <a:pt x="652" y="616"/>
                        </a:lnTo>
                        <a:lnTo>
                          <a:pt x="678" y="600"/>
                        </a:lnTo>
                        <a:lnTo>
                          <a:pt x="702" y="582"/>
                        </a:lnTo>
                        <a:lnTo>
                          <a:pt x="712" y="562"/>
                        </a:lnTo>
                        <a:lnTo>
                          <a:pt x="726" y="542"/>
                        </a:lnTo>
                        <a:lnTo>
                          <a:pt x="742" y="512"/>
                        </a:lnTo>
                        <a:lnTo>
                          <a:pt x="742" y="498"/>
                        </a:lnTo>
                        <a:lnTo>
                          <a:pt x="736" y="488"/>
                        </a:lnTo>
                        <a:lnTo>
                          <a:pt x="742" y="472"/>
                        </a:lnTo>
                        <a:lnTo>
                          <a:pt x="736" y="454"/>
                        </a:lnTo>
                        <a:lnTo>
                          <a:pt x="712" y="404"/>
                        </a:lnTo>
                        <a:lnTo>
                          <a:pt x="716" y="398"/>
                        </a:lnTo>
                        <a:lnTo>
                          <a:pt x="736" y="374"/>
                        </a:lnTo>
                        <a:lnTo>
                          <a:pt x="752" y="370"/>
                        </a:lnTo>
                        <a:lnTo>
                          <a:pt x="754" y="368"/>
                        </a:lnTo>
                        <a:lnTo>
                          <a:pt x="754" y="364"/>
                        </a:lnTo>
                        <a:lnTo>
                          <a:pt x="752" y="360"/>
                        </a:lnTo>
                        <a:lnTo>
                          <a:pt x="726" y="354"/>
                        </a:lnTo>
                        <a:lnTo>
                          <a:pt x="712" y="360"/>
                        </a:lnTo>
                        <a:lnTo>
                          <a:pt x="702" y="354"/>
                        </a:lnTo>
                        <a:lnTo>
                          <a:pt x="692" y="340"/>
                        </a:lnTo>
                        <a:lnTo>
                          <a:pt x="682" y="330"/>
                        </a:lnTo>
                        <a:lnTo>
                          <a:pt x="706" y="320"/>
                        </a:lnTo>
                        <a:lnTo>
                          <a:pt x="722" y="306"/>
                        </a:lnTo>
                        <a:lnTo>
                          <a:pt x="746" y="290"/>
                        </a:lnTo>
                        <a:lnTo>
                          <a:pt x="756" y="290"/>
                        </a:lnTo>
                        <a:lnTo>
                          <a:pt x="742" y="310"/>
                        </a:lnTo>
                        <a:lnTo>
                          <a:pt x="752" y="320"/>
                        </a:lnTo>
                        <a:lnTo>
                          <a:pt x="762" y="316"/>
                        </a:lnTo>
                        <a:lnTo>
                          <a:pt x="786" y="306"/>
                        </a:lnTo>
                        <a:lnTo>
                          <a:pt x="792" y="284"/>
                        </a:lnTo>
                        <a:lnTo>
                          <a:pt x="806" y="272"/>
                        </a:lnTo>
                        <a:lnTo>
                          <a:pt x="820" y="282"/>
                        </a:lnTo>
                        <a:lnTo>
                          <a:pt x="818" y="262"/>
                        </a:lnTo>
                        <a:lnTo>
                          <a:pt x="838" y="250"/>
                        </a:lnTo>
                        <a:lnTo>
                          <a:pt x="864" y="254"/>
                        </a:lnTo>
                        <a:lnTo>
                          <a:pt x="876" y="246"/>
                        </a:lnTo>
                        <a:lnTo>
                          <a:pt x="890" y="252"/>
                        </a:lnTo>
                        <a:lnTo>
                          <a:pt x="900" y="198"/>
                        </a:lnTo>
                        <a:lnTo>
                          <a:pt x="924" y="192"/>
                        </a:lnTo>
                        <a:lnTo>
                          <a:pt x="950" y="118"/>
                        </a:lnTo>
                        <a:lnTo>
                          <a:pt x="890" y="118"/>
                        </a:lnTo>
                        <a:close/>
                      </a:path>
                    </a:pathLst>
                  </a:custGeom>
                  <a:noFill/>
                  <a:ln w="9525" cap="flat" cmpd="sng">
                    <a:solidFill>
                      <a:sysClr val="window" lastClr="FFFFFF">
                        <a:lumMod val="50000"/>
                      </a:sysClr>
                    </a:solidFill>
                    <a:prstDash val="solid"/>
                    <a:round/>
                    <a:headEnd type="none" w="med" len="med"/>
                    <a:tailEnd type="none" w="med" len="med"/>
                  </a:ln>
                  <a:effectLst/>
                </p:spPr>
                <p:txBody>
                  <a:bodyPr/>
                  <a:lstStyle/>
                  <a:p>
                    <a:pPr>
                      <a:defRPr/>
                    </a:pPr>
                    <a:endParaRPr lang="en-GB" kern="0">
                      <a:solidFill>
                        <a:prstClr val="black"/>
                      </a:solidFill>
                      <a:latin typeface="Calibri"/>
                    </a:endParaRPr>
                  </a:p>
                </p:txBody>
              </p:sp>
              <p:sp>
                <p:nvSpPr>
                  <p:cNvPr id="612" name="Freeform 260"/>
                  <p:cNvSpPr>
                    <a:spLocks/>
                  </p:cNvSpPr>
                  <p:nvPr/>
                </p:nvSpPr>
                <p:spPr bwMode="auto">
                  <a:xfrm>
                    <a:off x="6310309" y="4157734"/>
                    <a:ext cx="56443" cy="71705"/>
                  </a:xfrm>
                  <a:custGeom>
                    <a:avLst/>
                    <a:gdLst>
                      <a:gd name="T0" fmla="*/ 2147483647 w 42"/>
                      <a:gd name="T1" fmla="*/ 0 h 54"/>
                      <a:gd name="T2" fmla="*/ 0 w 42"/>
                      <a:gd name="T3" fmla="*/ 2147483647 h 54"/>
                      <a:gd name="T4" fmla="*/ 2147483647 w 42"/>
                      <a:gd name="T5" fmla="*/ 2147483647 h 54"/>
                      <a:gd name="T6" fmla="*/ 2147483647 w 42"/>
                      <a:gd name="T7" fmla="*/ 2147483647 h 54"/>
                      <a:gd name="T8" fmla="*/ 2147483647 w 42"/>
                      <a:gd name="T9" fmla="*/ 2147483647 h 54"/>
                      <a:gd name="T10" fmla="*/ 2147483647 w 42"/>
                      <a:gd name="T11" fmla="*/ 0 h 5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2" h="54">
                        <a:moveTo>
                          <a:pt x="6" y="0"/>
                        </a:moveTo>
                        <a:lnTo>
                          <a:pt x="0" y="24"/>
                        </a:lnTo>
                        <a:lnTo>
                          <a:pt x="6" y="54"/>
                        </a:lnTo>
                        <a:lnTo>
                          <a:pt x="30" y="54"/>
                        </a:lnTo>
                        <a:lnTo>
                          <a:pt x="42" y="30"/>
                        </a:lnTo>
                        <a:lnTo>
                          <a:pt x="6"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13" name="Freeform 261"/>
                  <p:cNvSpPr>
                    <a:spLocks/>
                  </p:cNvSpPr>
                  <p:nvPr/>
                </p:nvSpPr>
                <p:spPr bwMode="auto">
                  <a:xfrm>
                    <a:off x="7119335" y="3610779"/>
                    <a:ext cx="53309" cy="56697"/>
                  </a:xfrm>
                  <a:custGeom>
                    <a:avLst/>
                    <a:gdLst>
                      <a:gd name="T0" fmla="*/ 0 w 42"/>
                      <a:gd name="T1" fmla="*/ 2147483647 h 42"/>
                      <a:gd name="T2" fmla="*/ 2147483647 w 42"/>
                      <a:gd name="T3" fmla="*/ 2147483647 h 42"/>
                      <a:gd name="T4" fmla="*/ 2147483647 w 42"/>
                      <a:gd name="T5" fmla="*/ 0 h 42"/>
                      <a:gd name="T6" fmla="*/ 2147483647 w 42"/>
                      <a:gd name="T7" fmla="*/ 2147483647 h 42"/>
                      <a:gd name="T8" fmla="*/ 2147483647 w 42"/>
                      <a:gd name="T9" fmla="*/ 2147483647 h 42"/>
                      <a:gd name="T10" fmla="*/ 2147483647 w 42"/>
                      <a:gd name="T11" fmla="*/ 2147483647 h 42"/>
                      <a:gd name="T12" fmla="*/ 0 w 42"/>
                      <a:gd name="T13" fmla="*/ 2147483647 h 4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2" h="42">
                        <a:moveTo>
                          <a:pt x="0" y="30"/>
                        </a:moveTo>
                        <a:lnTo>
                          <a:pt x="12" y="12"/>
                        </a:lnTo>
                        <a:lnTo>
                          <a:pt x="30" y="0"/>
                        </a:lnTo>
                        <a:lnTo>
                          <a:pt x="42" y="12"/>
                        </a:lnTo>
                        <a:lnTo>
                          <a:pt x="30" y="30"/>
                        </a:lnTo>
                        <a:lnTo>
                          <a:pt x="12" y="42"/>
                        </a:lnTo>
                        <a:lnTo>
                          <a:pt x="0" y="3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14" name="Freeform 262"/>
                  <p:cNvSpPr>
                    <a:spLocks/>
                  </p:cNvSpPr>
                  <p:nvPr/>
                </p:nvSpPr>
                <p:spPr bwMode="auto">
                  <a:xfrm>
                    <a:off x="7406257" y="3470707"/>
                    <a:ext cx="31358" cy="98385"/>
                  </a:xfrm>
                  <a:custGeom>
                    <a:avLst/>
                    <a:gdLst>
                      <a:gd name="T0" fmla="*/ 0 w 24"/>
                      <a:gd name="T1" fmla="*/ 2147483647 h 72"/>
                      <a:gd name="T2" fmla="*/ 0 w 24"/>
                      <a:gd name="T3" fmla="*/ 2147483647 h 72"/>
                      <a:gd name="T4" fmla="*/ 2147483647 w 24"/>
                      <a:gd name="T5" fmla="*/ 0 h 72"/>
                      <a:gd name="T6" fmla="*/ 2147483647 w 24"/>
                      <a:gd name="T7" fmla="*/ 2147483647 h 72"/>
                      <a:gd name="T8" fmla="*/ 2147483647 w 24"/>
                      <a:gd name="T9" fmla="*/ 2147483647 h 72"/>
                      <a:gd name="T10" fmla="*/ 0 w 24"/>
                      <a:gd name="T11" fmla="*/ 2147483647 h 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72">
                        <a:moveTo>
                          <a:pt x="0" y="42"/>
                        </a:moveTo>
                        <a:lnTo>
                          <a:pt x="0" y="18"/>
                        </a:lnTo>
                        <a:lnTo>
                          <a:pt x="24" y="0"/>
                        </a:lnTo>
                        <a:lnTo>
                          <a:pt x="24" y="24"/>
                        </a:lnTo>
                        <a:lnTo>
                          <a:pt x="6" y="72"/>
                        </a:lnTo>
                        <a:lnTo>
                          <a:pt x="0" y="42"/>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15" name="Freeform 263"/>
                  <p:cNvSpPr>
                    <a:spLocks/>
                  </p:cNvSpPr>
                  <p:nvPr/>
                </p:nvSpPr>
                <p:spPr bwMode="auto">
                  <a:xfrm>
                    <a:off x="7638302" y="3215573"/>
                    <a:ext cx="45469" cy="73372"/>
                  </a:xfrm>
                  <a:custGeom>
                    <a:avLst/>
                    <a:gdLst>
                      <a:gd name="T0" fmla="*/ 0 w 36"/>
                      <a:gd name="T1" fmla="*/ 2147483647 h 54"/>
                      <a:gd name="T2" fmla="*/ 2147483647 w 36"/>
                      <a:gd name="T3" fmla="*/ 2147483647 h 54"/>
                      <a:gd name="T4" fmla="*/ 2147483647 w 36"/>
                      <a:gd name="T5" fmla="*/ 2147483647 h 54"/>
                      <a:gd name="T6" fmla="*/ 2147483647 w 36"/>
                      <a:gd name="T7" fmla="*/ 2147483647 h 54"/>
                      <a:gd name="T8" fmla="*/ 2147483647 w 36"/>
                      <a:gd name="T9" fmla="*/ 2147483647 h 54"/>
                      <a:gd name="T10" fmla="*/ 2147483647 w 36"/>
                      <a:gd name="T11" fmla="*/ 0 h 54"/>
                      <a:gd name="T12" fmla="*/ 0 w 36"/>
                      <a:gd name="T13" fmla="*/ 2147483647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4">
                        <a:moveTo>
                          <a:pt x="0" y="18"/>
                        </a:moveTo>
                        <a:lnTo>
                          <a:pt x="6" y="36"/>
                        </a:lnTo>
                        <a:lnTo>
                          <a:pt x="12" y="54"/>
                        </a:lnTo>
                        <a:lnTo>
                          <a:pt x="30" y="42"/>
                        </a:lnTo>
                        <a:lnTo>
                          <a:pt x="36" y="18"/>
                        </a:lnTo>
                        <a:lnTo>
                          <a:pt x="30" y="0"/>
                        </a:lnTo>
                        <a:lnTo>
                          <a:pt x="0" y="18"/>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16" name="Freeform 264"/>
                  <p:cNvSpPr>
                    <a:spLocks/>
                  </p:cNvSpPr>
                  <p:nvPr/>
                </p:nvSpPr>
                <p:spPr bwMode="auto">
                  <a:xfrm>
                    <a:off x="7693178" y="2838710"/>
                    <a:ext cx="340229" cy="393540"/>
                  </a:xfrm>
                  <a:custGeom>
                    <a:avLst/>
                    <a:gdLst>
                      <a:gd name="T0" fmla="*/ 2147483647 w 264"/>
                      <a:gd name="T1" fmla="*/ 2147483647 h 289"/>
                      <a:gd name="T2" fmla="*/ 2147483647 w 264"/>
                      <a:gd name="T3" fmla="*/ 2147483647 h 289"/>
                      <a:gd name="T4" fmla="*/ 2147483647 w 264"/>
                      <a:gd name="T5" fmla="*/ 2147483647 h 289"/>
                      <a:gd name="T6" fmla="*/ 2147483647 w 264"/>
                      <a:gd name="T7" fmla="*/ 2147483647 h 289"/>
                      <a:gd name="T8" fmla="*/ 2147483647 w 264"/>
                      <a:gd name="T9" fmla="*/ 2147483647 h 289"/>
                      <a:gd name="T10" fmla="*/ 2147483647 w 264"/>
                      <a:gd name="T11" fmla="*/ 2147483647 h 289"/>
                      <a:gd name="T12" fmla="*/ 2147483647 w 264"/>
                      <a:gd name="T13" fmla="*/ 2147483647 h 289"/>
                      <a:gd name="T14" fmla="*/ 2147483647 w 264"/>
                      <a:gd name="T15" fmla="*/ 2147483647 h 289"/>
                      <a:gd name="T16" fmla="*/ 2147483647 w 264"/>
                      <a:gd name="T17" fmla="*/ 2147483647 h 289"/>
                      <a:gd name="T18" fmla="*/ 2147483647 w 264"/>
                      <a:gd name="T19" fmla="*/ 2147483647 h 289"/>
                      <a:gd name="T20" fmla="*/ 2147483647 w 264"/>
                      <a:gd name="T21" fmla="*/ 0 h 289"/>
                      <a:gd name="T22" fmla="*/ 2147483647 w 264"/>
                      <a:gd name="T23" fmla="*/ 2147483647 h 289"/>
                      <a:gd name="T24" fmla="*/ 2147483647 w 264"/>
                      <a:gd name="T25" fmla="*/ 2147483647 h 289"/>
                      <a:gd name="T26" fmla="*/ 2147483647 w 264"/>
                      <a:gd name="T27" fmla="*/ 2147483647 h 289"/>
                      <a:gd name="T28" fmla="*/ 2147483647 w 264"/>
                      <a:gd name="T29" fmla="*/ 2147483647 h 289"/>
                      <a:gd name="T30" fmla="*/ 2147483647 w 264"/>
                      <a:gd name="T31" fmla="*/ 2147483647 h 289"/>
                      <a:gd name="T32" fmla="*/ 2147483647 w 264"/>
                      <a:gd name="T33" fmla="*/ 2147483647 h 289"/>
                      <a:gd name="T34" fmla="*/ 2147483647 w 264"/>
                      <a:gd name="T35" fmla="*/ 2147483647 h 289"/>
                      <a:gd name="T36" fmla="*/ 2147483647 w 264"/>
                      <a:gd name="T37" fmla="*/ 2147483647 h 289"/>
                      <a:gd name="T38" fmla="*/ 2147483647 w 264"/>
                      <a:gd name="T39" fmla="*/ 2147483647 h 289"/>
                      <a:gd name="T40" fmla="*/ 2147483647 w 264"/>
                      <a:gd name="T41" fmla="*/ 2147483647 h 289"/>
                      <a:gd name="T42" fmla="*/ 2147483647 w 264"/>
                      <a:gd name="T43" fmla="*/ 2147483647 h 289"/>
                      <a:gd name="T44" fmla="*/ 2147483647 w 264"/>
                      <a:gd name="T45" fmla="*/ 2147483647 h 289"/>
                      <a:gd name="T46" fmla="*/ 2147483647 w 264"/>
                      <a:gd name="T47" fmla="*/ 2147483647 h 289"/>
                      <a:gd name="T48" fmla="*/ 2147483647 w 264"/>
                      <a:gd name="T49" fmla="*/ 2147483647 h 289"/>
                      <a:gd name="T50" fmla="*/ 2147483647 w 264"/>
                      <a:gd name="T51" fmla="*/ 2147483647 h 289"/>
                      <a:gd name="T52" fmla="*/ 2147483647 w 264"/>
                      <a:gd name="T53" fmla="*/ 2147483647 h 289"/>
                      <a:gd name="T54" fmla="*/ 2147483647 w 264"/>
                      <a:gd name="T55" fmla="*/ 2147483647 h 289"/>
                      <a:gd name="T56" fmla="*/ 2147483647 w 264"/>
                      <a:gd name="T57" fmla="*/ 2147483647 h 289"/>
                      <a:gd name="T58" fmla="*/ 2147483647 w 264"/>
                      <a:gd name="T59" fmla="*/ 2147483647 h 289"/>
                      <a:gd name="T60" fmla="*/ 2147483647 w 264"/>
                      <a:gd name="T61" fmla="*/ 2147483647 h 289"/>
                      <a:gd name="T62" fmla="*/ 2147483647 w 264"/>
                      <a:gd name="T63" fmla="*/ 2147483647 h 289"/>
                      <a:gd name="T64" fmla="*/ 2147483647 w 264"/>
                      <a:gd name="T65" fmla="*/ 2147483647 h 289"/>
                      <a:gd name="T66" fmla="*/ 0 w 264"/>
                      <a:gd name="T67" fmla="*/ 2147483647 h 289"/>
                      <a:gd name="T68" fmla="*/ 2147483647 w 264"/>
                      <a:gd name="T69" fmla="*/ 2147483647 h 2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64" h="289">
                        <a:moveTo>
                          <a:pt x="6" y="247"/>
                        </a:moveTo>
                        <a:lnTo>
                          <a:pt x="42" y="235"/>
                        </a:lnTo>
                        <a:lnTo>
                          <a:pt x="66" y="235"/>
                        </a:lnTo>
                        <a:lnTo>
                          <a:pt x="108" y="199"/>
                        </a:lnTo>
                        <a:lnTo>
                          <a:pt x="138" y="187"/>
                        </a:lnTo>
                        <a:lnTo>
                          <a:pt x="144" y="157"/>
                        </a:lnTo>
                        <a:lnTo>
                          <a:pt x="156" y="109"/>
                        </a:lnTo>
                        <a:lnTo>
                          <a:pt x="156" y="72"/>
                        </a:lnTo>
                        <a:lnTo>
                          <a:pt x="174" y="48"/>
                        </a:lnTo>
                        <a:lnTo>
                          <a:pt x="174" y="18"/>
                        </a:lnTo>
                        <a:lnTo>
                          <a:pt x="186" y="0"/>
                        </a:lnTo>
                        <a:lnTo>
                          <a:pt x="210" y="18"/>
                        </a:lnTo>
                        <a:lnTo>
                          <a:pt x="246" y="30"/>
                        </a:lnTo>
                        <a:lnTo>
                          <a:pt x="264" y="30"/>
                        </a:lnTo>
                        <a:lnTo>
                          <a:pt x="240" y="54"/>
                        </a:lnTo>
                        <a:lnTo>
                          <a:pt x="222" y="66"/>
                        </a:lnTo>
                        <a:lnTo>
                          <a:pt x="210" y="85"/>
                        </a:lnTo>
                        <a:lnTo>
                          <a:pt x="180" y="60"/>
                        </a:lnTo>
                        <a:lnTo>
                          <a:pt x="162" y="97"/>
                        </a:lnTo>
                        <a:lnTo>
                          <a:pt x="186" y="139"/>
                        </a:lnTo>
                        <a:lnTo>
                          <a:pt x="168" y="169"/>
                        </a:lnTo>
                        <a:lnTo>
                          <a:pt x="162" y="193"/>
                        </a:lnTo>
                        <a:lnTo>
                          <a:pt x="162" y="235"/>
                        </a:lnTo>
                        <a:lnTo>
                          <a:pt x="150" y="247"/>
                        </a:lnTo>
                        <a:lnTo>
                          <a:pt x="138" y="241"/>
                        </a:lnTo>
                        <a:lnTo>
                          <a:pt x="126" y="247"/>
                        </a:lnTo>
                        <a:lnTo>
                          <a:pt x="102" y="247"/>
                        </a:lnTo>
                        <a:lnTo>
                          <a:pt x="90" y="247"/>
                        </a:lnTo>
                        <a:lnTo>
                          <a:pt x="66" y="271"/>
                        </a:lnTo>
                        <a:lnTo>
                          <a:pt x="60" y="259"/>
                        </a:lnTo>
                        <a:lnTo>
                          <a:pt x="48" y="265"/>
                        </a:lnTo>
                        <a:lnTo>
                          <a:pt x="36" y="271"/>
                        </a:lnTo>
                        <a:lnTo>
                          <a:pt x="12" y="289"/>
                        </a:lnTo>
                        <a:lnTo>
                          <a:pt x="0" y="259"/>
                        </a:lnTo>
                        <a:lnTo>
                          <a:pt x="6" y="247"/>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17" name="Freeform 265"/>
                  <p:cNvSpPr>
                    <a:spLocks/>
                  </p:cNvSpPr>
                  <p:nvPr/>
                </p:nvSpPr>
                <p:spPr bwMode="auto">
                  <a:xfrm>
                    <a:off x="7933064" y="2476852"/>
                    <a:ext cx="61149" cy="321836"/>
                  </a:xfrm>
                  <a:custGeom>
                    <a:avLst/>
                    <a:gdLst>
                      <a:gd name="T0" fmla="*/ 2147483647 w 48"/>
                      <a:gd name="T1" fmla="*/ 2147483647 h 234"/>
                      <a:gd name="T2" fmla="*/ 2147483647 w 48"/>
                      <a:gd name="T3" fmla="*/ 2147483647 h 234"/>
                      <a:gd name="T4" fmla="*/ 2147483647 w 48"/>
                      <a:gd name="T5" fmla="*/ 2147483647 h 234"/>
                      <a:gd name="T6" fmla="*/ 0 w 48"/>
                      <a:gd name="T7" fmla="*/ 2147483647 h 234"/>
                      <a:gd name="T8" fmla="*/ 2147483647 w 48"/>
                      <a:gd name="T9" fmla="*/ 2147483647 h 234"/>
                      <a:gd name="T10" fmla="*/ 2147483647 w 48"/>
                      <a:gd name="T11" fmla="*/ 0 h 234"/>
                      <a:gd name="T12" fmla="*/ 2147483647 w 48"/>
                      <a:gd name="T13" fmla="*/ 2147483647 h 234"/>
                      <a:gd name="T14" fmla="*/ 2147483647 w 48"/>
                      <a:gd name="T15" fmla="*/ 2147483647 h 234"/>
                      <a:gd name="T16" fmla="*/ 2147483647 w 48"/>
                      <a:gd name="T17" fmla="*/ 2147483647 h 234"/>
                      <a:gd name="T18" fmla="*/ 2147483647 w 48"/>
                      <a:gd name="T19" fmla="*/ 2147483647 h 234"/>
                      <a:gd name="T20" fmla="*/ 2147483647 w 48"/>
                      <a:gd name="T21" fmla="*/ 2147483647 h 234"/>
                      <a:gd name="T22" fmla="*/ 2147483647 w 48"/>
                      <a:gd name="T23" fmla="*/ 2147483647 h 234"/>
                      <a:gd name="T24" fmla="*/ 2147483647 w 48"/>
                      <a:gd name="T25" fmla="*/ 2147483647 h 234"/>
                      <a:gd name="T26" fmla="*/ 2147483647 w 48"/>
                      <a:gd name="T27" fmla="*/ 2147483647 h 2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8" h="234">
                        <a:moveTo>
                          <a:pt x="12" y="222"/>
                        </a:moveTo>
                        <a:lnTo>
                          <a:pt x="12" y="180"/>
                        </a:lnTo>
                        <a:lnTo>
                          <a:pt x="6" y="90"/>
                        </a:lnTo>
                        <a:lnTo>
                          <a:pt x="0" y="66"/>
                        </a:lnTo>
                        <a:lnTo>
                          <a:pt x="6" y="30"/>
                        </a:lnTo>
                        <a:lnTo>
                          <a:pt x="12" y="0"/>
                        </a:lnTo>
                        <a:lnTo>
                          <a:pt x="24" y="36"/>
                        </a:lnTo>
                        <a:lnTo>
                          <a:pt x="24" y="60"/>
                        </a:lnTo>
                        <a:lnTo>
                          <a:pt x="48" y="156"/>
                        </a:lnTo>
                        <a:lnTo>
                          <a:pt x="30" y="144"/>
                        </a:lnTo>
                        <a:lnTo>
                          <a:pt x="24" y="168"/>
                        </a:lnTo>
                        <a:lnTo>
                          <a:pt x="24" y="198"/>
                        </a:lnTo>
                        <a:lnTo>
                          <a:pt x="42" y="234"/>
                        </a:lnTo>
                        <a:lnTo>
                          <a:pt x="12" y="222"/>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18" name="Freeform 272"/>
                  <p:cNvSpPr>
                    <a:spLocks/>
                  </p:cNvSpPr>
                  <p:nvPr/>
                </p:nvSpPr>
                <p:spPr bwMode="auto">
                  <a:xfrm>
                    <a:off x="7389009" y="3659140"/>
                    <a:ext cx="139541" cy="205106"/>
                  </a:xfrm>
                  <a:custGeom>
                    <a:avLst/>
                    <a:gdLst>
                      <a:gd name="T0" fmla="*/ 2147483647 w 108"/>
                      <a:gd name="T1" fmla="*/ 2147483647 h 151"/>
                      <a:gd name="T2" fmla="*/ 0 w 108"/>
                      <a:gd name="T3" fmla="*/ 2147483647 h 151"/>
                      <a:gd name="T4" fmla="*/ 2147483647 w 108"/>
                      <a:gd name="T5" fmla="*/ 2147483647 h 151"/>
                      <a:gd name="T6" fmla="*/ 2147483647 w 108"/>
                      <a:gd name="T7" fmla="*/ 2147483647 h 151"/>
                      <a:gd name="T8" fmla="*/ 2147483647 w 108"/>
                      <a:gd name="T9" fmla="*/ 2147483647 h 151"/>
                      <a:gd name="T10" fmla="*/ 2147483647 w 108"/>
                      <a:gd name="T11" fmla="*/ 2147483647 h 151"/>
                      <a:gd name="T12" fmla="*/ 2147483647 w 108"/>
                      <a:gd name="T13" fmla="*/ 2147483647 h 151"/>
                      <a:gd name="T14" fmla="*/ 2147483647 w 108"/>
                      <a:gd name="T15" fmla="*/ 2147483647 h 151"/>
                      <a:gd name="T16" fmla="*/ 2147483647 w 108"/>
                      <a:gd name="T17" fmla="*/ 2147483647 h 151"/>
                      <a:gd name="T18" fmla="*/ 2147483647 w 108"/>
                      <a:gd name="T19" fmla="*/ 2147483647 h 151"/>
                      <a:gd name="T20" fmla="*/ 2147483647 w 108"/>
                      <a:gd name="T21" fmla="*/ 2147483647 h 151"/>
                      <a:gd name="T22" fmla="*/ 2147483647 w 108"/>
                      <a:gd name="T23" fmla="*/ 2147483647 h 151"/>
                      <a:gd name="T24" fmla="*/ 2147483647 w 108"/>
                      <a:gd name="T25" fmla="*/ 2147483647 h 151"/>
                      <a:gd name="T26" fmla="*/ 2147483647 w 108"/>
                      <a:gd name="T27" fmla="*/ 0 h 151"/>
                      <a:gd name="T28" fmla="*/ 2147483647 w 108"/>
                      <a:gd name="T29" fmla="*/ 2147483647 h 15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08" h="151">
                        <a:moveTo>
                          <a:pt x="12" y="18"/>
                        </a:moveTo>
                        <a:lnTo>
                          <a:pt x="0" y="42"/>
                        </a:lnTo>
                        <a:lnTo>
                          <a:pt x="6" y="72"/>
                        </a:lnTo>
                        <a:lnTo>
                          <a:pt x="18" y="85"/>
                        </a:lnTo>
                        <a:lnTo>
                          <a:pt x="36" y="91"/>
                        </a:lnTo>
                        <a:lnTo>
                          <a:pt x="72" y="109"/>
                        </a:lnTo>
                        <a:lnTo>
                          <a:pt x="78" y="139"/>
                        </a:lnTo>
                        <a:lnTo>
                          <a:pt x="108" y="151"/>
                        </a:lnTo>
                        <a:lnTo>
                          <a:pt x="102" y="127"/>
                        </a:lnTo>
                        <a:lnTo>
                          <a:pt x="78" y="91"/>
                        </a:lnTo>
                        <a:lnTo>
                          <a:pt x="42" y="66"/>
                        </a:lnTo>
                        <a:lnTo>
                          <a:pt x="48" y="48"/>
                        </a:lnTo>
                        <a:lnTo>
                          <a:pt x="54" y="12"/>
                        </a:lnTo>
                        <a:lnTo>
                          <a:pt x="30" y="0"/>
                        </a:lnTo>
                        <a:lnTo>
                          <a:pt x="12" y="18"/>
                        </a:lnTo>
                        <a:close/>
                      </a:path>
                    </a:pathLst>
                  </a:custGeom>
                  <a:no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19" name="Freeform 273"/>
                  <p:cNvSpPr>
                    <a:spLocks/>
                  </p:cNvSpPr>
                  <p:nvPr/>
                </p:nvSpPr>
                <p:spPr bwMode="auto">
                  <a:xfrm>
                    <a:off x="7445454" y="3897597"/>
                    <a:ext cx="114454" cy="96718"/>
                  </a:xfrm>
                  <a:custGeom>
                    <a:avLst/>
                    <a:gdLst>
                      <a:gd name="T0" fmla="*/ 0 w 90"/>
                      <a:gd name="T1" fmla="*/ 2147483647 h 72"/>
                      <a:gd name="T2" fmla="*/ 2147483647 w 90"/>
                      <a:gd name="T3" fmla="*/ 2147483647 h 72"/>
                      <a:gd name="T4" fmla="*/ 2147483647 w 90"/>
                      <a:gd name="T5" fmla="*/ 2147483647 h 72"/>
                      <a:gd name="T6" fmla="*/ 2147483647 w 90"/>
                      <a:gd name="T7" fmla="*/ 0 h 72"/>
                      <a:gd name="T8" fmla="*/ 2147483647 w 90"/>
                      <a:gd name="T9" fmla="*/ 2147483647 h 72"/>
                      <a:gd name="T10" fmla="*/ 2147483647 w 90"/>
                      <a:gd name="T11" fmla="*/ 2147483647 h 72"/>
                      <a:gd name="T12" fmla="*/ 2147483647 w 90"/>
                      <a:gd name="T13" fmla="*/ 2147483647 h 72"/>
                      <a:gd name="T14" fmla="*/ 2147483647 w 90"/>
                      <a:gd name="T15" fmla="*/ 2147483647 h 72"/>
                      <a:gd name="T16" fmla="*/ 2147483647 w 90"/>
                      <a:gd name="T17" fmla="*/ 2147483647 h 72"/>
                      <a:gd name="T18" fmla="*/ 0 w 90"/>
                      <a:gd name="T19" fmla="*/ 2147483647 h 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0" h="72">
                        <a:moveTo>
                          <a:pt x="0" y="54"/>
                        </a:moveTo>
                        <a:lnTo>
                          <a:pt x="18" y="24"/>
                        </a:lnTo>
                        <a:lnTo>
                          <a:pt x="42" y="24"/>
                        </a:lnTo>
                        <a:lnTo>
                          <a:pt x="60" y="0"/>
                        </a:lnTo>
                        <a:lnTo>
                          <a:pt x="90" y="24"/>
                        </a:lnTo>
                        <a:lnTo>
                          <a:pt x="90" y="72"/>
                        </a:lnTo>
                        <a:lnTo>
                          <a:pt x="60" y="60"/>
                        </a:lnTo>
                        <a:lnTo>
                          <a:pt x="42" y="60"/>
                        </a:lnTo>
                        <a:lnTo>
                          <a:pt x="24" y="48"/>
                        </a:lnTo>
                        <a:lnTo>
                          <a:pt x="0" y="54"/>
                        </a:lnTo>
                        <a:close/>
                      </a:path>
                    </a:pathLst>
                  </a:custGeom>
                  <a:no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20" name="Freeform 333"/>
                  <p:cNvSpPr>
                    <a:spLocks/>
                  </p:cNvSpPr>
                  <p:nvPr/>
                </p:nvSpPr>
                <p:spPr bwMode="auto">
                  <a:xfrm>
                    <a:off x="6612909" y="2560230"/>
                    <a:ext cx="768260" cy="410214"/>
                  </a:xfrm>
                  <a:custGeom>
                    <a:avLst/>
                    <a:gdLst>
                      <a:gd name="T0" fmla="*/ 2147483647 w 595"/>
                      <a:gd name="T1" fmla="*/ 2147483647 h 301"/>
                      <a:gd name="T2" fmla="*/ 2147483647 w 595"/>
                      <a:gd name="T3" fmla="*/ 2147483647 h 301"/>
                      <a:gd name="T4" fmla="*/ 2147483647 w 595"/>
                      <a:gd name="T5" fmla="*/ 2147483647 h 301"/>
                      <a:gd name="T6" fmla="*/ 2147483647 w 595"/>
                      <a:gd name="T7" fmla="*/ 2147483647 h 301"/>
                      <a:gd name="T8" fmla="*/ 2147483647 w 595"/>
                      <a:gd name="T9" fmla="*/ 2147483647 h 301"/>
                      <a:gd name="T10" fmla="*/ 2147483647 w 595"/>
                      <a:gd name="T11" fmla="*/ 2147483647 h 301"/>
                      <a:gd name="T12" fmla="*/ 2147483647 w 595"/>
                      <a:gd name="T13" fmla="*/ 2147483647 h 301"/>
                      <a:gd name="T14" fmla="*/ 2147483647 w 595"/>
                      <a:gd name="T15" fmla="*/ 2147483647 h 301"/>
                      <a:gd name="T16" fmla="*/ 2147483647 w 595"/>
                      <a:gd name="T17" fmla="*/ 2147483647 h 301"/>
                      <a:gd name="T18" fmla="*/ 2147483647 w 595"/>
                      <a:gd name="T19" fmla="*/ 2147483647 h 301"/>
                      <a:gd name="T20" fmla="*/ 2147483647 w 595"/>
                      <a:gd name="T21" fmla="*/ 2147483647 h 301"/>
                      <a:gd name="T22" fmla="*/ 2147483647 w 595"/>
                      <a:gd name="T23" fmla="*/ 2147483647 h 301"/>
                      <a:gd name="T24" fmla="*/ 2147483647 w 595"/>
                      <a:gd name="T25" fmla="*/ 2147483647 h 301"/>
                      <a:gd name="T26" fmla="*/ 2147483647 w 595"/>
                      <a:gd name="T27" fmla="*/ 2147483647 h 301"/>
                      <a:gd name="T28" fmla="*/ 2147483647 w 595"/>
                      <a:gd name="T29" fmla="*/ 2147483647 h 301"/>
                      <a:gd name="T30" fmla="*/ 2147483647 w 595"/>
                      <a:gd name="T31" fmla="*/ 2147483647 h 301"/>
                      <a:gd name="T32" fmla="*/ 2147483647 w 595"/>
                      <a:gd name="T33" fmla="*/ 2147483647 h 301"/>
                      <a:gd name="T34" fmla="*/ 2147483647 w 595"/>
                      <a:gd name="T35" fmla="*/ 2147483647 h 301"/>
                      <a:gd name="T36" fmla="*/ 2147483647 w 595"/>
                      <a:gd name="T37" fmla="*/ 2147483647 h 301"/>
                      <a:gd name="T38" fmla="*/ 2147483647 w 595"/>
                      <a:gd name="T39" fmla="*/ 2147483647 h 301"/>
                      <a:gd name="T40" fmla="*/ 2147483647 w 595"/>
                      <a:gd name="T41" fmla="*/ 2147483647 h 301"/>
                      <a:gd name="T42" fmla="*/ 2147483647 w 595"/>
                      <a:gd name="T43" fmla="*/ 0 h 301"/>
                      <a:gd name="T44" fmla="*/ 2147483647 w 595"/>
                      <a:gd name="T45" fmla="*/ 2147483647 h 301"/>
                      <a:gd name="T46" fmla="*/ 2147483647 w 595"/>
                      <a:gd name="T47" fmla="*/ 2147483647 h 301"/>
                      <a:gd name="T48" fmla="*/ 2147483647 w 595"/>
                      <a:gd name="T49" fmla="*/ 2147483647 h 301"/>
                      <a:gd name="T50" fmla="*/ 2147483647 w 595"/>
                      <a:gd name="T51" fmla="*/ 2147483647 h 301"/>
                      <a:gd name="T52" fmla="*/ 2147483647 w 595"/>
                      <a:gd name="T53" fmla="*/ 2147483647 h 301"/>
                      <a:gd name="T54" fmla="*/ 0 w 595"/>
                      <a:gd name="T55" fmla="*/ 2147483647 h 301"/>
                      <a:gd name="T56" fmla="*/ 2147483647 w 595"/>
                      <a:gd name="T57" fmla="*/ 2147483647 h 301"/>
                      <a:gd name="T58" fmla="*/ 2147483647 w 595"/>
                      <a:gd name="T59" fmla="*/ 2147483647 h 30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95" h="301">
                        <a:moveTo>
                          <a:pt x="42" y="126"/>
                        </a:moveTo>
                        <a:lnTo>
                          <a:pt x="48" y="186"/>
                        </a:lnTo>
                        <a:lnTo>
                          <a:pt x="127" y="210"/>
                        </a:lnTo>
                        <a:lnTo>
                          <a:pt x="181" y="264"/>
                        </a:lnTo>
                        <a:lnTo>
                          <a:pt x="253" y="270"/>
                        </a:lnTo>
                        <a:lnTo>
                          <a:pt x="313" y="301"/>
                        </a:lnTo>
                        <a:lnTo>
                          <a:pt x="379" y="258"/>
                        </a:lnTo>
                        <a:lnTo>
                          <a:pt x="445" y="252"/>
                        </a:lnTo>
                        <a:lnTo>
                          <a:pt x="457" y="210"/>
                        </a:lnTo>
                        <a:lnTo>
                          <a:pt x="499" y="192"/>
                        </a:lnTo>
                        <a:lnTo>
                          <a:pt x="541" y="174"/>
                        </a:lnTo>
                        <a:lnTo>
                          <a:pt x="595" y="156"/>
                        </a:lnTo>
                        <a:lnTo>
                          <a:pt x="583" y="132"/>
                        </a:lnTo>
                        <a:lnTo>
                          <a:pt x="529" y="126"/>
                        </a:lnTo>
                        <a:lnTo>
                          <a:pt x="529" y="96"/>
                        </a:lnTo>
                        <a:lnTo>
                          <a:pt x="541" y="72"/>
                        </a:lnTo>
                        <a:lnTo>
                          <a:pt x="499" y="60"/>
                        </a:lnTo>
                        <a:lnTo>
                          <a:pt x="403" y="84"/>
                        </a:lnTo>
                        <a:lnTo>
                          <a:pt x="367" y="54"/>
                        </a:lnTo>
                        <a:lnTo>
                          <a:pt x="307" y="54"/>
                        </a:lnTo>
                        <a:lnTo>
                          <a:pt x="289" y="36"/>
                        </a:lnTo>
                        <a:lnTo>
                          <a:pt x="217" y="0"/>
                        </a:lnTo>
                        <a:lnTo>
                          <a:pt x="193" y="30"/>
                        </a:lnTo>
                        <a:lnTo>
                          <a:pt x="169" y="66"/>
                        </a:lnTo>
                        <a:lnTo>
                          <a:pt x="121" y="48"/>
                        </a:lnTo>
                        <a:lnTo>
                          <a:pt x="54" y="54"/>
                        </a:lnTo>
                        <a:lnTo>
                          <a:pt x="12" y="78"/>
                        </a:lnTo>
                        <a:lnTo>
                          <a:pt x="0" y="102"/>
                        </a:lnTo>
                        <a:lnTo>
                          <a:pt x="6" y="108"/>
                        </a:lnTo>
                        <a:lnTo>
                          <a:pt x="42" y="126"/>
                        </a:lnTo>
                        <a:close/>
                      </a:path>
                    </a:pathLst>
                  </a:custGeom>
                  <a:solidFill>
                    <a:srgbClr val="FF99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21" name="Line 449"/>
                  <p:cNvSpPr>
                    <a:spLocks noChangeShapeType="1"/>
                  </p:cNvSpPr>
                  <p:nvPr/>
                </p:nvSpPr>
                <p:spPr bwMode="auto">
                  <a:xfrm>
                    <a:off x="7351381" y="3677482"/>
                    <a:ext cx="0" cy="0"/>
                  </a:xfrm>
                  <a:prstGeom prst="line">
                    <a:avLst/>
                  </a:prstGeom>
                  <a:noFill/>
                  <a:ln w="0">
                    <a:solidFill>
                      <a:sysClr val="window" lastClr="FFFFFF">
                        <a:lumMod val="50000"/>
                      </a:sysClr>
                    </a:solidFill>
                    <a:round/>
                    <a:headEnd/>
                    <a:tailEnd/>
                  </a:ln>
                  <a:extLst>
                    <a:ext uri="{909E8E84-426E-40DD-AFC4-6F175D3DCCD1}">
                      <a14:hiddenFill xmlns:a14="http://schemas.microsoft.com/office/drawing/2010/main">
                        <a:noFill/>
                      </a14:hiddenFill>
                    </a:ext>
                  </a:extLst>
                </p:spPr>
                <p:txBody>
                  <a:bodyPr/>
                  <a:lstStyle/>
                  <a:p>
                    <a:pPr>
                      <a:defRPr/>
                    </a:pPr>
                    <a:endParaRPr lang="en-GB" kern="0">
                      <a:solidFill>
                        <a:prstClr val="black"/>
                      </a:solidFill>
                      <a:latin typeface="Calibri"/>
                    </a:endParaRPr>
                  </a:p>
                </p:txBody>
              </p:sp>
              <p:sp>
                <p:nvSpPr>
                  <p:cNvPr id="622" name="Freeform 506"/>
                  <p:cNvSpPr>
                    <a:spLocks/>
                  </p:cNvSpPr>
                  <p:nvPr/>
                </p:nvSpPr>
                <p:spPr bwMode="auto">
                  <a:xfrm>
                    <a:off x="7498761" y="2927088"/>
                    <a:ext cx="122294" cy="163419"/>
                  </a:xfrm>
                  <a:custGeom>
                    <a:avLst/>
                    <a:gdLst>
                      <a:gd name="T0" fmla="*/ 2147483647 w 78"/>
                      <a:gd name="T1" fmla="*/ 2147483647 h 98"/>
                      <a:gd name="T2" fmla="*/ 2147483647 w 78"/>
                      <a:gd name="T3" fmla="*/ 2147483647 h 98"/>
                      <a:gd name="T4" fmla="*/ 2147483647 w 78"/>
                      <a:gd name="T5" fmla="*/ 2147483647 h 98"/>
                      <a:gd name="T6" fmla="*/ 2147483647 w 78"/>
                      <a:gd name="T7" fmla="*/ 2147483647 h 98"/>
                      <a:gd name="T8" fmla="*/ 0 w 78"/>
                      <a:gd name="T9" fmla="*/ 2147483647 h 98"/>
                      <a:gd name="T10" fmla="*/ 0 w 78"/>
                      <a:gd name="T11" fmla="*/ 2147483647 h 98"/>
                      <a:gd name="T12" fmla="*/ 2147483647 w 78"/>
                      <a:gd name="T13" fmla="*/ 2147483647 h 98"/>
                      <a:gd name="T14" fmla="*/ 2147483647 w 78"/>
                      <a:gd name="T15" fmla="*/ 2147483647 h 98"/>
                      <a:gd name="T16" fmla="*/ 2147483647 w 78"/>
                      <a:gd name="T17" fmla="*/ 2147483647 h 98"/>
                      <a:gd name="T18" fmla="*/ 2147483647 w 78"/>
                      <a:gd name="T19" fmla="*/ 2147483647 h 98"/>
                      <a:gd name="T20" fmla="*/ 2147483647 w 78"/>
                      <a:gd name="T21" fmla="*/ 2147483647 h 98"/>
                      <a:gd name="T22" fmla="*/ 2147483647 w 78"/>
                      <a:gd name="T23" fmla="*/ 2147483647 h 98"/>
                      <a:gd name="T24" fmla="*/ 2147483647 w 78"/>
                      <a:gd name="T25" fmla="*/ 2147483647 h 98"/>
                      <a:gd name="T26" fmla="*/ 2147483647 w 78"/>
                      <a:gd name="T27" fmla="*/ 2147483647 h 98"/>
                      <a:gd name="T28" fmla="*/ 2147483647 w 78"/>
                      <a:gd name="T29" fmla="*/ 2147483647 h 98"/>
                      <a:gd name="T30" fmla="*/ 2147483647 w 78"/>
                      <a:gd name="T31" fmla="*/ 2147483647 h 98"/>
                      <a:gd name="T32" fmla="*/ 2147483647 w 78"/>
                      <a:gd name="T33" fmla="*/ 2147483647 h 98"/>
                      <a:gd name="T34" fmla="*/ 2147483647 w 78"/>
                      <a:gd name="T35" fmla="*/ 2147483647 h 98"/>
                      <a:gd name="T36" fmla="*/ 2147483647 w 78"/>
                      <a:gd name="T37" fmla="*/ 2147483647 h 98"/>
                      <a:gd name="T38" fmla="*/ 2147483647 w 78"/>
                      <a:gd name="T39" fmla="*/ 2147483647 h 98"/>
                      <a:gd name="T40" fmla="*/ 2147483647 w 78"/>
                      <a:gd name="T41" fmla="*/ 2147483647 h 98"/>
                      <a:gd name="T42" fmla="*/ 2147483647 w 78"/>
                      <a:gd name="T43" fmla="*/ 2147483647 h 98"/>
                      <a:gd name="T44" fmla="*/ 2147483647 w 78"/>
                      <a:gd name="T45" fmla="*/ 2147483647 h 98"/>
                      <a:gd name="T46" fmla="*/ 2147483647 w 78"/>
                      <a:gd name="T47" fmla="*/ 2147483647 h 98"/>
                      <a:gd name="T48" fmla="*/ 2147483647 w 78"/>
                      <a:gd name="T49" fmla="*/ 2147483647 h 98"/>
                      <a:gd name="T50" fmla="*/ 2147483647 w 78"/>
                      <a:gd name="T51" fmla="*/ 2147483647 h 98"/>
                      <a:gd name="T52" fmla="*/ 2147483647 w 78"/>
                      <a:gd name="T53" fmla="*/ 2147483647 h 98"/>
                      <a:gd name="T54" fmla="*/ 2147483647 w 78"/>
                      <a:gd name="T55" fmla="*/ 2147483647 h 98"/>
                      <a:gd name="T56" fmla="*/ 2147483647 w 78"/>
                      <a:gd name="T57" fmla="*/ 2147483647 h 98"/>
                      <a:gd name="T58" fmla="*/ 2147483647 w 78"/>
                      <a:gd name="T59" fmla="*/ 2147483647 h 98"/>
                      <a:gd name="T60" fmla="*/ 2147483647 w 78"/>
                      <a:gd name="T61" fmla="*/ 2147483647 h 98"/>
                      <a:gd name="T62" fmla="*/ 2147483647 w 78"/>
                      <a:gd name="T63" fmla="*/ 0 h 98"/>
                      <a:gd name="T64" fmla="*/ 2147483647 w 78"/>
                      <a:gd name="T65" fmla="*/ 2147483647 h 9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8" h="98">
                        <a:moveTo>
                          <a:pt x="32" y="12"/>
                        </a:moveTo>
                        <a:lnTo>
                          <a:pt x="34" y="32"/>
                        </a:lnTo>
                        <a:lnTo>
                          <a:pt x="20" y="22"/>
                        </a:lnTo>
                        <a:lnTo>
                          <a:pt x="6" y="34"/>
                        </a:lnTo>
                        <a:lnTo>
                          <a:pt x="0" y="56"/>
                        </a:lnTo>
                        <a:lnTo>
                          <a:pt x="6" y="56"/>
                        </a:lnTo>
                        <a:lnTo>
                          <a:pt x="10" y="56"/>
                        </a:lnTo>
                        <a:lnTo>
                          <a:pt x="30" y="70"/>
                        </a:lnTo>
                        <a:lnTo>
                          <a:pt x="34" y="84"/>
                        </a:lnTo>
                        <a:lnTo>
                          <a:pt x="36" y="92"/>
                        </a:lnTo>
                        <a:lnTo>
                          <a:pt x="40" y="98"/>
                        </a:lnTo>
                        <a:lnTo>
                          <a:pt x="70" y="88"/>
                        </a:lnTo>
                        <a:lnTo>
                          <a:pt x="70" y="84"/>
                        </a:lnTo>
                        <a:lnTo>
                          <a:pt x="68" y="82"/>
                        </a:lnTo>
                        <a:lnTo>
                          <a:pt x="66" y="78"/>
                        </a:lnTo>
                        <a:lnTo>
                          <a:pt x="64" y="76"/>
                        </a:lnTo>
                        <a:lnTo>
                          <a:pt x="64" y="60"/>
                        </a:lnTo>
                        <a:lnTo>
                          <a:pt x="64" y="46"/>
                        </a:lnTo>
                        <a:lnTo>
                          <a:pt x="54" y="26"/>
                        </a:lnTo>
                        <a:lnTo>
                          <a:pt x="64" y="16"/>
                        </a:lnTo>
                        <a:lnTo>
                          <a:pt x="78" y="4"/>
                        </a:lnTo>
                        <a:lnTo>
                          <a:pt x="52" y="0"/>
                        </a:lnTo>
                        <a:lnTo>
                          <a:pt x="32" y="12"/>
                        </a:lnTo>
                        <a:close/>
                      </a:path>
                    </a:pathLst>
                  </a:custGeom>
                  <a:solidFill>
                    <a:sysClr val="window" lastClr="FFFFFF"/>
                  </a:solidFill>
                  <a:ln>
                    <a:solidFill>
                      <a:sysClr val="window" lastClr="FFFFFF">
                        <a:lumMod val="50000"/>
                      </a:sysClr>
                    </a:solidFill>
                  </a:ln>
                </p:spPr>
                <p:txBody>
                  <a:bodyPr/>
                  <a:lstStyle/>
                  <a:p>
                    <a:pPr>
                      <a:defRPr/>
                    </a:pPr>
                    <a:endParaRPr lang="en-GB" kern="0">
                      <a:solidFill>
                        <a:prstClr val="black"/>
                      </a:solidFill>
                      <a:latin typeface="Calibri"/>
                    </a:endParaRPr>
                  </a:p>
                </p:txBody>
              </p:sp>
              <p:sp>
                <p:nvSpPr>
                  <p:cNvPr id="623" name="Freeform 517"/>
                  <p:cNvSpPr>
                    <a:spLocks/>
                  </p:cNvSpPr>
                  <p:nvPr/>
                </p:nvSpPr>
                <p:spPr bwMode="auto">
                  <a:xfrm>
                    <a:off x="7545798" y="3073831"/>
                    <a:ext cx="84665" cy="110057"/>
                  </a:xfrm>
                  <a:custGeom>
                    <a:avLst/>
                    <a:gdLst>
                      <a:gd name="T0" fmla="*/ 2147483647 w 54"/>
                      <a:gd name="T1" fmla="*/ 2147483647 h 66"/>
                      <a:gd name="T2" fmla="*/ 2147483647 w 54"/>
                      <a:gd name="T3" fmla="*/ 2147483647 h 66"/>
                      <a:gd name="T4" fmla="*/ 2147483647 w 54"/>
                      <a:gd name="T5" fmla="*/ 2147483647 h 66"/>
                      <a:gd name="T6" fmla="*/ 2147483647 w 54"/>
                      <a:gd name="T7" fmla="*/ 2147483647 h 66"/>
                      <a:gd name="T8" fmla="*/ 0 w 54"/>
                      <a:gd name="T9" fmla="*/ 2147483647 h 66"/>
                      <a:gd name="T10" fmla="*/ 0 w 54"/>
                      <a:gd name="T11" fmla="*/ 2147483647 h 66"/>
                      <a:gd name="T12" fmla="*/ 2147483647 w 54"/>
                      <a:gd name="T13" fmla="*/ 2147483647 h 66"/>
                      <a:gd name="T14" fmla="*/ 2147483647 w 54"/>
                      <a:gd name="T15" fmla="*/ 2147483647 h 66"/>
                      <a:gd name="T16" fmla="*/ 2147483647 w 54"/>
                      <a:gd name="T17" fmla="*/ 2147483647 h 66"/>
                      <a:gd name="T18" fmla="*/ 2147483647 w 54"/>
                      <a:gd name="T19" fmla="*/ 2147483647 h 66"/>
                      <a:gd name="T20" fmla="*/ 2147483647 w 54"/>
                      <a:gd name="T21" fmla="*/ 2147483647 h 66"/>
                      <a:gd name="T22" fmla="*/ 2147483647 w 54"/>
                      <a:gd name="T23" fmla="*/ 2147483647 h 66"/>
                      <a:gd name="T24" fmla="*/ 2147483647 w 54"/>
                      <a:gd name="T25" fmla="*/ 2147483647 h 66"/>
                      <a:gd name="T26" fmla="*/ 2147483647 w 54"/>
                      <a:gd name="T27" fmla="*/ 0 h 66"/>
                      <a:gd name="T28" fmla="*/ 2147483647 w 54"/>
                      <a:gd name="T29" fmla="*/ 2147483647 h 66"/>
                      <a:gd name="T30" fmla="*/ 2147483647 w 54"/>
                      <a:gd name="T31" fmla="*/ 2147483647 h 66"/>
                      <a:gd name="T32" fmla="*/ 2147483647 w 54"/>
                      <a:gd name="T33" fmla="*/ 2147483647 h 66"/>
                      <a:gd name="T34" fmla="*/ 2147483647 w 54"/>
                      <a:gd name="T35" fmla="*/ 2147483647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66">
                        <a:moveTo>
                          <a:pt x="10" y="12"/>
                        </a:moveTo>
                        <a:lnTo>
                          <a:pt x="10" y="12"/>
                        </a:lnTo>
                        <a:lnTo>
                          <a:pt x="10" y="36"/>
                        </a:lnTo>
                        <a:lnTo>
                          <a:pt x="0" y="66"/>
                        </a:lnTo>
                        <a:lnTo>
                          <a:pt x="20" y="66"/>
                        </a:lnTo>
                        <a:lnTo>
                          <a:pt x="40" y="60"/>
                        </a:lnTo>
                        <a:lnTo>
                          <a:pt x="50" y="52"/>
                        </a:lnTo>
                        <a:lnTo>
                          <a:pt x="54" y="36"/>
                        </a:lnTo>
                        <a:lnTo>
                          <a:pt x="40" y="0"/>
                        </a:lnTo>
                        <a:lnTo>
                          <a:pt x="10" y="10"/>
                        </a:lnTo>
                        <a:lnTo>
                          <a:pt x="10" y="12"/>
                        </a:lnTo>
                        <a:close/>
                      </a:path>
                    </a:pathLst>
                  </a:custGeom>
                  <a:noFill/>
                  <a:ln w="9525" cap="flat" cmpd="sng">
                    <a:solidFill>
                      <a:sysClr val="window" lastClr="FFFFFF">
                        <a:lumMod val="50000"/>
                      </a:sysClr>
                    </a:solidFill>
                    <a:prstDash val="solid"/>
                    <a:round/>
                    <a:headEnd type="none" w="med" len="med"/>
                    <a:tailEnd type="none" w="med" len="med"/>
                  </a:ln>
                  <a:effectLst/>
                  <a:extLst/>
                </p:spPr>
                <p:txBody>
                  <a:bodyPr/>
                  <a:lstStyle/>
                  <a:p>
                    <a:pPr>
                      <a:defRPr/>
                    </a:pPr>
                    <a:endParaRPr lang="en-GB" kern="0">
                      <a:solidFill>
                        <a:prstClr val="black"/>
                      </a:solidFill>
                      <a:latin typeface="Calibri"/>
                    </a:endParaRPr>
                  </a:p>
                </p:txBody>
              </p:sp>
              <p:sp>
                <p:nvSpPr>
                  <p:cNvPr id="624" name="Freeform 411"/>
                  <p:cNvSpPr>
                    <a:spLocks/>
                  </p:cNvSpPr>
                  <p:nvPr/>
                </p:nvSpPr>
                <p:spPr bwMode="auto">
                  <a:xfrm>
                    <a:off x="2886059" y="4894787"/>
                    <a:ext cx="125430" cy="175092"/>
                  </a:xfrm>
                  <a:custGeom>
                    <a:avLst/>
                    <a:gdLst>
                      <a:gd name="T0" fmla="*/ 2147483647 w 102"/>
                      <a:gd name="T1" fmla="*/ 2147483647 h 114"/>
                      <a:gd name="T2" fmla="*/ 2147483647 w 102"/>
                      <a:gd name="T3" fmla="*/ 2147483647 h 114"/>
                      <a:gd name="T4" fmla="*/ 2147483647 w 102"/>
                      <a:gd name="T5" fmla="*/ 0 h 114"/>
                      <a:gd name="T6" fmla="*/ 2147483647 w 102"/>
                      <a:gd name="T7" fmla="*/ 2147483647 h 114"/>
                      <a:gd name="T8" fmla="*/ 0 w 102"/>
                      <a:gd name="T9" fmla="*/ 2147483647 h 114"/>
                      <a:gd name="T10" fmla="*/ 0 w 102"/>
                      <a:gd name="T11" fmla="*/ 2147483647 h 114"/>
                      <a:gd name="T12" fmla="*/ 2147483647 w 102"/>
                      <a:gd name="T13" fmla="*/ 2147483647 h 114"/>
                      <a:gd name="T14" fmla="*/ 2147483647 w 102"/>
                      <a:gd name="T15" fmla="*/ 2147483647 h 114"/>
                      <a:gd name="T16" fmla="*/ 2147483647 w 102"/>
                      <a:gd name="T17" fmla="*/ 2147483647 h 114"/>
                      <a:gd name="T18" fmla="*/ 2147483647 w 102"/>
                      <a:gd name="T19" fmla="*/ 2147483647 h 114"/>
                      <a:gd name="T20" fmla="*/ 2147483647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66" y="24"/>
                        </a:moveTo>
                        <a:lnTo>
                          <a:pt x="36" y="6"/>
                        </a:lnTo>
                        <a:lnTo>
                          <a:pt x="18" y="0"/>
                        </a:lnTo>
                        <a:lnTo>
                          <a:pt x="6" y="18"/>
                        </a:lnTo>
                        <a:lnTo>
                          <a:pt x="0" y="48"/>
                        </a:lnTo>
                        <a:lnTo>
                          <a:pt x="0" y="78"/>
                        </a:lnTo>
                        <a:lnTo>
                          <a:pt x="24" y="96"/>
                        </a:lnTo>
                        <a:lnTo>
                          <a:pt x="36" y="108"/>
                        </a:lnTo>
                        <a:lnTo>
                          <a:pt x="66" y="114"/>
                        </a:lnTo>
                        <a:lnTo>
                          <a:pt x="96" y="90"/>
                        </a:lnTo>
                        <a:lnTo>
                          <a:pt x="102" y="78"/>
                        </a:lnTo>
                        <a:lnTo>
                          <a:pt x="84" y="42"/>
                        </a:lnTo>
                        <a:lnTo>
                          <a:pt x="66" y="24"/>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25" name="Freeform 420"/>
                  <p:cNvSpPr>
                    <a:spLocks/>
                  </p:cNvSpPr>
                  <p:nvPr/>
                </p:nvSpPr>
                <p:spPr bwMode="auto">
                  <a:xfrm>
                    <a:off x="2345141" y="4169406"/>
                    <a:ext cx="316712" cy="411881"/>
                  </a:xfrm>
                  <a:custGeom>
                    <a:avLst/>
                    <a:gdLst>
                      <a:gd name="T0" fmla="*/ 2147483647 w 240"/>
                      <a:gd name="T1" fmla="*/ 2147483647 h 337"/>
                      <a:gd name="T2" fmla="*/ 2147483647 w 240"/>
                      <a:gd name="T3" fmla="*/ 2147483647 h 337"/>
                      <a:gd name="T4" fmla="*/ 2147483647 w 240"/>
                      <a:gd name="T5" fmla="*/ 2147483647 h 337"/>
                      <a:gd name="T6" fmla="*/ 2147483647 w 240"/>
                      <a:gd name="T7" fmla="*/ 2147483647 h 337"/>
                      <a:gd name="T8" fmla="*/ 2147483647 w 240"/>
                      <a:gd name="T9" fmla="*/ 2147483647 h 337"/>
                      <a:gd name="T10" fmla="*/ 2147483647 w 240"/>
                      <a:gd name="T11" fmla="*/ 2147483647 h 337"/>
                      <a:gd name="T12" fmla="*/ 2147483647 w 240"/>
                      <a:gd name="T13" fmla="*/ 2147483647 h 337"/>
                      <a:gd name="T14" fmla="*/ 2147483647 w 240"/>
                      <a:gd name="T15" fmla="*/ 2147483647 h 337"/>
                      <a:gd name="T16" fmla="*/ 2147483647 w 240"/>
                      <a:gd name="T17" fmla="*/ 2147483647 h 337"/>
                      <a:gd name="T18" fmla="*/ 2147483647 w 240"/>
                      <a:gd name="T19" fmla="*/ 2147483647 h 337"/>
                      <a:gd name="T20" fmla="*/ 2147483647 w 240"/>
                      <a:gd name="T21" fmla="*/ 2147483647 h 337"/>
                      <a:gd name="T22" fmla="*/ 2147483647 w 240"/>
                      <a:gd name="T23" fmla="*/ 2147483647 h 337"/>
                      <a:gd name="T24" fmla="*/ 2147483647 w 240"/>
                      <a:gd name="T25" fmla="*/ 2147483647 h 337"/>
                      <a:gd name="T26" fmla="*/ 2147483647 w 240"/>
                      <a:gd name="T27" fmla="*/ 0 h 337"/>
                      <a:gd name="T28" fmla="*/ 2147483647 w 240"/>
                      <a:gd name="T29" fmla="*/ 0 h 337"/>
                      <a:gd name="T30" fmla="*/ 2147483647 w 240"/>
                      <a:gd name="T31" fmla="*/ 2147483647 h 337"/>
                      <a:gd name="T32" fmla="*/ 2147483647 w 240"/>
                      <a:gd name="T33" fmla="*/ 2147483647 h 337"/>
                      <a:gd name="T34" fmla="*/ 2147483647 w 240"/>
                      <a:gd name="T35" fmla="*/ 2147483647 h 337"/>
                      <a:gd name="T36" fmla="*/ 2147483647 w 240"/>
                      <a:gd name="T37" fmla="*/ 2147483647 h 337"/>
                      <a:gd name="T38" fmla="*/ 2147483647 w 240"/>
                      <a:gd name="T39" fmla="*/ 2147483647 h 337"/>
                      <a:gd name="T40" fmla="*/ 2147483647 w 240"/>
                      <a:gd name="T41" fmla="*/ 2147483647 h 337"/>
                      <a:gd name="T42" fmla="*/ 0 w 240"/>
                      <a:gd name="T43" fmla="*/ 2147483647 h 337"/>
                      <a:gd name="T44" fmla="*/ 2147483647 w 240"/>
                      <a:gd name="T45" fmla="*/ 2147483647 h 337"/>
                      <a:gd name="T46" fmla="*/ 2147483647 w 240"/>
                      <a:gd name="T47" fmla="*/ 2147483647 h 337"/>
                      <a:gd name="T48" fmla="*/ 2147483647 w 240"/>
                      <a:gd name="T49" fmla="*/ 2147483647 h 337"/>
                      <a:gd name="T50" fmla="*/ 2147483647 w 240"/>
                      <a:gd name="T51" fmla="*/ 2147483647 h 337"/>
                      <a:gd name="T52" fmla="*/ 2147483647 w 240"/>
                      <a:gd name="T53" fmla="*/ 2147483647 h 337"/>
                      <a:gd name="T54" fmla="*/ 2147483647 w 240"/>
                      <a:gd name="T55" fmla="*/ 2147483647 h 337"/>
                      <a:gd name="T56" fmla="*/ 2147483647 w 240"/>
                      <a:gd name="T57" fmla="*/ 2147483647 h 337"/>
                      <a:gd name="T58" fmla="*/ 2147483647 w 240"/>
                      <a:gd name="T59" fmla="*/ 2147483647 h 337"/>
                      <a:gd name="T60" fmla="*/ 2147483647 w 240"/>
                      <a:gd name="T61" fmla="*/ 2147483647 h 337"/>
                      <a:gd name="T62" fmla="*/ 2147483647 w 240"/>
                      <a:gd name="T63" fmla="*/ 2147483647 h 3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0" h="337">
                        <a:moveTo>
                          <a:pt x="228" y="204"/>
                        </a:moveTo>
                        <a:lnTo>
                          <a:pt x="228" y="198"/>
                        </a:lnTo>
                        <a:lnTo>
                          <a:pt x="216" y="198"/>
                        </a:lnTo>
                        <a:lnTo>
                          <a:pt x="210" y="162"/>
                        </a:lnTo>
                        <a:lnTo>
                          <a:pt x="180" y="174"/>
                        </a:lnTo>
                        <a:lnTo>
                          <a:pt x="156" y="156"/>
                        </a:lnTo>
                        <a:lnTo>
                          <a:pt x="156" y="120"/>
                        </a:lnTo>
                        <a:lnTo>
                          <a:pt x="180" y="84"/>
                        </a:lnTo>
                        <a:lnTo>
                          <a:pt x="198" y="72"/>
                        </a:lnTo>
                        <a:lnTo>
                          <a:pt x="204" y="54"/>
                        </a:lnTo>
                        <a:lnTo>
                          <a:pt x="192" y="36"/>
                        </a:lnTo>
                        <a:lnTo>
                          <a:pt x="168" y="36"/>
                        </a:lnTo>
                        <a:lnTo>
                          <a:pt x="150" y="18"/>
                        </a:lnTo>
                        <a:lnTo>
                          <a:pt x="120" y="0"/>
                        </a:lnTo>
                        <a:lnTo>
                          <a:pt x="108" y="24"/>
                        </a:lnTo>
                        <a:lnTo>
                          <a:pt x="84" y="48"/>
                        </a:lnTo>
                        <a:lnTo>
                          <a:pt x="66" y="54"/>
                        </a:lnTo>
                        <a:lnTo>
                          <a:pt x="42" y="78"/>
                        </a:lnTo>
                        <a:lnTo>
                          <a:pt x="24" y="72"/>
                        </a:lnTo>
                        <a:lnTo>
                          <a:pt x="18" y="60"/>
                        </a:lnTo>
                        <a:lnTo>
                          <a:pt x="0" y="72"/>
                        </a:lnTo>
                        <a:lnTo>
                          <a:pt x="18" y="114"/>
                        </a:lnTo>
                        <a:lnTo>
                          <a:pt x="54" y="174"/>
                        </a:lnTo>
                        <a:lnTo>
                          <a:pt x="90" y="252"/>
                        </a:lnTo>
                        <a:lnTo>
                          <a:pt x="90" y="264"/>
                        </a:lnTo>
                        <a:lnTo>
                          <a:pt x="216" y="337"/>
                        </a:lnTo>
                        <a:lnTo>
                          <a:pt x="222" y="337"/>
                        </a:lnTo>
                        <a:lnTo>
                          <a:pt x="228" y="307"/>
                        </a:lnTo>
                        <a:lnTo>
                          <a:pt x="234" y="270"/>
                        </a:lnTo>
                        <a:lnTo>
                          <a:pt x="240" y="222"/>
                        </a:lnTo>
                        <a:lnTo>
                          <a:pt x="228" y="204"/>
                        </a:lnTo>
                      </a:path>
                    </a:pathLst>
                  </a:custGeom>
                  <a:no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26" name="Freeform 413"/>
                  <p:cNvSpPr>
                    <a:spLocks/>
                  </p:cNvSpPr>
                  <p:nvPr/>
                </p:nvSpPr>
                <p:spPr bwMode="auto">
                  <a:xfrm>
                    <a:off x="2547398" y="4039339"/>
                    <a:ext cx="873309" cy="957169"/>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1978554233 h 10000"/>
                      <a:gd name="T28" fmla="*/ 2147483647 w 10000"/>
                      <a:gd name="T29" fmla="*/ 1571492712 h 10000"/>
                      <a:gd name="T30" fmla="*/ 2147483647 w 10000"/>
                      <a:gd name="T31" fmla="*/ 1454980750 h 10000"/>
                      <a:gd name="T32" fmla="*/ 2147483647 w 10000"/>
                      <a:gd name="T33" fmla="*/ 1106175301 h 10000"/>
                      <a:gd name="T34" fmla="*/ 2147483647 w 10000"/>
                      <a:gd name="T35" fmla="*/ 640102212 h 10000"/>
                      <a:gd name="T36" fmla="*/ 2147483647 w 10000"/>
                      <a:gd name="T37" fmla="*/ 174776418 h 10000"/>
                      <a:gd name="T38" fmla="*/ 2147483647 w 10000"/>
                      <a:gd name="T39" fmla="*/ 640102212 h 10000"/>
                      <a:gd name="T40" fmla="*/ 2147483647 w 10000"/>
                      <a:gd name="T41" fmla="*/ 581837847 h 10000"/>
                      <a:gd name="T42" fmla="*/ 2147483647 w 10000"/>
                      <a:gd name="T43" fmla="*/ 640102212 h 10000"/>
                      <a:gd name="T44" fmla="*/ 2147483647 w 10000"/>
                      <a:gd name="T45" fmla="*/ 756622557 h 10000"/>
                      <a:gd name="T46" fmla="*/ 2147483647 w 10000"/>
                      <a:gd name="T47" fmla="*/ 233040691 h 10000"/>
                      <a:gd name="T48" fmla="*/ 2147483647 w 10000"/>
                      <a:gd name="T49" fmla="*/ 0 h 10000"/>
                      <a:gd name="T50" fmla="*/ 1983523268 w 10000"/>
                      <a:gd name="T51" fmla="*/ 233040691 h 10000"/>
                      <a:gd name="T52" fmla="*/ 1700062263 w 10000"/>
                      <a:gd name="T53" fmla="*/ 523581775 h 10000"/>
                      <a:gd name="T54" fmla="*/ 1246527822 w 10000"/>
                      <a:gd name="T55" fmla="*/ 873134519 h 10000"/>
                      <a:gd name="T56" fmla="*/ 623607879 w 10000"/>
                      <a:gd name="T57" fmla="*/ 814878538 h 10000"/>
                      <a:gd name="T58" fmla="*/ 566914139 w 10000"/>
                      <a:gd name="T59" fmla="*/ 1746277422 h 10000"/>
                      <a:gd name="T60" fmla="*/ 396840702 w 10000"/>
                      <a:gd name="T61" fmla="*/ 1804533494 h 10000"/>
                      <a:gd name="T62" fmla="*/ 0 w 10000"/>
                      <a:gd name="T63" fmla="*/ 2147483647 h 10000"/>
                      <a:gd name="T64" fmla="*/ 226767265 w 10000"/>
                      <a:gd name="T65" fmla="*/ 2147483647 h 10000"/>
                      <a:gd name="T66" fmla="*/ 566914139 w 10000"/>
                      <a:gd name="T67" fmla="*/ 2147483647 h 10000"/>
                      <a:gd name="T68" fmla="*/ 680301707 w 10000"/>
                      <a:gd name="T69" fmla="*/ 2147483647 h 10000"/>
                      <a:gd name="T70" fmla="*/ 975514221 w 10000"/>
                      <a:gd name="T71" fmla="*/ 2147483647 h 10000"/>
                      <a:gd name="T72" fmla="*/ 1292157988 w 10000"/>
                      <a:gd name="T73" fmla="*/ 2147483647 h 10000"/>
                      <a:gd name="T74" fmla="*/ 1529988738 w 10000"/>
                      <a:gd name="T75" fmla="*/ 2147483647 h 10000"/>
                      <a:gd name="T76" fmla="*/ 2147483647 w 10000"/>
                      <a:gd name="T77" fmla="*/ 2147483647 h 10000"/>
                      <a:gd name="T78" fmla="*/ 2147483647 w 10000"/>
                      <a:gd name="T79" fmla="*/ 2147483647 h 10000"/>
                      <a:gd name="T80" fmla="*/ 2147483647 w 10000"/>
                      <a:gd name="T81" fmla="*/ 2147483647 h 1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0">
                        <a:moveTo>
                          <a:pt x="5000" y="7769"/>
                        </a:moveTo>
                        <a:cubicBezTo>
                          <a:pt x="5027" y="7795"/>
                          <a:pt x="5055" y="7820"/>
                          <a:pt x="5082" y="7846"/>
                        </a:cubicBezTo>
                        <a:cubicBezTo>
                          <a:pt x="5027" y="8000"/>
                          <a:pt x="4973" y="8154"/>
                          <a:pt x="4918" y="8308"/>
                        </a:cubicBezTo>
                        <a:lnTo>
                          <a:pt x="4672" y="8462"/>
                        </a:lnTo>
                        <a:lnTo>
                          <a:pt x="4098" y="9000"/>
                        </a:lnTo>
                        <a:lnTo>
                          <a:pt x="4180" y="9000"/>
                        </a:lnTo>
                        <a:lnTo>
                          <a:pt x="4098" y="9000"/>
                        </a:lnTo>
                        <a:lnTo>
                          <a:pt x="4344" y="9077"/>
                        </a:lnTo>
                        <a:lnTo>
                          <a:pt x="4754" y="9308"/>
                        </a:lnTo>
                        <a:lnTo>
                          <a:pt x="5000" y="9538"/>
                        </a:lnTo>
                        <a:lnTo>
                          <a:pt x="5246" y="10000"/>
                        </a:lnTo>
                        <a:cubicBezTo>
                          <a:pt x="5273" y="9923"/>
                          <a:pt x="5301" y="9846"/>
                          <a:pt x="5328" y="9769"/>
                        </a:cubicBezTo>
                        <a:lnTo>
                          <a:pt x="5656" y="9462"/>
                        </a:lnTo>
                        <a:lnTo>
                          <a:pt x="6066" y="9077"/>
                        </a:lnTo>
                        <a:lnTo>
                          <a:pt x="6393" y="8077"/>
                        </a:lnTo>
                        <a:lnTo>
                          <a:pt x="6639" y="7615"/>
                        </a:lnTo>
                        <a:lnTo>
                          <a:pt x="7541" y="7077"/>
                        </a:lnTo>
                        <a:lnTo>
                          <a:pt x="8115" y="7000"/>
                        </a:lnTo>
                        <a:lnTo>
                          <a:pt x="8279" y="6923"/>
                        </a:lnTo>
                        <a:lnTo>
                          <a:pt x="8443" y="6615"/>
                        </a:lnTo>
                        <a:cubicBezTo>
                          <a:pt x="8470" y="6513"/>
                          <a:pt x="8498" y="6410"/>
                          <a:pt x="8525" y="6308"/>
                        </a:cubicBezTo>
                        <a:cubicBezTo>
                          <a:pt x="8607" y="6180"/>
                          <a:pt x="8688" y="6051"/>
                          <a:pt x="8770" y="5923"/>
                        </a:cubicBezTo>
                        <a:cubicBezTo>
                          <a:pt x="8797" y="5872"/>
                          <a:pt x="8825" y="5820"/>
                          <a:pt x="8852" y="5769"/>
                        </a:cubicBezTo>
                        <a:cubicBezTo>
                          <a:pt x="8879" y="5333"/>
                          <a:pt x="8907" y="4898"/>
                          <a:pt x="8934" y="4462"/>
                        </a:cubicBezTo>
                        <a:lnTo>
                          <a:pt x="9180" y="4385"/>
                        </a:lnTo>
                        <a:lnTo>
                          <a:pt x="10000" y="3385"/>
                        </a:lnTo>
                        <a:lnTo>
                          <a:pt x="10000" y="3154"/>
                        </a:lnTo>
                        <a:cubicBezTo>
                          <a:pt x="9945" y="2974"/>
                          <a:pt x="9891" y="2795"/>
                          <a:pt x="9836" y="2615"/>
                        </a:cubicBezTo>
                        <a:lnTo>
                          <a:pt x="9344" y="2462"/>
                        </a:lnTo>
                        <a:lnTo>
                          <a:pt x="8607" y="2077"/>
                        </a:lnTo>
                        <a:lnTo>
                          <a:pt x="7787" y="2000"/>
                        </a:lnTo>
                        <a:lnTo>
                          <a:pt x="7541" y="1923"/>
                        </a:lnTo>
                        <a:lnTo>
                          <a:pt x="7377" y="1692"/>
                        </a:lnTo>
                        <a:lnTo>
                          <a:pt x="6721" y="1462"/>
                        </a:lnTo>
                        <a:lnTo>
                          <a:pt x="6148" y="1154"/>
                        </a:lnTo>
                        <a:cubicBezTo>
                          <a:pt x="6121" y="1051"/>
                          <a:pt x="6093" y="949"/>
                          <a:pt x="6066" y="846"/>
                        </a:cubicBezTo>
                        <a:lnTo>
                          <a:pt x="5820" y="231"/>
                        </a:lnTo>
                        <a:lnTo>
                          <a:pt x="5738" y="231"/>
                        </a:lnTo>
                        <a:lnTo>
                          <a:pt x="5410" y="692"/>
                        </a:lnTo>
                        <a:lnTo>
                          <a:pt x="5082" y="846"/>
                        </a:lnTo>
                        <a:cubicBezTo>
                          <a:pt x="5055" y="820"/>
                          <a:pt x="5027" y="795"/>
                          <a:pt x="5000" y="769"/>
                        </a:cubicBezTo>
                        <a:lnTo>
                          <a:pt x="4590" y="769"/>
                        </a:lnTo>
                        <a:lnTo>
                          <a:pt x="4426" y="846"/>
                        </a:lnTo>
                        <a:lnTo>
                          <a:pt x="4344" y="846"/>
                        </a:lnTo>
                        <a:lnTo>
                          <a:pt x="3934" y="923"/>
                        </a:lnTo>
                        <a:lnTo>
                          <a:pt x="3689" y="1000"/>
                        </a:lnTo>
                        <a:lnTo>
                          <a:pt x="3443" y="769"/>
                        </a:lnTo>
                        <a:cubicBezTo>
                          <a:pt x="3470" y="615"/>
                          <a:pt x="3498" y="462"/>
                          <a:pt x="3525" y="308"/>
                        </a:cubicBezTo>
                        <a:lnTo>
                          <a:pt x="3361" y="77"/>
                        </a:lnTo>
                        <a:lnTo>
                          <a:pt x="3197" y="0"/>
                        </a:lnTo>
                        <a:cubicBezTo>
                          <a:pt x="3224" y="51"/>
                          <a:pt x="3252" y="103"/>
                          <a:pt x="3279" y="154"/>
                        </a:cubicBezTo>
                        <a:lnTo>
                          <a:pt x="2869" y="308"/>
                        </a:lnTo>
                        <a:lnTo>
                          <a:pt x="2213" y="308"/>
                        </a:lnTo>
                        <a:lnTo>
                          <a:pt x="2459" y="692"/>
                        </a:lnTo>
                        <a:cubicBezTo>
                          <a:pt x="2486" y="769"/>
                          <a:pt x="2514" y="846"/>
                          <a:pt x="2541" y="923"/>
                        </a:cubicBezTo>
                        <a:lnTo>
                          <a:pt x="1803" y="1154"/>
                        </a:lnTo>
                        <a:lnTo>
                          <a:pt x="1557" y="923"/>
                        </a:lnTo>
                        <a:lnTo>
                          <a:pt x="902" y="1077"/>
                        </a:lnTo>
                        <a:cubicBezTo>
                          <a:pt x="929" y="1205"/>
                          <a:pt x="957" y="1334"/>
                          <a:pt x="984" y="1462"/>
                        </a:cubicBezTo>
                        <a:cubicBezTo>
                          <a:pt x="929" y="1744"/>
                          <a:pt x="875" y="2026"/>
                          <a:pt x="820" y="2308"/>
                        </a:cubicBezTo>
                        <a:cubicBezTo>
                          <a:pt x="765" y="2257"/>
                          <a:pt x="711" y="2205"/>
                          <a:pt x="656" y="2154"/>
                        </a:cubicBezTo>
                        <a:cubicBezTo>
                          <a:pt x="629" y="2231"/>
                          <a:pt x="601" y="2308"/>
                          <a:pt x="574" y="2385"/>
                        </a:cubicBezTo>
                        <a:lnTo>
                          <a:pt x="328" y="2538"/>
                        </a:lnTo>
                        <a:lnTo>
                          <a:pt x="0" y="3000"/>
                        </a:lnTo>
                        <a:lnTo>
                          <a:pt x="0" y="3462"/>
                        </a:lnTo>
                        <a:lnTo>
                          <a:pt x="328" y="3692"/>
                        </a:lnTo>
                        <a:lnTo>
                          <a:pt x="738" y="3538"/>
                        </a:lnTo>
                        <a:cubicBezTo>
                          <a:pt x="765" y="3692"/>
                          <a:pt x="793" y="3846"/>
                          <a:pt x="820" y="4000"/>
                        </a:cubicBezTo>
                        <a:lnTo>
                          <a:pt x="984" y="4000"/>
                        </a:lnTo>
                        <a:lnTo>
                          <a:pt x="984" y="4077"/>
                        </a:lnTo>
                        <a:cubicBezTo>
                          <a:pt x="1311" y="4000"/>
                          <a:pt x="1240" y="3993"/>
                          <a:pt x="1311" y="4000"/>
                        </a:cubicBezTo>
                        <a:cubicBezTo>
                          <a:pt x="1382" y="4007"/>
                          <a:pt x="1378" y="4124"/>
                          <a:pt x="1411" y="4121"/>
                        </a:cubicBezTo>
                        <a:cubicBezTo>
                          <a:pt x="1487" y="4047"/>
                          <a:pt x="1644" y="3939"/>
                          <a:pt x="1720" y="3900"/>
                        </a:cubicBezTo>
                        <a:cubicBezTo>
                          <a:pt x="1796" y="3861"/>
                          <a:pt x="1787" y="3873"/>
                          <a:pt x="1869" y="3886"/>
                        </a:cubicBezTo>
                        <a:cubicBezTo>
                          <a:pt x="1951" y="3899"/>
                          <a:pt x="2074" y="3776"/>
                          <a:pt x="2131" y="3846"/>
                        </a:cubicBezTo>
                        <a:cubicBezTo>
                          <a:pt x="2188" y="3916"/>
                          <a:pt x="2186" y="4154"/>
                          <a:pt x="2213" y="4308"/>
                        </a:cubicBezTo>
                        <a:lnTo>
                          <a:pt x="2705" y="4538"/>
                        </a:lnTo>
                        <a:lnTo>
                          <a:pt x="3279" y="4769"/>
                        </a:lnTo>
                        <a:lnTo>
                          <a:pt x="3279" y="5077"/>
                        </a:lnTo>
                        <a:lnTo>
                          <a:pt x="3443" y="5308"/>
                        </a:lnTo>
                        <a:cubicBezTo>
                          <a:pt x="3525" y="5308"/>
                          <a:pt x="3934" y="5385"/>
                          <a:pt x="3934" y="5385"/>
                        </a:cubicBezTo>
                        <a:lnTo>
                          <a:pt x="3934" y="5692"/>
                        </a:lnTo>
                        <a:lnTo>
                          <a:pt x="3934" y="6231"/>
                        </a:lnTo>
                      </a:path>
                    </a:pathLst>
                  </a:custGeom>
                  <a:solidFill>
                    <a:srgbClr val="00CC00"/>
                  </a:solidFill>
                  <a:ln w="9525" cap="flat" cmpd="sng">
                    <a:solidFill>
                      <a:sysClr val="window" lastClr="FFFFFF">
                        <a:lumMod val="50000"/>
                      </a:sys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kern="0">
                      <a:solidFill>
                        <a:prstClr val="black"/>
                      </a:solidFill>
                      <a:latin typeface="Calibri"/>
                    </a:endParaRPr>
                  </a:p>
                </p:txBody>
              </p:sp>
              <p:sp>
                <p:nvSpPr>
                  <p:cNvPr id="627" name="Freeform 409"/>
                  <p:cNvSpPr>
                    <a:spLocks/>
                  </p:cNvSpPr>
                  <p:nvPr/>
                </p:nvSpPr>
                <p:spPr bwMode="auto">
                  <a:xfrm>
                    <a:off x="2534854" y="4671336"/>
                    <a:ext cx="467228" cy="995523"/>
                  </a:xfrm>
                  <a:custGeom>
                    <a:avLst/>
                    <a:gdLst>
                      <a:gd name="T0" fmla="*/ 2147483647 w 10000"/>
                      <a:gd name="T1" fmla="*/ 2147483647 h 10001"/>
                      <a:gd name="T2" fmla="*/ 2147483647 w 10000"/>
                      <a:gd name="T3" fmla="*/ 2147483647 h 10001"/>
                      <a:gd name="T4" fmla="*/ 2147483647 w 10000"/>
                      <a:gd name="T5" fmla="*/ 2147483647 h 10001"/>
                      <a:gd name="T6" fmla="*/ 2147483647 w 10000"/>
                      <a:gd name="T7" fmla="*/ 2147483647 h 10001"/>
                      <a:gd name="T8" fmla="*/ 2147483647 w 10000"/>
                      <a:gd name="T9" fmla="*/ 2147483647 h 10001"/>
                      <a:gd name="T10" fmla="*/ 2147483647 w 10000"/>
                      <a:gd name="T11" fmla="*/ 2147483647 h 10001"/>
                      <a:gd name="T12" fmla="*/ 2147483647 w 10000"/>
                      <a:gd name="T13" fmla="*/ 2147483647 h 10001"/>
                      <a:gd name="T14" fmla="*/ 2147483647 w 10000"/>
                      <a:gd name="T15" fmla="*/ 2147483647 h 10001"/>
                      <a:gd name="T16" fmla="*/ 2147483647 w 10000"/>
                      <a:gd name="T17" fmla="*/ 2147483647 h 10001"/>
                      <a:gd name="T18" fmla="*/ 2147483647 w 10000"/>
                      <a:gd name="T19" fmla="*/ 2147483647 h 10001"/>
                      <a:gd name="T20" fmla="*/ 2147483647 w 10000"/>
                      <a:gd name="T21" fmla="*/ 2147483647 h 10001"/>
                      <a:gd name="T22" fmla="*/ 2147483647 w 10000"/>
                      <a:gd name="T23" fmla="*/ 2147483647 h 10001"/>
                      <a:gd name="T24" fmla="*/ 2147483647 w 10000"/>
                      <a:gd name="T25" fmla="*/ 2147483647 h 10001"/>
                      <a:gd name="T26" fmla="*/ 2147483647 w 10000"/>
                      <a:gd name="T27" fmla="*/ 2147483647 h 10001"/>
                      <a:gd name="T28" fmla="*/ 2147483647 w 10000"/>
                      <a:gd name="T29" fmla="*/ 0 h 10001"/>
                      <a:gd name="T30" fmla="*/ 2147483647 w 10000"/>
                      <a:gd name="T31" fmla="*/ 2147483647 h 10001"/>
                      <a:gd name="T32" fmla="*/ 2147483647 w 10000"/>
                      <a:gd name="T33" fmla="*/ 2147483647 h 10001"/>
                      <a:gd name="T34" fmla="*/ 2147483647 w 10000"/>
                      <a:gd name="T35" fmla="*/ 2147483647 h 10001"/>
                      <a:gd name="T36" fmla="*/ 2147483647 w 10000"/>
                      <a:gd name="T37" fmla="*/ 2147483647 h 10001"/>
                      <a:gd name="T38" fmla="*/ 2147483647 w 10000"/>
                      <a:gd name="T39" fmla="*/ 2147483647 h 10001"/>
                      <a:gd name="T40" fmla="*/ 2147483647 w 10000"/>
                      <a:gd name="T41" fmla="*/ 2147483647 h 10001"/>
                      <a:gd name="T42" fmla="*/ 2147483647 w 10000"/>
                      <a:gd name="T43" fmla="*/ 2147483647 h 10001"/>
                      <a:gd name="T44" fmla="*/ 2147483647 w 10000"/>
                      <a:gd name="T45" fmla="*/ 2147483647 h 10001"/>
                      <a:gd name="T46" fmla="*/ 2147483647 w 10000"/>
                      <a:gd name="T47" fmla="*/ 2147483647 h 10001"/>
                      <a:gd name="T48" fmla="*/ 2147483647 w 10000"/>
                      <a:gd name="T49" fmla="*/ 2147483647 h 10001"/>
                      <a:gd name="T50" fmla="*/ 2147483647 w 10000"/>
                      <a:gd name="T51" fmla="*/ 2147483647 h 10001"/>
                      <a:gd name="T52" fmla="*/ 2147483647 w 10000"/>
                      <a:gd name="T53" fmla="*/ 2147483647 h 10001"/>
                      <a:gd name="T54" fmla="*/ 2147483647 w 10000"/>
                      <a:gd name="T55" fmla="*/ 2147483647 h 10001"/>
                      <a:gd name="T56" fmla="*/ 2147483647 w 10000"/>
                      <a:gd name="T57" fmla="*/ 2147483647 h 10001"/>
                      <a:gd name="T58" fmla="*/ 2147483647 w 10000"/>
                      <a:gd name="T59" fmla="*/ 2147483647 h 10001"/>
                      <a:gd name="T60" fmla="*/ 2147483647 w 10000"/>
                      <a:gd name="T61" fmla="*/ 2147483647 h 10001"/>
                      <a:gd name="T62" fmla="*/ 2147483647 w 10000"/>
                      <a:gd name="T63" fmla="*/ 2147483647 h 10001"/>
                      <a:gd name="T64" fmla="*/ 2147483647 w 10000"/>
                      <a:gd name="T65" fmla="*/ 2147483647 h 10001"/>
                      <a:gd name="T66" fmla="*/ 0 w 10000"/>
                      <a:gd name="T67" fmla="*/ 2147483647 h 10001"/>
                      <a:gd name="T68" fmla="*/ 806443005 w 10000"/>
                      <a:gd name="T69" fmla="*/ 2147483647 h 10001"/>
                      <a:gd name="T70" fmla="*/ 2147483647 w 10000"/>
                      <a:gd name="T71" fmla="*/ 2147483647 h 10001"/>
                      <a:gd name="T72" fmla="*/ 2147483647 w 10000"/>
                      <a:gd name="T73" fmla="*/ 2147483647 h 10001"/>
                      <a:gd name="T74" fmla="*/ 2147483647 w 10000"/>
                      <a:gd name="T75" fmla="*/ 2147483647 h 10001"/>
                      <a:gd name="T76" fmla="*/ 2147483647 w 10000"/>
                      <a:gd name="T77" fmla="*/ 2147483647 h 10001"/>
                      <a:gd name="T78" fmla="*/ 2147483647 w 10000"/>
                      <a:gd name="T79" fmla="*/ 2147483647 h 10001"/>
                      <a:gd name="T80" fmla="*/ 2147483647 w 10000"/>
                      <a:gd name="T81" fmla="*/ 2147483647 h 10001"/>
                      <a:gd name="T82" fmla="*/ 2147483647 w 10000"/>
                      <a:gd name="T83" fmla="*/ 2147483647 h 10001"/>
                      <a:gd name="T84" fmla="*/ 2147483647 w 10000"/>
                      <a:gd name="T85" fmla="*/ 2147483647 h 10001"/>
                      <a:gd name="T86" fmla="*/ 2147483647 w 10000"/>
                      <a:gd name="T87" fmla="*/ 2147483647 h 10001"/>
                      <a:gd name="T88" fmla="*/ 2147483647 w 10000"/>
                      <a:gd name="T89" fmla="*/ 2147483647 h 10001"/>
                      <a:gd name="T90" fmla="*/ 2147483647 w 10000"/>
                      <a:gd name="T91" fmla="*/ 2147483647 h 10001"/>
                      <a:gd name="T92" fmla="*/ 2147483647 w 10000"/>
                      <a:gd name="T93" fmla="*/ 2147483647 h 10001"/>
                      <a:gd name="T94" fmla="*/ 2147483647 w 10000"/>
                      <a:gd name="T95" fmla="*/ 2147483647 h 10001"/>
                      <a:gd name="T96" fmla="*/ 2147483647 w 10000"/>
                      <a:gd name="T97" fmla="*/ 2147483647 h 10001"/>
                      <a:gd name="T98" fmla="*/ 2147483647 w 10000"/>
                      <a:gd name="T99" fmla="*/ 2147483647 h 10001"/>
                      <a:gd name="T100" fmla="*/ 2147483647 w 10000"/>
                      <a:gd name="T101" fmla="*/ 2147483647 h 10001"/>
                      <a:gd name="T102" fmla="*/ 2147483647 w 10000"/>
                      <a:gd name="T103" fmla="*/ 2147483647 h 10001"/>
                      <a:gd name="T104" fmla="*/ 2147483647 w 10000"/>
                      <a:gd name="T105" fmla="*/ 2147483647 h 10001"/>
                      <a:gd name="T106" fmla="*/ 2147483647 w 10000"/>
                      <a:gd name="T107" fmla="*/ 2147483647 h 10001"/>
                      <a:gd name="T108" fmla="*/ 2147483647 w 10000"/>
                      <a:gd name="T109" fmla="*/ 2147483647 h 10001"/>
                      <a:gd name="T110" fmla="*/ 2147483647 w 10000"/>
                      <a:gd name="T111" fmla="*/ 2147483647 h 10001"/>
                      <a:gd name="T112" fmla="*/ 2147483647 w 10000"/>
                      <a:gd name="T113" fmla="*/ 2147483647 h 10001"/>
                      <a:gd name="T114" fmla="*/ 2147483647 w 10000"/>
                      <a:gd name="T115" fmla="*/ 2147483647 h 10001"/>
                      <a:gd name="T116" fmla="*/ 2147483647 w 10000"/>
                      <a:gd name="T117" fmla="*/ 2147483647 h 10001"/>
                      <a:gd name="T118" fmla="*/ 2147483647 w 10000"/>
                      <a:gd name="T119" fmla="*/ 2147483647 h 10001"/>
                      <a:gd name="T120" fmla="*/ 2147483647 w 10000"/>
                      <a:gd name="T121" fmla="*/ 2147483647 h 10001"/>
                      <a:gd name="T122" fmla="*/ 2147483647 w 10000"/>
                      <a:gd name="T123" fmla="*/ 2147483647 h 10001"/>
                      <a:gd name="T124" fmla="*/ 2147483647 w 10000"/>
                      <a:gd name="T125" fmla="*/ 2147483647 h 1000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000" h="10001">
                        <a:moveTo>
                          <a:pt x="7581" y="2950"/>
                        </a:moveTo>
                        <a:cubicBezTo>
                          <a:pt x="7635" y="2818"/>
                          <a:pt x="7688" y="2685"/>
                          <a:pt x="7742" y="2552"/>
                        </a:cubicBezTo>
                        <a:lnTo>
                          <a:pt x="8065" y="2312"/>
                        </a:lnTo>
                        <a:lnTo>
                          <a:pt x="9194" y="1754"/>
                        </a:lnTo>
                        <a:lnTo>
                          <a:pt x="9677" y="1595"/>
                        </a:lnTo>
                        <a:lnTo>
                          <a:pt x="10000" y="1116"/>
                        </a:lnTo>
                        <a:lnTo>
                          <a:pt x="9839" y="1037"/>
                        </a:lnTo>
                        <a:lnTo>
                          <a:pt x="9355" y="1197"/>
                        </a:lnTo>
                        <a:lnTo>
                          <a:pt x="8387" y="1435"/>
                        </a:lnTo>
                        <a:lnTo>
                          <a:pt x="7581" y="1356"/>
                        </a:lnTo>
                        <a:cubicBezTo>
                          <a:pt x="7635" y="1170"/>
                          <a:pt x="7688" y="983"/>
                          <a:pt x="7742" y="797"/>
                        </a:cubicBezTo>
                        <a:lnTo>
                          <a:pt x="7258" y="638"/>
                        </a:lnTo>
                        <a:lnTo>
                          <a:pt x="6290" y="479"/>
                        </a:lnTo>
                        <a:lnTo>
                          <a:pt x="5806" y="319"/>
                        </a:lnTo>
                        <a:lnTo>
                          <a:pt x="5323" y="0"/>
                        </a:lnTo>
                        <a:lnTo>
                          <a:pt x="4677" y="81"/>
                        </a:lnTo>
                        <a:lnTo>
                          <a:pt x="4516" y="159"/>
                        </a:lnTo>
                        <a:lnTo>
                          <a:pt x="3710" y="81"/>
                        </a:lnTo>
                        <a:cubicBezTo>
                          <a:pt x="3387" y="81"/>
                          <a:pt x="3476" y="72"/>
                          <a:pt x="3387" y="81"/>
                        </a:cubicBezTo>
                        <a:cubicBezTo>
                          <a:pt x="3298" y="89"/>
                          <a:pt x="3178" y="131"/>
                          <a:pt x="3178" y="131"/>
                        </a:cubicBezTo>
                        <a:cubicBezTo>
                          <a:pt x="3339" y="211"/>
                          <a:pt x="3245" y="168"/>
                          <a:pt x="3226" y="240"/>
                        </a:cubicBezTo>
                        <a:cubicBezTo>
                          <a:pt x="3207" y="310"/>
                          <a:pt x="3065" y="558"/>
                          <a:pt x="3065" y="558"/>
                        </a:cubicBezTo>
                        <a:lnTo>
                          <a:pt x="2581" y="797"/>
                        </a:lnTo>
                        <a:lnTo>
                          <a:pt x="2581" y="1275"/>
                        </a:lnTo>
                        <a:lnTo>
                          <a:pt x="2258" y="1595"/>
                        </a:lnTo>
                        <a:lnTo>
                          <a:pt x="1774" y="2631"/>
                        </a:lnTo>
                        <a:cubicBezTo>
                          <a:pt x="1828" y="2896"/>
                          <a:pt x="1881" y="3163"/>
                          <a:pt x="1935" y="3428"/>
                        </a:cubicBezTo>
                        <a:lnTo>
                          <a:pt x="968" y="4466"/>
                        </a:lnTo>
                        <a:lnTo>
                          <a:pt x="806" y="5582"/>
                        </a:lnTo>
                        <a:lnTo>
                          <a:pt x="806" y="6141"/>
                        </a:lnTo>
                        <a:cubicBezTo>
                          <a:pt x="752" y="6327"/>
                          <a:pt x="699" y="6514"/>
                          <a:pt x="645" y="6699"/>
                        </a:cubicBezTo>
                        <a:lnTo>
                          <a:pt x="968" y="7019"/>
                        </a:lnTo>
                        <a:lnTo>
                          <a:pt x="484" y="8294"/>
                        </a:lnTo>
                        <a:lnTo>
                          <a:pt x="0" y="8852"/>
                        </a:lnTo>
                        <a:cubicBezTo>
                          <a:pt x="54" y="8985"/>
                          <a:pt x="47" y="9085"/>
                          <a:pt x="161" y="9251"/>
                        </a:cubicBezTo>
                        <a:cubicBezTo>
                          <a:pt x="275" y="9417"/>
                          <a:pt x="316" y="9724"/>
                          <a:pt x="685" y="9848"/>
                        </a:cubicBezTo>
                        <a:cubicBezTo>
                          <a:pt x="1054" y="9973"/>
                          <a:pt x="2126" y="10011"/>
                          <a:pt x="2375" y="10000"/>
                        </a:cubicBezTo>
                        <a:cubicBezTo>
                          <a:pt x="2624" y="9989"/>
                          <a:pt x="2202" y="9881"/>
                          <a:pt x="2182" y="9783"/>
                        </a:cubicBezTo>
                        <a:cubicBezTo>
                          <a:pt x="2163" y="9685"/>
                          <a:pt x="2172" y="9527"/>
                          <a:pt x="2258" y="9410"/>
                        </a:cubicBezTo>
                        <a:cubicBezTo>
                          <a:pt x="2345" y="9293"/>
                          <a:pt x="2550" y="9220"/>
                          <a:pt x="2701" y="9082"/>
                        </a:cubicBezTo>
                        <a:cubicBezTo>
                          <a:pt x="2852" y="8944"/>
                          <a:pt x="3004" y="8707"/>
                          <a:pt x="3165" y="8584"/>
                        </a:cubicBezTo>
                        <a:cubicBezTo>
                          <a:pt x="3326" y="8461"/>
                          <a:pt x="3550" y="8459"/>
                          <a:pt x="3668" y="8344"/>
                        </a:cubicBezTo>
                        <a:cubicBezTo>
                          <a:pt x="3786" y="8229"/>
                          <a:pt x="3918" y="7996"/>
                          <a:pt x="3871" y="7895"/>
                        </a:cubicBezTo>
                        <a:cubicBezTo>
                          <a:pt x="3824" y="7794"/>
                          <a:pt x="3548" y="7789"/>
                          <a:pt x="3387" y="7736"/>
                        </a:cubicBezTo>
                        <a:cubicBezTo>
                          <a:pt x="3280" y="7629"/>
                          <a:pt x="3000" y="7495"/>
                          <a:pt x="3065" y="7416"/>
                        </a:cubicBezTo>
                        <a:cubicBezTo>
                          <a:pt x="3130" y="7337"/>
                          <a:pt x="3541" y="7312"/>
                          <a:pt x="3779" y="7260"/>
                        </a:cubicBezTo>
                        <a:cubicBezTo>
                          <a:pt x="3810" y="7153"/>
                          <a:pt x="3875" y="7075"/>
                          <a:pt x="3971" y="6968"/>
                        </a:cubicBezTo>
                        <a:cubicBezTo>
                          <a:pt x="4067" y="6861"/>
                          <a:pt x="4220" y="6700"/>
                          <a:pt x="4355" y="6620"/>
                        </a:cubicBezTo>
                        <a:cubicBezTo>
                          <a:pt x="4490" y="6540"/>
                          <a:pt x="4699" y="6570"/>
                          <a:pt x="4780" y="6490"/>
                        </a:cubicBezTo>
                        <a:cubicBezTo>
                          <a:pt x="4861" y="6410"/>
                          <a:pt x="4853" y="6226"/>
                          <a:pt x="4839" y="6141"/>
                        </a:cubicBezTo>
                        <a:cubicBezTo>
                          <a:pt x="5323" y="5822"/>
                          <a:pt x="5348" y="5984"/>
                          <a:pt x="5437" y="5921"/>
                        </a:cubicBezTo>
                        <a:cubicBezTo>
                          <a:pt x="5526" y="5858"/>
                          <a:pt x="5368" y="5818"/>
                          <a:pt x="5376" y="5762"/>
                        </a:cubicBezTo>
                        <a:cubicBezTo>
                          <a:pt x="5384" y="5706"/>
                          <a:pt x="5412" y="5665"/>
                          <a:pt x="5484" y="5582"/>
                        </a:cubicBezTo>
                        <a:cubicBezTo>
                          <a:pt x="5556" y="5499"/>
                          <a:pt x="5622" y="5319"/>
                          <a:pt x="5806" y="5264"/>
                        </a:cubicBezTo>
                        <a:cubicBezTo>
                          <a:pt x="5990" y="5209"/>
                          <a:pt x="6266" y="5289"/>
                          <a:pt x="6588" y="5253"/>
                        </a:cubicBezTo>
                        <a:cubicBezTo>
                          <a:pt x="6910" y="5217"/>
                          <a:pt x="7468" y="5176"/>
                          <a:pt x="7741" y="5045"/>
                        </a:cubicBezTo>
                        <a:cubicBezTo>
                          <a:pt x="8014" y="4914"/>
                          <a:pt x="8092" y="4629"/>
                          <a:pt x="8226" y="4466"/>
                        </a:cubicBezTo>
                        <a:cubicBezTo>
                          <a:pt x="8361" y="4303"/>
                          <a:pt x="8441" y="4199"/>
                          <a:pt x="8548" y="4066"/>
                        </a:cubicBezTo>
                        <a:lnTo>
                          <a:pt x="8226" y="3748"/>
                        </a:lnTo>
                        <a:cubicBezTo>
                          <a:pt x="8065" y="3668"/>
                          <a:pt x="7825" y="3557"/>
                          <a:pt x="7742" y="3509"/>
                        </a:cubicBezTo>
                        <a:cubicBezTo>
                          <a:pt x="7659" y="3461"/>
                          <a:pt x="7731" y="3475"/>
                          <a:pt x="7726" y="3458"/>
                        </a:cubicBezTo>
                        <a:lnTo>
                          <a:pt x="7581" y="3350"/>
                        </a:lnTo>
                        <a:lnTo>
                          <a:pt x="7581" y="2950"/>
                        </a:lnTo>
                        <a:close/>
                      </a:path>
                    </a:pathLst>
                  </a:custGeom>
                  <a:no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28" name="Freeform 444"/>
                  <p:cNvSpPr>
                    <a:spLocks/>
                  </p:cNvSpPr>
                  <p:nvPr/>
                </p:nvSpPr>
                <p:spPr bwMode="auto">
                  <a:xfrm>
                    <a:off x="2472140" y="4566281"/>
                    <a:ext cx="239886" cy="1238983"/>
                  </a:xfrm>
                  <a:custGeom>
                    <a:avLst/>
                    <a:gdLst>
                      <a:gd name="T0" fmla="*/ 2147483647 w 14463"/>
                      <a:gd name="T1" fmla="*/ 2147483647 h 11339"/>
                      <a:gd name="T2" fmla="*/ 2147483647 w 14463"/>
                      <a:gd name="T3" fmla="*/ 0 h 11339"/>
                      <a:gd name="T4" fmla="*/ 2147483647 w 14463"/>
                      <a:gd name="T5" fmla="*/ 2147483647 h 11339"/>
                      <a:gd name="T6" fmla="*/ 2147483647 w 14463"/>
                      <a:gd name="T7" fmla="*/ 2147483647 h 11339"/>
                      <a:gd name="T8" fmla="*/ 2147483647 w 14463"/>
                      <a:gd name="T9" fmla="*/ 2147483647 h 11339"/>
                      <a:gd name="T10" fmla="*/ 2147483647 w 14463"/>
                      <a:gd name="T11" fmla="*/ 2147483647 h 11339"/>
                      <a:gd name="T12" fmla="*/ 2147483647 w 14463"/>
                      <a:gd name="T13" fmla="*/ 2147483647 h 11339"/>
                      <a:gd name="T14" fmla="*/ 2147483647 w 14463"/>
                      <a:gd name="T15" fmla="*/ 2147483647 h 11339"/>
                      <a:gd name="T16" fmla="*/ 2147483647 w 14463"/>
                      <a:gd name="T17" fmla="*/ 2147483647 h 11339"/>
                      <a:gd name="T18" fmla="*/ 2147483647 w 14463"/>
                      <a:gd name="T19" fmla="*/ 2147483647 h 11339"/>
                      <a:gd name="T20" fmla="*/ 2147483647 w 14463"/>
                      <a:gd name="T21" fmla="*/ 2147483647 h 11339"/>
                      <a:gd name="T22" fmla="*/ 2147483647 w 14463"/>
                      <a:gd name="T23" fmla="*/ 2147483647 h 11339"/>
                      <a:gd name="T24" fmla="*/ 2147483647 w 14463"/>
                      <a:gd name="T25" fmla="*/ 2147483647 h 11339"/>
                      <a:gd name="T26" fmla="*/ 2147483647 w 14463"/>
                      <a:gd name="T27" fmla="*/ 2147483647 h 11339"/>
                      <a:gd name="T28" fmla="*/ 2147483647 w 14463"/>
                      <a:gd name="T29" fmla="*/ 2147483647 h 11339"/>
                      <a:gd name="T30" fmla="*/ 2147483647 w 14463"/>
                      <a:gd name="T31" fmla="*/ 2147483647 h 11339"/>
                      <a:gd name="T32" fmla="*/ 2147483647 w 14463"/>
                      <a:gd name="T33" fmla="*/ 2147483647 h 11339"/>
                      <a:gd name="T34" fmla="*/ 2147483647 w 14463"/>
                      <a:gd name="T35" fmla="*/ 2147483647 h 11339"/>
                      <a:gd name="T36" fmla="*/ 2147483647 w 14463"/>
                      <a:gd name="T37" fmla="*/ 2147483647 h 11339"/>
                      <a:gd name="T38" fmla="*/ 2147483647 w 14463"/>
                      <a:gd name="T39" fmla="*/ 2147483647 h 11339"/>
                      <a:gd name="T40" fmla="*/ 2147483647 w 14463"/>
                      <a:gd name="T41" fmla="*/ 2147483647 h 11339"/>
                      <a:gd name="T42" fmla="*/ 2147483647 w 14463"/>
                      <a:gd name="T43" fmla="*/ 2147483647 h 11339"/>
                      <a:gd name="T44" fmla="*/ 2147483647 w 14463"/>
                      <a:gd name="T45" fmla="*/ 2147483647 h 11339"/>
                      <a:gd name="T46" fmla="*/ 2147483647 w 14463"/>
                      <a:gd name="T47" fmla="*/ 2147483647 h 11339"/>
                      <a:gd name="T48" fmla="*/ 2147483647 w 14463"/>
                      <a:gd name="T49" fmla="*/ 2147483647 h 11339"/>
                      <a:gd name="T50" fmla="*/ 2147483647 w 14463"/>
                      <a:gd name="T51" fmla="*/ 2147483647 h 11339"/>
                      <a:gd name="T52" fmla="*/ 2147483647 w 14463"/>
                      <a:gd name="T53" fmla="*/ 2147483647 h 11339"/>
                      <a:gd name="T54" fmla="*/ 2147483647 w 14463"/>
                      <a:gd name="T55" fmla="*/ 2147483647 h 11339"/>
                      <a:gd name="T56" fmla="*/ 2147483647 w 14463"/>
                      <a:gd name="T57" fmla="*/ 2147483647 h 11339"/>
                      <a:gd name="T58" fmla="*/ 2147483647 w 14463"/>
                      <a:gd name="T59" fmla="*/ 2147483647 h 11339"/>
                      <a:gd name="T60" fmla="*/ 2147483647 w 14463"/>
                      <a:gd name="T61" fmla="*/ 2147483647 h 11339"/>
                      <a:gd name="T62" fmla="*/ 2147483647 w 14463"/>
                      <a:gd name="T63" fmla="*/ 2147483647 h 11339"/>
                      <a:gd name="T64" fmla="*/ 0 w 14463"/>
                      <a:gd name="T65" fmla="*/ 2147483647 h 11339"/>
                      <a:gd name="T66" fmla="*/ 2147483647 w 14463"/>
                      <a:gd name="T67" fmla="*/ 2147483647 h 11339"/>
                      <a:gd name="T68" fmla="*/ 2147483647 w 14463"/>
                      <a:gd name="T69" fmla="*/ 2147483647 h 11339"/>
                      <a:gd name="T70" fmla="*/ 2147483647 w 14463"/>
                      <a:gd name="T71" fmla="*/ 2147483647 h 11339"/>
                      <a:gd name="T72" fmla="*/ 2147483647 w 14463"/>
                      <a:gd name="T73" fmla="*/ 2147483647 h 11339"/>
                      <a:gd name="T74" fmla="*/ 2147483647 w 14463"/>
                      <a:gd name="T75" fmla="*/ 2147483647 h 11339"/>
                      <a:gd name="T76" fmla="*/ 2147483647 w 14463"/>
                      <a:gd name="T77" fmla="*/ 2147483647 h 11339"/>
                      <a:gd name="T78" fmla="*/ 2147483647 w 14463"/>
                      <a:gd name="T79" fmla="*/ 2147483647 h 11339"/>
                      <a:gd name="T80" fmla="*/ 2147483647 w 14463"/>
                      <a:gd name="T81" fmla="*/ 2147483647 h 11339"/>
                      <a:gd name="T82" fmla="*/ 2147483647 w 14463"/>
                      <a:gd name="T83" fmla="*/ 2147483647 h 11339"/>
                      <a:gd name="T84" fmla="*/ 2147483647 w 14463"/>
                      <a:gd name="T85" fmla="*/ 2147483647 h 11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63" h="11339">
                        <a:moveTo>
                          <a:pt x="8188" y="209"/>
                        </a:moveTo>
                        <a:lnTo>
                          <a:pt x="8780" y="0"/>
                        </a:lnTo>
                        <a:lnTo>
                          <a:pt x="10217" y="207"/>
                        </a:lnTo>
                        <a:cubicBezTo>
                          <a:pt x="10556" y="264"/>
                          <a:pt x="10640" y="126"/>
                          <a:pt x="10761" y="229"/>
                        </a:cubicBezTo>
                        <a:cubicBezTo>
                          <a:pt x="10936" y="271"/>
                          <a:pt x="11461" y="322"/>
                          <a:pt x="11696" y="417"/>
                        </a:cubicBezTo>
                        <a:cubicBezTo>
                          <a:pt x="11902" y="494"/>
                          <a:pt x="11642" y="593"/>
                          <a:pt x="11730" y="676"/>
                        </a:cubicBezTo>
                        <a:cubicBezTo>
                          <a:pt x="11818" y="759"/>
                          <a:pt x="12063" y="841"/>
                          <a:pt x="12227" y="913"/>
                        </a:cubicBezTo>
                        <a:lnTo>
                          <a:pt x="12983" y="1126"/>
                        </a:lnTo>
                        <a:lnTo>
                          <a:pt x="12748" y="1307"/>
                        </a:lnTo>
                        <a:cubicBezTo>
                          <a:pt x="12663" y="1515"/>
                          <a:pt x="11910" y="1697"/>
                          <a:pt x="11825" y="1905"/>
                        </a:cubicBezTo>
                        <a:lnTo>
                          <a:pt x="10725" y="2530"/>
                        </a:lnTo>
                        <a:lnTo>
                          <a:pt x="10429" y="2947"/>
                        </a:lnTo>
                        <a:cubicBezTo>
                          <a:pt x="10471" y="3165"/>
                          <a:pt x="10514" y="3383"/>
                          <a:pt x="10556" y="3601"/>
                        </a:cubicBezTo>
                        <a:lnTo>
                          <a:pt x="10852" y="3839"/>
                        </a:lnTo>
                        <a:lnTo>
                          <a:pt x="10345" y="3839"/>
                        </a:lnTo>
                        <a:lnTo>
                          <a:pt x="11191" y="4197"/>
                        </a:lnTo>
                        <a:cubicBezTo>
                          <a:pt x="11149" y="4405"/>
                          <a:pt x="11106" y="4613"/>
                          <a:pt x="11064" y="4821"/>
                        </a:cubicBezTo>
                        <a:lnTo>
                          <a:pt x="10599" y="5030"/>
                        </a:lnTo>
                        <a:lnTo>
                          <a:pt x="9456" y="5298"/>
                        </a:lnTo>
                        <a:lnTo>
                          <a:pt x="8822" y="6012"/>
                        </a:lnTo>
                        <a:lnTo>
                          <a:pt x="8272" y="6161"/>
                        </a:lnTo>
                        <a:lnTo>
                          <a:pt x="8526" y="6429"/>
                        </a:lnTo>
                        <a:lnTo>
                          <a:pt x="8145" y="7084"/>
                        </a:lnTo>
                        <a:lnTo>
                          <a:pt x="7299" y="7768"/>
                        </a:lnTo>
                        <a:lnTo>
                          <a:pt x="7383" y="8155"/>
                        </a:lnTo>
                        <a:lnTo>
                          <a:pt x="7680" y="8393"/>
                        </a:lnTo>
                        <a:cubicBezTo>
                          <a:pt x="7624" y="8571"/>
                          <a:pt x="7567" y="8750"/>
                          <a:pt x="7511" y="8928"/>
                        </a:cubicBezTo>
                        <a:lnTo>
                          <a:pt x="7003" y="9465"/>
                        </a:lnTo>
                        <a:lnTo>
                          <a:pt x="10190" y="10380"/>
                        </a:lnTo>
                        <a:cubicBezTo>
                          <a:pt x="10685" y="10621"/>
                          <a:pt x="15360" y="10855"/>
                          <a:pt x="14311" y="11050"/>
                        </a:cubicBezTo>
                        <a:cubicBezTo>
                          <a:pt x="11744" y="11422"/>
                          <a:pt x="9928" y="11345"/>
                          <a:pt x="8880" y="11304"/>
                        </a:cubicBezTo>
                        <a:lnTo>
                          <a:pt x="3686" y="10662"/>
                        </a:lnTo>
                        <a:lnTo>
                          <a:pt x="0" y="9499"/>
                        </a:lnTo>
                        <a:lnTo>
                          <a:pt x="1492" y="8492"/>
                        </a:lnTo>
                        <a:lnTo>
                          <a:pt x="2079" y="7943"/>
                        </a:lnTo>
                        <a:lnTo>
                          <a:pt x="4644" y="6748"/>
                        </a:lnTo>
                        <a:cubicBezTo>
                          <a:pt x="4630" y="6430"/>
                          <a:pt x="2665" y="7030"/>
                          <a:pt x="2651" y="6712"/>
                        </a:cubicBezTo>
                        <a:lnTo>
                          <a:pt x="4099" y="5323"/>
                        </a:lnTo>
                        <a:lnTo>
                          <a:pt x="5760" y="4554"/>
                        </a:lnTo>
                        <a:cubicBezTo>
                          <a:pt x="5651" y="3371"/>
                          <a:pt x="6192" y="4301"/>
                          <a:pt x="6082" y="3119"/>
                        </a:cubicBezTo>
                        <a:lnTo>
                          <a:pt x="7891" y="1548"/>
                        </a:lnTo>
                        <a:lnTo>
                          <a:pt x="8314" y="982"/>
                        </a:lnTo>
                        <a:lnTo>
                          <a:pt x="8188" y="209"/>
                        </a:lnTo>
                        <a:close/>
                      </a:path>
                    </a:pathLst>
                  </a:custGeom>
                  <a:solidFill>
                    <a:srgbClr val="F79646">
                      <a:lumMod val="75000"/>
                    </a:srgbClr>
                  </a:solidFill>
                  <a:ln w="9525" cap="flat" cmpd="sng">
                    <a:solidFill>
                      <a:sysClr val="window" lastClr="FFFFFF">
                        <a:lumMod val="50000"/>
                      </a:sysClr>
                    </a:solidFill>
                    <a:prstDash val="solid"/>
                    <a:round/>
                    <a:headEnd type="none" w="med" len="med"/>
                    <a:tailEnd type="none" w="med" len="med"/>
                  </a:ln>
                  <a:effectLst/>
                </p:spPr>
                <p:txBody>
                  <a:bodyPr/>
                  <a:lstStyle/>
                  <a:p>
                    <a:pPr>
                      <a:defRPr/>
                    </a:pPr>
                    <a:endParaRPr lang="en-GB" kern="0">
                      <a:solidFill>
                        <a:prstClr val="black"/>
                      </a:solidFill>
                      <a:latin typeface="Calibri"/>
                    </a:endParaRPr>
                  </a:p>
                </p:txBody>
              </p:sp>
              <p:sp>
                <p:nvSpPr>
                  <p:cNvPr id="629" name="Freeform 410"/>
                  <p:cNvSpPr>
                    <a:spLocks/>
                  </p:cNvSpPr>
                  <p:nvPr/>
                </p:nvSpPr>
                <p:spPr bwMode="auto">
                  <a:xfrm>
                    <a:off x="2788851" y="4621310"/>
                    <a:ext cx="197553" cy="196770"/>
                  </a:xfrm>
                  <a:custGeom>
                    <a:avLst/>
                    <a:gdLst>
                      <a:gd name="T0" fmla="*/ 2147483647 w 168"/>
                      <a:gd name="T1" fmla="*/ 0 h 156"/>
                      <a:gd name="T2" fmla="*/ 0 w 168"/>
                      <a:gd name="T3" fmla="*/ 2147483647 h 156"/>
                      <a:gd name="T4" fmla="*/ 0 w 168"/>
                      <a:gd name="T5" fmla="*/ 2147483647 h 156"/>
                      <a:gd name="T6" fmla="*/ 2147483647 w 168"/>
                      <a:gd name="T7" fmla="*/ 2147483647 h 156"/>
                      <a:gd name="T8" fmla="*/ 2147483647 w 168"/>
                      <a:gd name="T9" fmla="*/ 2147483647 h 156"/>
                      <a:gd name="T10" fmla="*/ 2147483647 w 168"/>
                      <a:gd name="T11" fmla="*/ 2147483647 h 156"/>
                      <a:gd name="T12" fmla="*/ 2147483647 w 168"/>
                      <a:gd name="T13" fmla="*/ 2147483647 h 156"/>
                      <a:gd name="T14" fmla="*/ 2147483647 w 168"/>
                      <a:gd name="T15" fmla="*/ 2147483647 h 156"/>
                      <a:gd name="T16" fmla="*/ 2147483647 w 168"/>
                      <a:gd name="T17" fmla="*/ 2147483647 h 156"/>
                      <a:gd name="T18" fmla="*/ 2147483647 w 168"/>
                      <a:gd name="T19" fmla="*/ 2147483647 h 156"/>
                      <a:gd name="T20" fmla="*/ 2147483647 w 168"/>
                      <a:gd name="T21" fmla="*/ 2147483647 h 156"/>
                      <a:gd name="T22" fmla="*/ 2147483647 w 168"/>
                      <a:gd name="T23" fmla="*/ 2147483647 h 156"/>
                      <a:gd name="T24" fmla="*/ 2147483647 w 168"/>
                      <a:gd name="T25" fmla="*/ 2147483647 h 156"/>
                      <a:gd name="T26" fmla="*/ 2147483647 w 168"/>
                      <a:gd name="T27" fmla="*/ 2147483647 h 156"/>
                      <a:gd name="T28" fmla="*/ 2147483647 w 168"/>
                      <a:gd name="T29" fmla="*/ 2147483647 h 156"/>
                      <a:gd name="T30" fmla="*/ 2147483647 w 168"/>
                      <a:gd name="T31" fmla="*/ 2147483647 h 156"/>
                      <a:gd name="T32" fmla="*/ 2147483647 w 168"/>
                      <a:gd name="T33" fmla="*/ 2147483647 h 156"/>
                      <a:gd name="T34" fmla="*/ 2147483647 w 168"/>
                      <a:gd name="T35" fmla="*/ 2147483647 h 156"/>
                      <a:gd name="T36" fmla="*/ 2147483647 w 168"/>
                      <a:gd name="T37" fmla="*/ 0 h 156"/>
                      <a:gd name="T38" fmla="*/ 2147483647 w 168"/>
                      <a:gd name="T39" fmla="*/ 0 h 1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68" h="156">
                        <a:moveTo>
                          <a:pt x="48" y="0"/>
                        </a:moveTo>
                        <a:lnTo>
                          <a:pt x="0" y="36"/>
                        </a:lnTo>
                        <a:lnTo>
                          <a:pt x="0" y="48"/>
                        </a:lnTo>
                        <a:lnTo>
                          <a:pt x="18" y="72"/>
                        </a:lnTo>
                        <a:lnTo>
                          <a:pt x="36" y="84"/>
                        </a:lnTo>
                        <a:lnTo>
                          <a:pt x="72" y="96"/>
                        </a:lnTo>
                        <a:lnTo>
                          <a:pt x="90" y="108"/>
                        </a:lnTo>
                        <a:lnTo>
                          <a:pt x="84" y="150"/>
                        </a:lnTo>
                        <a:lnTo>
                          <a:pt x="114" y="156"/>
                        </a:lnTo>
                        <a:lnTo>
                          <a:pt x="150" y="138"/>
                        </a:lnTo>
                        <a:lnTo>
                          <a:pt x="168" y="126"/>
                        </a:lnTo>
                        <a:lnTo>
                          <a:pt x="162" y="114"/>
                        </a:lnTo>
                        <a:lnTo>
                          <a:pt x="162" y="90"/>
                        </a:lnTo>
                        <a:lnTo>
                          <a:pt x="144" y="84"/>
                        </a:lnTo>
                        <a:lnTo>
                          <a:pt x="120" y="54"/>
                        </a:lnTo>
                        <a:lnTo>
                          <a:pt x="108" y="42"/>
                        </a:lnTo>
                        <a:lnTo>
                          <a:pt x="90" y="12"/>
                        </a:lnTo>
                        <a:lnTo>
                          <a:pt x="90" y="6"/>
                        </a:lnTo>
                        <a:lnTo>
                          <a:pt x="78" y="0"/>
                        </a:lnTo>
                        <a:lnTo>
                          <a:pt x="48"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30" name="Freeform 412"/>
                  <p:cNvSpPr>
                    <a:spLocks/>
                  </p:cNvSpPr>
                  <p:nvPr/>
                </p:nvSpPr>
                <p:spPr bwMode="auto">
                  <a:xfrm>
                    <a:off x="2636766" y="4402863"/>
                    <a:ext cx="263404" cy="301824"/>
                  </a:xfrm>
                  <a:custGeom>
                    <a:avLst/>
                    <a:gdLst>
                      <a:gd name="T0" fmla="*/ 2147483647 w 10141"/>
                      <a:gd name="T1" fmla="*/ 2147483647 h 10000"/>
                      <a:gd name="T2" fmla="*/ 2147483647 w 10141"/>
                      <a:gd name="T3" fmla="*/ 2147483647 h 10000"/>
                      <a:gd name="T4" fmla="*/ 2147483647 w 10141"/>
                      <a:gd name="T5" fmla="*/ 2147483647 h 10000"/>
                      <a:gd name="T6" fmla="*/ 2147483647 w 10141"/>
                      <a:gd name="T7" fmla="*/ 2147483647 h 10000"/>
                      <a:gd name="T8" fmla="*/ 2147483647 w 10141"/>
                      <a:gd name="T9" fmla="*/ 2147483647 h 10000"/>
                      <a:gd name="T10" fmla="*/ 2147483647 w 10141"/>
                      <a:gd name="T11" fmla="*/ 2147483647 h 10000"/>
                      <a:gd name="T12" fmla="*/ 2147483647 w 10141"/>
                      <a:gd name="T13" fmla="*/ 2147483647 h 10000"/>
                      <a:gd name="T14" fmla="*/ 2147483647 w 10141"/>
                      <a:gd name="T15" fmla="*/ 2147483647 h 10000"/>
                      <a:gd name="T16" fmla="*/ 2147483647 w 10141"/>
                      <a:gd name="T17" fmla="*/ 2147483647 h 10000"/>
                      <a:gd name="T18" fmla="*/ 2147483647 w 10141"/>
                      <a:gd name="T19" fmla="*/ 2147483647 h 10000"/>
                      <a:gd name="T20" fmla="*/ 2147483647 w 10141"/>
                      <a:gd name="T21" fmla="*/ 2147483647 h 10000"/>
                      <a:gd name="T22" fmla="*/ 2147483647 w 10141"/>
                      <a:gd name="T23" fmla="*/ 2147483647 h 10000"/>
                      <a:gd name="T24" fmla="*/ 2147483647 w 10141"/>
                      <a:gd name="T25" fmla="*/ 2147483647 h 10000"/>
                      <a:gd name="T26" fmla="*/ 2147483647 w 10141"/>
                      <a:gd name="T27" fmla="*/ 0 h 10000"/>
                      <a:gd name="T28" fmla="*/ 2147483647 w 10141"/>
                      <a:gd name="T29" fmla="*/ 2147483647 h 10000"/>
                      <a:gd name="T30" fmla="*/ 2147483647 w 10141"/>
                      <a:gd name="T31" fmla="*/ 2147483647 h 10000"/>
                      <a:gd name="T32" fmla="*/ 2147483647 w 10141"/>
                      <a:gd name="T33" fmla="*/ 2147483647 h 10000"/>
                      <a:gd name="T34" fmla="*/ 2147483647 w 10141"/>
                      <a:gd name="T35" fmla="*/ 2147483647 h 10000"/>
                      <a:gd name="T36" fmla="*/ 2147483647 w 10141"/>
                      <a:gd name="T37" fmla="*/ 2147483647 h 10000"/>
                      <a:gd name="T38" fmla="*/ 2147483647 w 10141"/>
                      <a:gd name="T39" fmla="*/ 2147483647 h 10000"/>
                      <a:gd name="T40" fmla="*/ 2147483647 w 10141"/>
                      <a:gd name="T41" fmla="*/ 2147483647 h 10000"/>
                      <a:gd name="T42" fmla="*/ 2147483647 w 10141"/>
                      <a:gd name="T43" fmla="*/ 2147483647 h 10000"/>
                      <a:gd name="T44" fmla="*/ 2147483647 w 10141"/>
                      <a:gd name="T45" fmla="*/ 2147483647 h 10000"/>
                      <a:gd name="T46" fmla="*/ 2147483647 w 10141"/>
                      <a:gd name="T47" fmla="*/ 2147483647 h 10000"/>
                      <a:gd name="T48" fmla="*/ 2147483647 w 10141"/>
                      <a:gd name="T49" fmla="*/ 2147483647 h 10000"/>
                      <a:gd name="T50" fmla="*/ 2147483647 w 10141"/>
                      <a:gd name="T51" fmla="*/ 2147483647 h 10000"/>
                      <a:gd name="T52" fmla="*/ 2147483647 w 10141"/>
                      <a:gd name="T53" fmla="*/ 2147483647 h 10000"/>
                      <a:gd name="T54" fmla="*/ 2147483647 w 10141"/>
                      <a:gd name="T55" fmla="*/ 2147483647 h 10000"/>
                      <a:gd name="T56" fmla="*/ 2147483647 w 10141"/>
                      <a:gd name="T57" fmla="*/ 2147483647 h 10000"/>
                      <a:gd name="T58" fmla="*/ 2147483647 w 10141"/>
                      <a:gd name="T59" fmla="*/ 2147483647 h 10000"/>
                      <a:gd name="T60" fmla="*/ 2147483647 w 10141"/>
                      <a:gd name="T61" fmla="*/ 2147483647 h 100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141" h="10000">
                        <a:moveTo>
                          <a:pt x="6087" y="9512"/>
                        </a:moveTo>
                        <a:lnTo>
                          <a:pt x="6087" y="9024"/>
                        </a:lnTo>
                        <a:lnTo>
                          <a:pt x="8249" y="7561"/>
                        </a:lnTo>
                        <a:lnTo>
                          <a:pt x="9600" y="7561"/>
                        </a:lnTo>
                        <a:lnTo>
                          <a:pt x="10141" y="7805"/>
                        </a:lnTo>
                        <a:lnTo>
                          <a:pt x="10141" y="6098"/>
                        </a:lnTo>
                        <a:lnTo>
                          <a:pt x="10141" y="5122"/>
                        </a:lnTo>
                        <a:cubicBezTo>
                          <a:pt x="10141" y="5122"/>
                          <a:pt x="8790" y="4878"/>
                          <a:pt x="8519" y="4878"/>
                        </a:cubicBezTo>
                        <a:lnTo>
                          <a:pt x="7979" y="4146"/>
                        </a:lnTo>
                        <a:lnTo>
                          <a:pt x="7979" y="3171"/>
                        </a:lnTo>
                        <a:lnTo>
                          <a:pt x="6087" y="2439"/>
                        </a:lnTo>
                        <a:lnTo>
                          <a:pt x="4465" y="1707"/>
                        </a:lnTo>
                        <a:lnTo>
                          <a:pt x="4195" y="244"/>
                        </a:lnTo>
                        <a:lnTo>
                          <a:pt x="2573" y="0"/>
                        </a:lnTo>
                        <a:lnTo>
                          <a:pt x="1492" y="732"/>
                        </a:lnTo>
                        <a:lnTo>
                          <a:pt x="411" y="976"/>
                        </a:lnTo>
                        <a:cubicBezTo>
                          <a:pt x="591" y="1220"/>
                          <a:pt x="924" y="1260"/>
                          <a:pt x="952" y="1707"/>
                        </a:cubicBezTo>
                        <a:cubicBezTo>
                          <a:pt x="980" y="2154"/>
                          <a:pt x="691" y="3085"/>
                          <a:pt x="578" y="3659"/>
                        </a:cubicBezTo>
                        <a:cubicBezTo>
                          <a:pt x="465" y="4234"/>
                          <a:pt x="368" y="4765"/>
                          <a:pt x="272" y="5154"/>
                        </a:cubicBezTo>
                        <a:cubicBezTo>
                          <a:pt x="176" y="5543"/>
                          <a:pt x="-27" y="5787"/>
                          <a:pt x="2" y="5992"/>
                        </a:cubicBezTo>
                        <a:cubicBezTo>
                          <a:pt x="31" y="6197"/>
                          <a:pt x="243" y="6244"/>
                          <a:pt x="446" y="6383"/>
                        </a:cubicBezTo>
                        <a:cubicBezTo>
                          <a:pt x="649" y="6522"/>
                          <a:pt x="1138" y="6592"/>
                          <a:pt x="1222" y="6829"/>
                        </a:cubicBezTo>
                        <a:cubicBezTo>
                          <a:pt x="1306" y="7066"/>
                          <a:pt x="1042" y="7480"/>
                          <a:pt x="952" y="7805"/>
                        </a:cubicBezTo>
                        <a:lnTo>
                          <a:pt x="2033" y="9512"/>
                        </a:lnTo>
                        <a:lnTo>
                          <a:pt x="2303" y="10000"/>
                        </a:lnTo>
                        <a:lnTo>
                          <a:pt x="2844" y="9756"/>
                        </a:lnTo>
                        <a:lnTo>
                          <a:pt x="3384" y="9756"/>
                        </a:lnTo>
                        <a:lnTo>
                          <a:pt x="4736" y="10000"/>
                        </a:lnTo>
                        <a:lnTo>
                          <a:pt x="5006" y="9756"/>
                        </a:lnTo>
                        <a:lnTo>
                          <a:pt x="6087" y="9512"/>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31" name="Freeform 405"/>
                  <p:cNvSpPr>
                    <a:spLocks/>
                  </p:cNvSpPr>
                  <p:nvPr/>
                </p:nvSpPr>
                <p:spPr bwMode="auto">
                  <a:xfrm>
                    <a:off x="2503496" y="4121047"/>
                    <a:ext cx="192848" cy="146744"/>
                  </a:xfrm>
                  <a:custGeom>
                    <a:avLst/>
                    <a:gdLst>
                      <a:gd name="T0" fmla="*/ 0 w 10000"/>
                      <a:gd name="T1" fmla="*/ 2069270529 h 10000"/>
                      <a:gd name="T2" fmla="*/ 0 w 10000"/>
                      <a:gd name="T3" fmla="*/ 2069270529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069270529 h 10000"/>
                      <a:gd name="T20" fmla="*/ 2147483647 w 10000"/>
                      <a:gd name="T21" fmla="*/ 591159340 h 10000"/>
                      <a:gd name="T22" fmla="*/ 2147483647 w 10000"/>
                      <a:gd name="T23" fmla="*/ 0 h 1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00" h="10000">
                        <a:moveTo>
                          <a:pt x="0" y="3889"/>
                        </a:moveTo>
                        <a:lnTo>
                          <a:pt x="0" y="3889"/>
                        </a:lnTo>
                        <a:lnTo>
                          <a:pt x="2000" y="5556"/>
                        </a:lnTo>
                        <a:lnTo>
                          <a:pt x="3200" y="7222"/>
                        </a:lnTo>
                        <a:lnTo>
                          <a:pt x="4800" y="7222"/>
                        </a:lnTo>
                        <a:lnTo>
                          <a:pt x="5600" y="8889"/>
                        </a:lnTo>
                        <a:lnTo>
                          <a:pt x="5268" y="8163"/>
                        </a:lnTo>
                        <a:lnTo>
                          <a:pt x="5600" y="8889"/>
                        </a:lnTo>
                        <a:lnTo>
                          <a:pt x="6400" y="10000"/>
                        </a:lnTo>
                        <a:lnTo>
                          <a:pt x="7200" y="3889"/>
                        </a:lnTo>
                        <a:cubicBezTo>
                          <a:pt x="7067" y="2963"/>
                          <a:pt x="6933" y="2037"/>
                          <a:pt x="6800" y="1111"/>
                        </a:cubicBezTo>
                        <a:lnTo>
                          <a:pt x="10000" y="0"/>
                        </a:ln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32" name="Freeform 407"/>
                  <p:cNvSpPr>
                    <a:spLocks/>
                  </p:cNvSpPr>
                  <p:nvPr/>
                </p:nvSpPr>
                <p:spPr bwMode="auto">
                  <a:xfrm>
                    <a:off x="2821776" y="3945956"/>
                    <a:ext cx="116023" cy="188432"/>
                  </a:xfrm>
                  <a:custGeom>
                    <a:avLst/>
                    <a:gdLst>
                      <a:gd name="T0" fmla="*/ 2147483647 w 90"/>
                      <a:gd name="T1" fmla="*/ 2147483647 h 138"/>
                      <a:gd name="T2" fmla="*/ 2147483647 w 90"/>
                      <a:gd name="T3" fmla="*/ 2147483647 h 138"/>
                      <a:gd name="T4" fmla="*/ 2147483647 w 90"/>
                      <a:gd name="T5" fmla="*/ 2147483647 h 138"/>
                      <a:gd name="T6" fmla="*/ 2147483647 w 90"/>
                      <a:gd name="T7" fmla="*/ 2147483647 h 138"/>
                      <a:gd name="T8" fmla="*/ 2147483647 w 90"/>
                      <a:gd name="T9" fmla="*/ 2147483647 h 138"/>
                      <a:gd name="T10" fmla="*/ 2147483647 w 90"/>
                      <a:gd name="T11" fmla="*/ 2147483647 h 138"/>
                      <a:gd name="T12" fmla="*/ 2147483647 w 90"/>
                      <a:gd name="T13" fmla="*/ 2147483647 h 138"/>
                      <a:gd name="T14" fmla="*/ 2147483647 w 90"/>
                      <a:gd name="T15" fmla="*/ 0 h 138"/>
                      <a:gd name="T16" fmla="*/ 2147483647 w 90"/>
                      <a:gd name="T17" fmla="*/ 2147483647 h 138"/>
                      <a:gd name="T18" fmla="*/ 0 w 90"/>
                      <a:gd name="T19" fmla="*/ 2147483647 h 138"/>
                      <a:gd name="T20" fmla="*/ 2147483647 w 90"/>
                      <a:gd name="T21" fmla="*/ 2147483647 h 138"/>
                      <a:gd name="T22" fmla="*/ 2147483647 w 90"/>
                      <a:gd name="T23" fmla="*/ 2147483647 h 138"/>
                      <a:gd name="T24" fmla="*/ 2147483647 w 90"/>
                      <a:gd name="T25" fmla="*/ 2147483647 h 138"/>
                      <a:gd name="T26" fmla="*/ 2147483647 w 90"/>
                      <a:gd name="T27" fmla="*/ 2147483647 h 138"/>
                      <a:gd name="T28" fmla="*/ 2147483647 w 90"/>
                      <a:gd name="T29" fmla="*/ 2147483647 h 138"/>
                      <a:gd name="T30" fmla="*/ 2147483647 w 90"/>
                      <a:gd name="T31" fmla="*/ 2147483647 h 138"/>
                      <a:gd name="T32" fmla="*/ 2147483647 w 90"/>
                      <a:gd name="T33" fmla="*/ 2147483647 h 138"/>
                      <a:gd name="T34" fmla="*/ 2147483647 w 90"/>
                      <a:gd name="T35" fmla="*/ 2147483647 h 1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0" h="138">
                        <a:moveTo>
                          <a:pt x="90" y="126"/>
                        </a:moveTo>
                        <a:lnTo>
                          <a:pt x="78" y="102"/>
                        </a:lnTo>
                        <a:lnTo>
                          <a:pt x="66" y="78"/>
                        </a:lnTo>
                        <a:lnTo>
                          <a:pt x="84" y="60"/>
                        </a:lnTo>
                        <a:lnTo>
                          <a:pt x="90" y="42"/>
                        </a:lnTo>
                        <a:lnTo>
                          <a:pt x="66" y="36"/>
                        </a:lnTo>
                        <a:lnTo>
                          <a:pt x="60" y="18"/>
                        </a:lnTo>
                        <a:lnTo>
                          <a:pt x="36" y="0"/>
                        </a:lnTo>
                        <a:lnTo>
                          <a:pt x="12" y="24"/>
                        </a:lnTo>
                        <a:lnTo>
                          <a:pt x="0" y="42"/>
                        </a:lnTo>
                        <a:lnTo>
                          <a:pt x="6" y="60"/>
                        </a:lnTo>
                        <a:lnTo>
                          <a:pt x="18" y="66"/>
                        </a:lnTo>
                        <a:lnTo>
                          <a:pt x="30" y="84"/>
                        </a:lnTo>
                        <a:lnTo>
                          <a:pt x="24" y="120"/>
                        </a:lnTo>
                        <a:lnTo>
                          <a:pt x="42" y="138"/>
                        </a:lnTo>
                        <a:lnTo>
                          <a:pt x="60" y="132"/>
                        </a:lnTo>
                        <a:lnTo>
                          <a:pt x="90" y="126"/>
                        </a:lnTo>
                      </a:path>
                    </a:pathLst>
                  </a:custGeom>
                  <a:solidFill>
                    <a:sysClr val="window" lastClr="FFFFFF"/>
                  </a:solidFill>
                  <a:ln w="9525" cap="flat" cmpd="sng">
                    <a:solidFill>
                      <a:sysClr val="window" lastClr="FFFFFF">
                        <a:lumMod val="50000"/>
                      </a:sys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kern="0">
                      <a:solidFill>
                        <a:prstClr val="black"/>
                      </a:solidFill>
                      <a:latin typeface="Calibri"/>
                    </a:endParaRPr>
                  </a:p>
                </p:txBody>
              </p:sp>
              <p:sp>
                <p:nvSpPr>
                  <p:cNvPr id="633" name="Freeform 408"/>
                  <p:cNvSpPr>
                    <a:spLocks/>
                  </p:cNvSpPr>
                  <p:nvPr/>
                </p:nvSpPr>
                <p:spPr bwMode="auto">
                  <a:xfrm>
                    <a:off x="3002082" y="4012659"/>
                    <a:ext cx="75258" cy="98385"/>
                  </a:xfrm>
                  <a:custGeom>
                    <a:avLst/>
                    <a:gdLst>
                      <a:gd name="T0" fmla="*/ 2147483647 w 60"/>
                      <a:gd name="T1" fmla="*/ 2147483647 h 72"/>
                      <a:gd name="T2" fmla="*/ 2147483647 w 60"/>
                      <a:gd name="T3" fmla="*/ 2147483647 h 72"/>
                      <a:gd name="T4" fmla="*/ 2147483647 w 60"/>
                      <a:gd name="T5" fmla="*/ 2147483647 h 72"/>
                      <a:gd name="T6" fmla="*/ 2147483647 w 60"/>
                      <a:gd name="T7" fmla="*/ 2147483647 h 72"/>
                      <a:gd name="T8" fmla="*/ 2147483647 w 60"/>
                      <a:gd name="T9" fmla="*/ 2147483647 h 72"/>
                      <a:gd name="T10" fmla="*/ 2147483647 w 60"/>
                      <a:gd name="T11" fmla="*/ 0 h 72"/>
                      <a:gd name="T12" fmla="*/ 2147483647 w 60"/>
                      <a:gd name="T13" fmla="*/ 0 h 72"/>
                      <a:gd name="T14" fmla="*/ 0 w 60"/>
                      <a:gd name="T15" fmla="*/ 2147483647 h 72"/>
                      <a:gd name="T16" fmla="*/ 2147483647 w 60"/>
                      <a:gd name="T17" fmla="*/ 2147483647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0" h="72">
                        <a:moveTo>
                          <a:pt x="6" y="42"/>
                        </a:moveTo>
                        <a:lnTo>
                          <a:pt x="6" y="66"/>
                        </a:lnTo>
                        <a:lnTo>
                          <a:pt x="12" y="72"/>
                        </a:lnTo>
                        <a:lnTo>
                          <a:pt x="36" y="60"/>
                        </a:lnTo>
                        <a:lnTo>
                          <a:pt x="60" y="24"/>
                        </a:lnTo>
                        <a:lnTo>
                          <a:pt x="18" y="0"/>
                        </a:lnTo>
                        <a:lnTo>
                          <a:pt x="6" y="0"/>
                        </a:lnTo>
                        <a:lnTo>
                          <a:pt x="0" y="18"/>
                        </a:lnTo>
                        <a:lnTo>
                          <a:pt x="6" y="42"/>
                        </a:lnTo>
                        <a:close/>
                      </a:path>
                    </a:pathLst>
                  </a:custGeom>
                  <a:solidFill>
                    <a:sysClr val="window" lastClr="FFFFFF"/>
                  </a:solidFill>
                  <a:ln w="9525" cap="flat" cmpd="sng">
                    <a:solidFill>
                      <a:sysClr val="window" lastClr="FFFFFF">
                        <a:lumMod val="50000"/>
                      </a:sys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kern="0">
                      <a:solidFill>
                        <a:prstClr val="black"/>
                      </a:solidFill>
                      <a:latin typeface="Calibri"/>
                    </a:endParaRPr>
                  </a:p>
                </p:txBody>
              </p:sp>
              <p:sp>
                <p:nvSpPr>
                  <p:cNvPr id="634" name="Freeform 417"/>
                  <p:cNvSpPr>
                    <a:spLocks/>
                  </p:cNvSpPr>
                  <p:nvPr/>
                </p:nvSpPr>
                <p:spPr bwMode="auto">
                  <a:xfrm>
                    <a:off x="2909577" y="4009323"/>
                    <a:ext cx="95641" cy="115060"/>
                  </a:xfrm>
                  <a:custGeom>
                    <a:avLst/>
                    <a:gdLst>
                      <a:gd name="T0" fmla="*/ 2147483647 w 72"/>
                      <a:gd name="T1" fmla="*/ 2147483647 h 84"/>
                      <a:gd name="T2" fmla="*/ 2147483647 w 72"/>
                      <a:gd name="T3" fmla="*/ 2147483647 h 84"/>
                      <a:gd name="T4" fmla="*/ 2147483647 w 72"/>
                      <a:gd name="T5" fmla="*/ 2147483647 h 84"/>
                      <a:gd name="T6" fmla="*/ 2147483647 w 72"/>
                      <a:gd name="T7" fmla="*/ 2147483647 h 84"/>
                      <a:gd name="T8" fmla="*/ 2147483647 w 72"/>
                      <a:gd name="T9" fmla="*/ 2147483647 h 84"/>
                      <a:gd name="T10" fmla="*/ 2147483647 w 72"/>
                      <a:gd name="T11" fmla="*/ 0 h 84"/>
                      <a:gd name="T12" fmla="*/ 2147483647 w 72"/>
                      <a:gd name="T13" fmla="*/ 2147483647 h 84"/>
                      <a:gd name="T14" fmla="*/ 0 w 72"/>
                      <a:gd name="T15" fmla="*/ 2147483647 h 84"/>
                      <a:gd name="T16" fmla="*/ 2147483647 w 72"/>
                      <a:gd name="T17" fmla="*/ 2147483647 h 84"/>
                      <a:gd name="T18" fmla="*/ 2147483647 w 72"/>
                      <a:gd name="T19" fmla="*/ 2147483647 h 84"/>
                      <a:gd name="T20" fmla="*/ 2147483647 w 72"/>
                      <a:gd name="T21" fmla="*/ 2147483647 h 84"/>
                      <a:gd name="T22" fmla="*/ 2147483647 w 72"/>
                      <a:gd name="T23" fmla="*/ 2147483647 h 84"/>
                      <a:gd name="T24" fmla="*/ 2147483647 w 72"/>
                      <a:gd name="T25" fmla="*/ 2147483647 h 84"/>
                      <a:gd name="T26" fmla="*/ 2147483647 w 72"/>
                      <a:gd name="T27" fmla="*/ 2147483647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2" h="84">
                        <a:moveTo>
                          <a:pt x="72" y="78"/>
                        </a:moveTo>
                        <a:lnTo>
                          <a:pt x="72" y="54"/>
                        </a:lnTo>
                        <a:lnTo>
                          <a:pt x="66" y="30"/>
                        </a:lnTo>
                        <a:lnTo>
                          <a:pt x="72" y="12"/>
                        </a:lnTo>
                        <a:lnTo>
                          <a:pt x="24" y="6"/>
                        </a:lnTo>
                        <a:lnTo>
                          <a:pt x="24" y="0"/>
                        </a:lnTo>
                        <a:lnTo>
                          <a:pt x="18" y="18"/>
                        </a:lnTo>
                        <a:lnTo>
                          <a:pt x="0" y="36"/>
                        </a:lnTo>
                        <a:lnTo>
                          <a:pt x="12" y="60"/>
                        </a:lnTo>
                        <a:lnTo>
                          <a:pt x="24" y="84"/>
                        </a:lnTo>
                        <a:lnTo>
                          <a:pt x="30" y="84"/>
                        </a:lnTo>
                        <a:lnTo>
                          <a:pt x="42" y="78"/>
                        </a:lnTo>
                        <a:lnTo>
                          <a:pt x="72" y="78"/>
                        </a:lnTo>
                      </a:path>
                    </a:pathLst>
                  </a:custGeom>
                  <a:solidFill>
                    <a:sysClr val="window" lastClr="FFFFFF"/>
                  </a:solidFill>
                  <a:ln w="9525" cap="flat" cmpd="sng">
                    <a:solidFill>
                      <a:sysClr val="window" lastClr="FFFFFF">
                        <a:lumMod val="50000"/>
                      </a:sys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kern="0">
                      <a:solidFill>
                        <a:prstClr val="black"/>
                      </a:solidFill>
                      <a:latin typeface="Calibri"/>
                    </a:endParaRPr>
                  </a:p>
                </p:txBody>
              </p:sp>
              <p:sp>
                <p:nvSpPr>
                  <p:cNvPr id="635" name="Freeform 418"/>
                  <p:cNvSpPr>
                    <a:spLocks/>
                  </p:cNvSpPr>
                  <p:nvPr/>
                </p:nvSpPr>
                <p:spPr bwMode="auto">
                  <a:xfrm>
                    <a:off x="2550534" y="3857577"/>
                    <a:ext cx="329254" cy="295155"/>
                  </a:xfrm>
                  <a:custGeom>
                    <a:avLst/>
                    <a:gdLst>
                      <a:gd name="T0" fmla="*/ 2147483647 w 43"/>
                      <a:gd name="T1" fmla="*/ 2147483647 h 36"/>
                      <a:gd name="T2" fmla="*/ 2147483647 w 43"/>
                      <a:gd name="T3" fmla="*/ 2147483647 h 36"/>
                      <a:gd name="T4" fmla="*/ 2147483647 w 43"/>
                      <a:gd name="T5" fmla="*/ 2147483647 h 36"/>
                      <a:gd name="T6" fmla="*/ 2147483647 w 43"/>
                      <a:gd name="T7" fmla="*/ 2147483647 h 36"/>
                      <a:gd name="T8" fmla="*/ 2147483647 w 43"/>
                      <a:gd name="T9" fmla="*/ 2147483647 h 36"/>
                      <a:gd name="T10" fmla="*/ 2147483647 w 43"/>
                      <a:gd name="T11" fmla="*/ 2147483647 h 36"/>
                      <a:gd name="T12" fmla="*/ 2147483647 w 43"/>
                      <a:gd name="T13" fmla="*/ 2147483647 h 36"/>
                      <a:gd name="T14" fmla="*/ 2147483647 w 43"/>
                      <a:gd name="T15" fmla="*/ 2147483647 h 36"/>
                      <a:gd name="T16" fmla="*/ 2147483647 w 43"/>
                      <a:gd name="T17" fmla="*/ 2147483647 h 36"/>
                      <a:gd name="T18" fmla="*/ 2147483647 w 43"/>
                      <a:gd name="T19" fmla="*/ 2147483647 h 36"/>
                      <a:gd name="T20" fmla="*/ 2147483647 w 43"/>
                      <a:gd name="T21" fmla="*/ 2147483647 h 36"/>
                      <a:gd name="T22" fmla="*/ 2147483647 w 43"/>
                      <a:gd name="T23" fmla="*/ 2147483647 h 36"/>
                      <a:gd name="T24" fmla="*/ 2147483647 w 43"/>
                      <a:gd name="T25" fmla="*/ 2147483647 h 36"/>
                      <a:gd name="T26" fmla="*/ 2147483647 w 43"/>
                      <a:gd name="T27" fmla="*/ 0 h 36"/>
                      <a:gd name="T28" fmla="*/ 2147483647 w 43"/>
                      <a:gd name="T29" fmla="*/ 2147483647 h 36"/>
                      <a:gd name="T30" fmla="*/ 0 w 43"/>
                      <a:gd name="T31" fmla="*/ 2147483647 h 36"/>
                      <a:gd name="T32" fmla="*/ 2147483647 w 43"/>
                      <a:gd name="T33" fmla="*/ 2147483647 h 36"/>
                      <a:gd name="T34" fmla="*/ 2147483647 w 43"/>
                      <a:gd name="T35" fmla="*/ 2147483647 h 36"/>
                      <a:gd name="T36" fmla="*/ 2147483647 w 43"/>
                      <a:gd name="T37" fmla="*/ 2147483647 h 36"/>
                      <a:gd name="T38" fmla="*/ 2147483647 w 43"/>
                      <a:gd name="T39" fmla="*/ 2147483647 h 36"/>
                      <a:gd name="T40" fmla="*/ 2147483647 w 43"/>
                      <a:gd name="T41" fmla="*/ 2147483647 h 36"/>
                      <a:gd name="T42" fmla="*/ 2147483647 w 43"/>
                      <a:gd name="T43" fmla="*/ 2147483647 h 36"/>
                      <a:gd name="T44" fmla="*/ 2147483647 w 43"/>
                      <a:gd name="T45" fmla="*/ 2147483647 h 36"/>
                      <a:gd name="T46" fmla="*/ 2147483647 w 43"/>
                      <a:gd name="T47" fmla="*/ 2147483647 h 36"/>
                      <a:gd name="T48" fmla="*/ 2147483647 w 43"/>
                      <a:gd name="T49" fmla="*/ 2147483647 h 36"/>
                      <a:gd name="T50" fmla="*/ 2147483647 w 43"/>
                      <a:gd name="T51" fmla="*/ 2147483647 h 36"/>
                      <a:gd name="T52" fmla="*/ 2147483647 w 43"/>
                      <a:gd name="T53" fmla="*/ 2147483647 h 36"/>
                      <a:gd name="T54" fmla="*/ 2147483647 w 43"/>
                      <a:gd name="T55" fmla="*/ 2147483647 h 36"/>
                      <a:gd name="T56" fmla="*/ 2147483647 w 43"/>
                      <a:gd name="T57" fmla="*/ 2147483647 h 36"/>
                      <a:gd name="T58" fmla="*/ 2147483647 w 4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3" h="36">
                        <a:moveTo>
                          <a:pt x="38" y="21"/>
                        </a:moveTo>
                        <a:cubicBezTo>
                          <a:pt x="37" y="18"/>
                          <a:pt x="37" y="18"/>
                          <a:pt x="37" y="18"/>
                        </a:cubicBezTo>
                        <a:cubicBezTo>
                          <a:pt x="39" y="15"/>
                          <a:pt x="39" y="15"/>
                          <a:pt x="39" y="15"/>
                        </a:cubicBezTo>
                        <a:cubicBezTo>
                          <a:pt x="43" y="11"/>
                          <a:pt x="43" y="11"/>
                          <a:pt x="43" y="11"/>
                        </a:cubicBezTo>
                        <a:cubicBezTo>
                          <a:pt x="42" y="11"/>
                          <a:pt x="42" y="11"/>
                          <a:pt x="42" y="11"/>
                        </a:cubicBezTo>
                        <a:cubicBezTo>
                          <a:pt x="39" y="10"/>
                          <a:pt x="39" y="10"/>
                          <a:pt x="39" y="10"/>
                        </a:cubicBezTo>
                        <a:cubicBezTo>
                          <a:pt x="38" y="8"/>
                          <a:pt x="38" y="8"/>
                          <a:pt x="38" y="8"/>
                        </a:cubicBezTo>
                        <a:cubicBezTo>
                          <a:pt x="32" y="5"/>
                          <a:pt x="32" y="5"/>
                          <a:pt x="32" y="5"/>
                        </a:cubicBezTo>
                        <a:cubicBezTo>
                          <a:pt x="22" y="6"/>
                          <a:pt x="22" y="6"/>
                          <a:pt x="22" y="6"/>
                        </a:cubicBezTo>
                        <a:cubicBezTo>
                          <a:pt x="17" y="5"/>
                          <a:pt x="17" y="5"/>
                          <a:pt x="17" y="5"/>
                        </a:cubicBezTo>
                        <a:cubicBezTo>
                          <a:pt x="16" y="3"/>
                          <a:pt x="16" y="3"/>
                          <a:pt x="16" y="3"/>
                        </a:cubicBezTo>
                        <a:cubicBezTo>
                          <a:pt x="11" y="2"/>
                          <a:pt x="11" y="2"/>
                          <a:pt x="11" y="2"/>
                        </a:cubicBezTo>
                        <a:cubicBezTo>
                          <a:pt x="11" y="2"/>
                          <a:pt x="7" y="3"/>
                          <a:pt x="6" y="3"/>
                        </a:cubicBezTo>
                        <a:cubicBezTo>
                          <a:pt x="5" y="3"/>
                          <a:pt x="5" y="1"/>
                          <a:pt x="5" y="0"/>
                        </a:cubicBezTo>
                        <a:cubicBezTo>
                          <a:pt x="1" y="2"/>
                          <a:pt x="1" y="2"/>
                          <a:pt x="1" y="2"/>
                        </a:cubicBezTo>
                        <a:cubicBezTo>
                          <a:pt x="0" y="10"/>
                          <a:pt x="0" y="10"/>
                          <a:pt x="0" y="10"/>
                        </a:cubicBezTo>
                        <a:cubicBezTo>
                          <a:pt x="2" y="15"/>
                          <a:pt x="2" y="15"/>
                          <a:pt x="2" y="15"/>
                        </a:cubicBezTo>
                        <a:cubicBezTo>
                          <a:pt x="12" y="19"/>
                          <a:pt x="12" y="19"/>
                          <a:pt x="12" y="19"/>
                        </a:cubicBezTo>
                        <a:cubicBezTo>
                          <a:pt x="17" y="20"/>
                          <a:pt x="17" y="20"/>
                          <a:pt x="17" y="20"/>
                        </a:cubicBezTo>
                        <a:cubicBezTo>
                          <a:pt x="16" y="22"/>
                          <a:pt x="16" y="22"/>
                          <a:pt x="16" y="22"/>
                        </a:cubicBezTo>
                        <a:cubicBezTo>
                          <a:pt x="18" y="26"/>
                          <a:pt x="18" y="26"/>
                          <a:pt x="18" y="26"/>
                        </a:cubicBezTo>
                        <a:cubicBezTo>
                          <a:pt x="18" y="33"/>
                          <a:pt x="18" y="33"/>
                          <a:pt x="18" y="33"/>
                        </a:cubicBezTo>
                        <a:cubicBezTo>
                          <a:pt x="18" y="33"/>
                          <a:pt x="18" y="33"/>
                          <a:pt x="18" y="33"/>
                        </a:cubicBezTo>
                        <a:cubicBezTo>
                          <a:pt x="21" y="36"/>
                          <a:pt x="21" y="36"/>
                          <a:pt x="21" y="36"/>
                        </a:cubicBezTo>
                        <a:cubicBezTo>
                          <a:pt x="30" y="33"/>
                          <a:pt x="30" y="33"/>
                          <a:pt x="30" y="33"/>
                        </a:cubicBezTo>
                        <a:cubicBezTo>
                          <a:pt x="29" y="30"/>
                          <a:pt x="29" y="30"/>
                          <a:pt x="29" y="30"/>
                        </a:cubicBezTo>
                        <a:cubicBezTo>
                          <a:pt x="26" y="25"/>
                          <a:pt x="26" y="25"/>
                          <a:pt x="26" y="25"/>
                        </a:cubicBezTo>
                        <a:cubicBezTo>
                          <a:pt x="34" y="25"/>
                          <a:pt x="34" y="25"/>
                          <a:pt x="34" y="25"/>
                        </a:cubicBezTo>
                        <a:cubicBezTo>
                          <a:pt x="39" y="23"/>
                          <a:pt x="39" y="23"/>
                          <a:pt x="39" y="23"/>
                        </a:cubicBezTo>
                        <a:cubicBezTo>
                          <a:pt x="38" y="21"/>
                          <a:pt x="38" y="21"/>
                          <a:pt x="38" y="21"/>
                        </a:cubicBezTo>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36" name="Freeform 421"/>
                  <p:cNvSpPr>
                    <a:spLocks/>
                  </p:cNvSpPr>
                  <p:nvPr/>
                </p:nvSpPr>
                <p:spPr bwMode="auto">
                  <a:xfrm>
                    <a:off x="2363955" y="4119380"/>
                    <a:ext cx="133270" cy="156749"/>
                  </a:xfrm>
                  <a:custGeom>
                    <a:avLst/>
                    <a:gdLst>
                      <a:gd name="T0" fmla="*/ 2147483647 w 102"/>
                      <a:gd name="T1" fmla="*/ 2147483647 h 114"/>
                      <a:gd name="T2" fmla="*/ 2147483647 w 102"/>
                      <a:gd name="T3" fmla="*/ 2147483647 h 114"/>
                      <a:gd name="T4" fmla="*/ 2147483647 w 102"/>
                      <a:gd name="T5" fmla="*/ 2147483647 h 114"/>
                      <a:gd name="T6" fmla="*/ 2147483647 w 102"/>
                      <a:gd name="T7" fmla="*/ 2147483647 h 114"/>
                      <a:gd name="T8" fmla="*/ 2147483647 w 102"/>
                      <a:gd name="T9" fmla="*/ 2147483647 h 114"/>
                      <a:gd name="T10" fmla="*/ 2147483647 w 102"/>
                      <a:gd name="T11" fmla="*/ 2147483647 h 114"/>
                      <a:gd name="T12" fmla="*/ 2147483647 w 102"/>
                      <a:gd name="T13" fmla="*/ 0 h 114"/>
                      <a:gd name="T14" fmla="*/ 2147483647 w 102"/>
                      <a:gd name="T15" fmla="*/ 2147483647 h 114"/>
                      <a:gd name="T16" fmla="*/ 0 w 102"/>
                      <a:gd name="T17" fmla="*/ 2147483647 h 114"/>
                      <a:gd name="T18" fmla="*/ 2147483647 w 102"/>
                      <a:gd name="T19" fmla="*/ 2147483647 h 114"/>
                      <a:gd name="T20" fmla="*/ 0 w 102"/>
                      <a:gd name="T21" fmla="*/ 2147483647 h 114"/>
                      <a:gd name="T22" fmla="*/ 2147483647 w 102"/>
                      <a:gd name="T23" fmla="*/ 2147483647 h 114"/>
                      <a:gd name="T24" fmla="*/ 2147483647 w 102"/>
                      <a:gd name="T25" fmla="*/ 2147483647 h 1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114">
                        <a:moveTo>
                          <a:pt x="24" y="114"/>
                        </a:moveTo>
                        <a:lnTo>
                          <a:pt x="48" y="90"/>
                        </a:lnTo>
                        <a:lnTo>
                          <a:pt x="66" y="84"/>
                        </a:lnTo>
                        <a:lnTo>
                          <a:pt x="90" y="60"/>
                        </a:lnTo>
                        <a:lnTo>
                          <a:pt x="102" y="36"/>
                        </a:lnTo>
                        <a:lnTo>
                          <a:pt x="78" y="18"/>
                        </a:lnTo>
                        <a:lnTo>
                          <a:pt x="30" y="0"/>
                        </a:lnTo>
                        <a:lnTo>
                          <a:pt x="24" y="12"/>
                        </a:lnTo>
                        <a:lnTo>
                          <a:pt x="0" y="66"/>
                        </a:lnTo>
                        <a:lnTo>
                          <a:pt x="12" y="90"/>
                        </a:lnTo>
                        <a:lnTo>
                          <a:pt x="0" y="96"/>
                        </a:lnTo>
                        <a:lnTo>
                          <a:pt x="6" y="108"/>
                        </a:lnTo>
                        <a:lnTo>
                          <a:pt x="24" y="114"/>
                        </a:lnTo>
                        <a:close/>
                      </a:path>
                    </a:pathLst>
                  </a:custGeom>
                  <a:no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37" name="Freeform 263"/>
                  <p:cNvSpPr>
                    <a:spLocks/>
                  </p:cNvSpPr>
                  <p:nvPr/>
                </p:nvSpPr>
                <p:spPr bwMode="auto">
                  <a:xfrm>
                    <a:off x="4701664" y="2375132"/>
                    <a:ext cx="48603" cy="101719"/>
                  </a:xfrm>
                  <a:custGeom>
                    <a:avLst/>
                    <a:gdLst>
                      <a:gd name="T0" fmla="*/ 1 w 429209"/>
                      <a:gd name="T1" fmla="*/ 16 h 839755"/>
                      <a:gd name="T2" fmla="*/ 1 w 429209"/>
                      <a:gd name="T3" fmla="*/ 11 h 839755"/>
                      <a:gd name="T4" fmla="*/ 0 w 429209"/>
                      <a:gd name="T5" fmla="*/ 11 h 839755"/>
                      <a:gd name="T6" fmla="*/ 2 w 429209"/>
                      <a:gd name="T7" fmla="*/ 3 h 839755"/>
                      <a:gd name="T8" fmla="*/ 5 w 429209"/>
                      <a:gd name="T9" fmla="*/ 3 h 839755"/>
                      <a:gd name="T10" fmla="*/ 8 w 429209"/>
                      <a:gd name="T11" fmla="*/ 0 h 839755"/>
                      <a:gd name="T12" fmla="*/ 8 w 429209"/>
                      <a:gd name="T13" fmla="*/ 5 h 839755"/>
                      <a:gd name="T14" fmla="*/ 8 w 429209"/>
                      <a:gd name="T15" fmla="*/ 8 h 839755"/>
                      <a:gd name="T16" fmla="*/ 4 w 429209"/>
                      <a:gd name="T17" fmla="*/ 13 h 839755"/>
                      <a:gd name="T18" fmla="*/ 4 w 429209"/>
                      <a:gd name="T19" fmla="*/ 17 h 839755"/>
                      <a:gd name="T20" fmla="*/ 2 w 429209"/>
                      <a:gd name="T21" fmla="*/ 16 h 839755"/>
                      <a:gd name="T22" fmla="*/ 1 w 429209"/>
                      <a:gd name="T23" fmla="*/ 16 h 8397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29209" h="839755">
                        <a:moveTo>
                          <a:pt x="53214" y="797282"/>
                        </a:moveTo>
                        <a:cubicBezTo>
                          <a:pt x="54137" y="718133"/>
                          <a:pt x="55061" y="638985"/>
                          <a:pt x="55984" y="559836"/>
                        </a:cubicBezTo>
                        <a:lnTo>
                          <a:pt x="0" y="522514"/>
                        </a:lnTo>
                        <a:lnTo>
                          <a:pt x="111968" y="130628"/>
                        </a:lnTo>
                        <a:lnTo>
                          <a:pt x="261258" y="130628"/>
                        </a:lnTo>
                        <a:lnTo>
                          <a:pt x="391886" y="0"/>
                        </a:lnTo>
                        <a:lnTo>
                          <a:pt x="410547" y="261257"/>
                        </a:lnTo>
                        <a:lnTo>
                          <a:pt x="429209" y="410547"/>
                        </a:lnTo>
                        <a:lnTo>
                          <a:pt x="223935" y="634481"/>
                        </a:lnTo>
                        <a:lnTo>
                          <a:pt x="223935" y="839755"/>
                        </a:lnTo>
                        <a:lnTo>
                          <a:pt x="111968" y="783771"/>
                        </a:lnTo>
                        <a:lnTo>
                          <a:pt x="53214" y="797282"/>
                        </a:lnTo>
                        <a:close/>
                      </a:path>
                    </a:pathLst>
                  </a:custGeom>
                  <a:solidFill>
                    <a:srgbClr val="FFC000"/>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38" name="Freeform 295"/>
                  <p:cNvSpPr>
                    <a:spLocks/>
                  </p:cNvSpPr>
                  <p:nvPr/>
                </p:nvSpPr>
                <p:spPr bwMode="auto">
                  <a:xfrm>
                    <a:off x="5948128" y="3095510"/>
                    <a:ext cx="432735" cy="438563"/>
                  </a:xfrm>
                  <a:custGeom>
                    <a:avLst/>
                    <a:gdLst>
                      <a:gd name="T0" fmla="*/ 466397904 w 10944"/>
                      <a:gd name="T1" fmla="*/ 611944579 h 10652"/>
                      <a:gd name="T2" fmla="*/ 517357383 w 10944"/>
                      <a:gd name="T3" fmla="*/ 582817865 h 10652"/>
                      <a:gd name="T4" fmla="*/ 462547877 w 10944"/>
                      <a:gd name="T5" fmla="*/ 488039035 h 10652"/>
                      <a:gd name="T6" fmla="*/ 473072204 w 10944"/>
                      <a:gd name="T7" fmla="*/ 451330707 h 10652"/>
                      <a:gd name="T8" fmla="*/ 492840160 w 10944"/>
                      <a:gd name="T9" fmla="*/ 428221700 h 10652"/>
                      <a:gd name="T10" fmla="*/ 543863776 w 10944"/>
                      <a:gd name="T11" fmla="*/ 423588226 h 10652"/>
                      <a:gd name="T12" fmla="*/ 607658881 w 10944"/>
                      <a:gd name="T13" fmla="*/ 305580529 h 10652"/>
                      <a:gd name="T14" fmla="*/ 642894364 w 10944"/>
                      <a:gd name="T15" fmla="*/ 229636695 h 10652"/>
                      <a:gd name="T16" fmla="*/ 664587393 w 10944"/>
                      <a:gd name="T17" fmla="*/ 152068986 h 10652"/>
                      <a:gd name="T18" fmla="*/ 623382877 w 10944"/>
                      <a:gd name="T19" fmla="*/ 124868816 h 10652"/>
                      <a:gd name="T20" fmla="*/ 628260338 w 10944"/>
                      <a:gd name="T21" fmla="*/ 67939730 h 10652"/>
                      <a:gd name="T22" fmla="*/ 699372476 w 10944"/>
                      <a:gd name="T23" fmla="*/ 50969780 h 10652"/>
                      <a:gd name="T24" fmla="*/ 686216285 w 10944"/>
                      <a:gd name="T25" fmla="*/ 28103512 h 10652"/>
                      <a:gd name="T26" fmla="*/ 656821561 w 10944"/>
                      <a:gd name="T27" fmla="*/ 10771002 h 10652"/>
                      <a:gd name="T28" fmla="*/ 619082409 w 10944"/>
                      <a:gd name="T29" fmla="*/ 59930 h 10652"/>
                      <a:gd name="T30" fmla="*/ 538858041 w 10944"/>
                      <a:gd name="T31" fmla="*/ 14261453 h 10652"/>
                      <a:gd name="T32" fmla="*/ 499836628 w 10944"/>
                      <a:gd name="T33" fmla="*/ 15826966 h 10652"/>
                      <a:gd name="T34" fmla="*/ 454782044 w 10944"/>
                      <a:gd name="T35" fmla="*/ 34482211 h 10652"/>
                      <a:gd name="T36" fmla="*/ 444961383 w 10944"/>
                      <a:gd name="T37" fmla="*/ 97668646 h 10652"/>
                      <a:gd name="T38" fmla="*/ 444961383 w 10944"/>
                      <a:gd name="T39" fmla="*/ 124868816 h 10652"/>
                      <a:gd name="T40" fmla="*/ 431162420 w 10944"/>
                      <a:gd name="T41" fmla="*/ 138468137 h 10652"/>
                      <a:gd name="T42" fmla="*/ 415566658 w 10944"/>
                      <a:gd name="T43" fmla="*/ 185586397 h 10652"/>
                      <a:gd name="T44" fmla="*/ 335085862 w 10944"/>
                      <a:gd name="T45" fmla="*/ 220309818 h 10652"/>
                      <a:gd name="T46" fmla="*/ 293945443 w 10944"/>
                      <a:gd name="T47" fmla="*/ 247509987 h 10652"/>
                      <a:gd name="T48" fmla="*/ 252678431 w 10944"/>
                      <a:gd name="T49" fmla="*/ 301609187 h 10652"/>
                      <a:gd name="T50" fmla="*/ 170399193 w 10944"/>
                      <a:gd name="T51" fmla="*/ 315630998 h 10652"/>
                      <a:gd name="T52" fmla="*/ 91072464 w 10944"/>
                      <a:gd name="T53" fmla="*/ 376711138 h 10652"/>
                      <a:gd name="T54" fmla="*/ 10846495 w 10944"/>
                      <a:gd name="T55" fmla="*/ 372979477 h 10652"/>
                      <a:gd name="T56" fmla="*/ 44990446 w 10944"/>
                      <a:gd name="T57" fmla="*/ 421723141 h 10652"/>
                      <a:gd name="T58" fmla="*/ 85423996 w 10944"/>
                      <a:gd name="T59" fmla="*/ 440739456 h 10652"/>
                      <a:gd name="T60" fmla="*/ 86515528 w 10944"/>
                      <a:gd name="T61" fmla="*/ 460296554 h 10652"/>
                      <a:gd name="T62" fmla="*/ 88055899 w 10944"/>
                      <a:gd name="T63" fmla="*/ 479133079 h 10652"/>
                      <a:gd name="T64" fmla="*/ 65014870 w 10944"/>
                      <a:gd name="T65" fmla="*/ 489483159 h 10652"/>
                      <a:gd name="T66" fmla="*/ 20665555 w 10944"/>
                      <a:gd name="T67" fmla="*/ 524205012 h 10652"/>
                      <a:gd name="T68" fmla="*/ 30035855 w 10944"/>
                      <a:gd name="T69" fmla="*/ 552488275 h 10652"/>
                      <a:gd name="T70" fmla="*/ 392783739 w 10944"/>
                      <a:gd name="T71" fmla="*/ 641009795 h 10652"/>
                      <a:gd name="T72" fmla="*/ 409535130 w 10944"/>
                      <a:gd name="T73" fmla="*/ 632103879 h 10652"/>
                      <a:gd name="T74" fmla="*/ 466397904 w 10944"/>
                      <a:gd name="T75" fmla="*/ 611944579 h 106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944" h="10652">
                        <a:moveTo>
                          <a:pt x="7267" y="10169"/>
                        </a:moveTo>
                        <a:cubicBezTo>
                          <a:pt x="7552" y="10018"/>
                          <a:pt x="8071" y="10028"/>
                          <a:pt x="8061" y="9685"/>
                        </a:cubicBezTo>
                        <a:cubicBezTo>
                          <a:pt x="8051" y="9342"/>
                          <a:pt x="7322" y="8474"/>
                          <a:pt x="7207" y="8110"/>
                        </a:cubicBezTo>
                        <a:cubicBezTo>
                          <a:pt x="7092" y="7746"/>
                          <a:pt x="7292" y="7666"/>
                          <a:pt x="7371" y="7500"/>
                        </a:cubicBezTo>
                        <a:cubicBezTo>
                          <a:pt x="7450" y="7334"/>
                          <a:pt x="7495" y="7193"/>
                          <a:pt x="7679" y="7116"/>
                        </a:cubicBezTo>
                        <a:cubicBezTo>
                          <a:pt x="7863" y="7039"/>
                          <a:pt x="8176" y="7379"/>
                          <a:pt x="8474" y="7039"/>
                        </a:cubicBezTo>
                        <a:cubicBezTo>
                          <a:pt x="8772" y="6699"/>
                          <a:pt x="9211" y="5615"/>
                          <a:pt x="9468" y="5078"/>
                        </a:cubicBezTo>
                        <a:cubicBezTo>
                          <a:pt x="9725" y="4541"/>
                          <a:pt x="9869" y="4241"/>
                          <a:pt x="10017" y="3816"/>
                        </a:cubicBezTo>
                        <a:cubicBezTo>
                          <a:pt x="10165" y="3391"/>
                          <a:pt x="10406" y="2817"/>
                          <a:pt x="10355" y="2527"/>
                        </a:cubicBezTo>
                        <a:cubicBezTo>
                          <a:pt x="10304" y="2237"/>
                          <a:pt x="9687" y="2325"/>
                          <a:pt x="9713" y="2075"/>
                        </a:cubicBezTo>
                        <a:cubicBezTo>
                          <a:pt x="9740" y="1811"/>
                          <a:pt x="9649" y="1164"/>
                          <a:pt x="9789" y="1129"/>
                        </a:cubicBezTo>
                        <a:cubicBezTo>
                          <a:pt x="10290" y="1004"/>
                          <a:pt x="10747" y="957"/>
                          <a:pt x="10897" y="847"/>
                        </a:cubicBezTo>
                        <a:cubicBezTo>
                          <a:pt x="11047" y="737"/>
                          <a:pt x="10802" y="578"/>
                          <a:pt x="10692" y="467"/>
                        </a:cubicBezTo>
                        <a:cubicBezTo>
                          <a:pt x="10582" y="356"/>
                          <a:pt x="10409" y="257"/>
                          <a:pt x="10234" y="179"/>
                        </a:cubicBezTo>
                        <a:cubicBezTo>
                          <a:pt x="10060" y="102"/>
                          <a:pt x="9954" y="-9"/>
                          <a:pt x="9646" y="1"/>
                        </a:cubicBezTo>
                        <a:cubicBezTo>
                          <a:pt x="9341" y="11"/>
                          <a:pt x="8705" y="193"/>
                          <a:pt x="8396" y="237"/>
                        </a:cubicBezTo>
                        <a:cubicBezTo>
                          <a:pt x="8087" y="279"/>
                          <a:pt x="8007" y="208"/>
                          <a:pt x="7788" y="263"/>
                        </a:cubicBezTo>
                        <a:cubicBezTo>
                          <a:pt x="7570" y="320"/>
                          <a:pt x="7301" y="573"/>
                          <a:pt x="7086" y="573"/>
                        </a:cubicBezTo>
                        <a:cubicBezTo>
                          <a:pt x="7035" y="922"/>
                          <a:pt x="6959" y="1372"/>
                          <a:pt x="6933" y="1623"/>
                        </a:cubicBezTo>
                        <a:cubicBezTo>
                          <a:pt x="6907" y="1873"/>
                          <a:pt x="6933" y="1924"/>
                          <a:pt x="6933" y="2075"/>
                        </a:cubicBezTo>
                        <a:cubicBezTo>
                          <a:pt x="6861" y="2150"/>
                          <a:pt x="6794" y="2133"/>
                          <a:pt x="6718" y="2301"/>
                        </a:cubicBezTo>
                        <a:cubicBezTo>
                          <a:pt x="6642" y="2469"/>
                          <a:pt x="6556" y="2823"/>
                          <a:pt x="6475" y="3084"/>
                        </a:cubicBezTo>
                        <a:cubicBezTo>
                          <a:pt x="6475" y="3084"/>
                          <a:pt x="5537" y="3490"/>
                          <a:pt x="5221" y="3661"/>
                        </a:cubicBezTo>
                        <a:cubicBezTo>
                          <a:pt x="4905" y="3832"/>
                          <a:pt x="4793" y="3888"/>
                          <a:pt x="4580" y="4113"/>
                        </a:cubicBezTo>
                        <a:cubicBezTo>
                          <a:pt x="4366" y="4338"/>
                          <a:pt x="3937" y="5012"/>
                          <a:pt x="3937" y="5012"/>
                        </a:cubicBezTo>
                        <a:cubicBezTo>
                          <a:pt x="3937" y="5012"/>
                          <a:pt x="3074" y="5037"/>
                          <a:pt x="2655" y="5245"/>
                        </a:cubicBezTo>
                        <a:cubicBezTo>
                          <a:pt x="2236" y="5453"/>
                          <a:pt x="1833" y="6101"/>
                          <a:pt x="1419" y="6260"/>
                        </a:cubicBezTo>
                        <a:cubicBezTo>
                          <a:pt x="1005" y="6419"/>
                          <a:pt x="289" y="6073"/>
                          <a:pt x="169" y="6198"/>
                        </a:cubicBezTo>
                        <a:cubicBezTo>
                          <a:pt x="49" y="6323"/>
                          <a:pt x="507" y="6820"/>
                          <a:pt x="701" y="7008"/>
                        </a:cubicBezTo>
                        <a:cubicBezTo>
                          <a:pt x="895" y="7196"/>
                          <a:pt x="1223" y="7217"/>
                          <a:pt x="1331" y="7324"/>
                        </a:cubicBezTo>
                        <a:cubicBezTo>
                          <a:pt x="1439" y="7431"/>
                          <a:pt x="1341" y="7543"/>
                          <a:pt x="1348" y="7649"/>
                        </a:cubicBezTo>
                        <a:cubicBezTo>
                          <a:pt x="1355" y="7755"/>
                          <a:pt x="1428" y="7881"/>
                          <a:pt x="1372" y="7962"/>
                        </a:cubicBezTo>
                        <a:cubicBezTo>
                          <a:pt x="1316" y="8043"/>
                          <a:pt x="1188" y="8009"/>
                          <a:pt x="1013" y="8134"/>
                        </a:cubicBezTo>
                        <a:cubicBezTo>
                          <a:pt x="838" y="8259"/>
                          <a:pt x="295" y="8195"/>
                          <a:pt x="322" y="8711"/>
                        </a:cubicBezTo>
                        <a:cubicBezTo>
                          <a:pt x="331" y="8882"/>
                          <a:pt x="-498" y="8858"/>
                          <a:pt x="468" y="9181"/>
                        </a:cubicBezTo>
                        <a:cubicBezTo>
                          <a:pt x="1434" y="9504"/>
                          <a:pt x="5678" y="9982"/>
                          <a:pt x="6120" y="10652"/>
                        </a:cubicBezTo>
                        <a:lnTo>
                          <a:pt x="6381" y="10504"/>
                        </a:lnTo>
                        <a:lnTo>
                          <a:pt x="7267" y="10169"/>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39" name="Freeform 296"/>
                  <p:cNvSpPr>
                    <a:spLocks/>
                  </p:cNvSpPr>
                  <p:nvPr/>
                </p:nvSpPr>
                <p:spPr bwMode="auto">
                  <a:xfrm>
                    <a:off x="6189581" y="3100513"/>
                    <a:ext cx="721224" cy="935492"/>
                  </a:xfrm>
                  <a:custGeom>
                    <a:avLst/>
                    <a:gdLst>
                      <a:gd name="T0" fmla="*/ 639173 w 10736"/>
                      <a:gd name="T1" fmla="*/ 413856 h 10000"/>
                      <a:gd name="T2" fmla="*/ 649104 w 10736"/>
                      <a:gd name="T3" fmla="*/ 463284 h 10000"/>
                      <a:gd name="T4" fmla="*/ 730250 w 10736"/>
                      <a:gd name="T5" fmla="*/ 360688 h 10000"/>
                      <a:gd name="T6" fmla="*/ 720523 w 10736"/>
                      <a:gd name="T7" fmla="*/ 301019 h 10000"/>
                      <a:gd name="T8" fmla="*/ 683929 w 10736"/>
                      <a:gd name="T9" fmla="*/ 248474 h 10000"/>
                      <a:gd name="T10" fmla="*/ 617271 w 10736"/>
                      <a:gd name="T11" fmla="*/ 226209 h 10000"/>
                      <a:gd name="T12" fmla="*/ 598089 w 10736"/>
                      <a:gd name="T13" fmla="*/ 287927 h 10000"/>
                      <a:gd name="T14" fmla="*/ 573875 w 10736"/>
                      <a:gd name="T15" fmla="*/ 308054 h 10000"/>
                      <a:gd name="T16" fmla="*/ 561971 w 10736"/>
                      <a:gd name="T17" fmla="*/ 280446 h 10000"/>
                      <a:gd name="T18" fmla="*/ 493408 w 10736"/>
                      <a:gd name="T19" fmla="*/ 280713 h 10000"/>
                      <a:gd name="T20" fmla="*/ 463072 w 10736"/>
                      <a:gd name="T21" fmla="*/ 308856 h 10000"/>
                      <a:gd name="T22" fmla="*/ 417499 w 10736"/>
                      <a:gd name="T23" fmla="*/ 299505 h 10000"/>
                      <a:gd name="T24" fmla="*/ 288400 w 10736"/>
                      <a:gd name="T25" fmla="*/ 243309 h 10000"/>
                      <a:gd name="T26" fmla="*/ 273232 w 10736"/>
                      <a:gd name="T27" fmla="*/ 168410 h 10000"/>
                      <a:gd name="T28" fmla="*/ 273232 w 10736"/>
                      <a:gd name="T29" fmla="*/ 102952 h 10000"/>
                      <a:gd name="T30" fmla="*/ 287924 w 10736"/>
                      <a:gd name="T31" fmla="*/ 53524 h 10000"/>
                      <a:gd name="T32" fmla="*/ 242895 w 10736"/>
                      <a:gd name="T33" fmla="*/ 0 h 10000"/>
                      <a:gd name="T34" fmla="*/ 220109 w 10736"/>
                      <a:gd name="T35" fmla="*/ 9351 h 10000"/>
                      <a:gd name="T36" fmla="*/ 144200 w 10736"/>
                      <a:gd name="T37" fmla="*/ 37405 h 10000"/>
                      <a:gd name="T38" fmla="*/ 166986 w 10736"/>
                      <a:gd name="T39" fmla="*/ 102952 h 10000"/>
                      <a:gd name="T40" fmla="*/ 136650 w 10736"/>
                      <a:gd name="T41" fmla="*/ 187202 h 10000"/>
                      <a:gd name="T42" fmla="*/ 60741 w 10736"/>
                      <a:gd name="T43" fmla="*/ 271362 h 10000"/>
                      <a:gd name="T44" fmla="*/ 53123 w 10736"/>
                      <a:gd name="T45" fmla="*/ 336909 h 10000"/>
                      <a:gd name="T46" fmla="*/ 45573 w 10736"/>
                      <a:gd name="T47" fmla="*/ 393016 h 10000"/>
                      <a:gd name="T48" fmla="*/ 0 w 10736"/>
                      <a:gd name="T49" fmla="*/ 411719 h 10000"/>
                      <a:gd name="T50" fmla="*/ 53123 w 10736"/>
                      <a:gd name="T51" fmla="*/ 495968 h 10000"/>
                      <a:gd name="T52" fmla="*/ 113795 w 10736"/>
                      <a:gd name="T53" fmla="*/ 636325 h 10000"/>
                      <a:gd name="T54" fmla="*/ 174536 w 10736"/>
                      <a:gd name="T55" fmla="*/ 796987 h 10000"/>
                      <a:gd name="T56" fmla="*/ 220109 w 10736"/>
                      <a:gd name="T57" fmla="*/ 890588 h 10000"/>
                      <a:gd name="T58" fmla="*/ 273232 w 10736"/>
                      <a:gd name="T59" fmla="*/ 815690 h 10000"/>
                      <a:gd name="T60" fmla="*/ 288400 w 10736"/>
                      <a:gd name="T61" fmla="*/ 712827 h 10000"/>
                      <a:gd name="T62" fmla="*/ 349141 w 10736"/>
                      <a:gd name="T63" fmla="*/ 598920 h 10000"/>
                      <a:gd name="T64" fmla="*/ 451577 w 10736"/>
                      <a:gd name="T65" fmla="*/ 523220 h 10000"/>
                      <a:gd name="T66" fmla="*/ 548368 w 10736"/>
                      <a:gd name="T67" fmla="*/ 472546 h 10000"/>
                      <a:gd name="T68" fmla="*/ 541022 w 10736"/>
                      <a:gd name="T69" fmla="*/ 391235 h 10000"/>
                      <a:gd name="T70" fmla="*/ 572106 w 10736"/>
                      <a:gd name="T71" fmla="*/ 376541 h 100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736" h="10000">
                        <a:moveTo>
                          <a:pt x="8784" y="4472"/>
                        </a:moveTo>
                        <a:cubicBezTo>
                          <a:pt x="8948" y="4542"/>
                          <a:pt x="9262" y="4499"/>
                          <a:pt x="9397" y="4647"/>
                        </a:cubicBezTo>
                        <a:cubicBezTo>
                          <a:pt x="9282" y="4891"/>
                          <a:pt x="9246" y="4846"/>
                          <a:pt x="9150" y="5059"/>
                        </a:cubicBezTo>
                        <a:cubicBezTo>
                          <a:pt x="9278" y="5100"/>
                          <a:pt x="9553" y="5244"/>
                          <a:pt x="9543" y="5202"/>
                        </a:cubicBezTo>
                        <a:cubicBezTo>
                          <a:pt x="9555" y="5140"/>
                          <a:pt x="9941" y="4675"/>
                          <a:pt x="9949" y="4570"/>
                        </a:cubicBezTo>
                        <a:cubicBezTo>
                          <a:pt x="10062" y="4506"/>
                          <a:pt x="10576" y="4087"/>
                          <a:pt x="10736" y="4050"/>
                        </a:cubicBezTo>
                        <a:lnTo>
                          <a:pt x="10429" y="3991"/>
                        </a:lnTo>
                        <a:cubicBezTo>
                          <a:pt x="10556" y="3858"/>
                          <a:pt x="10557" y="3689"/>
                          <a:pt x="10593" y="3380"/>
                        </a:cubicBezTo>
                        <a:cubicBezTo>
                          <a:pt x="10678" y="3109"/>
                          <a:pt x="10563" y="3146"/>
                          <a:pt x="10508" y="3001"/>
                        </a:cubicBezTo>
                        <a:cubicBezTo>
                          <a:pt x="10453" y="2856"/>
                          <a:pt x="10430" y="2809"/>
                          <a:pt x="10055" y="2790"/>
                        </a:cubicBezTo>
                        <a:cubicBezTo>
                          <a:pt x="9757" y="2713"/>
                          <a:pt x="9789" y="2667"/>
                          <a:pt x="9600" y="2544"/>
                        </a:cubicBezTo>
                        <a:lnTo>
                          <a:pt x="9075" y="2540"/>
                        </a:lnTo>
                        <a:cubicBezTo>
                          <a:pt x="8904" y="2631"/>
                          <a:pt x="8281" y="3056"/>
                          <a:pt x="8247" y="3163"/>
                        </a:cubicBezTo>
                        <a:cubicBezTo>
                          <a:pt x="8213" y="3270"/>
                          <a:pt x="8677" y="3148"/>
                          <a:pt x="8793" y="3233"/>
                        </a:cubicBezTo>
                        <a:cubicBezTo>
                          <a:pt x="8909" y="3318"/>
                          <a:pt x="8879" y="3366"/>
                          <a:pt x="8859" y="3438"/>
                        </a:cubicBezTo>
                        <a:lnTo>
                          <a:pt x="8437" y="3459"/>
                        </a:lnTo>
                        <a:cubicBezTo>
                          <a:pt x="8303" y="3436"/>
                          <a:pt x="8184" y="3409"/>
                          <a:pt x="8149" y="3340"/>
                        </a:cubicBezTo>
                        <a:lnTo>
                          <a:pt x="8262" y="3149"/>
                        </a:lnTo>
                        <a:lnTo>
                          <a:pt x="7715" y="3110"/>
                        </a:lnTo>
                        <a:lnTo>
                          <a:pt x="7254" y="3152"/>
                        </a:lnTo>
                        <a:lnTo>
                          <a:pt x="7031" y="3152"/>
                        </a:lnTo>
                        <a:lnTo>
                          <a:pt x="6808" y="3468"/>
                        </a:lnTo>
                        <a:lnTo>
                          <a:pt x="6584" y="3468"/>
                        </a:lnTo>
                        <a:lnTo>
                          <a:pt x="6138" y="3363"/>
                        </a:lnTo>
                        <a:lnTo>
                          <a:pt x="5357" y="3257"/>
                        </a:lnTo>
                        <a:lnTo>
                          <a:pt x="4240" y="2732"/>
                        </a:lnTo>
                        <a:lnTo>
                          <a:pt x="4575" y="2102"/>
                        </a:lnTo>
                        <a:lnTo>
                          <a:pt x="4017" y="1891"/>
                        </a:lnTo>
                        <a:lnTo>
                          <a:pt x="3794" y="1471"/>
                        </a:lnTo>
                        <a:lnTo>
                          <a:pt x="4017" y="1156"/>
                        </a:lnTo>
                        <a:cubicBezTo>
                          <a:pt x="3980" y="1051"/>
                          <a:pt x="4011" y="999"/>
                          <a:pt x="3974" y="894"/>
                        </a:cubicBezTo>
                        <a:lnTo>
                          <a:pt x="4233" y="601"/>
                        </a:lnTo>
                        <a:cubicBezTo>
                          <a:pt x="4235" y="401"/>
                          <a:pt x="4238" y="200"/>
                          <a:pt x="4240" y="0"/>
                        </a:cubicBezTo>
                        <a:lnTo>
                          <a:pt x="3571" y="0"/>
                        </a:lnTo>
                        <a:lnTo>
                          <a:pt x="3125" y="0"/>
                        </a:lnTo>
                        <a:lnTo>
                          <a:pt x="3236" y="105"/>
                        </a:lnTo>
                        <a:lnTo>
                          <a:pt x="3348" y="210"/>
                        </a:lnTo>
                        <a:lnTo>
                          <a:pt x="2120" y="420"/>
                        </a:lnTo>
                        <a:lnTo>
                          <a:pt x="2120" y="946"/>
                        </a:lnTo>
                        <a:lnTo>
                          <a:pt x="2455" y="1156"/>
                        </a:lnTo>
                        <a:cubicBezTo>
                          <a:pt x="2381" y="1331"/>
                          <a:pt x="2306" y="1506"/>
                          <a:pt x="2232" y="1681"/>
                        </a:cubicBezTo>
                        <a:lnTo>
                          <a:pt x="2009" y="2102"/>
                        </a:lnTo>
                        <a:lnTo>
                          <a:pt x="1339" y="3047"/>
                        </a:lnTo>
                        <a:lnTo>
                          <a:pt x="893" y="3047"/>
                        </a:lnTo>
                        <a:lnTo>
                          <a:pt x="557" y="3363"/>
                        </a:lnTo>
                        <a:lnTo>
                          <a:pt x="781" y="3783"/>
                        </a:lnTo>
                        <a:lnTo>
                          <a:pt x="1116" y="4203"/>
                        </a:lnTo>
                        <a:lnTo>
                          <a:pt x="670" y="4413"/>
                        </a:lnTo>
                        <a:lnTo>
                          <a:pt x="223" y="4518"/>
                        </a:lnTo>
                        <a:lnTo>
                          <a:pt x="0" y="4623"/>
                        </a:lnTo>
                        <a:lnTo>
                          <a:pt x="446" y="5149"/>
                        </a:lnTo>
                        <a:lnTo>
                          <a:pt x="781" y="5569"/>
                        </a:lnTo>
                        <a:lnTo>
                          <a:pt x="1450" y="5149"/>
                        </a:lnTo>
                        <a:cubicBezTo>
                          <a:pt x="1524" y="5814"/>
                          <a:pt x="1599" y="6480"/>
                          <a:pt x="1673" y="7145"/>
                        </a:cubicBezTo>
                        <a:lnTo>
                          <a:pt x="2009" y="8004"/>
                        </a:lnTo>
                        <a:lnTo>
                          <a:pt x="2566" y="8949"/>
                        </a:lnTo>
                        <a:lnTo>
                          <a:pt x="2901" y="9475"/>
                        </a:lnTo>
                        <a:lnTo>
                          <a:pt x="3236" y="10000"/>
                        </a:lnTo>
                        <a:lnTo>
                          <a:pt x="3571" y="9685"/>
                        </a:lnTo>
                        <a:lnTo>
                          <a:pt x="4017" y="9159"/>
                        </a:lnTo>
                        <a:lnTo>
                          <a:pt x="4128" y="8739"/>
                        </a:lnTo>
                        <a:cubicBezTo>
                          <a:pt x="4165" y="8494"/>
                          <a:pt x="4203" y="8249"/>
                          <a:pt x="4240" y="8004"/>
                        </a:cubicBezTo>
                        <a:cubicBezTo>
                          <a:pt x="4277" y="7788"/>
                          <a:pt x="4315" y="7572"/>
                          <a:pt x="4352" y="7356"/>
                        </a:cubicBezTo>
                        <a:lnTo>
                          <a:pt x="5133" y="6725"/>
                        </a:lnTo>
                        <a:lnTo>
                          <a:pt x="5915" y="6200"/>
                        </a:lnTo>
                        <a:lnTo>
                          <a:pt x="6639" y="5875"/>
                        </a:lnTo>
                        <a:cubicBezTo>
                          <a:pt x="6658" y="5668"/>
                          <a:pt x="7156" y="5557"/>
                          <a:pt x="7176" y="5350"/>
                        </a:cubicBezTo>
                        <a:cubicBezTo>
                          <a:pt x="7217" y="5258"/>
                          <a:pt x="8021" y="5398"/>
                          <a:pt x="8062" y="5306"/>
                        </a:cubicBezTo>
                        <a:cubicBezTo>
                          <a:pt x="7988" y="5026"/>
                          <a:pt x="7935" y="4864"/>
                          <a:pt x="7861" y="4584"/>
                        </a:cubicBezTo>
                        <a:cubicBezTo>
                          <a:pt x="7833" y="4487"/>
                          <a:pt x="7982" y="4490"/>
                          <a:pt x="7954" y="4393"/>
                        </a:cubicBezTo>
                        <a:cubicBezTo>
                          <a:pt x="7982" y="4385"/>
                          <a:pt x="8059" y="4243"/>
                          <a:pt x="8087" y="4235"/>
                        </a:cubicBezTo>
                        <a:cubicBezTo>
                          <a:pt x="8120" y="4206"/>
                          <a:pt x="8344" y="4234"/>
                          <a:pt x="8411" y="4228"/>
                        </a:cubicBezTo>
                        <a:cubicBezTo>
                          <a:pt x="8478" y="4222"/>
                          <a:pt x="8620" y="4402"/>
                          <a:pt x="8784" y="4472"/>
                        </a:cubicBezTo>
                        <a:close/>
                      </a:path>
                    </a:pathLst>
                  </a:custGeom>
                  <a:no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40" name="Freeform 297"/>
                  <p:cNvSpPr>
                    <a:spLocks/>
                  </p:cNvSpPr>
                  <p:nvPr/>
                </p:nvSpPr>
                <p:spPr bwMode="auto">
                  <a:xfrm>
                    <a:off x="5930883" y="3067162"/>
                    <a:ext cx="349636" cy="288485"/>
                  </a:xfrm>
                  <a:custGeom>
                    <a:avLst/>
                    <a:gdLst>
                      <a:gd name="T0" fmla="*/ 383016421 w 10348"/>
                      <a:gd name="T1" fmla="*/ 5109433 h 11017"/>
                      <a:gd name="T2" fmla="*/ 344410605 w 10348"/>
                      <a:gd name="T3" fmla="*/ 18263315 h 11017"/>
                      <a:gd name="T4" fmla="*/ 318326544 w 10348"/>
                      <a:gd name="T5" fmla="*/ 18263315 h 11017"/>
                      <a:gd name="T6" fmla="*/ 309604944 w 10348"/>
                      <a:gd name="T7" fmla="*/ 4565667 h 11017"/>
                      <a:gd name="T8" fmla="*/ 300924329 w 10348"/>
                      <a:gd name="T9" fmla="*/ 0 h 11017"/>
                      <a:gd name="T10" fmla="*/ 274840302 w 10348"/>
                      <a:gd name="T11" fmla="*/ 13697623 h 11017"/>
                      <a:gd name="T12" fmla="*/ 257438053 w 10348"/>
                      <a:gd name="T13" fmla="*/ 22844512 h 11017"/>
                      <a:gd name="T14" fmla="*/ 224192536 w 10348"/>
                      <a:gd name="T15" fmla="*/ 18014727 h 11017"/>
                      <a:gd name="T16" fmla="*/ 205269999 w 10348"/>
                      <a:gd name="T17" fmla="*/ 18263315 h 11017"/>
                      <a:gd name="T18" fmla="*/ 179146185 w 10348"/>
                      <a:gd name="T19" fmla="*/ 18263315 h 11017"/>
                      <a:gd name="T20" fmla="*/ 144381509 w 10348"/>
                      <a:gd name="T21" fmla="*/ 13697623 h 11017"/>
                      <a:gd name="T22" fmla="*/ 135659909 w 10348"/>
                      <a:gd name="T23" fmla="*/ 36542135 h 11017"/>
                      <a:gd name="T24" fmla="*/ 92213455 w 10348"/>
                      <a:gd name="T25" fmla="*/ 45674117 h 11017"/>
                      <a:gd name="T26" fmla="*/ 74811206 w 10348"/>
                      <a:gd name="T27" fmla="*/ 54805450 h 11017"/>
                      <a:gd name="T28" fmla="*/ 48727179 w 10348"/>
                      <a:gd name="T29" fmla="*/ 50239783 h 11017"/>
                      <a:gd name="T30" fmla="*/ 22963843 w 10348"/>
                      <a:gd name="T31" fmla="*/ 44198819 h 11017"/>
                      <a:gd name="T32" fmla="*/ 14242243 w 10348"/>
                      <a:gd name="T33" fmla="*/ 73084295 h 11017"/>
                      <a:gd name="T34" fmla="*/ 13921553 w 10348"/>
                      <a:gd name="T35" fmla="*/ 91348208 h 11017"/>
                      <a:gd name="T36" fmla="*/ 0 w 10348"/>
                      <a:gd name="T37" fmla="*/ 120109391 h 11017"/>
                      <a:gd name="T38" fmla="*/ 32004936 w 10348"/>
                      <a:gd name="T39" fmla="*/ 130716645 h 11017"/>
                      <a:gd name="T40" fmla="*/ 31324965 w 10348"/>
                      <a:gd name="T41" fmla="*/ 150734881 h 11017"/>
                      <a:gd name="T42" fmla="*/ 18882750 w 10348"/>
                      <a:gd name="T43" fmla="*/ 164945185 h 11017"/>
                      <a:gd name="T44" fmla="*/ 54608301 w 10348"/>
                      <a:gd name="T45" fmla="*/ 168998170 h 11017"/>
                      <a:gd name="T46" fmla="*/ 72331206 w 10348"/>
                      <a:gd name="T47" fmla="*/ 169169081 h 11017"/>
                      <a:gd name="T48" fmla="*/ 120977614 w 10348"/>
                      <a:gd name="T49" fmla="*/ 170520059 h 11017"/>
                      <a:gd name="T50" fmla="*/ 191308660 w 10348"/>
                      <a:gd name="T51" fmla="*/ 159354156 h 11017"/>
                      <a:gd name="T52" fmla="*/ 202070207 w 10348"/>
                      <a:gd name="T53" fmla="*/ 138543591 h 11017"/>
                      <a:gd name="T54" fmla="*/ 235875171 w 10348"/>
                      <a:gd name="T55" fmla="*/ 133480774 h 11017"/>
                      <a:gd name="T56" fmla="*/ 289922862 w 10348"/>
                      <a:gd name="T57" fmla="*/ 120792982 h 11017"/>
                      <a:gd name="T58" fmla="*/ 291923023 w 10348"/>
                      <a:gd name="T59" fmla="*/ 105045233 h 11017"/>
                      <a:gd name="T60" fmla="*/ 303524887 w 10348"/>
                      <a:gd name="T61" fmla="*/ 100992248 h 11017"/>
                      <a:gd name="T62" fmla="*/ 318806417 w 10348"/>
                      <a:gd name="T63" fmla="*/ 94391986 h 11017"/>
                      <a:gd name="T64" fmla="*/ 344810870 w 10348"/>
                      <a:gd name="T65" fmla="*/ 76640754 h 11017"/>
                      <a:gd name="T66" fmla="*/ 349770869 w 10348"/>
                      <a:gd name="T67" fmla="*/ 65971976 h 11017"/>
                      <a:gd name="T68" fmla="*/ 366974149 w 10348"/>
                      <a:gd name="T69" fmla="*/ 49742633 h 11017"/>
                      <a:gd name="T70" fmla="*/ 353092383 w 10348"/>
                      <a:gd name="T71" fmla="*/ 31976469 h 11017"/>
                      <a:gd name="T72" fmla="*/ 413980873 w 10348"/>
                      <a:gd name="T73" fmla="*/ 27410802 h 11017"/>
                      <a:gd name="T74" fmla="*/ 396578659 w 10348"/>
                      <a:gd name="T75" fmla="*/ 13697623 h 11017"/>
                      <a:gd name="T76" fmla="*/ 383016421 w 10348"/>
                      <a:gd name="T77" fmla="*/ 5109433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0348" h="11017">
                        <a:moveTo>
                          <a:pt x="9574" y="329"/>
                        </a:moveTo>
                        <a:cubicBezTo>
                          <a:pt x="9252" y="611"/>
                          <a:pt x="8879" y="1035"/>
                          <a:pt x="8609" y="1176"/>
                        </a:cubicBezTo>
                        <a:cubicBezTo>
                          <a:pt x="8340" y="1317"/>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159" y="3568"/>
                          <a:pt x="9173" y="3203"/>
                        </a:cubicBezTo>
                        <a:cubicBezTo>
                          <a:pt x="9187" y="2838"/>
                          <a:pt x="8630" y="2299"/>
                          <a:pt x="8826" y="2059"/>
                        </a:cubicBezTo>
                        <a:cubicBezTo>
                          <a:pt x="9022" y="1819"/>
                          <a:pt x="9841" y="1863"/>
                          <a:pt x="10348" y="1765"/>
                        </a:cubicBezTo>
                        <a:lnTo>
                          <a:pt x="9913" y="882"/>
                        </a:lnTo>
                        <a:lnTo>
                          <a:pt x="9574" y="329"/>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41" name="Freeform 298"/>
                  <p:cNvSpPr>
                    <a:spLocks/>
                  </p:cNvSpPr>
                  <p:nvPr/>
                </p:nvSpPr>
                <p:spPr bwMode="auto">
                  <a:xfrm>
                    <a:off x="6716389" y="3497387"/>
                    <a:ext cx="111319" cy="145077"/>
                  </a:xfrm>
                  <a:custGeom>
                    <a:avLst/>
                    <a:gdLst>
                      <a:gd name="T0" fmla="*/ 2147483647 w 90"/>
                      <a:gd name="T1" fmla="*/ 2147483647 h 78"/>
                      <a:gd name="T2" fmla="*/ 2147483647 w 90"/>
                      <a:gd name="T3" fmla="*/ 2147483647 h 78"/>
                      <a:gd name="T4" fmla="*/ 2147483647 w 90"/>
                      <a:gd name="T5" fmla="*/ 2147483647 h 78"/>
                      <a:gd name="T6" fmla="*/ 2147483647 w 90"/>
                      <a:gd name="T7" fmla="*/ 2147483647 h 78"/>
                      <a:gd name="T8" fmla="*/ 2147483647 w 90"/>
                      <a:gd name="T9" fmla="*/ 0 h 78"/>
                      <a:gd name="T10" fmla="*/ 2147483647 w 90"/>
                      <a:gd name="T11" fmla="*/ 0 h 78"/>
                      <a:gd name="T12" fmla="*/ 2147483647 w 90"/>
                      <a:gd name="T13" fmla="*/ 2147483647 h 78"/>
                      <a:gd name="T14" fmla="*/ 0 w 90"/>
                      <a:gd name="T15" fmla="*/ 2147483647 h 78"/>
                      <a:gd name="T16" fmla="*/ 2147483647 w 90"/>
                      <a:gd name="T17" fmla="*/ 2147483647 h 78"/>
                      <a:gd name="T18" fmla="*/ 2147483647 w 90"/>
                      <a:gd name="T19" fmla="*/ 2147483647 h 78"/>
                      <a:gd name="T20" fmla="*/ 2147483647 w 90"/>
                      <a:gd name="T21" fmla="*/ 2147483647 h 78"/>
                      <a:gd name="T22" fmla="*/ 2147483647 w 90"/>
                      <a:gd name="T23" fmla="*/ 2147483647 h 78"/>
                      <a:gd name="T24" fmla="*/ 2147483647 w 90"/>
                      <a:gd name="T25" fmla="*/ 2147483647 h 78"/>
                      <a:gd name="T26" fmla="*/ 2147483647 w 90"/>
                      <a:gd name="T27" fmla="*/ 2147483647 h 78"/>
                      <a:gd name="T28" fmla="*/ 2147483647 w 90"/>
                      <a:gd name="T29" fmla="*/ 2147483647 h 7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78">
                        <a:moveTo>
                          <a:pt x="72" y="42"/>
                        </a:moveTo>
                        <a:lnTo>
                          <a:pt x="78" y="30"/>
                        </a:lnTo>
                        <a:lnTo>
                          <a:pt x="84" y="18"/>
                        </a:lnTo>
                        <a:lnTo>
                          <a:pt x="48" y="12"/>
                        </a:lnTo>
                        <a:lnTo>
                          <a:pt x="30" y="0"/>
                        </a:lnTo>
                        <a:lnTo>
                          <a:pt x="12" y="0"/>
                        </a:lnTo>
                        <a:lnTo>
                          <a:pt x="6" y="12"/>
                        </a:lnTo>
                        <a:lnTo>
                          <a:pt x="0" y="18"/>
                        </a:lnTo>
                        <a:lnTo>
                          <a:pt x="6" y="30"/>
                        </a:lnTo>
                        <a:lnTo>
                          <a:pt x="18" y="78"/>
                        </a:lnTo>
                        <a:lnTo>
                          <a:pt x="54" y="72"/>
                        </a:lnTo>
                        <a:lnTo>
                          <a:pt x="78" y="66"/>
                        </a:lnTo>
                        <a:lnTo>
                          <a:pt x="84" y="72"/>
                        </a:lnTo>
                        <a:lnTo>
                          <a:pt x="90" y="48"/>
                        </a:lnTo>
                        <a:lnTo>
                          <a:pt x="72" y="42"/>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42" name="Freeform 331"/>
                  <p:cNvSpPr>
                    <a:spLocks/>
                  </p:cNvSpPr>
                  <p:nvPr/>
                </p:nvSpPr>
                <p:spPr bwMode="auto">
                  <a:xfrm>
                    <a:off x="6476504" y="3305621"/>
                    <a:ext cx="211664" cy="126733"/>
                  </a:xfrm>
                  <a:custGeom>
                    <a:avLst/>
                    <a:gdLst>
                      <a:gd name="T0" fmla="*/ 2147483647 w 10000"/>
                      <a:gd name="T1" fmla="*/ 243402179 h 11631"/>
                      <a:gd name="T2" fmla="*/ 2147483647 w 10000"/>
                      <a:gd name="T3" fmla="*/ 201909865 h 11631"/>
                      <a:gd name="T4" fmla="*/ 1716206681 w 10000"/>
                      <a:gd name="T5" fmla="*/ 52554460 h 11631"/>
                      <a:gd name="T6" fmla="*/ 729640913 w 10000"/>
                      <a:gd name="T7" fmla="*/ 0 h 11631"/>
                      <a:gd name="T8" fmla="*/ 0 w 10000"/>
                      <a:gd name="T9" fmla="*/ 216853640 h 11631"/>
                      <a:gd name="T10" fmla="*/ 2147483647 w 10000"/>
                      <a:gd name="T11" fmla="*/ 419168950 h 11631"/>
                      <a:gd name="T12" fmla="*/ 2147483647 w 10000"/>
                      <a:gd name="T13" fmla="*/ 463190339 h 11631"/>
                      <a:gd name="T14" fmla="*/ 2147483647 w 10000"/>
                      <a:gd name="T15" fmla="*/ 525135769 h 11631"/>
                      <a:gd name="T16" fmla="*/ 2147483647 w 10000"/>
                      <a:gd name="T17" fmla="*/ 393253317 h 11631"/>
                      <a:gd name="T18" fmla="*/ 2147483647 w 10000"/>
                      <a:gd name="T19" fmla="*/ 366976575 h 11631"/>
                      <a:gd name="T20" fmla="*/ 2147483647 w 10000"/>
                      <a:gd name="T21" fmla="*/ 305167054 h 11631"/>
                      <a:gd name="T22" fmla="*/ 2147483647 w 10000"/>
                      <a:gd name="T23" fmla="*/ 298981436 h 11631"/>
                      <a:gd name="T24" fmla="*/ 2147483647 w 10000"/>
                      <a:gd name="T25" fmla="*/ 243402179 h 116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000" h="11631">
                        <a:moveTo>
                          <a:pt x="7686" y="5391"/>
                        </a:moveTo>
                        <a:lnTo>
                          <a:pt x="5498" y="4472"/>
                        </a:lnTo>
                        <a:lnTo>
                          <a:pt x="2084" y="1164"/>
                        </a:lnTo>
                        <a:lnTo>
                          <a:pt x="886" y="0"/>
                        </a:lnTo>
                        <a:lnTo>
                          <a:pt x="0" y="4803"/>
                        </a:lnTo>
                        <a:lnTo>
                          <a:pt x="3459" y="9284"/>
                        </a:lnTo>
                        <a:lnTo>
                          <a:pt x="5903" y="10259"/>
                        </a:lnTo>
                        <a:lnTo>
                          <a:pt x="8016" y="11631"/>
                        </a:lnTo>
                        <a:lnTo>
                          <a:pt x="8676" y="8710"/>
                        </a:lnTo>
                        <a:lnTo>
                          <a:pt x="10000" y="8128"/>
                        </a:lnTo>
                        <a:lnTo>
                          <a:pt x="8915" y="6759"/>
                        </a:lnTo>
                        <a:lnTo>
                          <a:pt x="8310" y="6622"/>
                        </a:lnTo>
                        <a:cubicBezTo>
                          <a:pt x="8207" y="6039"/>
                          <a:pt x="7790" y="5973"/>
                          <a:pt x="7686" y="5391"/>
                        </a:cubicBez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43" name="Freeform 447"/>
                  <p:cNvSpPr>
                    <a:spLocks/>
                  </p:cNvSpPr>
                  <p:nvPr/>
                </p:nvSpPr>
                <p:spPr bwMode="auto">
                  <a:xfrm>
                    <a:off x="6819870" y="3449029"/>
                    <a:ext cx="266540" cy="513603"/>
                  </a:xfrm>
                  <a:custGeom>
                    <a:avLst/>
                    <a:gdLst>
                      <a:gd name="T0" fmla="*/ 61661990 w 12864"/>
                      <a:gd name="T1" fmla="*/ 0 h 10000"/>
                      <a:gd name="T2" fmla="*/ 48236946 w 12864"/>
                      <a:gd name="T3" fmla="*/ 73483611 h 10000"/>
                      <a:gd name="T4" fmla="*/ 41690569 w 12864"/>
                      <a:gd name="T5" fmla="*/ 93173579 h 10000"/>
                      <a:gd name="T6" fmla="*/ 39619366 w 12864"/>
                      <a:gd name="T7" fmla="*/ 70552551 h 10000"/>
                      <a:gd name="T8" fmla="*/ 17105342 w 12864"/>
                      <a:gd name="T9" fmla="*/ 177087862 h 10000"/>
                      <a:gd name="T10" fmla="*/ 3337878 w 12864"/>
                      <a:gd name="T11" fmla="*/ 316435825 h 10000"/>
                      <a:gd name="T12" fmla="*/ 0 w 12864"/>
                      <a:gd name="T13" fmla="*/ 413360432 h 10000"/>
                      <a:gd name="T14" fmla="*/ 22800976 w 12864"/>
                      <a:gd name="T15" fmla="*/ 632988803 h 10000"/>
                      <a:gd name="T16" fmla="*/ 17678386 w 12864"/>
                      <a:gd name="T17" fmla="*/ 751946328 h 10000"/>
                      <a:gd name="T18" fmla="*/ 43928156 w 12864"/>
                      <a:gd name="T19" fmla="*/ 774916368 h 10000"/>
                      <a:gd name="T20" fmla="*/ 58990009 w 12864"/>
                      <a:gd name="T21" fmla="*/ 770933430 h 10000"/>
                      <a:gd name="T22" fmla="*/ 50603933 w 12864"/>
                      <a:gd name="T23" fmla="*/ 678697022 h 10000"/>
                      <a:gd name="T24" fmla="*/ 56142434 w 12864"/>
                      <a:gd name="T25" fmla="*/ 703778055 h 10000"/>
                      <a:gd name="T26" fmla="*/ 61791830 w 12864"/>
                      <a:gd name="T27" fmla="*/ 838323062 h 10000"/>
                      <a:gd name="T28" fmla="*/ 68310032 w 12864"/>
                      <a:gd name="T29" fmla="*/ 939347759 h 10000"/>
                      <a:gd name="T30" fmla="*/ 69863240 w 12864"/>
                      <a:gd name="T31" fmla="*/ 1171986453 h 10000"/>
                      <a:gd name="T32" fmla="*/ 83279473 w 12864"/>
                      <a:gd name="T33" fmla="*/ 1041192475 h 10000"/>
                      <a:gd name="T34" fmla="*/ 77463712 w 12864"/>
                      <a:gd name="T35" fmla="*/ 812773420 h 10000"/>
                      <a:gd name="T36" fmla="*/ 67986556 w 12864"/>
                      <a:gd name="T37" fmla="*/ 747843842 h 10000"/>
                      <a:gd name="T38" fmla="*/ 72720508 w 12864"/>
                      <a:gd name="T39" fmla="*/ 695924540 h 10000"/>
                      <a:gd name="T40" fmla="*/ 71925212 w 12864"/>
                      <a:gd name="T41" fmla="*/ 652795923 h 10000"/>
                      <a:gd name="T42" fmla="*/ 59295024 w 12864"/>
                      <a:gd name="T43" fmla="*/ 561967642 h 10000"/>
                      <a:gd name="T44" fmla="*/ 65610338 w 12864"/>
                      <a:gd name="T45" fmla="*/ 492820822 h 10000"/>
                      <a:gd name="T46" fmla="*/ 73191887 w 12864"/>
                      <a:gd name="T47" fmla="*/ 491766548 h 10000"/>
                      <a:gd name="T48" fmla="*/ 89548570 w 12864"/>
                      <a:gd name="T49" fmla="*/ 447815517 h 10000"/>
                      <a:gd name="T50" fmla="*/ 95484498 w 12864"/>
                      <a:gd name="T51" fmla="*/ 410195117 h 10000"/>
                      <a:gd name="T52" fmla="*/ 102770284 w 12864"/>
                      <a:gd name="T53" fmla="*/ 351830476 h 10000"/>
                      <a:gd name="T54" fmla="*/ 118941700 w 12864"/>
                      <a:gd name="T55" fmla="*/ 341165449 h 10000"/>
                      <a:gd name="T56" fmla="*/ 113393948 w 12864"/>
                      <a:gd name="T57" fmla="*/ 240492209 h 10000"/>
                      <a:gd name="T58" fmla="*/ 102187569 w 12864"/>
                      <a:gd name="T59" fmla="*/ 202403199 h 10000"/>
                      <a:gd name="T60" fmla="*/ 87921012 w 12864"/>
                      <a:gd name="T61" fmla="*/ 190447247 h 10000"/>
                      <a:gd name="T62" fmla="*/ 71915960 w 12864"/>
                      <a:gd name="T63" fmla="*/ 200526512 h 10000"/>
                      <a:gd name="T64" fmla="*/ 68698230 w 12864"/>
                      <a:gd name="T65" fmla="*/ 206620442 h 10000"/>
                      <a:gd name="T66" fmla="*/ 65610338 w 12864"/>
                      <a:gd name="T67" fmla="*/ 181658958 h 10000"/>
                      <a:gd name="T68" fmla="*/ 72720508 w 12864"/>
                      <a:gd name="T69" fmla="*/ 146967173 h 10000"/>
                      <a:gd name="T70" fmla="*/ 72720508 w 12864"/>
                      <a:gd name="T71" fmla="*/ 56256044 h 10000"/>
                      <a:gd name="T72" fmla="*/ 61661990 w 12864"/>
                      <a:gd name="T73" fmla="*/ 0 h 1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864" h="10000">
                        <a:moveTo>
                          <a:pt x="6669" y="0"/>
                        </a:moveTo>
                        <a:lnTo>
                          <a:pt x="5217" y="627"/>
                        </a:lnTo>
                        <a:lnTo>
                          <a:pt x="4509" y="795"/>
                        </a:lnTo>
                        <a:lnTo>
                          <a:pt x="4285" y="602"/>
                        </a:lnTo>
                        <a:lnTo>
                          <a:pt x="1850" y="1511"/>
                        </a:lnTo>
                        <a:lnTo>
                          <a:pt x="361" y="2700"/>
                        </a:lnTo>
                        <a:lnTo>
                          <a:pt x="0" y="3527"/>
                        </a:lnTo>
                        <a:lnTo>
                          <a:pt x="2466" y="5401"/>
                        </a:lnTo>
                        <a:lnTo>
                          <a:pt x="1912" y="6416"/>
                        </a:lnTo>
                        <a:cubicBezTo>
                          <a:pt x="2658" y="6304"/>
                          <a:pt x="4006" y="6725"/>
                          <a:pt x="4751" y="6612"/>
                        </a:cubicBezTo>
                        <a:lnTo>
                          <a:pt x="6380" y="6578"/>
                        </a:lnTo>
                        <a:lnTo>
                          <a:pt x="5473" y="5791"/>
                        </a:lnTo>
                        <a:lnTo>
                          <a:pt x="6072" y="6005"/>
                        </a:lnTo>
                        <a:lnTo>
                          <a:pt x="6683" y="7153"/>
                        </a:lnTo>
                        <a:lnTo>
                          <a:pt x="7388" y="8015"/>
                        </a:lnTo>
                        <a:cubicBezTo>
                          <a:pt x="7359" y="8285"/>
                          <a:pt x="7584" y="9729"/>
                          <a:pt x="7556" y="10000"/>
                        </a:cubicBezTo>
                        <a:lnTo>
                          <a:pt x="9007" y="8884"/>
                        </a:lnTo>
                        <a:lnTo>
                          <a:pt x="8378" y="6935"/>
                        </a:lnTo>
                        <a:lnTo>
                          <a:pt x="7353" y="6381"/>
                        </a:lnTo>
                        <a:lnTo>
                          <a:pt x="7865" y="5938"/>
                        </a:lnTo>
                        <a:cubicBezTo>
                          <a:pt x="7836" y="5815"/>
                          <a:pt x="7808" y="5693"/>
                          <a:pt x="7779" y="5570"/>
                        </a:cubicBezTo>
                        <a:lnTo>
                          <a:pt x="6413" y="4795"/>
                        </a:lnTo>
                        <a:lnTo>
                          <a:pt x="7096" y="4205"/>
                        </a:lnTo>
                        <a:lnTo>
                          <a:pt x="7916" y="4196"/>
                        </a:lnTo>
                        <a:lnTo>
                          <a:pt x="9685" y="3821"/>
                        </a:lnTo>
                        <a:cubicBezTo>
                          <a:pt x="9793" y="3687"/>
                          <a:pt x="10219" y="3634"/>
                          <a:pt x="10327" y="3500"/>
                        </a:cubicBezTo>
                        <a:lnTo>
                          <a:pt x="11115" y="3002"/>
                        </a:lnTo>
                        <a:cubicBezTo>
                          <a:pt x="11093" y="2923"/>
                          <a:pt x="12886" y="2990"/>
                          <a:pt x="12864" y="2911"/>
                        </a:cubicBezTo>
                        <a:lnTo>
                          <a:pt x="12264" y="2052"/>
                        </a:lnTo>
                        <a:cubicBezTo>
                          <a:pt x="12238" y="1992"/>
                          <a:pt x="11078" y="1787"/>
                          <a:pt x="11052" y="1727"/>
                        </a:cubicBezTo>
                        <a:cubicBezTo>
                          <a:pt x="11067" y="1385"/>
                          <a:pt x="9494" y="1967"/>
                          <a:pt x="9509" y="1625"/>
                        </a:cubicBezTo>
                        <a:lnTo>
                          <a:pt x="7778" y="1711"/>
                        </a:lnTo>
                        <a:lnTo>
                          <a:pt x="7430" y="1763"/>
                        </a:lnTo>
                        <a:lnTo>
                          <a:pt x="7096" y="1550"/>
                        </a:lnTo>
                        <a:lnTo>
                          <a:pt x="7865" y="1254"/>
                        </a:lnTo>
                        <a:lnTo>
                          <a:pt x="7865" y="480"/>
                        </a:lnTo>
                        <a:lnTo>
                          <a:pt x="6669" y="0"/>
                        </a:lnTo>
                        <a:close/>
                      </a:path>
                    </a:pathLst>
                  </a:custGeom>
                  <a:solidFill>
                    <a:sysClr val="window" lastClr="FFFFFF"/>
                  </a:solidFill>
                  <a:ln w="9525" cap="flat" cmpd="sng">
                    <a:solidFill>
                      <a:sysClr val="window" lastClr="FFFFFF">
                        <a:lumMod val="50000"/>
                      </a:sys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kern="0">
                      <a:solidFill>
                        <a:prstClr val="black"/>
                      </a:solidFill>
                      <a:latin typeface="Calibri"/>
                    </a:endParaRPr>
                  </a:p>
                </p:txBody>
              </p:sp>
              <p:sp>
                <p:nvSpPr>
                  <p:cNvPr id="644" name="Freeform 241"/>
                  <p:cNvSpPr>
                    <a:spLocks/>
                  </p:cNvSpPr>
                  <p:nvPr/>
                </p:nvSpPr>
                <p:spPr bwMode="auto">
                  <a:xfrm>
                    <a:off x="6708550" y="3378993"/>
                    <a:ext cx="87801" cy="51693"/>
                  </a:xfrm>
                  <a:custGeom>
                    <a:avLst/>
                    <a:gdLst>
                      <a:gd name="T0" fmla="*/ 0 w 348468"/>
                      <a:gd name="T1" fmla="*/ 2314 h 191264"/>
                      <a:gd name="T2" fmla="*/ 1695 w 348468"/>
                      <a:gd name="T3" fmla="*/ 3248 h 191264"/>
                      <a:gd name="T4" fmla="*/ 2694 w 348468"/>
                      <a:gd name="T5" fmla="*/ 2759 h 191264"/>
                      <a:gd name="T6" fmla="*/ 3607 w 348468"/>
                      <a:gd name="T7" fmla="*/ 3204 h 191264"/>
                      <a:gd name="T8" fmla="*/ 5389 w 348468"/>
                      <a:gd name="T9" fmla="*/ 2848 h 191264"/>
                      <a:gd name="T10" fmla="*/ 5780 w 348468"/>
                      <a:gd name="T11" fmla="*/ 1780 h 191264"/>
                      <a:gd name="T12" fmla="*/ 4215 w 348468"/>
                      <a:gd name="T13" fmla="*/ 89 h 191264"/>
                      <a:gd name="T14" fmla="*/ 2781 w 348468"/>
                      <a:gd name="T15" fmla="*/ 356 h 191264"/>
                      <a:gd name="T16" fmla="*/ 1912 w 348468"/>
                      <a:gd name="T17" fmla="*/ 0 h 191264"/>
                      <a:gd name="T18" fmla="*/ 478 w 348468"/>
                      <a:gd name="T19" fmla="*/ 1246 h 191264"/>
                      <a:gd name="T20" fmla="*/ 0 w 348468"/>
                      <a:gd name="T21" fmla="*/ 2314 h 1912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48468" h="191264">
                        <a:moveTo>
                          <a:pt x="0" y="136243"/>
                        </a:moveTo>
                        <a:lnTo>
                          <a:pt x="102182" y="191264"/>
                        </a:lnTo>
                        <a:lnTo>
                          <a:pt x="162443" y="162443"/>
                        </a:lnTo>
                        <a:lnTo>
                          <a:pt x="217465" y="188644"/>
                        </a:lnTo>
                        <a:lnTo>
                          <a:pt x="324887" y="167683"/>
                        </a:lnTo>
                        <a:lnTo>
                          <a:pt x="348468" y="104802"/>
                        </a:lnTo>
                        <a:lnTo>
                          <a:pt x="254145" y="5240"/>
                        </a:lnTo>
                        <a:lnTo>
                          <a:pt x="167684" y="20960"/>
                        </a:lnTo>
                        <a:lnTo>
                          <a:pt x="115282" y="0"/>
                        </a:lnTo>
                        <a:lnTo>
                          <a:pt x="28821" y="73361"/>
                        </a:lnTo>
                        <a:lnTo>
                          <a:pt x="0" y="136243"/>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45" name="Freeform 448"/>
                  <p:cNvSpPr>
                    <a:spLocks/>
                  </p:cNvSpPr>
                  <p:nvPr/>
                </p:nvSpPr>
                <p:spPr bwMode="auto">
                  <a:xfrm>
                    <a:off x="7044077" y="4054346"/>
                    <a:ext cx="126997" cy="155082"/>
                  </a:xfrm>
                  <a:custGeom>
                    <a:avLst/>
                    <a:gdLst>
                      <a:gd name="T0" fmla="*/ 0 w 675"/>
                      <a:gd name="T1" fmla="*/ 2147483647 h 773"/>
                      <a:gd name="T2" fmla="*/ 2147483647 w 675"/>
                      <a:gd name="T3" fmla="*/ 2147483647 h 773"/>
                      <a:gd name="T4" fmla="*/ 2147483647 w 675"/>
                      <a:gd name="T5" fmla="*/ 2147483647 h 773"/>
                      <a:gd name="T6" fmla="*/ 2147483647 w 675"/>
                      <a:gd name="T7" fmla="*/ 2147483647 h 773"/>
                      <a:gd name="T8" fmla="*/ 2147483647 w 675"/>
                      <a:gd name="T9" fmla="*/ 2147483647 h 773"/>
                      <a:gd name="T10" fmla="*/ 2147483647 w 675"/>
                      <a:gd name="T11" fmla="*/ 2147483647 h 773"/>
                      <a:gd name="T12" fmla="*/ 2147483647 w 675"/>
                      <a:gd name="T13" fmla="*/ 2147483647 h 773"/>
                      <a:gd name="T14" fmla="*/ 2147483647 w 675"/>
                      <a:gd name="T15" fmla="*/ 2147483647 h 773"/>
                      <a:gd name="T16" fmla="*/ 2147483647 w 675"/>
                      <a:gd name="T17" fmla="*/ 2147483647 h 773"/>
                      <a:gd name="T18" fmla="*/ 2147483647 w 675"/>
                      <a:gd name="T19" fmla="*/ 2147483647 h 773"/>
                      <a:gd name="T20" fmla="*/ 2147483647 w 675"/>
                      <a:gd name="T21" fmla="*/ 2147483647 h 773"/>
                      <a:gd name="T22" fmla="*/ 2147483647 w 675"/>
                      <a:gd name="T23" fmla="*/ 2147483647 h 773"/>
                      <a:gd name="T24" fmla="*/ 2147483647 w 675"/>
                      <a:gd name="T25" fmla="*/ 2147483647 h 773"/>
                      <a:gd name="T26" fmla="*/ 2147483647 w 675"/>
                      <a:gd name="T27" fmla="*/ 0 h 773"/>
                      <a:gd name="T28" fmla="*/ 0 w 675"/>
                      <a:gd name="T29" fmla="*/ 2147483647 h 7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675" h="773">
                        <a:moveTo>
                          <a:pt x="0" y="41"/>
                        </a:moveTo>
                        <a:lnTo>
                          <a:pt x="75" y="339"/>
                        </a:lnTo>
                        <a:lnTo>
                          <a:pt x="273" y="579"/>
                        </a:lnTo>
                        <a:lnTo>
                          <a:pt x="605" y="769"/>
                        </a:lnTo>
                        <a:lnTo>
                          <a:pt x="675" y="773"/>
                        </a:lnTo>
                        <a:lnTo>
                          <a:pt x="563" y="583"/>
                        </a:lnTo>
                        <a:lnTo>
                          <a:pt x="493" y="521"/>
                        </a:lnTo>
                        <a:lnTo>
                          <a:pt x="493" y="269"/>
                        </a:lnTo>
                        <a:lnTo>
                          <a:pt x="323" y="78"/>
                        </a:lnTo>
                        <a:lnTo>
                          <a:pt x="286" y="58"/>
                        </a:lnTo>
                        <a:lnTo>
                          <a:pt x="253" y="111"/>
                        </a:lnTo>
                        <a:lnTo>
                          <a:pt x="141" y="128"/>
                        </a:lnTo>
                        <a:lnTo>
                          <a:pt x="145" y="70"/>
                        </a:lnTo>
                        <a:lnTo>
                          <a:pt x="17" y="0"/>
                        </a:lnTo>
                        <a:lnTo>
                          <a:pt x="0" y="41"/>
                        </a:lnTo>
                        <a:close/>
                      </a:path>
                    </a:pathLst>
                  </a:custGeom>
                  <a:solidFill>
                    <a:srgbClr val="007600"/>
                  </a:solidFill>
                  <a:ln w="9525" cap="flat" cmpd="sng">
                    <a:solidFill>
                      <a:sysClr val="window" lastClr="FFFFFF">
                        <a:lumMod val="50000"/>
                      </a:sysClr>
                    </a:solidFill>
                    <a:prstDash val="solid"/>
                    <a:round/>
                    <a:headEnd type="none" w="med" len="med"/>
                    <a:tailEnd type="none" w="med" len="med"/>
                  </a:ln>
                  <a:effectLst/>
                  <a:extLst/>
                </p:spPr>
                <p:txBody>
                  <a:bodyPr/>
                  <a:lstStyle/>
                  <a:p>
                    <a:pPr>
                      <a:defRPr/>
                    </a:pPr>
                    <a:endParaRPr lang="en-GB" kern="0">
                      <a:solidFill>
                        <a:prstClr val="black"/>
                      </a:solidFill>
                      <a:latin typeface="Calibri"/>
                    </a:endParaRPr>
                  </a:p>
                </p:txBody>
              </p:sp>
              <p:sp>
                <p:nvSpPr>
                  <p:cNvPr id="646" name="Freeform 330"/>
                  <p:cNvSpPr>
                    <a:spLocks/>
                  </p:cNvSpPr>
                  <p:nvPr/>
                </p:nvSpPr>
                <p:spPr bwMode="auto">
                  <a:xfrm>
                    <a:off x="7078570" y="3574094"/>
                    <a:ext cx="197553" cy="411883"/>
                  </a:xfrm>
                  <a:custGeom>
                    <a:avLst/>
                    <a:gdLst>
                      <a:gd name="T0" fmla="*/ 2147483647 w 138"/>
                      <a:gd name="T1" fmla="*/ 0 h 271"/>
                      <a:gd name="T2" fmla="*/ 2147483647 w 138"/>
                      <a:gd name="T3" fmla="*/ 0 h 271"/>
                      <a:gd name="T4" fmla="*/ 0 w 138"/>
                      <a:gd name="T5" fmla="*/ 2147483647 h 271"/>
                      <a:gd name="T6" fmla="*/ 2147483647 w 138"/>
                      <a:gd name="T7" fmla="*/ 2147483647 h 271"/>
                      <a:gd name="T8" fmla="*/ 2147483647 w 138"/>
                      <a:gd name="T9" fmla="*/ 2147483647 h 271"/>
                      <a:gd name="T10" fmla="*/ 2147483647 w 138"/>
                      <a:gd name="T11" fmla="*/ 2147483647 h 271"/>
                      <a:gd name="T12" fmla="*/ 2147483647 w 138"/>
                      <a:gd name="T13" fmla="*/ 2147483647 h 271"/>
                      <a:gd name="T14" fmla="*/ 2147483647 w 138"/>
                      <a:gd name="T15" fmla="*/ 2147483647 h 271"/>
                      <a:gd name="T16" fmla="*/ 2147483647 w 138"/>
                      <a:gd name="T17" fmla="*/ 2147483647 h 271"/>
                      <a:gd name="T18" fmla="*/ 2147483647 w 138"/>
                      <a:gd name="T19" fmla="*/ 2147483647 h 271"/>
                      <a:gd name="T20" fmla="*/ 2147483647 w 138"/>
                      <a:gd name="T21" fmla="*/ 2147483647 h 271"/>
                      <a:gd name="T22" fmla="*/ 2147483647 w 138"/>
                      <a:gd name="T23" fmla="*/ 2147483647 h 271"/>
                      <a:gd name="T24" fmla="*/ 2147483647 w 138"/>
                      <a:gd name="T25" fmla="*/ 2147483647 h 271"/>
                      <a:gd name="T26" fmla="*/ 2147483647 w 138"/>
                      <a:gd name="T27" fmla="*/ 2147483647 h 271"/>
                      <a:gd name="T28" fmla="*/ 2147483647 w 138"/>
                      <a:gd name="T29" fmla="*/ 2147483647 h 271"/>
                      <a:gd name="T30" fmla="*/ 2147483647 w 138"/>
                      <a:gd name="T31" fmla="*/ 2147483647 h 271"/>
                      <a:gd name="T32" fmla="*/ 2147483647 w 138"/>
                      <a:gd name="T33" fmla="*/ 2147483647 h 271"/>
                      <a:gd name="T34" fmla="*/ 2147483647 w 138"/>
                      <a:gd name="T35" fmla="*/ 2147483647 h 271"/>
                      <a:gd name="T36" fmla="*/ 2147483647 w 138"/>
                      <a:gd name="T37" fmla="*/ 2147483647 h 271"/>
                      <a:gd name="T38" fmla="*/ 2147483647 w 138"/>
                      <a:gd name="T39" fmla="*/ 2147483647 h 271"/>
                      <a:gd name="T40" fmla="*/ 2147483647 w 138"/>
                      <a:gd name="T41" fmla="*/ 2147483647 h 271"/>
                      <a:gd name="T42" fmla="*/ 2147483647 w 138"/>
                      <a:gd name="T43" fmla="*/ 2147483647 h 271"/>
                      <a:gd name="T44" fmla="*/ 2147483647 w 138"/>
                      <a:gd name="T45" fmla="*/ 2147483647 h 271"/>
                      <a:gd name="T46" fmla="*/ 2147483647 w 138"/>
                      <a:gd name="T47" fmla="*/ 2147483647 h 271"/>
                      <a:gd name="T48" fmla="*/ 2147483647 w 138"/>
                      <a:gd name="T49" fmla="*/ 2147483647 h 271"/>
                      <a:gd name="T50" fmla="*/ 2147483647 w 138"/>
                      <a:gd name="T51" fmla="*/ 2147483647 h 271"/>
                      <a:gd name="T52" fmla="*/ 2147483647 w 138"/>
                      <a:gd name="T53" fmla="*/ 2147483647 h 271"/>
                      <a:gd name="T54" fmla="*/ 2147483647 w 138"/>
                      <a:gd name="T55" fmla="*/ 2147483647 h 271"/>
                      <a:gd name="T56" fmla="*/ 2147483647 w 138"/>
                      <a:gd name="T57" fmla="*/ 0 h 27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38" h="271">
                        <a:moveTo>
                          <a:pt x="66" y="0"/>
                        </a:moveTo>
                        <a:lnTo>
                          <a:pt x="6" y="0"/>
                        </a:lnTo>
                        <a:lnTo>
                          <a:pt x="0" y="24"/>
                        </a:lnTo>
                        <a:lnTo>
                          <a:pt x="6" y="24"/>
                        </a:lnTo>
                        <a:lnTo>
                          <a:pt x="18" y="42"/>
                        </a:lnTo>
                        <a:lnTo>
                          <a:pt x="36" y="48"/>
                        </a:lnTo>
                        <a:lnTo>
                          <a:pt x="42" y="60"/>
                        </a:lnTo>
                        <a:lnTo>
                          <a:pt x="36" y="72"/>
                        </a:lnTo>
                        <a:lnTo>
                          <a:pt x="54" y="96"/>
                        </a:lnTo>
                        <a:lnTo>
                          <a:pt x="78" y="126"/>
                        </a:lnTo>
                        <a:lnTo>
                          <a:pt x="96" y="144"/>
                        </a:lnTo>
                        <a:lnTo>
                          <a:pt x="96" y="175"/>
                        </a:lnTo>
                        <a:lnTo>
                          <a:pt x="96" y="211"/>
                        </a:lnTo>
                        <a:lnTo>
                          <a:pt x="78" y="223"/>
                        </a:lnTo>
                        <a:lnTo>
                          <a:pt x="60" y="229"/>
                        </a:lnTo>
                        <a:lnTo>
                          <a:pt x="54" y="241"/>
                        </a:lnTo>
                        <a:lnTo>
                          <a:pt x="42" y="247"/>
                        </a:lnTo>
                        <a:lnTo>
                          <a:pt x="48" y="253"/>
                        </a:lnTo>
                        <a:lnTo>
                          <a:pt x="66" y="271"/>
                        </a:lnTo>
                        <a:lnTo>
                          <a:pt x="108" y="241"/>
                        </a:lnTo>
                        <a:lnTo>
                          <a:pt x="138" y="211"/>
                        </a:lnTo>
                        <a:lnTo>
                          <a:pt x="114" y="132"/>
                        </a:lnTo>
                        <a:lnTo>
                          <a:pt x="102" y="114"/>
                        </a:lnTo>
                        <a:lnTo>
                          <a:pt x="78" y="84"/>
                        </a:lnTo>
                        <a:lnTo>
                          <a:pt x="66" y="60"/>
                        </a:lnTo>
                        <a:lnTo>
                          <a:pt x="78" y="48"/>
                        </a:lnTo>
                        <a:lnTo>
                          <a:pt x="96" y="36"/>
                        </a:lnTo>
                        <a:lnTo>
                          <a:pt x="90" y="18"/>
                        </a:lnTo>
                        <a:lnTo>
                          <a:pt x="66" y="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47" name="Freeform 446"/>
                  <p:cNvSpPr>
                    <a:spLocks/>
                  </p:cNvSpPr>
                  <p:nvPr/>
                </p:nvSpPr>
                <p:spPr bwMode="auto">
                  <a:xfrm>
                    <a:off x="6951571" y="3642463"/>
                    <a:ext cx="219504" cy="420221"/>
                  </a:xfrm>
                  <a:custGeom>
                    <a:avLst/>
                    <a:gdLst>
                      <a:gd name="T0" fmla="*/ 2147483647 w 107"/>
                      <a:gd name="T1" fmla="*/ 2147483647 h 190"/>
                      <a:gd name="T2" fmla="*/ 0 w 107"/>
                      <a:gd name="T3" fmla="*/ 2147483647 h 190"/>
                      <a:gd name="T4" fmla="*/ 2147483647 w 107"/>
                      <a:gd name="T5" fmla="*/ 2147483647 h 190"/>
                      <a:gd name="T6" fmla="*/ 2147483647 w 107"/>
                      <a:gd name="T7" fmla="*/ 2147483647 h 190"/>
                      <a:gd name="T8" fmla="*/ 2147483647 w 107"/>
                      <a:gd name="T9" fmla="*/ 2147483647 h 190"/>
                      <a:gd name="T10" fmla="*/ 2147483647 w 107"/>
                      <a:gd name="T11" fmla="*/ 2147483647 h 190"/>
                      <a:gd name="T12" fmla="*/ 2147483647 w 107"/>
                      <a:gd name="T13" fmla="*/ 2147483647 h 190"/>
                      <a:gd name="T14" fmla="*/ 2147483647 w 107"/>
                      <a:gd name="T15" fmla="*/ 2147483647 h 190"/>
                      <a:gd name="T16" fmla="*/ 2147483647 w 107"/>
                      <a:gd name="T17" fmla="*/ 2147483647 h 190"/>
                      <a:gd name="T18" fmla="*/ 2147483647 w 107"/>
                      <a:gd name="T19" fmla="*/ 2147483647 h 190"/>
                      <a:gd name="T20" fmla="*/ 2147483647 w 107"/>
                      <a:gd name="T21" fmla="*/ 2147483647 h 190"/>
                      <a:gd name="T22" fmla="*/ 2147483647 w 107"/>
                      <a:gd name="T23" fmla="*/ 2147483647 h 190"/>
                      <a:gd name="T24" fmla="*/ 2147483647 w 107"/>
                      <a:gd name="T25" fmla="*/ 2147483647 h 190"/>
                      <a:gd name="T26" fmla="*/ 2147483647 w 107"/>
                      <a:gd name="T27" fmla="*/ 2147483647 h 190"/>
                      <a:gd name="T28" fmla="*/ 2147483647 w 107"/>
                      <a:gd name="T29" fmla="*/ 2147483647 h 190"/>
                      <a:gd name="T30" fmla="*/ 2147483647 w 107"/>
                      <a:gd name="T31" fmla="*/ 2147483647 h 190"/>
                      <a:gd name="T32" fmla="*/ 2147483647 w 107"/>
                      <a:gd name="T33" fmla="*/ 2147483647 h 190"/>
                      <a:gd name="T34" fmla="*/ 2147483647 w 107"/>
                      <a:gd name="T35" fmla="*/ 2147483647 h 190"/>
                      <a:gd name="T36" fmla="*/ 2147483647 w 107"/>
                      <a:gd name="T37" fmla="*/ 2147483647 h 190"/>
                      <a:gd name="T38" fmla="*/ 2147483647 w 107"/>
                      <a:gd name="T39" fmla="*/ 2147483647 h 190"/>
                      <a:gd name="T40" fmla="*/ 2147483647 w 107"/>
                      <a:gd name="T41" fmla="*/ 2147483647 h 190"/>
                      <a:gd name="T42" fmla="*/ 2147483647 w 107"/>
                      <a:gd name="T43" fmla="*/ 2147483647 h 190"/>
                      <a:gd name="T44" fmla="*/ 2147483647 w 107"/>
                      <a:gd name="T45" fmla="*/ 2147483647 h 190"/>
                      <a:gd name="T46" fmla="*/ 2147483647 w 107"/>
                      <a:gd name="T47" fmla="*/ 2147483647 h 190"/>
                      <a:gd name="T48" fmla="*/ 2147483647 w 107"/>
                      <a:gd name="T49" fmla="*/ 2147483647 h 190"/>
                      <a:gd name="T50" fmla="*/ 2147483647 w 107"/>
                      <a:gd name="T51" fmla="*/ 2147483647 h 190"/>
                      <a:gd name="T52" fmla="*/ 2147483647 w 107"/>
                      <a:gd name="T53" fmla="*/ 2147483647 h 190"/>
                      <a:gd name="T54" fmla="*/ 2147483647 w 107"/>
                      <a:gd name="T55" fmla="*/ 2147483647 h 190"/>
                      <a:gd name="T56" fmla="*/ 2147483647 w 107"/>
                      <a:gd name="T57" fmla="*/ 2147483647 h 190"/>
                      <a:gd name="T58" fmla="*/ 2147483647 w 107"/>
                      <a:gd name="T59" fmla="*/ 0 h 190"/>
                      <a:gd name="T60" fmla="*/ 2147483647 w 107"/>
                      <a:gd name="T61" fmla="*/ 2147483647 h 1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7" h="190">
                        <a:moveTo>
                          <a:pt x="7" y="9"/>
                        </a:moveTo>
                        <a:lnTo>
                          <a:pt x="0" y="23"/>
                        </a:lnTo>
                        <a:lnTo>
                          <a:pt x="15" y="47"/>
                        </a:lnTo>
                        <a:lnTo>
                          <a:pt x="15" y="60"/>
                        </a:lnTo>
                        <a:lnTo>
                          <a:pt x="22" y="78"/>
                        </a:lnTo>
                        <a:lnTo>
                          <a:pt x="19" y="93"/>
                        </a:lnTo>
                        <a:lnTo>
                          <a:pt x="23" y="110"/>
                        </a:lnTo>
                        <a:lnTo>
                          <a:pt x="26" y="118"/>
                        </a:lnTo>
                        <a:lnTo>
                          <a:pt x="19" y="126"/>
                        </a:lnTo>
                        <a:lnTo>
                          <a:pt x="13" y="159"/>
                        </a:lnTo>
                        <a:lnTo>
                          <a:pt x="33" y="182"/>
                        </a:lnTo>
                        <a:lnTo>
                          <a:pt x="34" y="178"/>
                        </a:lnTo>
                        <a:lnTo>
                          <a:pt x="46" y="185"/>
                        </a:lnTo>
                        <a:lnTo>
                          <a:pt x="46" y="190"/>
                        </a:lnTo>
                        <a:lnTo>
                          <a:pt x="56" y="188"/>
                        </a:lnTo>
                        <a:lnTo>
                          <a:pt x="59" y="184"/>
                        </a:lnTo>
                        <a:lnTo>
                          <a:pt x="43" y="174"/>
                        </a:lnTo>
                        <a:lnTo>
                          <a:pt x="27" y="149"/>
                        </a:lnTo>
                        <a:lnTo>
                          <a:pt x="19" y="138"/>
                        </a:lnTo>
                        <a:lnTo>
                          <a:pt x="32" y="113"/>
                        </a:lnTo>
                        <a:lnTo>
                          <a:pt x="57" y="108"/>
                        </a:lnTo>
                        <a:lnTo>
                          <a:pt x="70" y="119"/>
                        </a:lnTo>
                        <a:lnTo>
                          <a:pt x="63" y="97"/>
                        </a:lnTo>
                        <a:lnTo>
                          <a:pt x="72" y="87"/>
                        </a:lnTo>
                        <a:lnTo>
                          <a:pt x="101" y="87"/>
                        </a:lnTo>
                        <a:lnTo>
                          <a:pt x="107" y="73"/>
                        </a:lnTo>
                        <a:lnTo>
                          <a:pt x="95" y="50"/>
                        </a:lnTo>
                        <a:lnTo>
                          <a:pt x="85" y="37"/>
                        </a:lnTo>
                        <a:lnTo>
                          <a:pt x="48" y="27"/>
                        </a:lnTo>
                        <a:lnTo>
                          <a:pt x="36" y="0"/>
                        </a:lnTo>
                        <a:lnTo>
                          <a:pt x="7" y="9"/>
                        </a:lnTo>
                        <a:close/>
                      </a:path>
                    </a:pathLst>
                  </a:custGeom>
                  <a:solidFill>
                    <a:sysClr val="window" lastClr="FFFFFF"/>
                  </a:solidFill>
                  <a:ln w="9525" cap="flat" cmpd="sng">
                    <a:solidFill>
                      <a:sysClr val="window" lastClr="FFFFFF">
                        <a:lumMod val="50000"/>
                      </a:sys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en-GB" kern="0">
                      <a:solidFill>
                        <a:prstClr val="black"/>
                      </a:solidFill>
                      <a:latin typeface="Calibri"/>
                    </a:endParaRPr>
                  </a:p>
                </p:txBody>
              </p:sp>
              <p:sp>
                <p:nvSpPr>
                  <p:cNvPr id="648" name="Freeform 329"/>
                  <p:cNvSpPr>
                    <a:spLocks/>
                  </p:cNvSpPr>
                  <p:nvPr/>
                </p:nvSpPr>
                <p:spPr bwMode="auto">
                  <a:xfrm>
                    <a:off x="7017423" y="3600774"/>
                    <a:ext cx="208528" cy="241795"/>
                  </a:xfrm>
                  <a:custGeom>
                    <a:avLst/>
                    <a:gdLst>
                      <a:gd name="T0" fmla="*/ 1557099446 w 10000"/>
                      <a:gd name="T1" fmla="*/ 2147483647 h 10000"/>
                      <a:gd name="T2" fmla="*/ 1795553424 w 10000"/>
                      <a:gd name="T3" fmla="*/ 2147483647 h 10000"/>
                      <a:gd name="T4" fmla="*/ 1795553424 w 10000"/>
                      <a:gd name="T5" fmla="*/ 2019481425 h 10000"/>
                      <a:gd name="T6" fmla="*/ 1561415592 w 10000"/>
                      <a:gd name="T7" fmla="*/ 1716105542 h 10000"/>
                      <a:gd name="T8" fmla="*/ 1249166454 w 10000"/>
                      <a:gd name="T9" fmla="*/ 1211740132 h 10000"/>
                      <a:gd name="T10" fmla="*/ 1014850316 w 10000"/>
                      <a:gd name="T11" fmla="*/ 806974560 h 10000"/>
                      <a:gd name="T12" fmla="*/ 1092952268 w 10000"/>
                      <a:gd name="T13" fmla="*/ 605742369 h 10000"/>
                      <a:gd name="T14" fmla="*/ 1014850316 w 10000"/>
                      <a:gd name="T15" fmla="*/ 403998332 h 10000"/>
                      <a:gd name="T16" fmla="*/ 780703130 w 10000"/>
                      <a:gd name="T17" fmla="*/ 302621350 h 10000"/>
                      <a:gd name="T18" fmla="*/ 624489387 w 10000"/>
                      <a:gd name="T19" fmla="*/ 0 h 10000"/>
                      <a:gd name="T20" fmla="*/ 546386970 w 10000"/>
                      <a:gd name="T21" fmla="*/ 0 h 10000"/>
                      <a:gd name="T22" fmla="*/ 156213743 w 10000"/>
                      <a:gd name="T23" fmla="*/ 100622449 h 10000"/>
                      <a:gd name="T24" fmla="*/ 0 w 10000"/>
                      <a:gd name="T25" fmla="*/ 403998332 h 10000"/>
                      <a:gd name="T26" fmla="*/ 78102417 w 10000"/>
                      <a:gd name="T27" fmla="*/ 605742369 h 10000"/>
                      <a:gd name="T28" fmla="*/ 156213743 w 10000"/>
                      <a:gd name="T29" fmla="*/ 1211740132 h 10000"/>
                      <a:gd name="T30" fmla="*/ 702600713 w 10000"/>
                      <a:gd name="T31" fmla="*/ 1211740132 h 10000"/>
                      <a:gd name="T32" fmla="*/ 936738546 w 10000"/>
                      <a:gd name="T33" fmla="*/ 1312362604 h 10000"/>
                      <a:gd name="T34" fmla="*/ 1327090100 w 10000"/>
                      <a:gd name="T35" fmla="*/ 2120103874 h 10000"/>
                      <a:gd name="T36" fmla="*/ 1249166454 w 10000"/>
                      <a:gd name="T37" fmla="*/ 2147483647 h 10000"/>
                      <a:gd name="T38" fmla="*/ 1557099446 w 10000"/>
                      <a:gd name="T39" fmla="*/ 2147483647 h 1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000" h="10000">
                        <a:moveTo>
                          <a:pt x="8672" y="9830"/>
                        </a:moveTo>
                        <a:lnTo>
                          <a:pt x="10000" y="10000"/>
                        </a:lnTo>
                        <a:lnTo>
                          <a:pt x="10000" y="7948"/>
                        </a:lnTo>
                        <a:lnTo>
                          <a:pt x="8696" y="6754"/>
                        </a:lnTo>
                        <a:lnTo>
                          <a:pt x="6957" y="4769"/>
                        </a:lnTo>
                        <a:lnTo>
                          <a:pt x="5652" y="3176"/>
                        </a:lnTo>
                        <a:lnTo>
                          <a:pt x="6087" y="2384"/>
                        </a:lnTo>
                        <a:lnTo>
                          <a:pt x="5652" y="1590"/>
                        </a:lnTo>
                        <a:lnTo>
                          <a:pt x="4348" y="1191"/>
                        </a:lnTo>
                        <a:lnTo>
                          <a:pt x="3478" y="0"/>
                        </a:lnTo>
                        <a:lnTo>
                          <a:pt x="3043" y="0"/>
                        </a:lnTo>
                        <a:lnTo>
                          <a:pt x="870" y="396"/>
                        </a:lnTo>
                        <a:lnTo>
                          <a:pt x="0" y="1590"/>
                        </a:lnTo>
                        <a:lnTo>
                          <a:pt x="435" y="2384"/>
                        </a:lnTo>
                        <a:lnTo>
                          <a:pt x="870" y="4769"/>
                        </a:lnTo>
                        <a:lnTo>
                          <a:pt x="3913" y="4769"/>
                        </a:lnTo>
                        <a:lnTo>
                          <a:pt x="5217" y="5165"/>
                        </a:lnTo>
                        <a:lnTo>
                          <a:pt x="7391" y="8344"/>
                        </a:lnTo>
                        <a:lnTo>
                          <a:pt x="6957" y="9602"/>
                        </a:lnTo>
                        <a:lnTo>
                          <a:pt x="8672" y="9830"/>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49" name="Freeform 329"/>
                  <p:cNvSpPr>
                    <a:spLocks/>
                  </p:cNvSpPr>
                  <p:nvPr/>
                </p:nvSpPr>
                <p:spPr bwMode="auto">
                  <a:xfrm>
                    <a:off x="7080137" y="3825894"/>
                    <a:ext cx="145813" cy="123398"/>
                  </a:xfrm>
                  <a:custGeom>
                    <a:avLst/>
                    <a:gdLst>
                      <a:gd name="T0" fmla="*/ 348872861 w 10000"/>
                      <a:gd name="T1" fmla="*/ 27209600 h 6448"/>
                      <a:gd name="T2" fmla="*/ 315095383 w 10000"/>
                      <a:gd name="T3" fmla="*/ 15074732 h 6448"/>
                      <a:gd name="T4" fmla="*/ 240533365 w 10000"/>
                      <a:gd name="T5" fmla="*/ 0 h 6448"/>
                      <a:gd name="T6" fmla="*/ 80162754 w 10000"/>
                      <a:gd name="T7" fmla="*/ 50172884 h 6448"/>
                      <a:gd name="T8" fmla="*/ 0 w 10000"/>
                      <a:gd name="T9" fmla="*/ 150615594 h 6448"/>
                      <a:gd name="T10" fmla="*/ 0 w 10000"/>
                      <a:gd name="T11" fmla="*/ 351307147 h 6448"/>
                      <a:gd name="T12" fmla="*/ 133606765 w 10000"/>
                      <a:gd name="T13" fmla="*/ 601966131 h 6448"/>
                      <a:gd name="T14" fmla="*/ 187047513 w 10000"/>
                      <a:gd name="T15" fmla="*/ 652241915 h 6448"/>
                      <a:gd name="T16" fmla="*/ 240533365 w 10000"/>
                      <a:gd name="T17" fmla="*/ 601966131 h 6448"/>
                      <a:gd name="T18" fmla="*/ 267168619 w 10000"/>
                      <a:gd name="T19" fmla="*/ 501626339 h 6448"/>
                      <a:gd name="T20" fmla="*/ 347418124 w 10000"/>
                      <a:gd name="T21" fmla="*/ 451756161 h 6448"/>
                      <a:gd name="T22" fmla="*/ 427539023 w 10000"/>
                      <a:gd name="T23" fmla="*/ 351307147 h 6448"/>
                      <a:gd name="T24" fmla="*/ 427539023 w 10000"/>
                      <a:gd name="T25" fmla="*/ 50172884 h 6448"/>
                      <a:gd name="T26" fmla="*/ 348872861 w 10000"/>
                      <a:gd name="T27" fmla="*/ 27209600 h 64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0000" h="6448">
                        <a:moveTo>
                          <a:pt x="8160" y="269"/>
                        </a:moveTo>
                        <a:cubicBezTo>
                          <a:pt x="7722" y="211"/>
                          <a:pt x="7792" y="194"/>
                          <a:pt x="7370" y="149"/>
                        </a:cubicBezTo>
                        <a:lnTo>
                          <a:pt x="5626" y="0"/>
                        </a:lnTo>
                        <a:lnTo>
                          <a:pt x="1875" y="496"/>
                        </a:lnTo>
                        <a:lnTo>
                          <a:pt x="0" y="1489"/>
                        </a:lnTo>
                        <a:lnTo>
                          <a:pt x="0" y="3473"/>
                        </a:lnTo>
                        <a:lnTo>
                          <a:pt x="3125" y="5951"/>
                        </a:lnTo>
                        <a:lnTo>
                          <a:pt x="4375" y="6448"/>
                        </a:lnTo>
                        <a:lnTo>
                          <a:pt x="5626" y="5951"/>
                        </a:lnTo>
                        <a:lnTo>
                          <a:pt x="6249" y="4959"/>
                        </a:lnTo>
                        <a:lnTo>
                          <a:pt x="8126" y="4466"/>
                        </a:lnTo>
                        <a:lnTo>
                          <a:pt x="10000" y="3473"/>
                        </a:lnTo>
                        <a:lnTo>
                          <a:pt x="10000" y="496"/>
                        </a:lnTo>
                        <a:lnTo>
                          <a:pt x="8160" y="269"/>
                        </a:lnTo>
                        <a:close/>
                      </a:path>
                    </a:pathLst>
                  </a:custGeom>
                  <a:solidFill>
                    <a:sysClr val="window" lastClr="FFFFFF"/>
                  </a:solidFill>
                  <a:ln w="9525">
                    <a:solidFill>
                      <a:sysClr val="window" lastClr="FFFFFF">
                        <a:lumMod val="50000"/>
                      </a:sysClr>
                    </a:solidFill>
                    <a:round/>
                    <a:headEnd/>
                    <a:tailEnd/>
                  </a:ln>
                </p:spPr>
                <p:txBody>
                  <a:bodyPr/>
                  <a:lstStyle/>
                  <a:p>
                    <a:pPr>
                      <a:defRPr/>
                    </a:pPr>
                    <a:endParaRPr lang="en-GB" kern="0">
                      <a:solidFill>
                        <a:prstClr val="black"/>
                      </a:solidFill>
                      <a:latin typeface="Calibri"/>
                    </a:endParaRPr>
                  </a:p>
                </p:txBody>
              </p:sp>
              <p:sp>
                <p:nvSpPr>
                  <p:cNvPr id="650" name="TextBox 649"/>
                  <p:cNvSpPr txBox="1"/>
                  <p:nvPr/>
                </p:nvSpPr>
                <p:spPr>
                  <a:xfrm>
                    <a:off x="6192717" y="5126173"/>
                    <a:ext cx="2682068" cy="480131"/>
                  </a:xfrm>
                  <a:prstGeom prst="rect">
                    <a:avLst/>
                  </a:prstGeom>
                  <a:noFill/>
                </p:spPr>
                <p:txBody>
                  <a:bodyPr wrap="square" rtlCol="0">
                    <a:spAutoFit/>
                  </a:bodyPr>
                  <a:lstStyle/>
                  <a:p>
                    <a:pPr>
                      <a:lnSpc>
                        <a:spcPct val="90000"/>
                      </a:lnSpc>
                      <a:defRPr/>
                    </a:pPr>
                    <a:r>
                      <a:rPr lang="en-GB" sz="1400" b="1" kern="0" dirty="0">
                        <a:solidFill>
                          <a:prstClr val="black"/>
                        </a:solidFill>
                        <a:latin typeface="Calibri"/>
                      </a:rPr>
                      <a:t>Australasia – </a:t>
                    </a:r>
                  </a:p>
                  <a:p>
                    <a:pPr>
                      <a:lnSpc>
                        <a:spcPct val="90000"/>
                      </a:lnSpc>
                      <a:defRPr/>
                    </a:pPr>
                    <a:r>
                      <a:rPr lang="en-GB" sz="1400" b="1" i="1" kern="0" dirty="0">
                        <a:solidFill>
                          <a:prstClr val="black"/>
                        </a:solidFill>
                        <a:latin typeface="Calibri"/>
                      </a:rPr>
                      <a:t>JORC</a:t>
                    </a:r>
                  </a:p>
                </p:txBody>
              </p:sp>
              <p:sp>
                <p:nvSpPr>
                  <p:cNvPr id="651" name="TextBox 650"/>
                  <p:cNvSpPr txBox="1"/>
                  <p:nvPr/>
                </p:nvSpPr>
                <p:spPr>
                  <a:xfrm>
                    <a:off x="1080786" y="1839760"/>
                    <a:ext cx="1075357" cy="480131"/>
                  </a:xfrm>
                  <a:prstGeom prst="rect">
                    <a:avLst/>
                  </a:prstGeom>
                  <a:noFill/>
                </p:spPr>
                <p:txBody>
                  <a:bodyPr wrap="square" rtlCol="0">
                    <a:spAutoFit/>
                  </a:bodyPr>
                  <a:lstStyle/>
                  <a:p>
                    <a:pPr>
                      <a:lnSpc>
                        <a:spcPct val="90000"/>
                      </a:lnSpc>
                      <a:defRPr/>
                    </a:pPr>
                    <a:r>
                      <a:rPr lang="en-GB" sz="1400" b="1" kern="0" dirty="0">
                        <a:solidFill>
                          <a:prstClr val="black"/>
                        </a:solidFill>
                        <a:latin typeface="Calibri"/>
                      </a:rPr>
                      <a:t>Canada – </a:t>
                    </a:r>
                    <a:r>
                      <a:rPr lang="en-GB" sz="1400" b="1" i="1" kern="0" dirty="0">
                        <a:solidFill>
                          <a:prstClr val="black"/>
                        </a:solidFill>
                        <a:latin typeface="Calibri"/>
                      </a:rPr>
                      <a:t>CIM</a:t>
                    </a:r>
                  </a:p>
                </p:txBody>
              </p:sp>
              <p:sp>
                <p:nvSpPr>
                  <p:cNvPr id="652" name="TextBox 651"/>
                  <p:cNvSpPr txBox="1"/>
                  <p:nvPr/>
                </p:nvSpPr>
                <p:spPr>
                  <a:xfrm>
                    <a:off x="6447151" y="2739310"/>
                    <a:ext cx="1236620" cy="438377"/>
                  </a:xfrm>
                  <a:prstGeom prst="rect">
                    <a:avLst/>
                  </a:prstGeom>
                  <a:noFill/>
                </p:spPr>
                <p:txBody>
                  <a:bodyPr wrap="square" rtlCol="0">
                    <a:spAutoFit/>
                  </a:bodyPr>
                  <a:lstStyle/>
                  <a:p>
                    <a:pPr>
                      <a:lnSpc>
                        <a:spcPct val="90000"/>
                      </a:lnSpc>
                      <a:defRPr/>
                    </a:pPr>
                    <a:r>
                      <a:rPr lang="en-GB" sz="1400" b="1" kern="0" dirty="0">
                        <a:solidFill>
                          <a:prstClr val="black"/>
                        </a:solidFill>
                        <a:latin typeface="Calibri"/>
                      </a:rPr>
                      <a:t>Mongolia – </a:t>
                    </a:r>
                    <a:r>
                      <a:rPr lang="en-GB" sz="1400" b="1" i="1" kern="0" dirty="0">
                        <a:solidFill>
                          <a:prstClr val="black"/>
                        </a:solidFill>
                        <a:latin typeface="Calibri"/>
                      </a:rPr>
                      <a:t>MPIGM</a:t>
                    </a:r>
                  </a:p>
                </p:txBody>
              </p:sp>
              <p:sp>
                <p:nvSpPr>
                  <p:cNvPr id="653" name="TextBox 652"/>
                  <p:cNvSpPr txBox="1"/>
                  <p:nvPr/>
                </p:nvSpPr>
                <p:spPr>
                  <a:xfrm>
                    <a:off x="3857085" y="4996508"/>
                    <a:ext cx="1410075" cy="480131"/>
                  </a:xfrm>
                  <a:prstGeom prst="rect">
                    <a:avLst/>
                  </a:prstGeom>
                  <a:noFill/>
                </p:spPr>
                <p:txBody>
                  <a:bodyPr wrap="square" rtlCol="0">
                    <a:spAutoFit/>
                  </a:bodyPr>
                  <a:lstStyle/>
                  <a:p>
                    <a:pPr>
                      <a:lnSpc>
                        <a:spcPct val="90000"/>
                      </a:lnSpc>
                      <a:defRPr/>
                    </a:pPr>
                    <a:r>
                      <a:rPr lang="en-GB" sz="1400" b="1" kern="0" dirty="0">
                        <a:solidFill>
                          <a:prstClr val="black"/>
                        </a:solidFill>
                        <a:latin typeface="Calibri"/>
                      </a:rPr>
                      <a:t>South Africa – </a:t>
                    </a:r>
                    <a:r>
                      <a:rPr lang="en-GB" sz="1400" b="1" i="1" kern="0" dirty="0">
                        <a:solidFill>
                          <a:prstClr val="black"/>
                        </a:solidFill>
                        <a:latin typeface="Calibri"/>
                      </a:rPr>
                      <a:t>SAMREC</a:t>
                    </a:r>
                  </a:p>
                </p:txBody>
              </p:sp>
              <p:sp>
                <p:nvSpPr>
                  <p:cNvPr id="654" name="TextBox 653"/>
                  <p:cNvSpPr txBox="1"/>
                  <p:nvPr/>
                </p:nvSpPr>
                <p:spPr>
                  <a:xfrm>
                    <a:off x="6291297" y="1760313"/>
                    <a:ext cx="1632555" cy="226863"/>
                  </a:xfrm>
                  <a:prstGeom prst="rect">
                    <a:avLst/>
                  </a:prstGeom>
                  <a:noFill/>
                </p:spPr>
                <p:txBody>
                  <a:bodyPr wrap="square" rtlCol="0">
                    <a:spAutoFit/>
                  </a:bodyPr>
                  <a:lstStyle/>
                  <a:p>
                    <a:pPr>
                      <a:lnSpc>
                        <a:spcPct val="90000"/>
                      </a:lnSpc>
                      <a:defRPr/>
                    </a:pPr>
                    <a:r>
                      <a:rPr lang="en-GB" sz="1400" b="1" kern="0" dirty="0">
                        <a:solidFill>
                          <a:srgbClr val="FFFFFF"/>
                        </a:solidFill>
                        <a:latin typeface="Calibri"/>
                      </a:rPr>
                      <a:t>Russia – </a:t>
                    </a:r>
                    <a:r>
                      <a:rPr lang="en-US" sz="1400" b="1" i="1" kern="0" dirty="0">
                        <a:solidFill>
                          <a:srgbClr val="FFFFFF"/>
                        </a:solidFill>
                        <a:latin typeface="Calibri"/>
                      </a:rPr>
                      <a:t>OER</a:t>
                    </a:r>
                    <a:r>
                      <a:rPr lang="en-GB" sz="1400" b="1" i="1" kern="0" dirty="0">
                        <a:solidFill>
                          <a:srgbClr val="FFFFFF"/>
                        </a:solidFill>
                        <a:latin typeface="Calibri"/>
                      </a:rPr>
                      <a:t>N</a:t>
                    </a:r>
                  </a:p>
                </p:txBody>
              </p:sp>
              <p:sp>
                <p:nvSpPr>
                  <p:cNvPr id="655" name="TextBox 654"/>
                  <p:cNvSpPr txBox="1"/>
                  <p:nvPr/>
                </p:nvSpPr>
                <p:spPr>
                  <a:xfrm>
                    <a:off x="3556308" y="1990581"/>
                    <a:ext cx="1087700" cy="480131"/>
                  </a:xfrm>
                  <a:prstGeom prst="rect">
                    <a:avLst/>
                  </a:prstGeom>
                  <a:noFill/>
                </p:spPr>
                <p:txBody>
                  <a:bodyPr wrap="square" rtlCol="0">
                    <a:spAutoFit/>
                  </a:bodyPr>
                  <a:lstStyle/>
                  <a:p>
                    <a:pPr>
                      <a:lnSpc>
                        <a:spcPct val="90000"/>
                      </a:lnSpc>
                      <a:defRPr/>
                    </a:pPr>
                    <a:r>
                      <a:rPr lang="en-GB" sz="1400" b="1" kern="0" dirty="0">
                        <a:solidFill>
                          <a:prstClr val="black"/>
                        </a:solidFill>
                        <a:latin typeface="Calibri"/>
                      </a:rPr>
                      <a:t>Europe – </a:t>
                    </a:r>
                    <a:br>
                      <a:rPr lang="en-GB" sz="1400" b="1" kern="0" dirty="0">
                        <a:solidFill>
                          <a:prstClr val="black"/>
                        </a:solidFill>
                        <a:latin typeface="Calibri"/>
                      </a:rPr>
                    </a:br>
                    <a:r>
                      <a:rPr lang="en-GB" sz="1400" b="1" i="1" kern="0" dirty="0">
                        <a:solidFill>
                          <a:prstClr val="black"/>
                        </a:solidFill>
                        <a:latin typeface="Calibri"/>
                      </a:rPr>
                      <a:t>PERC</a:t>
                    </a:r>
                  </a:p>
                </p:txBody>
              </p:sp>
              <p:sp>
                <p:nvSpPr>
                  <p:cNvPr id="656" name="TextBox 655"/>
                  <p:cNvSpPr txBox="1"/>
                  <p:nvPr/>
                </p:nvSpPr>
                <p:spPr>
                  <a:xfrm>
                    <a:off x="1564680" y="4734703"/>
                    <a:ext cx="1005891" cy="674031"/>
                  </a:xfrm>
                  <a:prstGeom prst="rect">
                    <a:avLst/>
                  </a:prstGeom>
                  <a:noFill/>
                </p:spPr>
                <p:txBody>
                  <a:bodyPr wrap="square" rtlCol="0">
                    <a:spAutoFit/>
                  </a:bodyPr>
                  <a:lstStyle/>
                  <a:p>
                    <a:pPr>
                      <a:lnSpc>
                        <a:spcPct val="90000"/>
                      </a:lnSpc>
                      <a:defRPr/>
                    </a:pPr>
                    <a:r>
                      <a:rPr lang="en-GB" sz="1400" b="1" kern="0" dirty="0">
                        <a:solidFill>
                          <a:prstClr val="black"/>
                        </a:solidFill>
                        <a:latin typeface="Calibri"/>
                      </a:rPr>
                      <a:t>Chile – </a:t>
                    </a:r>
                  </a:p>
                  <a:p>
                    <a:pPr>
                      <a:lnSpc>
                        <a:spcPct val="90000"/>
                      </a:lnSpc>
                      <a:defRPr/>
                    </a:pPr>
                    <a:r>
                      <a:rPr lang="en-GB" sz="1400" b="1" i="1" kern="0" dirty="0" err="1">
                        <a:solidFill>
                          <a:prstClr val="black"/>
                        </a:solidFill>
                        <a:latin typeface="Calibri"/>
                      </a:rPr>
                      <a:t>Comisión</a:t>
                    </a:r>
                    <a:r>
                      <a:rPr lang="en-GB" sz="1400" b="1" i="1" kern="0" dirty="0">
                        <a:solidFill>
                          <a:prstClr val="black"/>
                        </a:solidFill>
                        <a:latin typeface="Calibri"/>
                      </a:rPr>
                      <a:t> </a:t>
                    </a:r>
                    <a:r>
                      <a:rPr lang="en-GB" sz="1400" b="1" i="1" kern="0" dirty="0" err="1">
                        <a:solidFill>
                          <a:prstClr val="black"/>
                        </a:solidFill>
                        <a:latin typeface="Calibri"/>
                      </a:rPr>
                      <a:t>Minera</a:t>
                    </a:r>
                    <a:endParaRPr lang="en-GB" sz="1400" b="1" i="1" kern="0" dirty="0">
                      <a:solidFill>
                        <a:prstClr val="black"/>
                      </a:solidFill>
                      <a:latin typeface="Calibri"/>
                    </a:endParaRPr>
                  </a:p>
                </p:txBody>
              </p:sp>
              <p:sp>
                <p:nvSpPr>
                  <p:cNvPr id="657" name="TextBox 656"/>
                  <p:cNvSpPr txBox="1"/>
                  <p:nvPr/>
                </p:nvSpPr>
                <p:spPr>
                  <a:xfrm>
                    <a:off x="1393931" y="2720846"/>
                    <a:ext cx="857136" cy="523220"/>
                  </a:xfrm>
                  <a:prstGeom prst="rect">
                    <a:avLst/>
                  </a:prstGeom>
                  <a:noFill/>
                </p:spPr>
                <p:txBody>
                  <a:bodyPr wrap="square" rtlCol="0">
                    <a:spAutoFit/>
                  </a:bodyPr>
                  <a:lstStyle/>
                  <a:p>
                    <a:pPr>
                      <a:defRPr/>
                    </a:pPr>
                    <a:r>
                      <a:rPr lang="en-GB" sz="1400" b="1" kern="0" dirty="0">
                        <a:solidFill>
                          <a:prstClr val="black"/>
                        </a:solidFill>
                        <a:latin typeface="Calibri"/>
                      </a:rPr>
                      <a:t>USA –  </a:t>
                    </a:r>
                    <a:r>
                      <a:rPr lang="en-GB" sz="1400" b="1" i="1" kern="0" dirty="0">
                        <a:solidFill>
                          <a:prstClr val="black"/>
                        </a:solidFill>
                        <a:latin typeface="Calibri"/>
                      </a:rPr>
                      <a:t>SME</a:t>
                    </a:r>
                  </a:p>
                </p:txBody>
              </p:sp>
              <p:pic>
                <p:nvPicPr>
                  <p:cNvPr id="658" name="Picture 5" descr="CIM - ICM"/>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34859" y="2209920"/>
                    <a:ext cx="235245" cy="328699"/>
                  </a:xfrm>
                  <a:prstGeom prst="rect">
                    <a:avLst/>
                  </a:prstGeom>
                  <a:noFill/>
                  <a:extLst>
                    <a:ext uri="{909E8E84-426E-40DD-AFC4-6F175D3DCCD1}">
                      <a14:hiddenFill xmlns:a14="http://schemas.microsoft.com/office/drawing/2010/main">
                        <a:solidFill>
                          <a:srgbClr val="FFFFFF"/>
                        </a:solidFill>
                      </a14:hiddenFill>
                    </a:ext>
                  </a:extLst>
                </p:spPr>
              </p:pic>
              <p:pic>
                <p:nvPicPr>
                  <p:cNvPr id="659"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04198" y="4743446"/>
                    <a:ext cx="639106" cy="1864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0"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66692" y="2058694"/>
                    <a:ext cx="288225" cy="353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1" name="Picture 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21545" y="5102600"/>
                    <a:ext cx="281359" cy="2916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2" name="Picture 12" descr="perc-hi-res-logo"/>
                  <p:cNvPicPr>
                    <a:picLocks noChangeAspect="1" noChangeArrowheads="1"/>
                  </p:cNvPicPr>
                  <p:nvPr>
                    <p:custDataLst>
                      <p:tags r:id="rId4"/>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3515398" y="2457817"/>
                    <a:ext cx="641631" cy="186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3" name="Picture 8" descr="http://www.smenet.org/images/masthead/masthead.gif"/>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7586" r="9769"/>
                  <a:stretch/>
                </p:blipFill>
                <p:spPr bwMode="auto">
                  <a:xfrm>
                    <a:off x="1934546" y="2994854"/>
                    <a:ext cx="558155" cy="206774"/>
                  </a:xfrm>
                  <a:prstGeom prst="rect">
                    <a:avLst/>
                  </a:prstGeom>
                  <a:noFill/>
                  <a:extLst>
                    <a:ext uri="{909E8E84-426E-40DD-AFC4-6F175D3DCCD1}">
                      <a14:hiddenFill xmlns:a14="http://schemas.microsoft.com/office/drawing/2010/main">
                        <a:solidFill>
                          <a:srgbClr val="FFFFFF"/>
                        </a:solidFill>
                      </a14:hiddenFill>
                    </a:ext>
                  </a:extLst>
                </p:spPr>
              </p:pic>
              <p:pic>
                <p:nvPicPr>
                  <p:cNvPr id="664" name="Picture 9"/>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941271" y="4464615"/>
                    <a:ext cx="470489" cy="3421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65" name="Picture 2" descr="https://media.licdn.com/media/AAEAAQAAAAAAAALKAAAAJGU3MGNmNWI3LWNhMDQtNGI2MS1iYmMzLTZkYzQyNjZjMGVhYw.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358828" y="2616061"/>
                    <a:ext cx="649887" cy="209568"/>
                  </a:xfrm>
                  <a:prstGeom prst="rect">
                    <a:avLst/>
                  </a:prstGeom>
                  <a:noFill/>
                  <a:extLst>
                    <a:ext uri="{909E8E84-426E-40DD-AFC4-6F175D3DCCD1}">
                      <a14:hiddenFill xmlns:a14="http://schemas.microsoft.com/office/drawing/2010/main">
                        <a:solidFill>
                          <a:srgbClr val="FFFFFF"/>
                        </a:solidFill>
                      </a14:hiddenFill>
                    </a:ext>
                  </a:extLst>
                </p:spPr>
              </p:pic>
              <p:sp>
                <p:nvSpPr>
                  <p:cNvPr id="666" name="TextBox 665"/>
                  <p:cNvSpPr txBox="1"/>
                  <p:nvPr/>
                </p:nvSpPr>
                <p:spPr>
                  <a:xfrm>
                    <a:off x="3302105" y="4460670"/>
                    <a:ext cx="874985" cy="480131"/>
                  </a:xfrm>
                  <a:prstGeom prst="rect">
                    <a:avLst/>
                  </a:prstGeom>
                  <a:noFill/>
                </p:spPr>
                <p:txBody>
                  <a:bodyPr wrap="square" rtlCol="0">
                    <a:spAutoFit/>
                  </a:bodyPr>
                  <a:lstStyle/>
                  <a:p>
                    <a:pPr>
                      <a:lnSpc>
                        <a:spcPct val="90000"/>
                      </a:lnSpc>
                      <a:defRPr/>
                    </a:pPr>
                    <a:r>
                      <a:rPr lang="en-GB" sz="1400" b="1" kern="0" dirty="0">
                        <a:solidFill>
                          <a:prstClr val="black"/>
                        </a:solidFill>
                        <a:latin typeface="Calibri"/>
                      </a:rPr>
                      <a:t>Brazil – </a:t>
                    </a:r>
                    <a:br>
                      <a:rPr lang="en-GB" sz="1400" b="1" kern="0" dirty="0">
                        <a:solidFill>
                          <a:prstClr val="black"/>
                        </a:solidFill>
                        <a:latin typeface="Calibri"/>
                      </a:rPr>
                    </a:br>
                    <a:r>
                      <a:rPr lang="en-GB" sz="1400" b="1" i="1" kern="0" dirty="0">
                        <a:solidFill>
                          <a:prstClr val="black"/>
                        </a:solidFill>
                        <a:latin typeface="Calibri"/>
                      </a:rPr>
                      <a:t>CBRR</a:t>
                    </a:r>
                  </a:p>
                </p:txBody>
              </p:sp>
            </p:grpSp>
            <p:sp>
              <p:nvSpPr>
                <p:cNvPr id="451" name="Freeform 148"/>
                <p:cNvSpPr>
                  <a:spLocks/>
                </p:cNvSpPr>
                <p:nvPr>
                  <p:custDataLst>
                    <p:tags r:id="rId1"/>
                  </p:custDataLst>
                </p:nvPr>
              </p:nvSpPr>
              <p:spPr bwMode="auto">
                <a:xfrm>
                  <a:off x="5580112" y="2420888"/>
                  <a:ext cx="1048767" cy="545530"/>
                </a:xfrm>
                <a:custGeom>
                  <a:avLst/>
                  <a:gdLst>
                    <a:gd name="T0" fmla="*/ 1103594 w 1109"/>
                    <a:gd name="T1" fmla="*/ 309336 h 545"/>
                    <a:gd name="T2" fmla="*/ 1067212 w 1109"/>
                    <a:gd name="T3" fmla="*/ 380721 h 545"/>
                    <a:gd name="T4" fmla="*/ 997480 w 1109"/>
                    <a:gd name="T5" fmla="*/ 380721 h 545"/>
                    <a:gd name="T6" fmla="*/ 926736 w 1109"/>
                    <a:gd name="T7" fmla="*/ 454372 h 545"/>
                    <a:gd name="T8" fmla="*/ 944928 w 1109"/>
                    <a:gd name="T9" fmla="*/ 543887 h 545"/>
                    <a:gd name="T10" fmla="*/ 892375 w 1109"/>
                    <a:gd name="T11" fmla="*/ 543887 h 545"/>
                    <a:gd name="T12" fmla="*/ 752910 w 1109"/>
                    <a:gd name="T13" fmla="*/ 526890 h 545"/>
                    <a:gd name="T14" fmla="*/ 734719 w 1109"/>
                    <a:gd name="T15" fmla="*/ 563149 h 545"/>
                    <a:gd name="T16" fmla="*/ 664986 w 1109"/>
                    <a:gd name="T17" fmla="*/ 563149 h 545"/>
                    <a:gd name="T18" fmla="*/ 595254 w 1109"/>
                    <a:gd name="T19" fmla="*/ 598275 h 545"/>
                    <a:gd name="T20" fmla="*/ 560893 w 1109"/>
                    <a:gd name="T21" fmla="*/ 581279 h 545"/>
                    <a:gd name="T22" fmla="*/ 542702 w 1109"/>
                    <a:gd name="T23" fmla="*/ 543887 h 545"/>
                    <a:gd name="T24" fmla="*/ 418396 w 1109"/>
                    <a:gd name="T25" fmla="*/ 508761 h 545"/>
                    <a:gd name="T26" fmla="*/ 331483 w 1109"/>
                    <a:gd name="T27" fmla="*/ 435109 h 545"/>
                    <a:gd name="T28" fmla="*/ 261750 w 1109"/>
                    <a:gd name="T29" fmla="*/ 598275 h 545"/>
                    <a:gd name="T30" fmla="*/ 209198 w 1109"/>
                    <a:gd name="T31" fmla="*/ 563149 h 545"/>
                    <a:gd name="T32" fmla="*/ 156646 w 1109"/>
                    <a:gd name="T33" fmla="*/ 543887 h 545"/>
                    <a:gd name="T34" fmla="*/ 122285 w 1109"/>
                    <a:gd name="T35" fmla="*/ 489498 h 545"/>
                    <a:gd name="T36" fmla="*/ 139465 w 1109"/>
                    <a:gd name="T37" fmla="*/ 489498 h 545"/>
                    <a:gd name="T38" fmla="*/ 139465 w 1109"/>
                    <a:gd name="T39" fmla="*/ 454372 h 545"/>
                    <a:gd name="T40" fmla="*/ 192017 w 1109"/>
                    <a:gd name="T41" fmla="*/ 399983 h 545"/>
                    <a:gd name="T42" fmla="*/ 122285 w 1109"/>
                    <a:gd name="T43" fmla="*/ 363724 h 545"/>
                    <a:gd name="T44" fmla="*/ 52552 w 1109"/>
                    <a:gd name="T45" fmla="*/ 399983 h 545"/>
                    <a:gd name="T46" fmla="*/ 52552 w 1109"/>
                    <a:gd name="T47" fmla="*/ 345595 h 545"/>
                    <a:gd name="T48" fmla="*/ 0 w 1109"/>
                    <a:gd name="T49" fmla="*/ 309336 h 545"/>
                    <a:gd name="T50" fmla="*/ 52552 w 1109"/>
                    <a:gd name="T51" fmla="*/ 254947 h 545"/>
                    <a:gd name="T52" fmla="*/ 52552 w 1109"/>
                    <a:gd name="T53" fmla="*/ 217555 h 545"/>
                    <a:gd name="T54" fmla="*/ 139465 w 1109"/>
                    <a:gd name="T55" fmla="*/ 182429 h 545"/>
                    <a:gd name="T56" fmla="*/ 192017 w 1109"/>
                    <a:gd name="T57" fmla="*/ 182429 h 545"/>
                    <a:gd name="T58" fmla="*/ 278930 w 1109"/>
                    <a:gd name="T59" fmla="*/ 200558 h 545"/>
                    <a:gd name="T60" fmla="*/ 331483 w 1109"/>
                    <a:gd name="T61" fmla="*/ 217555 h 545"/>
                    <a:gd name="T62" fmla="*/ 418396 w 1109"/>
                    <a:gd name="T63" fmla="*/ 182429 h 545"/>
                    <a:gd name="T64" fmla="*/ 401215 w 1109"/>
                    <a:gd name="T65" fmla="*/ 146170 h 545"/>
                    <a:gd name="T66" fmla="*/ 401215 w 1109"/>
                    <a:gd name="T67" fmla="*/ 108777 h 545"/>
                    <a:gd name="T68" fmla="*/ 436587 w 1109"/>
                    <a:gd name="T69" fmla="*/ 73651 h 545"/>
                    <a:gd name="T70" fmla="*/ 595254 w 1109"/>
                    <a:gd name="T71" fmla="*/ 0 h 545"/>
                    <a:gd name="T72" fmla="*/ 664986 w 1109"/>
                    <a:gd name="T73" fmla="*/ 0 h 545"/>
                    <a:gd name="T74" fmla="*/ 683178 w 1109"/>
                    <a:gd name="T75" fmla="*/ 54389 h 545"/>
                    <a:gd name="T76" fmla="*/ 734719 w 1109"/>
                    <a:gd name="T77" fmla="*/ 73651 h 545"/>
                    <a:gd name="T78" fmla="*/ 770091 w 1109"/>
                    <a:gd name="T79" fmla="*/ 91781 h 545"/>
                    <a:gd name="T80" fmla="*/ 839823 w 1109"/>
                    <a:gd name="T81" fmla="*/ 37392 h 545"/>
                    <a:gd name="T82" fmla="*/ 926736 w 1109"/>
                    <a:gd name="T83" fmla="*/ 217555 h 545"/>
                    <a:gd name="T84" fmla="*/ 962108 w 1109"/>
                    <a:gd name="T85" fmla="*/ 217555 h 545"/>
                    <a:gd name="T86" fmla="*/ 1067212 w 1109"/>
                    <a:gd name="T87" fmla="*/ 254947 h 545"/>
                    <a:gd name="T88" fmla="*/ 1103594 w 1109"/>
                    <a:gd name="T89" fmla="*/ 254947 h 545"/>
                    <a:gd name="T90" fmla="*/ 1103594 w 1109"/>
                    <a:gd name="T91" fmla="*/ 309336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269 w 10000"/>
                    <a:gd name="connsiteY7" fmla="*/ 735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929 w 10000"/>
                    <a:gd name="connsiteY36" fmla="*/ 7927 h 10000"/>
                    <a:gd name="connsiteX37" fmla="*/ 1244 w 10000"/>
                    <a:gd name="connsiteY37" fmla="*/ 7927 h 10000"/>
                    <a:gd name="connsiteX38" fmla="*/ 1091 w 10000"/>
                    <a:gd name="connsiteY38" fmla="*/ 7651 h 10000"/>
                    <a:gd name="connsiteX39" fmla="*/ 1244 w 10000"/>
                    <a:gd name="connsiteY39" fmla="*/ 7358 h 10000"/>
                    <a:gd name="connsiteX40" fmla="*/ 1867 w 10000"/>
                    <a:gd name="connsiteY40" fmla="*/ 7358 h 10000"/>
                    <a:gd name="connsiteX41" fmla="*/ 1713 w 10000"/>
                    <a:gd name="connsiteY41" fmla="*/ 6477 h 10000"/>
                    <a:gd name="connsiteX42" fmla="*/ 1398 w 10000"/>
                    <a:gd name="connsiteY42" fmla="*/ 6165 h 10000"/>
                    <a:gd name="connsiteX43" fmla="*/ 1091 w 10000"/>
                    <a:gd name="connsiteY43" fmla="*/ 5890 h 10000"/>
                    <a:gd name="connsiteX44" fmla="*/ 622 w 10000"/>
                    <a:gd name="connsiteY44" fmla="*/ 6477 h 10000"/>
                    <a:gd name="connsiteX45" fmla="*/ 469 w 10000"/>
                    <a:gd name="connsiteY45" fmla="*/ 6477 h 10000"/>
                    <a:gd name="connsiteX46" fmla="*/ 622 w 10000"/>
                    <a:gd name="connsiteY46" fmla="*/ 6165 h 10000"/>
                    <a:gd name="connsiteX47" fmla="*/ 469 w 10000"/>
                    <a:gd name="connsiteY47" fmla="*/ 5596 h 10000"/>
                    <a:gd name="connsiteX48" fmla="*/ 153 w 10000"/>
                    <a:gd name="connsiteY48" fmla="*/ 5596 h 10000"/>
                    <a:gd name="connsiteX49" fmla="*/ 0 w 10000"/>
                    <a:gd name="connsiteY49" fmla="*/ 5009 h 10000"/>
                    <a:gd name="connsiteX50" fmla="*/ 153 w 10000"/>
                    <a:gd name="connsiteY50" fmla="*/ 3523 h 10000"/>
                    <a:gd name="connsiteX51" fmla="*/ 469 w 10000"/>
                    <a:gd name="connsiteY51" fmla="*/ 4128 h 10000"/>
                    <a:gd name="connsiteX52" fmla="*/ 622 w 10000"/>
                    <a:gd name="connsiteY52" fmla="*/ 4128 h 10000"/>
                    <a:gd name="connsiteX53" fmla="*/ 469 w 10000"/>
                    <a:gd name="connsiteY53" fmla="*/ 3523 h 10000"/>
                    <a:gd name="connsiteX54" fmla="*/ 929 w 10000"/>
                    <a:gd name="connsiteY54" fmla="*/ 2642 h 10000"/>
                    <a:gd name="connsiteX55" fmla="*/ 1244 w 10000"/>
                    <a:gd name="connsiteY55" fmla="*/ 2954 h 10000"/>
                    <a:gd name="connsiteX56" fmla="*/ 1398 w 10000"/>
                    <a:gd name="connsiteY56" fmla="*/ 2642 h 10000"/>
                    <a:gd name="connsiteX57" fmla="*/ 1713 w 10000"/>
                    <a:gd name="connsiteY57" fmla="*/ 2954 h 10000"/>
                    <a:gd name="connsiteX58" fmla="*/ 2182 w 10000"/>
                    <a:gd name="connsiteY58" fmla="*/ 3523 h 10000"/>
                    <a:gd name="connsiteX59" fmla="*/ 2489 w 10000"/>
                    <a:gd name="connsiteY59" fmla="*/ 3248 h 10000"/>
                    <a:gd name="connsiteX60" fmla="*/ 2804 w 10000"/>
                    <a:gd name="connsiteY60" fmla="*/ 3248 h 10000"/>
                    <a:gd name="connsiteX61" fmla="*/ 2958 w 10000"/>
                    <a:gd name="connsiteY61" fmla="*/ 3523 h 10000"/>
                    <a:gd name="connsiteX62" fmla="*/ 3580 w 10000"/>
                    <a:gd name="connsiteY62" fmla="*/ 3523 h 10000"/>
                    <a:gd name="connsiteX63" fmla="*/ 3733 w 10000"/>
                    <a:gd name="connsiteY63" fmla="*/ 2954 h 10000"/>
                    <a:gd name="connsiteX64" fmla="*/ 3273 w 10000"/>
                    <a:gd name="connsiteY64" fmla="*/ 2642 h 10000"/>
                    <a:gd name="connsiteX65" fmla="*/ 3580 w 10000"/>
                    <a:gd name="connsiteY65" fmla="*/ 2367 h 10000"/>
                    <a:gd name="connsiteX66" fmla="*/ 3427 w 10000"/>
                    <a:gd name="connsiteY66" fmla="*/ 2073 h 10000"/>
                    <a:gd name="connsiteX67" fmla="*/ 3580 w 10000"/>
                    <a:gd name="connsiteY67" fmla="*/ 1761 h 10000"/>
                    <a:gd name="connsiteX68" fmla="*/ 3580 w 10000"/>
                    <a:gd name="connsiteY68" fmla="*/ 881 h 10000"/>
                    <a:gd name="connsiteX69" fmla="*/ 3919 w 10000"/>
                    <a:gd name="connsiteY69" fmla="*/ 917 h 10000"/>
                    <a:gd name="connsiteX70" fmla="*/ 5311 w 10000"/>
                    <a:gd name="connsiteY70" fmla="*/ 330 h 10000"/>
                    <a:gd name="connsiteX71" fmla="*/ 5311 w 10000"/>
                    <a:gd name="connsiteY71" fmla="*/ 0 h 10000"/>
                    <a:gd name="connsiteX72" fmla="*/ 5464 w 10000"/>
                    <a:gd name="connsiteY72" fmla="*/ 0 h 10000"/>
                    <a:gd name="connsiteX73" fmla="*/ 5933 w 10000"/>
                    <a:gd name="connsiteY73" fmla="*/ 0 h 10000"/>
                    <a:gd name="connsiteX74" fmla="*/ 6096 w 10000"/>
                    <a:gd name="connsiteY74" fmla="*/ 606 h 10000"/>
                    <a:gd name="connsiteX75" fmla="*/ 6096 w 10000"/>
                    <a:gd name="connsiteY75" fmla="*/ 881 h 10000"/>
                    <a:gd name="connsiteX76" fmla="*/ 6249 w 10000"/>
                    <a:gd name="connsiteY76" fmla="*/ 881 h 10000"/>
                    <a:gd name="connsiteX77" fmla="*/ 6555 w 10000"/>
                    <a:gd name="connsiteY77" fmla="*/ 1193 h 10000"/>
                    <a:gd name="connsiteX78" fmla="*/ 6555 w 10000"/>
                    <a:gd name="connsiteY78" fmla="*/ 1486 h 10000"/>
                    <a:gd name="connsiteX79" fmla="*/ 6871 w 10000"/>
                    <a:gd name="connsiteY79" fmla="*/ 1486 h 10000"/>
                    <a:gd name="connsiteX80" fmla="*/ 7178 w 10000"/>
                    <a:gd name="connsiteY80" fmla="*/ 881 h 10000"/>
                    <a:gd name="connsiteX81" fmla="*/ 7493 w 10000"/>
                    <a:gd name="connsiteY81" fmla="*/ 606 h 10000"/>
                    <a:gd name="connsiteX82" fmla="*/ 7647 w 10000"/>
                    <a:gd name="connsiteY82" fmla="*/ 1486 h 10000"/>
                    <a:gd name="connsiteX83" fmla="*/ 8269 w 10000"/>
                    <a:gd name="connsiteY83" fmla="*/ 3523 h 10000"/>
                    <a:gd name="connsiteX84" fmla="*/ 8431 w 10000"/>
                    <a:gd name="connsiteY84" fmla="*/ 2954 h 10000"/>
                    <a:gd name="connsiteX85" fmla="*/ 8584 w 10000"/>
                    <a:gd name="connsiteY85" fmla="*/ 3523 h 10000"/>
                    <a:gd name="connsiteX86" fmla="*/ 9053 w 10000"/>
                    <a:gd name="connsiteY86" fmla="*/ 3248 h 10000"/>
                    <a:gd name="connsiteX87" fmla="*/ 9522 w 10000"/>
                    <a:gd name="connsiteY87" fmla="*/ 4128 h 10000"/>
                    <a:gd name="connsiteX88" fmla="*/ 9847 w 10000"/>
                    <a:gd name="connsiteY88" fmla="*/ 4404 h 10000"/>
                    <a:gd name="connsiteX89" fmla="*/ 9847 w 10000"/>
                    <a:gd name="connsiteY89" fmla="*/ 4128 h 10000"/>
                    <a:gd name="connsiteX90" fmla="*/ 10000 w 10000"/>
                    <a:gd name="connsiteY90" fmla="*/ 4716 h 10000"/>
                    <a:gd name="connsiteX91" fmla="*/ 9847 w 10000"/>
                    <a:gd name="connsiteY91"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269 w 10000"/>
                    <a:gd name="connsiteY7" fmla="*/ 735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929 w 10000"/>
                    <a:gd name="connsiteY36" fmla="*/ 7927 h 10000"/>
                    <a:gd name="connsiteX37" fmla="*/ 1244 w 10000"/>
                    <a:gd name="connsiteY37" fmla="*/ 7927 h 10000"/>
                    <a:gd name="connsiteX38" fmla="*/ 1091 w 10000"/>
                    <a:gd name="connsiteY38" fmla="*/ 7651 h 10000"/>
                    <a:gd name="connsiteX39" fmla="*/ 1244 w 10000"/>
                    <a:gd name="connsiteY39" fmla="*/ 7358 h 10000"/>
                    <a:gd name="connsiteX40" fmla="*/ 1867 w 10000"/>
                    <a:gd name="connsiteY40" fmla="*/ 7358 h 10000"/>
                    <a:gd name="connsiteX41" fmla="*/ 1713 w 10000"/>
                    <a:gd name="connsiteY41" fmla="*/ 6477 h 10000"/>
                    <a:gd name="connsiteX42" fmla="*/ 1398 w 10000"/>
                    <a:gd name="connsiteY42" fmla="*/ 6165 h 10000"/>
                    <a:gd name="connsiteX43" fmla="*/ 1091 w 10000"/>
                    <a:gd name="connsiteY43" fmla="*/ 5890 h 10000"/>
                    <a:gd name="connsiteX44" fmla="*/ 622 w 10000"/>
                    <a:gd name="connsiteY44" fmla="*/ 6477 h 10000"/>
                    <a:gd name="connsiteX45" fmla="*/ 469 w 10000"/>
                    <a:gd name="connsiteY45" fmla="*/ 6477 h 10000"/>
                    <a:gd name="connsiteX46" fmla="*/ 622 w 10000"/>
                    <a:gd name="connsiteY46" fmla="*/ 6165 h 10000"/>
                    <a:gd name="connsiteX47" fmla="*/ 469 w 10000"/>
                    <a:gd name="connsiteY47" fmla="*/ 5596 h 10000"/>
                    <a:gd name="connsiteX48" fmla="*/ 153 w 10000"/>
                    <a:gd name="connsiteY48" fmla="*/ 5596 h 10000"/>
                    <a:gd name="connsiteX49" fmla="*/ 0 w 10000"/>
                    <a:gd name="connsiteY49" fmla="*/ 5009 h 10000"/>
                    <a:gd name="connsiteX50" fmla="*/ 153 w 10000"/>
                    <a:gd name="connsiteY50" fmla="*/ 3523 h 10000"/>
                    <a:gd name="connsiteX51" fmla="*/ 469 w 10000"/>
                    <a:gd name="connsiteY51" fmla="*/ 4128 h 10000"/>
                    <a:gd name="connsiteX52" fmla="*/ 622 w 10000"/>
                    <a:gd name="connsiteY52" fmla="*/ 4128 h 10000"/>
                    <a:gd name="connsiteX53" fmla="*/ 469 w 10000"/>
                    <a:gd name="connsiteY53" fmla="*/ 3523 h 10000"/>
                    <a:gd name="connsiteX54" fmla="*/ 929 w 10000"/>
                    <a:gd name="connsiteY54" fmla="*/ 2642 h 10000"/>
                    <a:gd name="connsiteX55" fmla="*/ 1244 w 10000"/>
                    <a:gd name="connsiteY55" fmla="*/ 2954 h 10000"/>
                    <a:gd name="connsiteX56" fmla="*/ 1398 w 10000"/>
                    <a:gd name="connsiteY56" fmla="*/ 2642 h 10000"/>
                    <a:gd name="connsiteX57" fmla="*/ 1713 w 10000"/>
                    <a:gd name="connsiteY57" fmla="*/ 2954 h 10000"/>
                    <a:gd name="connsiteX58" fmla="*/ 2182 w 10000"/>
                    <a:gd name="connsiteY58" fmla="*/ 3523 h 10000"/>
                    <a:gd name="connsiteX59" fmla="*/ 2489 w 10000"/>
                    <a:gd name="connsiteY59" fmla="*/ 3248 h 10000"/>
                    <a:gd name="connsiteX60" fmla="*/ 2804 w 10000"/>
                    <a:gd name="connsiteY60" fmla="*/ 3248 h 10000"/>
                    <a:gd name="connsiteX61" fmla="*/ 2958 w 10000"/>
                    <a:gd name="connsiteY61" fmla="*/ 3523 h 10000"/>
                    <a:gd name="connsiteX62" fmla="*/ 3580 w 10000"/>
                    <a:gd name="connsiteY62" fmla="*/ 3523 h 10000"/>
                    <a:gd name="connsiteX63" fmla="*/ 3733 w 10000"/>
                    <a:gd name="connsiteY63" fmla="*/ 2954 h 10000"/>
                    <a:gd name="connsiteX64" fmla="*/ 3273 w 10000"/>
                    <a:gd name="connsiteY64" fmla="*/ 2642 h 10000"/>
                    <a:gd name="connsiteX65" fmla="*/ 3580 w 10000"/>
                    <a:gd name="connsiteY65" fmla="*/ 2367 h 10000"/>
                    <a:gd name="connsiteX66" fmla="*/ 3427 w 10000"/>
                    <a:gd name="connsiteY66" fmla="*/ 2073 h 10000"/>
                    <a:gd name="connsiteX67" fmla="*/ 3580 w 10000"/>
                    <a:gd name="connsiteY67" fmla="*/ 1761 h 10000"/>
                    <a:gd name="connsiteX68" fmla="*/ 3580 w 10000"/>
                    <a:gd name="connsiteY68" fmla="*/ 881 h 10000"/>
                    <a:gd name="connsiteX69" fmla="*/ 3919 w 10000"/>
                    <a:gd name="connsiteY69" fmla="*/ 917 h 10000"/>
                    <a:gd name="connsiteX70" fmla="*/ 5024 w 10000"/>
                    <a:gd name="connsiteY70" fmla="*/ 284 h 10000"/>
                    <a:gd name="connsiteX71" fmla="*/ 5311 w 10000"/>
                    <a:gd name="connsiteY71" fmla="*/ 0 h 10000"/>
                    <a:gd name="connsiteX72" fmla="*/ 5464 w 10000"/>
                    <a:gd name="connsiteY72" fmla="*/ 0 h 10000"/>
                    <a:gd name="connsiteX73" fmla="*/ 5933 w 10000"/>
                    <a:gd name="connsiteY73" fmla="*/ 0 h 10000"/>
                    <a:gd name="connsiteX74" fmla="*/ 6096 w 10000"/>
                    <a:gd name="connsiteY74" fmla="*/ 606 h 10000"/>
                    <a:gd name="connsiteX75" fmla="*/ 6096 w 10000"/>
                    <a:gd name="connsiteY75" fmla="*/ 881 h 10000"/>
                    <a:gd name="connsiteX76" fmla="*/ 6249 w 10000"/>
                    <a:gd name="connsiteY76" fmla="*/ 881 h 10000"/>
                    <a:gd name="connsiteX77" fmla="*/ 6555 w 10000"/>
                    <a:gd name="connsiteY77" fmla="*/ 1193 h 10000"/>
                    <a:gd name="connsiteX78" fmla="*/ 6555 w 10000"/>
                    <a:gd name="connsiteY78" fmla="*/ 1486 h 10000"/>
                    <a:gd name="connsiteX79" fmla="*/ 6871 w 10000"/>
                    <a:gd name="connsiteY79" fmla="*/ 1486 h 10000"/>
                    <a:gd name="connsiteX80" fmla="*/ 7178 w 10000"/>
                    <a:gd name="connsiteY80" fmla="*/ 881 h 10000"/>
                    <a:gd name="connsiteX81" fmla="*/ 7493 w 10000"/>
                    <a:gd name="connsiteY81" fmla="*/ 606 h 10000"/>
                    <a:gd name="connsiteX82" fmla="*/ 7647 w 10000"/>
                    <a:gd name="connsiteY82" fmla="*/ 1486 h 10000"/>
                    <a:gd name="connsiteX83" fmla="*/ 8269 w 10000"/>
                    <a:gd name="connsiteY83" fmla="*/ 3523 h 10000"/>
                    <a:gd name="connsiteX84" fmla="*/ 8431 w 10000"/>
                    <a:gd name="connsiteY84" fmla="*/ 2954 h 10000"/>
                    <a:gd name="connsiteX85" fmla="*/ 8584 w 10000"/>
                    <a:gd name="connsiteY85" fmla="*/ 3523 h 10000"/>
                    <a:gd name="connsiteX86" fmla="*/ 9053 w 10000"/>
                    <a:gd name="connsiteY86" fmla="*/ 3248 h 10000"/>
                    <a:gd name="connsiteX87" fmla="*/ 9522 w 10000"/>
                    <a:gd name="connsiteY87" fmla="*/ 4128 h 10000"/>
                    <a:gd name="connsiteX88" fmla="*/ 9847 w 10000"/>
                    <a:gd name="connsiteY88" fmla="*/ 4404 h 10000"/>
                    <a:gd name="connsiteX89" fmla="*/ 9847 w 10000"/>
                    <a:gd name="connsiteY89" fmla="*/ 4128 h 10000"/>
                    <a:gd name="connsiteX90" fmla="*/ 10000 w 10000"/>
                    <a:gd name="connsiteY90" fmla="*/ 4716 h 10000"/>
                    <a:gd name="connsiteX91" fmla="*/ 9847 w 10000"/>
                    <a:gd name="connsiteY91"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269 w 10000"/>
                    <a:gd name="connsiteY7" fmla="*/ 735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929 w 10000"/>
                    <a:gd name="connsiteY36" fmla="*/ 7927 h 10000"/>
                    <a:gd name="connsiteX37" fmla="*/ 1244 w 10000"/>
                    <a:gd name="connsiteY37" fmla="*/ 7927 h 10000"/>
                    <a:gd name="connsiteX38" fmla="*/ 1091 w 10000"/>
                    <a:gd name="connsiteY38" fmla="*/ 7651 h 10000"/>
                    <a:gd name="connsiteX39" fmla="*/ 1244 w 10000"/>
                    <a:gd name="connsiteY39" fmla="*/ 7358 h 10000"/>
                    <a:gd name="connsiteX40" fmla="*/ 1867 w 10000"/>
                    <a:gd name="connsiteY40" fmla="*/ 7358 h 10000"/>
                    <a:gd name="connsiteX41" fmla="*/ 1713 w 10000"/>
                    <a:gd name="connsiteY41" fmla="*/ 6477 h 10000"/>
                    <a:gd name="connsiteX42" fmla="*/ 1398 w 10000"/>
                    <a:gd name="connsiteY42" fmla="*/ 6165 h 10000"/>
                    <a:gd name="connsiteX43" fmla="*/ 1091 w 10000"/>
                    <a:gd name="connsiteY43" fmla="*/ 5890 h 10000"/>
                    <a:gd name="connsiteX44" fmla="*/ 622 w 10000"/>
                    <a:gd name="connsiteY44" fmla="*/ 6477 h 10000"/>
                    <a:gd name="connsiteX45" fmla="*/ 469 w 10000"/>
                    <a:gd name="connsiteY45" fmla="*/ 6477 h 10000"/>
                    <a:gd name="connsiteX46" fmla="*/ 622 w 10000"/>
                    <a:gd name="connsiteY46" fmla="*/ 6165 h 10000"/>
                    <a:gd name="connsiteX47" fmla="*/ 469 w 10000"/>
                    <a:gd name="connsiteY47" fmla="*/ 5596 h 10000"/>
                    <a:gd name="connsiteX48" fmla="*/ 153 w 10000"/>
                    <a:gd name="connsiteY48" fmla="*/ 5596 h 10000"/>
                    <a:gd name="connsiteX49" fmla="*/ 0 w 10000"/>
                    <a:gd name="connsiteY49" fmla="*/ 5009 h 10000"/>
                    <a:gd name="connsiteX50" fmla="*/ 153 w 10000"/>
                    <a:gd name="connsiteY50" fmla="*/ 3523 h 10000"/>
                    <a:gd name="connsiteX51" fmla="*/ 469 w 10000"/>
                    <a:gd name="connsiteY51" fmla="*/ 4128 h 10000"/>
                    <a:gd name="connsiteX52" fmla="*/ 622 w 10000"/>
                    <a:gd name="connsiteY52" fmla="*/ 4128 h 10000"/>
                    <a:gd name="connsiteX53" fmla="*/ 469 w 10000"/>
                    <a:gd name="connsiteY53" fmla="*/ 3523 h 10000"/>
                    <a:gd name="connsiteX54" fmla="*/ 929 w 10000"/>
                    <a:gd name="connsiteY54" fmla="*/ 2642 h 10000"/>
                    <a:gd name="connsiteX55" fmla="*/ 1244 w 10000"/>
                    <a:gd name="connsiteY55" fmla="*/ 2954 h 10000"/>
                    <a:gd name="connsiteX56" fmla="*/ 1398 w 10000"/>
                    <a:gd name="connsiteY56" fmla="*/ 2642 h 10000"/>
                    <a:gd name="connsiteX57" fmla="*/ 1713 w 10000"/>
                    <a:gd name="connsiteY57" fmla="*/ 2954 h 10000"/>
                    <a:gd name="connsiteX58" fmla="*/ 2182 w 10000"/>
                    <a:gd name="connsiteY58" fmla="*/ 3523 h 10000"/>
                    <a:gd name="connsiteX59" fmla="*/ 2489 w 10000"/>
                    <a:gd name="connsiteY59" fmla="*/ 3248 h 10000"/>
                    <a:gd name="connsiteX60" fmla="*/ 2804 w 10000"/>
                    <a:gd name="connsiteY60" fmla="*/ 3248 h 10000"/>
                    <a:gd name="connsiteX61" fmla="*/ 2958 w 10000"/>
                    <a:gd name="connsiteY61" fmla="*/ 3523 h 10000"/>
                    <a:gd name="connsiteX62" fmla="*/ 3580 w 10000"/>
                    <a:gd name="connsiteY62" fmla="*/ 3523 h 10000"/>
                    <a:gd name="connsiteX63" fmla="*/ 3518 w 10000"/>
                    <a:gd name="connsiteY63" fmla="*/ 3138 h 10000"/>
                    <a:gd name="connsiteX64" fmla="*/ 3273 w 10000"/>
                    <a:gd name="connsiteY64" fmla="*/ 2642 h 10000"/>
                    <a:gd name="connsiteX65" fmla="*/ 3580 w 10000"/>
                    <a:gd name="connsiteY65" fmla="*/ 2367 h 10000"/>
                    <a:gd name="connsiteX66" fmla="*/ 3427 w 10000"/>
                    <a:gd name="connsiteY66" fmla="*/ 2073 h 10000"/>
                    <a:gd name="connsiteX67" fmla="*/ 3580 w 10000"/>
                    <a:gd name="connsiteY67" fmla="*/ 1761 h 10000"/>
                    <a:gd name="connsiteX68" fmla="*/ 3580 w 10000"/>
                    <a:gd name="connsiteY68" fmla="*/ 881 h 10000"/>
                    <a:gd name="connsiteX69" fmla="*/ 3919 w 10000"/>
                    <a:gd name="connsiteY69" fmla="*/ 917 h 10000"/>
                    <a:gd name="connsiteX70" fmla="*/ 5024 w 10000"/>
                    <a:gd name="connsiteY70" fmla="*/ 284 h 10000"/>
                    <a:gd name="connsiteX71" fmla="*/ 5311 w 10000"/>
                    <a:gd name="connsiteY71" fmla="*/ 0 h 10000"/>
                    <a:gd name="connsiteX72" fmla="*/ 5464 w 10000"/>
                    <a:gd name="connsiteY72" fmla="*/ 0 h 10000"/>
                    <a:gd name="connsiteX73" fmla="*/ 5933 w 10000"/>
                    <a:gd name="connsiteY73" fmla="*/ 0 h 10000"/>
                    <a:gd name="connsiteX74" fmla="*/ 6096 w 10000"/>
                    <a:gd name="connsiteY74" fmla="*/ 606 h 10000"/>
                    <a:gd name="connsiteX75" fmla="*/ 6096 w 10000"/>
                    <a:gd name="connsiteY75" fmla="*/ 881 h 10000"/>
                    <a:gd name="connsiteX76" fmla="*/ 6249 w 10000"/>
                    <a:gd name="connsiteY76" fmla="*/ 881 h 10000"/>
                    <a:gd name="connsiteX77" fmla="*/ 6555 w 10000"/>
                    <a:gd name="connsiteY77" fmla="*/ 1193 h 10000"/>
                    <a:gd name="connsiteX78" fmla="*/ 6555 w 10000"/>
                    <a:gd name="connsiteY78" fmla="*/ 1486 h 10000"/>
                    <a:gd name="connsiteX79" fmla="*/ 6871 w 10000"/>
                    <a:gd name="connsiteY79" fmla="*/ 1486 h 10000"/>
                    <a:gd name="connsiteX80" fmla="*/ 7178 w 10000"/>
                    <a:gd name="connsiteY80" fmla="*/ 881 h 10000"/>
                    <a:gd name="connsiteX81" fmla="*/ 7493 w 10000"/>
                    <a:gd name="connsiteY81" fmla="*/ 606 h 10000"/>
                    <a:gd name="connsiteX82" fmla="*/ 7647 w 10000"/>
                    <a:gd name="connsiteY82" fmla="*/ 1486 h 10000"/>
                    <a:gd name="connsiteX83" fmla="*/ 8269 w 10000"/>
                    <a:gd name="connsiteY83" fmla="*/ 3523 h 10000"/>
                    <a:gd name="connsiteX84" fmla="*/ 8431 w 10000"/>
                    <a:gd name="connsiteY84" fmla="*/ 2954 h 10000"/>
                    <a:gd name="connsiteX85" fmla="*/ 8584 w 10000"/>
                    <a:gd name="connsiteY85" fmla="*/ 3523 h 10000"/>
                    <a:gd name="connsiteX86" fmla="*/ 9053 w 10000"/>
                    <a:gd name="connsiteY86" fmla="*/ 3248 h 10000"/>
                    <a:gd name="connsiteX87" fmla="*/ 9522 w 10000"/>
                    <a:gd name="connsiteY87" fmla="*/ 4128 h 10000"/>
                    <a:gd name="connsiteX88" fmla="*/ 9847 w 10000"/>
                    <a:gd name="connsiteY88" fmla="*/ 4404 h 10000"/>
                    <a:gd name="connsiteX89" fmla="*/ 9847 w 10000"/>
                    <a:gd name="connsiteY89" fmla="*/ 4128 h 10000"/>
                    <a:gd name="connsiteX90" fmla="*/ 10000 w 10000"/>
                    <a:gd name="connsiteY90" fmla="*/ 4716 h 10000"/>
                    <a:gd name="connsiteX91" fmla="*/ 9847 w 10000"/>
                    <a:gd name="connsiteY91"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269 w 10000"/>
                    <a:gd name="connsiteY7" fmla="*/ 735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929 w 10000"/>
                    <a:gd name="connsiteY36" fmla="*/ 7927 h 10000"/>
                    <a:gd name="connsiteX37" fmla="*/ 1244 w 10000"/>
                    <a:gd name="connsiteY37" fmla="*/ 7927 h 10000"/>
                    <a:gd name="connsiteX38" fmla="*/ 1091 w 10000"/>
                    <a:gd name="connsiteY38" fmla="*/ 7651 h 10000"/>
                    <a:gd name="connsiteX39" fmla="*/ 1244 w 10000"/>
                    <a:gd name="connsiteY39" fmla="*/ 7358 h 10000"/>
                    <a:gd name="connsiteX40" fmla="*/ 1867 w 10000"/>
                    <a:gd name="connsiteY40" fmla="*/ 7358 h 10000"/>
                    <a:gd name="connsiteX41" fmla="*/ 1713 w 10000"/>
                    <a:gd name="connsiteY41" fmla="*/ 6477 h 10000"/>
                    <a:gd name="connsiteX42" fmla="*/ 1398 w 10000"/>
                    <a:gd name="connsiteY42" fmla="*/ 6165 h 10000"/>
                    <a:gd name="connsiteX43" fmla="*/ 1091 w 10000"/>
                    <a:gd name="connsiteY43" fmla="*/ 5890 h 10000"/>
                    <a:gd name="connsiteX44" fmla="*/ 622 w 10000"/>
                    <a:gd name="connsiteY44" fmla="*/ 6477 h 10000"/>
                    <a:gd name="connsiteX45" fmla="*/ 469 w 10000"/>
                    <a:gd name="connsiteY45" fmla="*/ 6477 h 10000"/>
                    <a:gd name="connsiteX46" fmla="*/ 622 w 10000"/>
                    <a:gd name="connsiteY46" fmla="*/ 6165 h 10000"/>
                    <a:gd name="connsiteX47" fmla="*/ 469 w 10000"/>
                    <a:gd name="connsiteY47" fmla="*/ 5596 h 10000"/>
                    <a:gd name="connsiteX48" fmla="*/ 153 w 10000"/>
                    <a:gd name="connsiteY48" fmla="*/ 5596 h 10000"/>
                    <a:gd name="connsiteX49" fmla="*/ 0 w 10000"/>
                    <a:gd name="connsiteY49" fmla="*/ 5009 h 10000"/>
                    <a:gd name="connsiteX50" fmla="*/ 153 w 10000"/>
                    <a:gd name="connsiteY50" fmla="*/ 3523 h 10000"/>
                    <a:gd name="connsiteX51" fmla="*/ 469 w 10000"/>
                    <a:gd name="connsiteY51" fmla="*/ 4128 h 10000"/>
                    <a:gd name="connsiteX52" fmla="*/ 622 w 10000"/>
                    <a:gd name="connsiteY52" fmla="*/ 4128 h 10000"/>
                    <a:gd name="connsiteX53" fmla="*/ 469 w 10000"/>
                    <a:gd name="connsiteY53" fmla="*/ 3523 h 10000"/>
                    <a:gd name="connsiteX54" fmla="*/ 929 w 10000"/>
                    <a:gd name="connsiteY54" fmla="*/ 2642 h 10000"/>
                    <a:gd name="connsiteX55" fmla="*/ 1244 w 10000"/>
                    <a:gd name="connsiteY55" fmla="*/ 2954 h 10000"/>
                    <a:gd name="connsiteX56" fmla="*/ 1398 w 10000"/>
                    <a:gd name="connsiteY56" fmla="*/ 2642 h 10000"/>
                    <a:gd name="connsiteX57" fmla="*/ 1713 w 10000"/>
                    <a:gd name="connsiteY57" fmla="*/ 2954 h 10000"/>
                    <a:gd name="connsiteX58" fmla="*/ 2182 w 10000"/>
                    <a:gd name="connsiteY58" fmla="*/ 3523 h 10000"/>
                    <a:gd name="connsiteX59" fmla="*/ 2489 w 10000"/>
                    <a:gd name="connsiteY59" fmla="*/ 3248 h 10000"/>
                    <a:gd name="connsiteX60" fmla="*/ 2804 w 10000"/>
                    <a:gd name="connsiteY60" fmla="*/ 3248 h 10000"/>
                    <a:gd name="connsiteX61" fmla="*/ 2958 w 10000"/>
                    <a:gd name="connsiteY61" fmla="*/ 3523 h 10000"/>
                    <a:gd name="connsiteX62" fmla="*/ 3580 w 10000"/>
                    <a:gd name="connsiteY62" fmla="*/ 3523 h 10000"/>
                    <a:gd name="connsiteX63" fmla="*/ 3518 w 10000"/>
                    <a:gd name="connsiteY63" fmla="*/ 3138 h 10000"/>
                    <a:gd name="connsiteX64" fmla="*/ 3273 w 10000"/>
                    <a:gd name="connsiteY64" fmla="*/ 2642 h 10000"/>
                    <a:gd name="connsiteX65" fmla="*/ 3580 w 10000"/>
                    <a:gd name="connsiteY65" fmla="*/ 2367 h 10000"/>
                    <a:gd name="connsiteX66" fmla="*/ 3427 w 10000"/>
                    <a:gd name="connsiteY66" fmla="*/ 2073 h 10000"/>
                    <a:gd name="connsiteX67" fmla="*/ 3580 w 10000"/>
                    <a:gd name="connsiteY67" fmla="*/ 1761 h 10000"/>
                    <a:gd name="connsiteX68" fmla="*/ 3580 w 10000"/>
                    <a:gd name="connsiteY68" fmla="*/ 881 h 10000"/>
                    <a:gd name="connsiteX69" fmla="*/ 3919 w 10000"/>
                    <a:gd name="connsiteY69" fmla="*/ 917 h 10000"/>
                    <a:gd name="connsiteX70" fmla="*/ 5024 w 10000"/>
                    <a:gd name="connsiteY70" fmla="*/ 284 h 10000"/>
                    <a:gd name="connsiteX71" fmla="*/ 5311 w 10000"/>
                    <a:gd name="connsiteY71" fmla="*/ 0 h 10000"/>
                    <a:gd name="connsiteX72" fmla="*/ 5464 w 10000"/>
                    <a:gd name="connsiteY72" fmla="*/ 0 h 10000"/>
                    <a:gd name="connsiteX73" fmla="*/ 5933 w 10000"/>
                    <a:gd name="connsiteY73" fmla="*/ 0 h 10000"/>
                    <a:gd name="connsiteX74" fmla="*/ 6096 w 10000"/>
                    <a:gd name="connsiteY74" fmla="*/ 606 h 10000"/>
                    <a:gd name="connsiteX75" fmla="*/ 6096 w 10000"/>
                    <a:gd name="connsiteY75" fmla="*/ 881 h 10000"/>
                    <a:gd name="connsiteX76" fmla="*/ 6249 w 10000"/>
                    <a:gd name="connsiteY76" fmla="*/ 881 h 10000"/>
                    <a:gd name="connsiteX77" fmla="*/ 6555 w 10000"/>
                    <a:gd name="connsiteY77" fmla="*/ 1193 h 10000"/>
                    <a:gd name="connsiteX78" fmla="*/ 6770 w 10000"/>
                    <a:gd name="connsiteY78" fmla="*/ 935 h 10000"/>
                    <a:gd name="connsiteX79" fmla="*/ 6871 w 10000"/>
                    <a:gd name="connsiteY79" fmla="*/ 1486 h 10000"/>
                    <a:gd name="connsiteX80" fmla="*/ 7178 w 10000"/>
                    <a:gd name="connsiteY80" fmla="*/ 881 h 10000"/>
                    <a:gd name="connsiteX81" fmla="*/ 7493 w 10000"/>
                    <a:gd name="connsiteY81" fmla="*/ 606 h 10000"/>
                    <a:gd name="connsiteX82" fmla="*/ 7647 w 10000"/>
                    <a:gd name="connsiteY82" fmla="*/ 1486 h 10000"/>
                    <a:gd name="connsiteX83" fmla="*/ 8269 w 10000"/>
                    <a:gd name="connsiteY83" fmla="*/ 3523 h 10000"/>
                    <a:gd name="connsiteX84" fmla="*/ 8431 w 10000"/>
                    <a:gd name="connsiteY84" fmla="*/ 2954 h 10000"/>
                    <a:gd name="connsiteX85" fmla="*/ 8584 w 10000"/>
                    <a:gd name="connsiteY85" fmla="*/ 3523 h 10000"/>
                    <a:gd name="connsiteX86" fmla="*/ 9053 w 10000"/>
                    <a:gd name="connsiteY86" fmla="*/ 3248 h 10000"/>
                    <a:gd name="connsiteX87" fmla="*/ 9522 w 10000"/>
                    <a:gd name="connsiteY87" fmla="*/ 4128 h 10000"/>
                    <a:gd name="connsiteX88" fmla="*/ 9847 w 10000"/>
                    <a:gd name="connsiteY88" fmla="*/ 4404 h 10000"/>
                    <a:gd name="connsiteX89" fmla="*/ 9847 w 10000"/>
                    <a:gd name="connsiteY89" fmla="*/ 4128 h 10000"/>
                    <a:gd name="connsiteX90" fmla="*/ 10000 w 10000"/>
                    <a:gd name="connsiteY90" fmla="*/ 4716 h 10000"/>
                    <a:gd name="connsiteX91" fmla="*/ 9847 w 10000"/>
                    <a:gd name="connsiteY91"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269 w 10000"/>
                    <a:gd name="connsiteY7" fmla="*/ 735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929 w 10000"/>
                    <a:gd name="connsiteY36" fmla="*/ 7927 h 10000"/>
                    <a:gd name="connsiteX37" fmla="*/ 1244 w 10000"/>
                    <a:gd name="connsiteY37" fmla="*/ 7927 h 10000"/>
                    <a:gd name="connsiteX38" fmla="*/ 1091 w 10000"/>
                    <a:gd name="connsiteY38" fmla="*/ 7651 h 10000"/>
                    <a:gd name="connsiteX39" fmla="*/ 1244 w 10000"/>
                    <a:gd name="connsiteY39" fmla="*/ 7358 h 10000"/>
                    <a:gd name="connsiteX40" fmla="*/ 1867 w 10000"/>
                    <a:gd name="connsiteY40" fmla="*/ 7358 h 10000"/>
                    <a:gd name="connsiteX41" fmla="*/ 1713 w 10000"/>
                    <a:gd name="connsiteY41" fmla="*/ 6477 h 10000"/>
                    <a:gd name="connsiteX42" fmla="*/ 1398 w 10000"/>
                    <a:gd name="connsiteY42" fmla="*/ 6165 h 10000"/>
                    <a:gd name="connsiteX43" fmla="*/ 1091 w 10000"/>
                    <a:gd name="connsiteY43" fmla="*/ 5890 h 10000"/>
                    <a:gd name="connsiteX44" fmla="*/ 622 w 10000"/>
                    <a:gd name="connsiteY44" fmla="*/ 6477 h 10000"/>
                    <a:gd name="connsiteX45" fmla="*/ 469 w 10000"/>
                    <a:gd name="connsiteY45" fmla="*/ 6477 h 10000"/>
                    <a:gd name="connsiteX46" fmla="*/ 622 w 10000"/>
                    <a:gd name="connsiteY46" fmla="*/ 6165 h 10000"/>
                    <a:gd name="connsiteX47" fmla="*/ 469 w 10000"/>
                    <a:gd name="connsiteY47" fmla="*/ 5596 h 10000"/>
                    <a:gd name="connsiteX48" fmla="*/ 153 w 10000"/>
                    <a:gd name="connsiteY48" fmla="*/ 5596 h 10000"/>
                    <a:gd name="connsiteX49" fmla="*/ 0 w 10000"/>
                    <a:gd name="connsiteY49" fmla="*/ 5009 h 10000"/>
                    <a:gd name="connsiteX50" fmla="*/ 153 w 10000"/>
                    <a:gd name="connsiteY50" fmla="*/ 3523 h 10000"/>
                    <a:gd name="connsiteX51" fmla="*/ 469 w 10000"/>
                    <a:gd name="connsiteY51" fmla="*/ 4128 h 10000"/>
                    <a:gd name="connsiteX52" fmla="*/ 622 w 10000"/>
                    <a:gd name="connsiteY52" fmla="*/ 4128 h 10000"/>
                    <a:gd name="connsiteX53" fmla="*/ 469 w 10000"/>
                    <a:gd name="connsiteY53" fmla="*/ 3523 h 10000"/>
                    <a:gd name="connsiteX54" fmla="*/ 929 w 10000"/>
                    <a:gd name="connsiteY54" fmla="*/ 2642 h 10000"/>
                    <a:gd name="connsiteX55" fmla="*/ 1244 w 10000"/>
                    <a:gd name="connsiteY55" fmla="*/ 2954 h 10000"/>
                    <a:gd name="connsiteX56" fmla="*/ 1398 w 10000"/>
                    <a:gd name="connsiteY56" fmla="*/ 2642 h 10000"/>
                    <a:gd name="connsiteX57" fmla="*/ 1713 w 10000"/>
                    <a:gd name="connsiteY57" fmla="*/ 2954 h 10000"/>
                    <a:gd name="connsiteX58" fmla="*/ 2182 w 10000"/>
                    <a:gd name="connsiteY58" fmla="*/ 3523 h 10000"/>
                    <a:gd name="connsiteX59" fmla="*/ 2489 w 10000"/>
                    <a:gd name="connsiteY59" fmla="*/ 3248 h 10000"/>
                    <a:gd name="connsiteX60" fmla="*/ 2804 w 10000"/>
                    <a:gd name="connsiteY60" fmla="*/ 3248 h 10000"/>
                    <a:gd name="connsiteX61" fmla="*/ 2958 w 10000"/>
                    <a:gd name="connsiteY61" fmla="*/ 3523 h 10000"/>
                    <a:gd name="connsiteX62" fmla="*/ 3580 w 10000"/>
                    <a:gd name="connsiteY62" fmla="*/ 3523 h 10000"/>
                    <a:gd name="connsiteX63" fmla="*/ 3518 w 10000"/>
                    <a:gd name="connsiteY63" fmla="*/ 3138 h 10000"/>
                    <a:gd name="connsiteX64" fmla="*/ 3273 w 10000"/>
                    <a:gd name="connsiteY64" fmla="*/ 2642 h 10000"/>
                    <a:gd name="connsiteX65" fmla="*/ 3580 w 10000"/>
                    <a:gd name="connsiteY65" fmla="*/ 2367 h 10000"/>
                    <a:gd name="connsiteX66" fmla="*/ 3427 w 10000"/>
                    <a:gd name="connsiteY66" fmla="*/ 2073 h 10000"/>
                    <a:gd name="connsiteX67" fmla="*/ 3580 w 10000"/>
                    <a:gd name="connsiteY67" fmla="*/ 1761 h 10000"/>
                    <a:gd name="connsiteX68" fmla="*/ 3580 w 10000"/>
                    <a:gd name="connsiteY68" fmla="*/ 881 h 10000"/>
                    <a:gd name="connsiteX69" fmla="*/ 3919 w 10000"/>
                    <a:gd name="connsiteY69" fmla="*/ 917 h 10000"/>
                    <a:gd name="connsiteX70" fmla="*/ 5024 w 10000"/>
                    <a:gd name="connsiteY70" fmla="*/ 284 h 10000"/>
                    <a:gd name="connsiteX71" fmla="*/ 5311 w 10000"/>
                    <a:gd name="connsiteY71" fmla="*/ 0 h 10000"/>
                    <a:gd name="connsiteX72" fmla="*/ 5464 w 10000"/>
                    <a:gd name="connsiteY72" fmla="*/ 0 h 10000"/>
                    <a:gd name="connsiteX73" fmla="*/ 5933 w 10000"/>
                    <a:gd name="connsiteY73" fmla="*/ 0 h 10000"/>
                    <a:gd name="connsiteX74" fmla="*/ 6096 w 10000"/>
                    <a:gd name="connsiteY74" fmla="*/ 606 h 10000"/>
                    <a:gd name="connsiteX75" fmla="*/ 6096 w 10000"/>
                    <a:gd name="connsiteY75" fmla="*/ 881 h 10000"/>
                    <a:gd name="connsiteX76" fmla="*/ 6249 w 10000"/>
                    <a:gd name="connsiteY76" fmla="*/ 881 h 10000"/>
                    <a:gd name="connsiteX77" fmla="*/ 6555 w 10000"/>
                    <a:gd name="connsiteY77" fmla="*/ 1193 h 10000"/>
                    <a:gd name="connsiteX78" fmla="*/ 6770 w 10000"/>
                    <a:gd name="connsiteY78" fmla="*/ 935 h 10000"/>
                    <a:gd name="connsiteX79" fmla="*/ 6919 w 10000"/>
                    <a:gd name="connsiteY79" fmla="*/ 981 h 10000"/>
                    <a:gd name="connsiteX80" fmla="*/ 7178 w 10000"/>
                    <a:gd name="connsiteY80" fmla="*/ 881 h 10000"/>
                    <a:gd name="connsiteX81" fmla="*/ 7493 w 10000"/>
                    <a:gd name="connsiteY81" fmla="*/ 606 h 10000"/>
                    <a:gd name="connsiteX82" fmla="*/ 7647 w 10000"/>
                    <a:gd name="connsiteY82" fmla="*/ 1486 h 10000"/>
                    <a:gd name="connsiteX83" fmla="*/ 8269 w 10000"/>
                    <a:gd name="connsiteY83" fmla="*/ 3523 h 10000"/>
                    <a:gd name="connsiteX84" fmla="*/ 8431 w 10000"/>
                    <a:gd name="connsiteY84" fmla="*/ 2954 h 10000"/>
                    <a:gd name="connsiteX85" fmla="*/ 8584 w 10000"/>
                    <a:gd name="connsiteY85" fmla="*/ 3523 h 10000"/>
                    <a:gd name="connsiteX86" fmla="*/ 9053 w 10000"/>
                    <a:gd name="connsiteY86" fmla="*/ 3248 h 10000"/>
                    <a:gd name="connsiteX87" fmla="*/ 9522 w 10000"/>
                    <a:gd name="connsiteY87" fmla="*/ 4128 h 10000"/>
                    <a:gd name="connsiteX88" fmla="*/ 9847 w 10000"/>
                    <a:gd name="connsiteY88" fmla="*/ 4404 h 10000"/>
                    <a:gd name="connsiteX89" fmla="*/ 9847 w 10000"/>
                    <a:gd name="connsiteY89" fmla="*/ 4128 h 10000"/>
                    <a:gd name="connsiteX90" fmla="*/ 10000 w 10000"/>
                    <a:gd name="connsiteY90" fmla="*/ 4716 h 10000"/>
                    <a:gd name="connsiteX91" fmla="*/ 9847 w 10000"/>
                    <a:gd name="connsiteY91"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269 w 10000"/>
                    <a:gd name="connsiteY7" fmla="*/ 735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929 w 10000"/>
                    <a:gd name="connsiteY36" fmla="*/ 7927 h 10000"/>
                    <a:gd name="connsiteX37" fmla="*/ 1244 w 10000"/>
                    <a:gd name="connsiteY37" fmla="*/ 7927 h 10000"/>
                    <a:gd name="connsiteX38" fmla="*/ 1091 w 10000"/>
                    <a:gd name="connsiteY38" fmla="*/ 7651 h 10000"/>
                    <a:gd name="connsiteX39" fmla="*/ 1244 w 10000"/>
                    <a:gd name="connsiteY39" fmla="*/ 7358 h 10000"/>
                    <a:gd name="connsiteX40" fmla="*/ 1867 w 10000"/>
                    <a:gd name="connsiteY40" fmla="*/ 7358 h 10000"/>
                    <a:gd name="connsiteX41" fmla="*/ 1713 w 10000"/>
                    <a:gd name="connsiteY41" fmla="*/ 6477 h 10000"/>
                    <a:gd name="connsiteX42" fmla="*/ 1398 w 10000"/>
                    <a:gd name="connsiteY42" fmla="*/ 6165 h 10000"/>
                    <a:gd name="connsiteX43" fmla="*/ 1091 w 10000"/>
                    <a:gd name="connsiteY43" fmla="*/ 5890 h 10000"/>
                    <a:gd name="connsiteX44" fmla="*/ 622 w 10000"/>
                    <a:gd name="connsiteY44" fmla="*/ 6477 h 10000"/>
                    <a:gd name="connsiteX45" fmla="*/ 469 w 10000"/>
                    <a:gd name="connsiteY45" fmla="*/ 6477 h 10000"/>
                    <a:gd name="connsiteX46" fmla="*/ 622 w 10000"/>
                    <a:gd name="connsiteY46" fmla="*/ 6165 h 10000"/>
                    <a:gd name="connsiteX47" fmla="*/ 469 w 10000"/>
                    <a:gd name="connsiteY47" fmla="*/ 5596 h 10000"/>
                    <a:gd name="connsiteX48" fmla="*/ 153 w 10000"/>
                    <a:gd name="connsiteY48" fmla="*/ 5596 h 10000"/>
                    <a:gd name="connsiteX49" fmla="*/ 0 w 10000"/>
                    <a:gd name="connsiteY49" fmla="*/ 5009 h 10000"/>
                    <a:gd name="connsiteX50" fmla="*/ 153 w 10000"/>
                    <a:gd name="connsiteY50" fmla="*/ 3523 h 10000"/>
                    <a:gd name="connsiteX51" fmla="*/ 373 w 10000"/>
                    <a:gd name="connsiteY51" fmla="*/ 3990 h 10000"/>
                    <a:gd name="connsiteX52" fmla="*/ 622 w 10000"/>
                    <a:gd name="connsiteY52" fmla="*/ 4128 h 10000"/>
                    <a:gd name="connsiteX53" fmla="*/ 469 w 10000"/>
                    <a:gd name="connsiteY53" fmla="*/ 3523 h 10000"/>
                    <a:gd name="connsiteX54" fmla="*/ 929 w 10000"/>
                    <a:gd name="connsiteY54" fmla="*/ 2642 h 10000"/>
                    <a:gd name="connsiteX55" fmla="*/ 1244 w 10000"/>
                    <a:gd name="connsiteY55" fmla="*/ 2954 h 10000"/>
                    <a:gd name="connsiteX56" fmla="*/ 1398 w 10000"/>
                    <a:gd name="connsiteY56" fmla="*/ 2642 h 10000"/>
                    <a:gd name="connsiteX57" fmla="*/ 1713 w 10000"/>
                    <a:gd name="connsiteY57" fmla="*/ 2954 h 10000"/>
                    <a:gd name="connsiteX58" fmla="*/ 2182 w 10000"/>
                    <a:gd name="connsiteY58" fmla="*/ 3523 h 10000"/>
                    <a:gd name="connsiteX59" fmla="*/ 2489 w 10000"/>
                    <a:gd name="connsiteY59" fmla="*/ 3248 h 10000"/>
                    <a:gd name="connsiteX60" fmla="*/ 2804 w 10000"/>
                    <a:gd name="connsiteY60" fmla="*/ 3248 h 10000"/>
                    <a:gd name="connsiteX61" fmla="*/ 2958 w 10000"/>
                    <a:gd name="connsiteY61" fmla="*/ 3523 h 10000"/>
                    <a:gd name="connsiteX62" fmla="*/ 3580 w 10000"/>
                    <a:gd name="connsiteY62" fmla="*/ 3523 h 10000"/>
                    <a:gd name="connsiteX63" fmla="*/ 3518 w 10000"/>
                    <a:gd name="connsiteY63" fmla="*/ 3138 h 10000"/>
                    <a:gd name="connsiteX64" fmla="*/ 3273 w 10000"/>
                    <a:gd name="connsiteY64" fmla="*/ 2642 h 10000"/>
                    <a:gd name="connsiteX65" fmla="*/ 3580 w 10000"/>
                    <a:gd name="connsiteY65" fmla="*/ 2367 h 10000"/>
                    <a:gd name="connsiteX66" fmla="*/ 3427 w 10000"/>
                    <a:gd name="connsiteY66" fmla="*/ 2073 h 10000"/>
                    <a:gd name="connsiteX67" fmla="*/ 3580 w 10000"/>
                    <a:gd name="connsiteY67" fmla="*/ 1761 h 10000"/>
                    <a:gd name="connsiteX68" fmla="*/ 3580 w 10000"/>
                    <a:gd name="connsiteY68" fmla="*/ 881 h 10000"/>
                    <a:gd name="connsiteX69" fmla="*/ 3919 w 10000"/>
                    <a:gd name="connsiteY69" fmla="*/ 917 h 10000"/>
                    <a:gd name="connsiteX70" fmla="*/ 5024 w 10000"/>
                    <a:gd name="connsiteY70" fmla="*/ 284 h 10000"/>
                    <a:gd name="connsiteX71" fmla="*/ 5311 w 10000"/>
                    <a:gd name="connsiteY71" fmla="*/ 0 h 10000"/>
                    <a:gd name="connsiteX72" fmla="*/ 5464 w 10000"/>
                    <a:gd name="connsiteY72" fmla="*/ 0 h 10000"/>
                    <a:gd name="connsiteX73" fmla="*/ 5933 w 10000"/>
                    <a:gd name="connsiteY73" fmla="*/ 0 h 10000"/>
                    <a:gd name="connsiteX74" fmla="*/ 6096 w 10000"/>
                    <a:gd name="connsiteY74" fmla="*/ 606 h 10000"/>
                    <a:gd name="connsiteX75" fmla="*/ 6096 w 10000"/>
                    <a:gd name="connsiteY75" fmla="*/ 881 h 10000"/>
                    <a:gd name="connsiteX76" fmla="*/ 6249 w 10000"/>
                    <a:gd name="connsiteY76" fmla="*/ 881 h 10000"/>
                    <a:gd name="connsiteX77" fmla="*/ 6555 w 10000"/>
                    <a:gd name="connsiteY77" fmla="*/ 1193 h 10000"/>
                    <a:gd name="connsiteX78" fmla="*/ 6770 w 10000"/>
                    <a:gd name="connsiteY78" fmla="*/ 935 h 10000"/>
                    <a:gd name="connsiteX79" fmla="*/ 6919 w 10000"/>
                    <a:gd name="connsiteY79" fmla="*/ 981 h 10000"/>
                    <a:gd name="connsiteX80" fmla="*/ 7178 w 10000"/>
                    <a:gd name="connsiteY80" fmla="*/ 881 h 10000"/>
                    <a:gd name="connsiteX81" fmla="*/ 7493 w 10000"/>
                    <a:gd name="connsiteY81" fmla="*/ 606 h 10000"/>
                    <a:gd name="connsiteX82" fmla="*/ 7647 w 10000"/>
                    <a:gd name="connsiteY82" fmla="*/ 1486 h 10000"/>
                    <a:gd name="connsiteX83" fmla="*/ 8269 w 10000"/>
                    <a:gd name="connsiteY83" fmla="*/ 3523 h 10000"/>
                    <a:gd name="connsiteX84" fmla="*/ 8431 w 10000"/>
                    <a:gd name="connsiteY84" fmla="*/ 2954 h 10000"/>
                    <a:gd name="connsiteX85" fmla="*/ 8584 w 10000"/>
                    <a:gd name="connsiteY85" fmla="*/ 3523 h 10000"/>
                    <a:gd name="connsiteX86" fmla="*/ 9053 w 10000"/>
                    <a:gd name="connsiteY86" fmla="*/ 3248 h 10000"/>
                    <a:gd name="connsiteX87" fmla="*/ 9522 w 10000"/>
                    <a:gd name="connsiteY87" fmla="*/ 4128 h 10000"/>
                    <a:gd name="connsiteX88" fmla="*/ 9847 w 10000"/>
                    <a:gd name="connsiteY88" fmla="*/ 4404 h 10000"/>
                    <a:gd name="connsiteX89" fmla="*/ 9847 w 10000"/>
                    <a:gd name="connsiteY89" fmla="*/ 4128 h 10000"/>
                    <a:gd name="connsiteX90" fmla="*/ 10000 w 10000"/>
                    <a:gd name="connsiteY90" fmla="*/ 4716 h 10000"/>
                    <a:gd name="connsiteX91" fmla="*/ 9847 w 10000"/>
                    <a:gd name="connsiteY91"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269 w 10000"/>
                    <a:gd name="connsiteY7" fmla="*/ 735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929 w 10000"/>
                    <a:gd name="connsiteY36" fmla="*/ 7927 h 10000"/>
                    <a:gd name="connsiteX37" fmla="*/ 1244 w 10000"/>
                    <a:gd name="connsiteY37" fmla="*/ 7927 h 10000"/>
                    <a:gd name="connsiteX38" fmla="*/ 1091 w 10000"/>
                    <a:gd name="connsiteY38" fmla="*/ 7651 h 10000"/>
                    <a:gd name="connsiteX39" fmla="*/ 1244 w 10000"/>
                    <a:gd name="connsiteY39" fmla="*/ 7358 h 10000"/>
                    <a:gd name="connsiteX40" fmla="*/ 1867 w 10000"/>
                    <a:gd name="connsiteY40" fmla="*/ 7358 h 10000"/>
                    <a:gd name="connsiteX41" fmla="*/ 1713 w 10000"/>
                    <a:gd name="connsiteY41" fmla="*/ 6477 h 10000"/>
                    <a:gd name="connsiteX42" fmla="*/ 1398 w 10000"/>
                    <a:gd name="connsiteY42" fmla="*/ 6165 h 10000"/>
                    <a:gd name="connsiteX43" fmla="*/ 1091 w 10000"/>
                    <a:gd name="connsiteY43" fmla="*/ 5890 h 10000"/>
                    <a:gd name="connsiteX44" fmla="*/ 622 w 10000"/>
                    <a:gd name="connsiteY44" fmla="*/ 6477 h 10000"/>
                    <a:gd name="connsiteX45" fmla="*/ 469 w 10000"/>
                    <a:gd name="connsiteY45" fmla="*/ 6477 h 10000"/>
                    <a:gd name="connsiteX46" fmla="*/ 622 w 10000"/>
                    <a:gd name="connsiteY46" fmla="*/ 6165 h 10000"/>
                    <a:gd name="connsiteX47" fmla="*/ 469 w 10000"/>
                    <a:gd name="connsiteY47" fmla="*/ 5596 h 10000"/>
                    <a:gd name="connsiteX48" fmla="*/ 153 w 10000"/>
                    <a:gd name="connsiteY48" fmla="*/ 5596 h 10000"/>
                    <a:gd name="connsiteX49" fmla="*/ 0 w 10000"/>
                    <a:gd name="connsiteY49" fmla="*/ 5009 h 10000"/>
                    <a:gd name="connsiteX50" fmla="*/ 153 w 10000"/>
                    <a:gd name="connsiteY50" fmla="*/ 3523 h 10000"/>
                    <a:gd name="connsiteX51" fmla="*/ 373 w 10000"/>
                    <a:gd name="connsiteY51" fmla="*/ 3990 h 10000"/>
                    <a:gd name="connsiteX52" fmla="*/ 503 w 10000"/>
                    <a:gd name="connsiteY52" fmla="*/ 3807 h 10000"/>
                    <a:gd name="connsiteX53" fmla="*/ 469 w 10000"/>
                    <a:gd name="connsiteY53" fmla="*/ 3523 h 10000"/>
                    <a:gd name="connsiteX54" fmla="*/ 929 w 10000"/>
                    <a:gd name="connsiteY54" fmla="*/ 2642 h 10000"/>
                    <a:gd name="connsiteX55" fmla="*/ 1244 w 10000"/>
                    <a:gd name="connsiteY55" fmla="*/ 2954 h 10000"/>
                    <a:gd name="connsiteX56" fmla="*/ 1398 w 10000"/>
                    <a:gd name="connsiteY56" fmla="*/ 2642 h 10000"/>
                    <a:gd name="connsiteX57" fmla="*/ 1713 w 10000"/>
                    <a:gd name="connsiteY57" fmla="*/ 2954 h 10000"/>
                    <a:gd name="connsiteX58" fmla="*/ 2182 w 10000"/>
                    <a:gd name="connsiteY58" fmla="*/ 3523 h 10000"/>
                    <a:gd name="connsiteX59" fmla="*/ 2489 w 10000"/>
                    <a:gd name="connsiteY59" fmla="*/ 3248 h 10000"/>
                    <a:gd name="connsiteX60" fmla="*/ 2804 w 10000"/>
                    <a:gd name="connsiteY60" fmla="*/ 3248 h 10000"/>
                    <a:gd name="connsiteX61" fmla="*/ 2958 w 10000"/>
                    <a:gd name="connsiteY61" fmla="*/ 3523 h 10000"/>
                    <a:gd name="connsiteX62" fmla="*/ 3580 w 10000"/>
                    <a:gd name="connsiteY62" fmla="*/ 3523 h 10000"/>
                    <a:gd name="connsiteX63" fmla="*/ 3518 w 10000"/>
                    <a:gd name="connsiteY63" fmla="*/ 3138 h 10000"/>
                    <a:gd name="connsiteX64" fmla="*/ 3273 w 10000"/>
                    <a:gd name="connsiteY64" fmla="*/ 2642 h 10000"/>
                    <a:gd name="connsiteX65" fmla="*/ 3580 w 10000"/>
                    <a:gd name="connsiteY65" fmla="*/ 2367 h 10000"/>
                    <a:gd name="connsiteX66" fmla="*/ 3427 w 10000"/>
                    <a:gd name="connsiteY66" fmla="*/ 2073 h 10000"/>
                    <a:gd name="connsiteX67" fmla="*/ 3580 w 10000"/>
                    <a:gd name="connsiteY67" fmla="*/ 1761 h 10000"/>
                    <a:gd name="connsiteX68" fmla="*/ 3580 w 10000"/>
                    <a:gd name="connsiteY68" fmla="*/ 881 h 10000"/>
                    <a:gd name="connsiteX69" fmla="*/ 3919 w 10000"/>
                    <a:gd name="connsiteY69" fmla="*/ 917 h 10000"/>
                    <a:gd name="connsiteX70" fmla="*/ 5024 w 10000"/>
                    <a:gd name="connsiteY70" fmla="*/ 284 h 10000"/>
                    <a:gd name="connsiteX71" fmla="*/ 5311 w 10000"/>
                    <a:gd name="connsiteY71" fmla="*/ 0 h 10000"/>
                    <a:gd name="connsiteX72" fmla="*/ 5464 w 10000"/>
                    <a:gd name="connsiteY72" fmla="*/ 0 h 10000"/>
                    <a:gd name="connsiteX73" fmla="*/ 5933 w 10000"/>
                    <a:gd name="connsiteY73" fmla="*/ 0 h 10000"/>
                    <a:gd name="connsiteX74" fmla="*/ 6096 w 10000"/>
                    <a:gd name="connsiteY74" fmla="*/ 606 h 10000"/>
                    <a:gd name="connsiteX75" fmla="*/ 6096 w 10000"/>
                    <a:gd name="connsiteY75" fmla="*/ 881 h 10000"/>
                    <a:gd name="connsiteX76" fmla="*/ 6249 w 10000"/>
                    <a:gd name="connsiteY76" fmla="*/ 881 h 10000"/>
                    <a:gd name="connsiteX77" fmla="*/ 6555 w 10000"/>
                    <a:gd name="connsiteY77" fmla="*/ 1193 h 10000"/>
                    <a:gd name="connsiteX78" fmla="*/ 6770 w 10000"/>
                    <a:gd name="connsiteY78" fmla="*/ 935 h 10000"/>
                    <a:gd name="connsiteX79" fmla="*/ 6919 w 10000"/>
                    <a:gd name="connsiteY79" fmla="*/ 981 h 10000"/>
                    <a:gd name="connsiteX80" fmla="*/ 7178 w 10000"/>
                    <a:gd name="connsiteY80" fmla="*/ 881 h 10000"/>
                    <a:gd name="connsiteX81" fmla="*/ 7493 w 10000"/>
                    <a:gd name="connsiteY81" fmla="*/ 606 h 10000"/>
                    <a:gd name="connsiteX82" fmla="*/ 7647 w 10000"/>
                    <a:gd name="connsiteY82" fmla="*/ 1486 h 10000"/>
                    <a:gd name="connsiteX83" fmla="*/ 8269 w 10000"/>
                    <a:gd name="connsiteY83" fmla="*/ 3523 h 10000"/>
                    <a:gd name="connsiteX84" fmla="*/ 8431 w 10000"/>
                    <a:gd name="connsiteY84" fmla="*/ 2954 h 10000"/>
                    <a:gd name="connsiteX85" fmla="*/ 8584 w 10000"/>
                    <a:gd name="connsiteY85" fmla="*/ 3523 h 10000"/>
                    <a:gd name="connsiteX86" fmla="*/ 9053 w 10000"/>
                    <a:gd name="connsiteY86" fmla="*/ 3248 h 10000"/>
                    <a:gd name="connsiteX87" fmla="*/ 9522 w 10000"/>
                    <a:gd name="connsiteY87" fmla="*/ 4128 h 10000"/>
                    <a:gd name="connsiteX88" fmla="*/ 9847 w 10000"/>
                    <a:gd name="connsiteY88" fmla="*/ 4404 h 10000"/>
                    <a:gd name="connsiteX89" fmla="*/ 9847 w 10000"/>
                    <a:gd name="connsiteY89" fmla="*/ 4128 h 10000"/>
                    <a:gd name="connsiteX90" fmla="*/ 10000 w 10000"/>
                    <a:gd name="connsiteY90" fmla="*/ 4716 h 10000"/>
                    <a:gd name="connsiteX91" fmla="*/ 9847 w 10000"/>
                    <a:gd name="connsiteY91"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269 w 10000"/>
                    <a:gd name="connsiteY7" fmla="*/ 735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929 w 10000"/>
                    <a:gd name="connsiteY36" fmla="*/ 7927 h 10000"/>
                    <a:gd name="connsiteX37" fmla="*/ 1244 w 10000"/>
                    <a:gd name="connsiteY37" fmla="*/ 7927 h 10000"/>
                    <a:gd name="connsiteX38" fmla="*/ 1091 w 10000"/>
                    <a:gd name="connsiteY38" fmla="*/ 7651 h 10000"/>
                    <a:gd name="connsiteX39" fmla="*/ 1244 w 10000"/>
                    <a:gd name="connsiteY39" fmla="*/ 7358 h 10000"/>
                    <a:gd name="connsiteX40" fmla="*/ 1867 w 10000"/>
                    <a:gd name="connsiteY40" fmla="*/ 7358 h 10000"/>
                    <a:gd name="connsiteX41" fmla="*/ 1713 w 10000"/>
                    <a:gd name="connsiteY41" fmla="*/ 6477 h 10000"/>
                    <a:gd name="connsiteX42" fmla="*/ 1398 w 10000"/>
                    <a:gd name="connsiteY42" fmla="*/ 6165 h 10000"/>
                    <a:gd name="connsiteX43" fmla="*/ 1091 w 10000"/>
                    <a:gd name="connsiteY43" fmla="*/ 6166 h 10000"/>
                    <a:gd name="connsiteX44" fmla="*/ 622 w 10000"/>
                    <a:gd name="connsiteY44" fmla="*/ 6477 h 10000"/>
                    <a:gd name="connsiteX45" fmla="*/ 469 w 10000"/>
                    <a:gd name="connsiteY45" fmla="*/ 6477 h 10000"/>
                    <a:gd name="connsiteX46" fmla="*/ 622 w 10000"/>
                    <a:gd name="connsiteY46" fmla="*/ 6165 h 10000"/>
                    <a:gd name="connsiteX47" fmla="*/ 469 w 10000"/>
                    <a:gd name="connsiteY47" fmla="*/ 5596 h 10000"/>
                    <a:gd name="connsiteX48" fmla="*/ 153 w 10000"/>
                    <a:gd name="connsiteY48" fmla="*/ 5596 h 10000"/>
                    <a:gd name="connsiteX49" fmla="*/ 0 w 10000"/>
                    <a:gd name="connsiteY49" fmla="*/ 5009 h 10000"/>
                    <a:gd name="connsiteX50" fmla="*/ 153 w 10000"/>
                    <a:gd name="connsiteY50" fmla="*/ 3523 h 10000"/>
                    <a:gd name="connsiteX51" fmla="*/ 373 w 10000"/>
                    <a:gd name="connsiteY51" fmla="*/ 3990 h 10000"/>
                    <a:gd name="connsiteX52" fmla="*/ 503 w 10000"/>
                    <a:gd name="connsiteY52" fmla="*/ 3807 h 10000"/>
                    <a:gd name="connsiteX53" fmla="*/ 469 w 10000"/>
                    <a:gd name="connsiteY53" fmla="*/ 3523 h 10000"/>
                    <a:gd name="connsiteX54" fmla="*/ 929 w 10000"/>
                    <a:gd name="connsiteY54" fmla="*/ 2642 h 10000"/>
                    <a:gd name="connsiteX55" fmla="*/ 1244 w 10000"/>
                    <a:gd name="connsiteY55" fmla="*/ 2954 h 10000"/>
                    <a:gd name="connsiteX56" fmla="*/ 1398 w 10000"/>
                    <a:gd name="connsiteY56" fmla="*/ 2642 h 10000"/>
                    <a:gd name="connsiteX57" fmla="*/ 1713 w 10000"/>
                    <a:gd name="connsiteY57" fmla="*/ 2954 h 10000"/>
                    <a:gd name="connsiteX58" fmla="*/ 2182 w 10000"/>
                    <a:gd name="connsiteY58" fmla="*/ 3523 h 10000"/>
                    <a:gd name="connsiteX59" fmla="*/ 2489 w 10000"/>
                    <a:gd name="connsiteY59" fmla="*/ 3248 h 10000"/>
                    <a:gd name="connsiteX60" fmla="*/ 2804 w 10000"/>
                    <a:gd name="connsiteY60" fmla="*/ 3248 h 10000"/>
                    <a:gd name="connsiteX61" fmla="*/ 2958 w 10000"/>
                    <a:gd name="connsiteY61" fmla="*/ 3523 h 10000"/>
                    <a:gd name="connsiteX62" fmla="*/ 3580 w 10000"/>
                    <a:gd name="connsiteY62" fmla="*/ 3523 h 10000"/>
                    <a:gd name="connsiteX63" fmla="*/ 3518 w 10000"/>
                    <a:gd name="connsiteY63" fmla="*/ 3138 h 10000"/>
                    <a:gd name="connsiteX64" fmla="*/ 3273 w 10000"/>
                    <a:gd name="connsiteY64" fmla="*/ 2642 h 10000"/>
                    <a:gd name="connsiteX65" fmla="*/ 3580 w 10000"/>
                    <a:gd name="connsiteY65" fmla="*/ 2367 h 10000"/>
                    <a:gd name="connsiteX66" fmla="*/ 3427 w 10000"/>
                    <a:gd name="connsiteY66" fmla="*/ 2073 h 10000"/>
                    <a:gd name="connsiteX67" fmla="*/ 3580 w 10000"/>
                    <a:gd name="connsiteY67" fmla="*/ 1761 h 10000"/>
                    <a:gd name="connsiteX68" fmla="*/ 3580 w 10000"/>
                    <a:gd name="connsiteY68" fmla="*/ 881 h 10000"/>
                    <a:gd name="connsiteX69" fmla="*/ 3919 w 10000"/>
                    <a:gd name="connsiteY69" fmla="*/ 917 h 10000"/>
                    <a:gd name="connsiteX70" fmla="*/ 5024 w 10000"/>
                    <a:gd name="connsiteY70" fmla="*/ 284 h 10000"/>
                    <a:gd name="connsiteX71" fmla="*/ 5311 w 10000"/>
                    <a:gd name="connsiteY71" fmla="*/ 0 h 10000"/>
                    <a:gd name="connsiteX72" fmla="*/ 5464 w 10000"/>
                    <a:gd name="connsiteY72" fmla="*/ 0 h 10000"/>
                    <a:gd name="connsiteX73" fmla="*/ 5933 w 10000"/>
                    <a:gd name="connsiteY73" fmla="*/ 0 h 10000"/>
                    <a:gd name="connsiteX74" fmla="*/ 6096 w 10000"/>
                    <a:gd name="connsiteY74" fmla="*/ 606 h 10000"/>
                    <a:gd name="connsiteX75" fmla="*/ 6096 w 10000"/>
                    <a:gd name="connsiteY75" fmla="*/ 881 h 10000"/>
                    <a:gd name="connsiteX76" fmla="*/ 6249 w 10000"/>
                    <a:gd name="connsiteY76" fmla="*/ 881 h 10000"/>
                    <a:gd name="connsiteX77" fmla="*/ 6555 w 10000"/>
                    <a:gd name="connsiteY77" fmla="*/ 1193 h 10000"/>
                    <a:gd name="connsiteX78" fmla="*/ 6770 w 10000"/>
                    <a:gd name="connsiteY78" fmla="*/ 935 h 10000"/>
                    <a:gd name="connsiteX79" fmla="*/ 6919 w 10000"/>
                    <a:gd name="connsiteY79" fmla="*/ 981 h 10000"/>
                    <a:gd name="connsiteX80" fmla="*/ 7178 w 10000"/>
                    <a:gd name="connsiteY80" fmla="*/ 881 h 10000"/>
                    <a:gd name="connsiteX81" fmla="*/ 7493 w 10000"/>
                    <a:gd name="connsiteY81" fmla="*/ 606 h 10000"/>
                    <a:gd name="connsiteX82" fmla="*/ 7647 w 10000"/>
                    <a:gd name="connsiteY82" fmla="*/ 1486 h 10000"/>
                    <a:gd name="connsiteX83" fmla="*/ 8269 w 10000"/>
                    <a:gd name="connsiteY83" fmla="*/ 3523 h 10000"/>
                    <a:gd name="connsiteX84" fmla="*/ 8431 w 10000"/>
                    <a:gd name="connsiteY84" fmla="*/ 2954 h 10000"/>
                    <a:gd name="connsiteX85" fmla="*/ 8584 w 10000"/>
                    <a:gd name="connsiteY85" fmla="*/ 3523 h 10000"/>
                    <a:gd name="connsiteX86" fmla="*/ 9053 w 10000"/>
                    <a:gd name="connsiteY86" fmla="*/ 3248 h 10000"/>
                    <a:gd name="connsiteX87" fmla="*/ 9522 w 10000"/>
                    <a:gd name="connsiteY87" fmla="*/ 4128 h 10000"/>
                    <a:gd name="connsiteX88" fmla="*/ 9847 w 10000"/>
                    <a:gd name="connsiteY88" fmla="*/ 4404 h 10000"/>
                    <a:gd name="connsiteX89" fmla="*/ 9847 w 10000"/>
                    <a:gd name="connsiteY89" fmla="*/ 4128 h 10000"/>
                    <a:gd name="connsiteX90" fmla="*/ 10000 w 10000"/>
                    <a:gd name="connsiteY90" fmla="*/ 4716 h 10000"/>
                    <a:gd name="connsiteX91" fmla="*/ 9847 w 10000"/>
                    <a:gd name="connsiteY91"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484 w 10000"/>
                    <a:gd name="connsiteY7" fmla="*/ 758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929 w 10000"/>
                    <a:gd name="connsiteY36" fmla="*/ 7927 h 10000"/>
                    <a:gd name="connsiteX37" fmla="*/ 1244 w 10000"/>
                    <a:gd name="connsiteY37" fmla="*/ 7927 h 10000"/>
                    <a:gd name="connsiteX38" fmla="*/ 1091 w 10000"/>
                    <a:gd name="connsiteY38" fmla="*/ 7651 h 10000"/>
                    <a:gd name="connsiteX39" fmla="*/ 1244 w 10000"/>
                    <a:gd name="connsiteY39" fmla="*/ 7358 h 10000"/>
                    <a:gd name="connsiteX40" fmla="*/ 1867 w 10000"/>
                    <a:gd name="connsiteY40" fmla="*/ 7358 h 10000"/>
                    <a:gd name="connsiteX41" fmla="*/ 1713 w 10000"/>
                    <a:gd name="connsiteY41" fmla="*/ 6477 h 10000"/>
                    <a:gd name="connsiteX42" fmla="*/ 1398 w 10000"/>
                    <a:gd name="connsiteY42" fmla="*/ 6165 h 10000"/>
                    <a:gd name="connsiteX43" fmla="*/ 1091 w 10000"/>
                    <a:gd name="connsiteY43" fmla="*/ 6166 h 10000"/>
                    <a:gd name="connsiteX44" fmla="*/ 622 w 10000"/>
                    <a:gd name="connsiteY44" fmla="*/ 6477 h 10000"/>
                    <a:gd name="connsiteX45" fmla="*/ 469 w 10000"/>
                    <a:gd name="connsiteY45" fmla="*/ 6477 h 10000"/>
                    <a:gd name="connsiteX46" fmla="*/ 622 w 10000"/>
                    <a:gd name="connsiteY46" fmla="*/ 6165 h 10000"/>
                    <a:gd name="connsiteX47" fmla="*/ 469 w 10000"/>
                    <a:gd name="connsiteY47" fmla="*/ 5596 h 10000"/>
                    <a:gd name="connsiteX48" fmla="*/ 153 w 10000"/>
                    <a:gd name="connsiteY48" fmla="*/ 5596 h 10000"/>
                    <a:gd name="connsiteX49" fmla="*/ 0 w 10000"/>
                    <a:gd name="connsiteY49" fmla="*/ 5009 h 10000"/>
                    <a:gd name="connsiteX50" fmla="*/ 153 w 10000"/>
                    <a:gd name="connsiteY50" fmla="*/ 3523 h 10000"/>
                    <a:gd name="connsiteX51" fmla="*/ 373 w 10000"/>
                    <a:gd name="connsiteY51" fmla="*/ 3990 h 10000"/>
                    <a:gd name="connsiteX52" fmla="*/ 503 w 10000"/>
                    <a:gd name="connsiteY52" fmla="*/ 3807 h 10000"/>
                    <a:gd name="connsiteX53" fmla="*/ 469 w 10000"/>
                    <a:gd name="connsiteY53" fmla="*/ 3523 h 10000"/>
                    <a:gd name="connsiteX54" fmla="*/ 929 w 10000"/>
                    <a:gd name="connsiteY54" fmla="*/ 2642 h 10000"/>
                    <a:gd name="connsiteX55" fmla="*/ 1244 w 10000"/>
                    <a:gd name="connsiteY55" fmla="*/ 2954 h 10000"/>
                    <a:gd name="connsiteX56" fmla="*/ 1398 w 10000"/>
                    <a:gd name="connsiteY56" fmla="*/ 2642 h 10000"/>
                    <a:gd name="connsiteX57" fmla="*/ 1713 w 10000"/>
                    <a:gd name="connsiteY57" fmla="*/ 2954 h 10000"/>
                    <a:gd name="connsiteX58" fmla="*/ 2182 w 10000"/>
                    <a:gd name="connsiteY58" fmla="*/ 3523 h 10000"/>
                    <a:gd name="connsiteX59" fmla="*/ 2489 w 10000"/>
                    <a:gd name="connsiteY59" fmla="*/ 3248 h 10000"/>
                    <a:gd name="connsiteX60" fmla="*/ 2804 w 10000"/>
                    <a:gd name="connsiteY60" fmla="*/ 3248 h 10000"/>
                    <a:gd name="connsiteX61" fmla="*/ 2958 w 10000"/>
                    <a:gd name="connsiteY61" fmla="*/ 3523 h 10000"/>
                    <a:gd name="connsiteX62" fmla="*/ 3580 w 10000"/>
                    <a:gd name="connsiteY62" fmla="*/ 3523 h 10000"/>
                    <a:gd name="connsiteX63" fmla="*/ 3518 w 10000"/>
                    <a:gd name="connsiteY63" fmla="*/ 3138 h 10000"/>
                    <a:gd name="connsiteX64" fmla="*/ 3273 w 10000"/>
                    <a:gd name="connsiteY64" fmla="*/ 2642 h 10000"/>
                    <a:gd name="connsiteX65" fmla="*/ 3580 w 10000"/>
                    <a:gd name="connsiteY65" fmla="*/ 2367 h 10000"/>
                    <a:gd name="connsiteX66" fmla="*/ 3427 w 10000"/>
                    <a:gd name="connsiteY66" fmla="*/ 2073 h 10000"/>
                    <a:gd name="connsiteX67" fmla="*/ 3580 w 10000"/>
                    <a:gd name="connsiteY67" fmla="*/ 1761 h 10000"/>
                    <a:gd name="connsiteX68" fmla="*/ 3580 w 10000"/>
                    <a:gd name="connsiteY68" fmla="*/ 881 h 10000"/>
                    <a:gd name="connsiteX69" fmla="*/ 3919 w 10000"/>
                    <a:gd name="connsiteY69" fmla="*/ 917 h 10000"/>
                    <a:gd name="connsiteX70" fmla="*/ 5024 w 10000"/>
                    <a:gd name="connsiteY70" fmla="*/ 284 h 10000"/>
                    <a:gd name="connsiteX71" fmla="*/ 5311 w 10000"/>
                    <a:gd name="connsiteY71" fmla="*/ 0 h 10000"/>
                    <a:gd name="connsiteX72" fmla="*/ 5464 w 10000"/>
                    <a:gd name="connsiteY72" fmla="*/ 0 h 10000"/>
                    <a:gd name="connsiteX73" fmla="*/ 5933 w 10000"/>
                    <a:gd name="connsiteY73" fmla="*/ 0 h 10000"/>
                    <a:gd name="connsiteX74" fmla="*/ 6096 w 10000"/>
                    <a:gd name="connsiteY74" fmla="*/ 606 h 10000"/>
                    <a:gd name="connsiteX75" fmla="*/ 6096 w 10000"/>
                    <a:gd name="connsiteY75" fmla="*/ 881 h 10000"/>
                    <a:gd name="connsiteX76" fmla="*/ 6249 w 10000"/>
                    <a:gd name="connsiteY76" fmla="*/ 881 h 10000"/>
                    <a:gd name="connsiteX77" fmla="*/ 6555 w 10000"/>
                    <a:gd name="connsiteY77" fmla="*/ 1193 h 10000"/>
                    <a:gd name="connsiteX78" fmla="*/ 6770 w 10000"/>
                    <a:gd name="connsiteY78" fmla="*/ 935 h 10000"/>
                    <a:gd name="connsiteX79" fmla="*/ 6919 w 10000"/>
                    <a:gd name="connsiteY79" fmla="*/ 981 h 10000"/>
                    <a:gd name="connsiteX80" fmla="*/ 7178 w 10000"/>
                    <a:gd name="connsiteY80" fmla="*/ 881 h 10000"/>
                    <a:gd name="connsiteX81" fmla="*/ 7493 w 10000"/>
                    <a:gd name="connsiteY81" fmla="*/ 606 h 10000"/>
                    <a:gd name="connsiteX82" fmla="*/ 7647 w 10000"/>
                    <a:gd name="connsiteY82" fmla="*/ 1486 h 10000"/>
                    <a:gd name="connsiteX83" fmla="*/ 8269 w 10000"/>
                    <a:gd name="connsiteY83" fmla="*/ 3523 h 10000"/>
                    <a:gd name="connsiteX84" fmla="*/ 8431 w 10000"/>
                    <a:gd name="connsiteY84" fmla="*/ 2954 h 10000"/>
                    <a:gd name="connsiteX85" fmla="*/ 8584 w 10000"/>
                    <a:gd name="connsiteY85" fmla="*/ 3523 h 10000"/>
                    <a:gd name="connsiteX86" fmla="*/ 9053 w 10000"/>
                    <a:gd name="connsiteY86" fmla="*/ 3248 h 10000"/>
                    <a:gd name="connsiteX87" fmla="*/ 9522 w 10000"/>
                    <a:gd name="connsiteY87" fmla="*/ 4128 h 10000"/>
                    <a:gd name="connsiteX88" fmla="*/ 9847 w 10000"/>
                    <a:gd name="connsiteY88" fmla="*/ 4404 h 10000"/>
                    <a:gd name="connsiteX89" fmla="*/ 9847 w 10000"/>
                    <a:gd name="connsiteY89" fmla="*/ 4128 h 10000"/>
                    <a:gd name="connsiteX90" fmla="*/ 10000 w 10000"/>
                    <a:gd name="connsiteY90" fmla="*/ 4716 h 10000"/>
                    <a:gd name="connsiteX91" fmla="*/ 9847 w 10000"/>
                    <a:gd name="connsiteY91"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484 w 10000"/>
                    <a:gd name="connsiteY7" fmla="*/ 758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1244 w 10000"/>
                    <a:gd name="connsiteY36" fmla="*/ 7927 h 10000"/>
                    <a:gd name="connsiteX37" fmla="*/ 1091 w 10000"/>
                    <a:gd name="connsiteY37" fmla="*/ 7651 h 10000"/>
                    <a:gd name="connsiteX38" fmla="*/ 1244 w 10000"/>
                    <a:gd name="connsiteY38" fmla="*/ 7358 h 10000"/>
                    <a:gd name="connsiteX39" fmla="*/ 1867 w 10000"/>
                    <a:gd name="connsiteY39" fmla="*/ 7358 h 10000"/>
                    <a:gd name="connsiteX40" fmla="*/ 1713 w 10000"/>
                    <a:gd name="connsiteY40" fmla="*/ 6477 h 10000"/>
                    <a:gd name="connsiteX41" fmla="*/ 1398 w 10000"/>
                    <a:gd name="connsiteY41" fmla="*/ 6165 h 10000"/>
                    <a:gd name="connsiteX42" fmla="*/ 1091 w 10000"/>
                    <a:gd name="connsiteY42" fmla="*/ 6166 h 10000"/>
                    <a:gd name="connsiteX43" fmla="*/ 622 w 10000"/>
                    <a:gd name="connsiteY43" fmla="*/ 6477 h 10000"/>
                    <a:gd name="connsiteX44" fmla="*/ 469 w 10000"/>
                    <a:gd name="connsiteY44" fmla="*/ 6477 h 10000"/>
                    <a:gd name="connsiteX45" fmla="*/ 622 w 10000"/>
                    <a:gd name="connsiteY45" fmla="*/ 6165 h 10000"/>
                    <a:gd name="connsiteX46" fmla="*/ 469 w 10000"/>
                    <a:gd name="connsiteY46" fmla="*/ 5596 h 10000"/>
                    <a:gd name="connsiteX47" fmla="*/ 153 w 10000"/>
                    <a:gd name="connsiteY47" fmla="*/ 5596 h 10000"/>
                    <a:gd name="connsiteX48" fmla="*/ 0 w 10000"/>
                    <a:gd name="connsiteY48" fmla="*/ 5009 h 10000"/>
                    <a:gd name="connsiteX49" fmla="*/ 153 w 10000"/>
                    <a:gd name="connsiteY49" fmla="*/ 3523 h 10000"/>
                    <a:gd name="connsiteX50" fmla="*/ 373 w 10000"/>
                    <a:gd name="connsiteY50" fmla="*/ 3990 h 10000"/>
                    <a:gd name="connsiteX51" fmla="*/ 503 w 10000"/>
                    <a:gd name="connsiteY51" fmla="*/ 3807 h 10000"/>
                    <a:gd name="connsiteX52" fmla="*/ 469 w 10000"/>
                    <a:gd name="connsiteY52" fmla="*/ 3523 h 10000"/>
                    <a:gd name="connsiteX53" fmla="*/ 929 w 10000"/>
                    <a:gd name="connsiteY53" fmla="*/ 2642 h 10000"/>
                    <a:gd name="connsiteX54" fmla="*/ 1244 w 10000"/>
                    <a:gd name="connsiteY54" fmla="*/ 2954 h 10000"/>
                    <a:gd name="connsiteX55" fmla="*/ 1398 w 10000"/>
                    <a:gd name="connsiteY55" fmla="*/ 2642 h 10000"/>
                    <a:gd name="connsiteX56" fmla="*/ 1713 w 10000"/>
                    <a:gd name="connsiteY56" fmla="*/ 2954 h 10000"/>
                    <a:gd name="connsiteX57" fmla="*/ 2182 w 10000"/>
                    <a:gd name="connsiteY57" fmla="*/ 3523 h 10000"/>
                    <a:gd name="connsiteX58" fmla="*/ 2489 w 10000"/>
                    <a:gd name="connsiteY58" fmla="*/ 3248 h 10000"/>
                    <a:gd name="connsiteX59" fmla="*/ 2804 w 10000"/>
                    <a:gd name="connsiteY59" fmla="*/ 3248 h 10000"/>
                    <a:gd name="connsiteX60" fmla="*/ 2958 w 10000"/>
                    <a:gd name="connsiteY60" fmla="*/ 3523 h 10000"/>
                    <a:gd name="connsiteX61" fmla="*/ 3580 w 10000"/>
                    <a:gd name="connsiteY61" fmla="*/ 3523 h 10000"/>
                    <a:gd name="connsiteX62" fmla="*/ 3518 w 10000"/>
                    <a:gd name="connsiteY62" fmla="*/ 3138 h 10000"/>
                    <a:gd name="connsiteX63" fmla="*/ 3273 w 10000"/>
                    <a:gd name="connsiteY63" fmla="*/ 2642 h 10000"/>
                    <a:gd name="connsiteX64" fmla="*/ 3580 w 10000"/>
                    <a:gd name="connsiteY64" fmla="*/ 2367 h 10000"/>
                    <a:gd name="connsiteX65" fmla="*/ 3427 w 10000"/>
                    <a:gd name="connsiteY65" fmla="*/ 2073 h 10000"/>
                    <a:gd name="connsiteX66" fmla="*/ 3580 w 10000"/>
                    <a:gd name="connsiteY66" fmla="*/ 1761 h 10000"/>
                    <a:gd name="connsiteX67" fmla="*/ 3580 w 10000"/>
                    <a:gd name="connsiteY67" fmla="*/ 881 h 10000"/>
                    <a:gd name="connsiteX68" fmla="*/ 3919 w 10000"/>
                    <a:gd name="connsiteY68" fmla="*/ 917 h 10000"/>
                    <a:gd name="connsiteX69" fmla="*/ 5024 w 10000"/>
                    <a:gd name="connsiteY69" fmla="*/ 284 h 10000"/>
                    <a:gd name="connsiteX70" fmla="*/ 5311 w 10000"/>
                    <a:gd name="connsiteY70" fmla="*/ 0 h 10000"/>
                    <a:gd name="connsiteX71" fmla="*/ 5464 w 10000"/>
                    <a:gd name="connsiteY71" fmla="*/ 0 h 10000"/>
                    <a:gd name="connsiteX72" fmla="*/ 5933 w 10000"/>
                    <a:gd name="connsiteY72" fmla="*/ 0 h 10000"/>
                    <a:gd name="connsiteX73" fmla="*/ 6096 w 10000"/>
                    <a:gd name="connsiteY73" fmla="*/ 606 h 10000"/>
                    <a:gd name="connsiteX74" fmla="*/ 6096 w 10000"/>
                    <a:gd name="connsiteY74" fmla="*/ 881 h 10000"/>
                    <a:gd name="connsiteX75" fmla="*/ 6249 w 10000"/>
                    <a:gd name="connsiteY75" fmla="*/ 881 h 10000"/>
                    <a:gd name="connsiteX76" fmla="*/ 6555 w 10000"/>
                    <a:gd name="connsiteY76" fmla="*/ 1193 h 10000"/>
                    <a:gd name="connsiteX77" fmla="*/ 6770 w 10000"/>
                    <a:gd name="connsiteY77" fmla="*/ 935 h 10000"/>
                    <a:gd name="connsiteX78" fmla="*/ 6919 w 10000"/>
                    <a:gd name="connsiteY78" fmla="*/ 981 h 10000"/>
                    <a:gd name="connsiteX79" fmla="*/ 7178 w 10000"/>
                    <a:gd name="connsiteY79" fmla="*/ 881 h 10000"/>
                    <a:gd name="connsiteX80" fmla="*/ 7493 w 10000"/>
                    <a:gd name="connsiteY80" fmla="*/ 606 h 10000"/>
                    <a:gd name="connsiteX81" fmla="*/ 7647 w 10000"/>
                    <a:gd name="connsiteY81" fmla="*/ 1486 h 10000"/>
                    <a:gd name="connsiteX82" fmla="*/ 8269 w 10000"/>
                    <a:gd name="connsiteY82" fmla="*/ 3523 h 10000"/>
                    <a:gd name="connsiteX83" fmla="*/ 8431 w 10000"/>
                    <a:gd name="connsiteY83" fmla="*/ 2954 h 10000"/>
                    <a:gd name="connsiteX84" fmla="*/ 8584 w 10000"/>
                    <a:gd name="connsiteY84" fmla="*/ 3523 h 10000"/>
                    <a:gd name="connsiteX85" fmla="*/ 9053 w 10000"/>
                    <a:gd name="connsiteY85" fmla="*/ 3248 h 10000"/>
                    <a:gd name="connsiteX86" fmla="*/ 9522 w 10000"/>
                    <a:gd name="connsiteY86" fmla="*/ 4128 h 10000"/>
                    <a:gd name="connsiteX87" fmla="*/ 9847 w 10000"/>
                    <a:gd name="connsiteY87" fmla="*/ 4404 h 10000"/>
                    <a:gd name="connsiteX88" fmla="*/ 9847 w 10000"/>
                    <a:gd name="connsiteY88" fmla="*/ 4128 h 10000"/>
                    <a:gd name="connsiteX89" fmla="*/ 10000 w 10000"/>
                    <a:gd name="connsiteY89" fmla="*/ 4716 h 10000"/>
                    <a:gd name="connsiteX90" fmla="*/ 9847 w 10000"/>
                    <a:gd name="connsiteY90"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484 w 10000"/>
                    <a:gd name="connsiteY7" fmla="*/ 758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1091 w 10000"/>
                    <a:gd name="connsiteY36" fmla="*/ 7651 h 10000"/>
                    <a:gd name="connsiteX37" fmla="*/ 1244 w 10000"/>
                    <a:gd name="connsiteY37" fmla="*/ 7358 h 10000"/>
                    <a:gd name="connsiteX38" fmla="*/ 1867 w 10000"/>
                    <a:gd name="connsiteY38" fmla="*/ 7358 h 10000"/>
                    <a:gd name="connsiteX39" fmla="*/ 1713 w 10000"/>
                    <a:gd name="connsiteY39" fmla="*/ 6477 h 10000"/>
                    <a:gd name="connsiteX40" fmla="*/ 1398 w 10000"/>
                    <a:gd name="connsiteY40" fmla="*/ 6165 h 10000"/>
                    <a:gd name="connsiteX41" fmla="*/ 1091 w 10000"/>
                    <a:gd name="connsiteY41" fmla="*/ 6166 h 10000"/>
                    <a:gd name="connsiteX42" fmla="*/ 622 w 10000"/>
                    <a:gd name="connsiteY42" fmla="*/ 6477 h 10000"/>
                    <a:gd name="connsiteX43" fmla="*/ 469 w 10000"/>
                    <a:gd name="connsiteY43" fmla="*/ 6477 h 10000"/>
                    <a:gd name="connsiteX44" fmla="*/ 622 w 10000"/>
                    <a:gd name="connsiteY44" fmla="*/ 6165 h 10000"/>
                    <a:gd name="connsiteX45" fmla="*/ 469 w 10000"/>
                    <a:gd name="connsiteY45" fmla="*/ 5596 h 10000"/>
                    <a:gd name="connsiteX46" fmla="*/ 153 w 10000"/>
                    <a:gd name="connsiteY46" fmla="*/ 5596 h 10000"/>
                    <a:gd name="connsiteX47" fmla="*/ 0 w 10000"/>
                    <a:gd name="connsiteY47" fmla="*/ 5009 h 10000"/>
                    <a:gd name="connsiteX48" fmla="*/ 153 w 10000"/>
                    <a:gd name="connsiteY48" fmla="*/ 3523 h 10000"/>
                    <a:gd name="connsiteX49" fmla="*/ 373 w 10000"/>
                    <a:gd name="connsiteY49" fmla="*/ 3990 h 10000"/>
                    <a:gd name="connsiteX50" fmla="*/ 503 w 10000"/>
                    <a:gd name="connsiteY50" fmla="*/ 3807 h 10000"/>
                    <a:gd name="connsiteX51" fmla="*/ 469 w 10000"/>
                    <a:gd name="connsiteY51" fmla="*/ 3523 h 10000"/>
                    <a:gd name="connsiteX52" fmla="*/ 929 w 10000"/>
                    <a:gd name="connsiteY52" fmla="*/ 2642 h 10000"/>
                    <a:gd name="connsiteX53" fmla="*/ 1244 w 10000"/>
                    <a:gd name="connsiteY53" fmla="*/ 2954 h 10000"/>
                    <a:gd name="connsiteX54" fmla="*/ 1398 w 10000"/>
                    <a:gd name="connsiteY54" fmla="*/ 2642 h 10000"/>
                    <a:gd name="connsiteX55" fmla="*/ 1713 w 10000"/>
                    <a:gd name="connsiteY55" fmla="*/ 2954 h 10000"/>
                    <a:gd name="connsiteX56" fmla="*/ 2182 w 10000"/>
                    <a:gd name="connsiteY56" fmla="*/ 3523 h 10000"/>
                    <a:gd name="connsiteX57" fmla="*/ 2489 w 10000"/>
                    <a:gd name="connsiteY57" fmla="*/ 3248 h 10000"/>
                    <a:gd name="connsiteX58" fmla="*/ 2804 w 10000"/>
                    <a:gd name="connsiteY58" fmla="*/ 3248 h 10000"/>
                    <a:gd name="connsiteX59" fmla="*/ 2958 w 10000"/>
                    <a:gd name="connsiteY59" fmla="*/ 3523 h 10000"/>
                    <a:gd name="connsiteX60" fmla="*/ 3580 w 10000"/>
                    <a:gd name="connsiteY60" fmla="*/ 3523 h 10000"/>
                    <a:gd name="connsiteX61" fmla="*/ 3518 w 10000"/>
                    <a:gd name="connsiteY61" fmla="*/ 3138 h 10000"/>
                    <a:gd name="connsiteX62" fmla="*/ 3273 w 10000"/>
                    <a:gd name="connsiteY62" fmla="*/ 2642 h 10000"/>
                    <a:gd name="connsiteX63" fmla="*/ 3580 w 10000"/>
                    <a:gd name="connsiteY63" fmla="*/ 2367 h 10000"/>
                    <a:gd name="connsiteX64" fmla="*/ 3427 w 10000"/>
                    <a:gd name="connsiteY64" fmla="*/ 2073 h 10000"/>
                    <a:gd name="connsiteX65" fmla="*/ 3580 w 10000"/>
                    <a:gd name="connsiteY65" fmla="*/ 1761 h 10000"/>
                    <a:gd name="connsiteX66" fmla="*/ 3580 w 10000"/>
                    <a:gd name="connsiteY66" fmla="*/ 881 h 10000"/>
                    <a:gd name="connsiteX67" fmla="*/ 3919 w 10000"/>
                    <a:gd name="connsiteY67" fmla="*/ 917 h 10000"/>
                    <a:gd name="connsiteX68" fmla="*/ 5024 w 10000"/>
                    <a:gd name="connsiteY68" fmla="*/ 284 h 10000"/>
                    <a:gd name="connsiteX69" fmla="*/ 5311 w 10000"/>
                    <a:gd name="connsiteY69" fmla="*/ 0 h 10000"/>
                    <a:gd name="connsiteX70" fmla="*/ 5464 w 10000"/>
                    <a:gd name="connsiteY70" fmla="*/ 0 h 10000"/>
                    <a:gd name="connsiteX71" fmla="*/ 5933 w 10000"/>
                    <a:gd name="connsiteY71" fmla="*/ 0 h 10000"/>
                    <a:gd name="connsiteX72" fmla="*/ 6096 w 10000"/>
                    <a:gd name="connsiteY72" fmla="*/ 606 h 10000"/>
                    <a:gd name="connsiteX73" fmla="*/ 6096 w 10000"/>
                    <a:gd name="connsiteY73" fmla="*/ 881 h 10000"/>
                    <a:gd name="connsiteX74" fmla="*/ 6249 w 10000"/>
                    <a:gd name="connsiteY74" fmla="*/ 881 h 10000"/>
                    <a:gd name="connsiteX75" fmla="*/ 6555 w 10000"/>
                    <a:gd name="connsiteY75" fmla="*/ 1193 h 10000"/>
                    <a:gd name="connsiteX76" fmla="*/ 6770 w 10000"/>
                    <a:gd name="connsiteY76" fmla="*/ 935 h 10000"/>
                    <a:gd name="connsiteX77" fmla="*/ 6919 w 10000"/>
                    <a:gd name="connsiteY77" fmla="*/ 981 h 10000"/>
                    <a:gd name="connsiteX78" fmla="*/ 7178 w 10000"/>
                    <a:gd name="connsiteY78" fmla="*/ 881 h 10000"/>
                    <a:gd name="connsiteX79" fmla="*/ 7493 w 10000"/>
                    <a:gd name="connsiteY79" fmla="*/ 606 h 10000"/>
                    <a:gd name="connsiteX80" fmla="*/ 7647 w 10000"/>
                    <a:gd name="connsiteY80" fmla="*/ 1486 h 10000"/>
                    <a:gd name="connsiteX81" fmla="*/ 8269 w 10000"/>
                    <a:gd name="connsiteY81" fmla="*/ 3523 h 10000"/>
                    <a:gd name="connsiteX82" fmla="*/ 8431 w 10000"/>
                    <a:gd name="connsiteY82" fmla="*/ 2954 h 10000"/>
                    <a:gd name="connsiteX83" fmla="*/ 8584 w 10000"/>
                    <a:gd name="connsiteY83" fmla="*/ 3523 h 10000"/>
                    <a:gd name="connsiteX84" fmla="*/ 9053 w 10000"/>
                    <a:gd name="connsiteY84" fmla="*/ 3248 h 10000"/>
                    <a:gd name="connsiteX85" fmla="*/ 9522 w 10000"/>
                    <a:gd name="connsiteY85" fmla="*/ 4128 h 10000"/>
                    <a:gd name="connsiteX86" fmla="*/ 9847 w 10000"/>
                    <a:gd name="connsiteY86" fmla="*/ 4404 h 10000"/>
                    <a:gd name="connsiteX87" fmla="*/ 9847 w 10000"/>
                    <a:gd name="connsiteY87" fmla="*/ 4128 h 10000"/>
                    <a:gd name="connsiteX88" fmla="*/ 10000 w 10000"/>
                    <a:gd name="connsiteY88" fmla="*/ 4716 h 10000"/>
                    <a:gd name="connsiteX89" fmla="*/ 9847 w 10000"/>
                    <a:gd name="connsiteY89" fmla="*/ 5009 h 10000"/>
                    <a:gd name="connsiteX0" fmla="*/ 9847 w 10000"/>
                    <a:gd name="connsiteY0" fmla="*/ 5009 h 10000"/>
                    <a:gd name="connsiteX1" fmla="*/ 9847 w 10000"/>
                    <a:gd name="connsiteY1" fmla="*/ 5009 h 10000"/>
                    <a:gd name="connsiteX2" fmla="*/ 9693 w 10000"/>
                    <a:gd name="connsiteY2" fmla="*/ 5284 h 10000"/>
                    <a:gd name="connsiteX3" fmla="*/ 9522 w 10000"/>
                    <a:gd name="connsiteY3" fmla="*/ 6165 h 10000"/>
                    <a:gd name="connsiteX4" fmla="*/ 9360 w 10000"/>
                    <a:gd name="connsiteY4" fmla="*/ 6165 h 10000"/>
                    <a:gd name="connsiteX5" fmla="*/ 8900 w 10000"/>
                    <a:gd name="connsiteY5" fmla="*/ 6165 h 10000"/>
                    <a:gd name="connsiteX6" fmla="*/ 8738 w 10000"/>
                    <a:gd name="connsiteY6" fmla="*/ 7358 h 10000"/>
                    <a:gd name="connsiteX7" fmla="*/ 8484 w 10000"/>
                    <a:gd name="connsiteY7" fmla="*/ 7588 h 10000"/>
                    <a:gd name="connsiteX8" fmla="*/ 8269 w 10000"/>
                    <a:gd name="connsiteY8" fmla="*/ 7651 h 10000"/>
                    <a:gd name="connsiteX9" fmla="*/ 8431 w 10000"/>
                    <a:gd name="connsiteY9" fmla="*/ 8807 h 10000"/>
                    <a:gd name="connsiteX10" fmla="*/ 8269 w 10000"/>
                    <a:gd name="connsiteY10" fmla="*/ 9119 h 10000"/>
                    <a:gd name="connsiteX11" fmla="*/ 7962 w 10000"/>
                    <a:gd name="connsiteY11" fmla="*/ 8807 h 10000"/>
                    <a:gd name="connsiteX12" fmla="*/ 7024 w 10000"/>
                    <a:gd name="connsiteY12" fmla="*/ 8807 h 10000"/>
                    <a:gd name="connsiteX13" fmla="*/ 6718 w 10000"/>
                    <a:gd name="connsiteY13" fmla="*/ 8532 h 10000"/>
                    <a:gd name="connsiteX14" fmla="*/ 6555 w 10000"/>
                    <a:gd name="connsiteY14" fmla="*/ 8807 h 10000"/>
                    <a:gd name="connsiteX15" fmla="*/ 6555 w 10000"/>
                    <a:gd name="connsiteY15" fmla="*/ 9119 h 10000"/>
                    <a:gd name="connsiteX16" fmla="*/ 6096 w 10000"/>
                    <a:gd name="connsiteY16" fmla="*/ 8807 h 10000"/>
                    <a:gd name="connsiteX17" fmla="*/ 5933 w 10000"/>
                    <a:gd name="connsiteY17" fmla="*/ 9119 h 10000"/>
                    <a:gd name="connsiteX18" fmla="*/ 5464 w 10000"/>
                    <a:gd name="connsiteY18" fmla="*/ 10000 h 10000"/>
                    <a:gd name="connsiteX19" fmla="*/ 5311 w 10000"/>
                    <a:gd name="connsiteY19" fmla="*/ 9688 h 10000"/>
                    <a:gd name="connsiteX20" fmla="*/ 5005 w 10000"/>
                    <a:gd name="connsiteY20" fmla="*/ 9688 h 10000"/>
                    <a:gd name="connsiteX21" fmla="*/ 5005 w 10000"/>
                    <a:gd name="connsiteY21" fmla="*/ 9413 h 10000"/>
                    <a:gd name="connsiteX22" fmla="*/ 4842 w 10000"/>
                    <a:gd name="connsiteY22" fmla="*/ 9413 h 10000"/>
                    <a:gd name="connsiteX23" fmla="*/ 4842 w 10000"/>
                    <a:gd name="connsiteY23" fmla="*/ 8807 h 10000"/>
                    <a:gd name="connsiteX24" fmla="*/ 4518 w 10000"/>
                    <a:gd name="connsiteY24" fmla="*/ 8239 h 10000"/>
                    <a:gd name="connsiteX25" fmla="*/ 3733 w 10000"/>
                    <a:gd name="connsiteY25" fmla="*/ 8239 h 10000"/>
                    <a:gd name="connsiteX26" fmla="*/ 3273 w 10000"/>
                    <a:gd name="connsiteY26" fmla="*/ 7358 h 10000"/>
                    <a:gd name="connsiteX27" fmla="*/ 2958 w 10000"/>
                    <a:gd name="connsiteY27" fmla="*/ 7046 h 10000"/>
                    <a:gd name="connsiteX28" fmla="*/ 2335 w 10000"/>
                    <a:gd name="connsiteY28" fmla="*/ 7358 h 10000"/>
                    <a:gd name="connsiteX29" fmla="*/ 2335 w 10000"/>
                    <a:gd name="connsiteY29" fmla="*/ 9688 h 10000"/>
                    <a:gd name="connsiteX30" fmla="*/ 2182 w 10000"/>
                    <a:gd name="connsiteY30" fmla="*/ 9688 h 10000"/>
                    <a:gd name="connsiteX31" fmla="*/ 1867 w 10000"/>
                    <a:gd name="connsiteY31" fmla="*/ 9119 h 10000"/>
                    <a:gd name="connsiteX32" fmla="*/ 1398 w 10000"/>
                    <a:gd name="connsiteY32" fmla="*/ 9413 h 10000"/>
                    <a:gd name="connsiteX33" fmla="*/ 1398 w 10000"/>
                    <a:gd name="connsiteY33" fmla="*/ 8807 h 10000"/>
                    <a:gd name="connsiteX34" fmla="*/ 1244 w 10000"/>
                    <a:gd name="connsiteY34" fmla="*/ 8807 h 10000"/>
                    <a:gd name="connsiteX35" fmla="*/ 1091 w 10000"/>
                    <a:gd name="connsiteY35" fmla="*/ 7927 h 10000"/>
                    <a:gd name="connsiteX36" fmla="*/ 1091 w 10000"/>
                    <a:gd name="connsiteY36" fmla="*/ 7651 h 10000"/>
                    <a:gd name="connsiteX37" fmla="*/ 1244 w 10000"/>
                    <a:gd name="connsiteY37" fmla="*/ 7358 h 10000"/>
                    <a:gd name="connsiteX38" fmla="*/ 1867 w 10000"/>
                    <a:gd name="connsiteY38" fmla="*/ 7358 h 10000"/>
                    <a:gd name="connsiteX39" fmla="*/ 1713 w 10000"/>
                    <a:gd name="connsiteY39" fmla="*/ 6477 h 10000"/>
                    <a:gd name="connsiteX40" fmla="*/ 1398 w 10000"/>
                    <a:gd name="connsiteY40" fmla="*/ 6165 h 10000"/>
                    <a:gd name="connsiteX41" fmla="*/ 1091 w 10000"/>
                    <a:gd name="connsiteY41" fmla="*/ 6166 h 10000"/>
                    <a:gd name="connsiteX42" fmla="*/ 622 w 10000"/>
                    <a:gd name="connsiteY42" fmla="*/ 6477 h 10000"/>
                    <a:gd name="connsiteX43" fmla="*/ 469 w 10000"/>
                    <a:gd name="connsiteY43" fmla="*/ 6477 h 10000"/>
                    <a:gd name="connsiteX44" fmla="*/ 622 w 10000"/>
                    <a:gd name="connsiteY44" fmla="*/ 6165 h 10000"/>
                    <a:gd name="connsiteX45" fmla="*/ 469 w 10000"/>
                    <a:gd name="connsiteY45" fmla="*/ 5596 h 10000"/>
                    <a:gd name="connsiteX46" fmla="*/ 153 w 10000"/>
                    <a:gd name="connsiteY46" fmla="*/ 5596 h 10000"/>
                    <a:gd name="connsiteX47" fmla="*/ 0 w 10000"/>
                    <a:gd name="connsiteY47" fmla="*/ 5009 h 10000"/>
                    <a:gd name="connsiteX48" fmla="*/ 153 w 10000"/>
                    <a:gd name="connsiteY48" fmla="*/ 3523 h 10000"/>
                    <a:gd name="connsiteX49" fmla="*/ 373 w 10000"/>
                    <a:gd name="connsiteY49" fmla="*/ 3990 h 10000"/>
                    <a:gd name="connsiteX50" fmla="*/ 503 w 10000"/>
                    <a:gd name="connsiteY50" fmla="*/ 3807 h 10000"/>
                    <a:gd name="connsiteX51" fmla="*/ 469 w 10000"/>
                    <a:gd name="connsiteY51" fmla="*/ 3523 h 10000"/>
                    <a:gd name="connsiteX52" fmla="*/ 929 w 10000"/>
                    <a:gd name="connsiteY52" fmla="*/ 2642 h 10000"/>
                    <a:gd name="connsiteX53" fmla="*/ 1244 w 10000"/>
                    <a:gd name="connsiteY53" fmla="*/ 2954 h 10000"/>
                    <a:gd name="connsiteX54" fmla="*/ 1398 w 10000"/>
                    <a:gd name="connsiteY54" fmla="*/ 2642 h 10000"/>
                    <a:gd name="connsiteX55" fmla="*/ 1713 w 10000"/>
                    <a:gd name="connsiteY55" fmla="*/ 2954 h 10000"/>
                    <a:gd name="connsiteX56" fmla="*/ 2182 w 10000"/>
                    <a:gd name="connsiteY56" fmla="*/ 3523 h 10000"/>
                    <a:gd name="connsiteX57" fmla="*/ 2489 w 10000"/>
                    <a:gd name="connsiteY57" fmla="*/ 3248 h 10000"/>
                    <a:gd name="connsiteX58" fmla="*/ 2804 w 10000"/>
                    <a:gd name="connsiteY58" fmla="*/ 3248 h 10000"/>
                    <a:gd name="connsiteX59" fmla="*/ 2958 w 10000"/>
                    <a:gd name="connsiteY59" fmla="*/ 3523 h 10000"/>
                    <a:gd name="connsiteX60" fmla="*/ 3580 w 10000"/>
                    <a:gd name="connsiteY60" fmla="*/ 3523 h 10000"/>
                    <a:gd name="connsiteX61" fmla="*/ 3518 w 10000"/>
                    <a:gd name="connsiteY61" fmla="*/ 3138 h 10000"/>
                    <a:gd name="connsiteX62" fmla="*/ 3273 w 10000"/>
                    <a:gd name="connsiteY62" fmla="*/ 2642 h 10000"/>
                    <a:gd name="connsiteX63" fmla="*/ 3580 w 10000"/>
                    <a:gd name="connsiteY63" fmla="*/ 2367 h 10000"/>
                    <a:gd name="connsiteX64" fmla="*/ 3427 w 10000"/>
                    <a:gd name="connsiteY64" fmla="*/ 2073 h 10000"/>
                    <a:gd name="connsiteX65" fmla="*/ 3580 w 10000"/>
                    <a:gd name="connsiteY65" fmla="*/ 1761 h 10000"/>
                    <a:gd name="connsiteX66" fmla="*/ 3580 w 10000"/>
                    <a:gd name="connsiteY66" fmla="*/ 881 h 10000"/>
                    <a:gd name="connsiteX67" fmla="*/ 3919 w 10000"/>
                    <a:gd name="connsiteY67" fmla="*/ 917 h 10000"/>
                    <a:gd name="connsiteX68" fmla="*/ 5024 w 10000"/>
                    <a:gd name="connsiteY68" fmla="*/ 284 h 10000"/>
                    <a:gd name="connsiteX69" fmla="*/ 5311 w 10000"/>
                    <a:gd name="connsiteY69" fmla="*/ 0 h 10000"/>
                    <a:gd name="connsiteX70" fmla="*/ 5464 w 10000"/>
                    <a:gd name="connsiteY70" fmla="*/ 0 h 10000"/>
                    <a:gd name="connsiteX71" fmla="*/ 5933 w 10000"/>
                    <a:gd name="connsiteY71" fmla="*/ 0 h 10000"/>
                    <a:gd name="connsiteX72" fmla="*/ 6096 w 10000"/>
                    <a:gd name="connsiteY72" fmla="*/ 606 h 10000"/>
                    <a:gd name="connsiteX73" fmla="*/ 6096 w 10000"/>
                    <a:gd name="connsiteY73" fmla="*/ 881 h 10000"/>
                    <a:gd name="connsiteX74" fmla="*/ 6249 w 10000"/>
                    <a:gd name="connsiteY74" fmla="*/ 881 h 10000"/>
                    <a:gd name="connsiteX75" fmla="*/ 6555 w 10000"/>
                    <a:gd name="connsiteY75" fmla="*/ 1193 h 10000"/>
                    <a:gd name="connsiteX76" fmla="*/ 6770 w 10000"/>
                    <a:gd name="connsiteY76" fmla="*/ 935 h 10000"/>
                    <a:gd name="connsiteX77" fmla="*/ 6919 w 10000"/>
                    <a:gd name="connsiteY77" fmla="*/ 981 h 10000"/>
                    <a:gd name="connsiteX78" fmla="*/ 7178 w 10000"/>
                    <a:gd name="connsiteY78" fmla="*/ 881 h 10000"/>
                    <a:gd name="connsiteX79" fmla="*/ 7493 w 10000"/>
                    <a:gd name="connsiteY79" fmla="*/ 606 h 10000"/>
                    <a:gd name="connsiteX80" fmla="*/ 7647 w 10000"/>
                    <a:gd name="connsiteY80" fmla="*/ 1486 h 10000"/>
                    <a:gd name="connsiteX81" fmla="*/ 8269 w 10000"/>
                    <a:gd name="connsiteY81" fmla="*/ 3523 h 10000"/>
                    <a:gd name="connsiteX82" fmla="*/ 8431 w 10000"/>
                    <a:gd name="connsiteY82" fmla="*/ 2954 h 10000"/>
                    <a:gd name="connsiteX83" fmla="*/ 8584 w 10000"/>
                    <a:gd name="connsiteY83" fmla="*/ 3523 h 10000"/>
                    <a:gd name="connsiteX84" fmla="*/ 9053 w 10000"/>
                    <a:gd name="connsiteY84" fmla="*/ 3248 h 10000"/>
                    <a:gd name="connsiteX85" fmla="*/ 9522 w 10000"/>
                    <a:gd name="connsiteY85" fmla="*/ 4128 h 10000"/>
                    <a:gd name="connsiteX86" fmla="*/ 9847 w 10000"/>
                    <a:gd name="connsiteY86" fmla="*/ 4404 h 10000"/>
                    <a:gd name="connsiteX87" fmla="*/ 10000 w 10000"/>
                    <a:gd name="connsiteY87" fmla="*/ 4716 h 10000"/>
                    <a:gd name="connsiteX88" fmla="*/ 9847 w 10000"/>
                    <a:gd name="connsiteY88" fmla="*/ 500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10000" h="10000">
                      <a:moveTo>
                        <a:pt x="9847" y="5009"/>
                      </a:moveTo>
                      <a:lnTo>
                        <a:pt x="9847" y="5009"/>
                      </a:lnTo>
                      <a:cubicBezTo>
                        <a:pt x="9796" y="5101"/>
                        <a:pt x="9744" y="5192"/>
                        <a:pt x="9693" y="5284"/>
                      </a:cubicBezTo>
                      <a:lnTo>
                        <a:pt x="9522" y="6165"/>
                      </a:lnTo>
                      <a:lnTo>
                        <a:pt x="9360" y="6165"/>
                      </a:lnTo>
                      <a:lnTo>
                        <a:pt x="8900" y="6165"/>
                      </a:lnTo>
                      <a:lnTo>
                        <a:pt x="8738" y="7358"/>
                      </a:lnTo>
                      <a:lnTo>
                        <a:pt x="8484" y="7588"/>
                      </a:lnTo>
                      <a:lnTo>
                        <a:pt x="8269" y="7651"/>
                      </a:lnTo>
                      <a:lnTo>
                        <a:pt x="8431" y="8807"/>
                      </a:lnTo>
                      <a:lnTo>
                        <a:pt x="8269" y="9119"/>
                      </a:lnTo>
                      <a:lnTo>
                        <a:pt x="7962" y="8807"/>
                      </a:lnTo>
                      <a:lnTo>
                        <a:pt x="7024" y="8807"/>
                      </a:lnTo>
                      <a:lnTo>
                        <a:pt x="6718" y="8532"/>
                      </a:lnTo>
                      <a:cubicBezTo>
                        <a:pt x="6664" y="8624"/>
                        <a:pt x="6609" y="8715"/>
                        <a:pt x="6555" y="8807"/>
                      </a:cubicBezTo>
                      <a:lnTo>
                        <a:pt x="6555" y="9119"/>
                      </a:lnTo>
                      <a:lnTo>
                        <a:pt x="6096" y="8807"/>
                      </a:lnTo>
                      <a:cubicBezTo>
                        <a:pt x="6042" y="8911"/>
                        <a:pt x="5987" y="9015"/>
                        <a:pt x="5933" y="9119"/>
                      </a:cubicBezTo>
                      <a:lnTo>
                        <a:pt x="5464" y="10000"/>
                      </a:lnTo>
                      <a:lnTo>
                        <a:pt x="5311" y="9688"/>
                      </a:lnTo>
                      <a:lnTo>
                        <a:pt x="5005" y="9688"/>
                      </a:lnTo>
                      <a:lnTo>
                        <a:pt x="5005" y="9413"/>
                      </a:lnTo>
                      <a:lnTo>
                        <a:pt x="4842" y="9413"/>
                      </a:lnTo>
                      <a:lnTo>
                        <a:pt x="4842" y="8807"/>
                      </a:lnTo>
                      <a:lnTo>
                        <a:pt x="4518" y="8239"/>
                      </a:lnTo>
                      <a:lnTo>
                        <a:pt x="3733" y="8239"/>
                      </a:lnTo>
                      <a:lnTo>
                        <a:pt x="3273" y="7358"/>
                      </a:lnTo>
                      <a:lnTo>
                        <a:pt x="2958" y="7046"/>
                      </a:lnTo>
                      <a:lnTo>
                        <a:pt x="2335" y="7358"/>
                      </a:lnTo>
                      <a:lnTo>
                        <a:pt x="2335" y="9688"/>
                      </a:lnTo>
                      <a:lnTo>
                        <a:pt x="2182" y="9688"/>
                      </a:lnTo>
                      <a:lnTo>
                        <a:pt x="1867" y="9119"/>
                      </a:lnTo>
                      <a:lnTo>
                        <a:pt x="1398" y="9413"/>
                      </a:lnTo>
                      <a:lnTo>
                        <a:pt x="1398" y="8807"/>
                      </a:lnTo>
                      <a:lnTo>
                        <a:pt x="1244" y="8807"/>
                      </a:lnTo>
                      <a:lnTo>
                        <a:pt x="1091" y="7927"/>
                      </a:lnTo>
                      <a:lnTo>
                        <a:pt x="1091" y="7651"/>
                      </a:lnTo>
                      <a:lnTo>
                        <a:pt x="1244" y="7358"/>
                      </a:lnTo>
                      <a:lnTo>
                        <a:pt x="1867" y="7358"/>
                      </a:lnTo>
                      <a:cubicBezTo>
                        <a:pt x="1816" y="7064"/>
                        <a:pt x="1764" y="6771"/>
                        <a:pt x="1713" y="6477"/>
                      </a:cubicBezTo>
                      <a:lnTo>
                        <a:pt x="1398" y="6165"/>
                      </a:lnTo>
                      <a:lnTo>
                        <a:pt x="1091" y="6166"/>
                      </a:lnTo>
                      <a:lnTo>
                        <a:pt x="622" y="6477"/>
                      </a:lnTo>
                      <a:lnTo>
                        <a:pt x="469" y="6477"/>
                      </a:lnTo>
                      <a:lnTo>
                        <a:pt x="622" y="6165"/>
                      </a:lnTo>
                      <a:lnTo>
                        <a:pt x="469" y="5596"/>
                      </a:lnTo>
                      <a:lnTo>
                        <a:pt x="153" y="5596"/>
                      </a:lnTo>
                      <a:lnTo>
                        <a:pt x="0" y="5009"/>
                      </a:lnTo>
                      <a:lnTo>
                        <a:pt x="153" y="3523"/>
                      </a:lnTo>
                      <a:cubicBezTo>
                        <a:pt x="226" y="3679"/>
                        <a:pt x="300" y="3834"/>
                        <a:pt x="373" y="3990"/>
                      </a:cubicBezTo>
                      <a:cubicBezTo>
                        <a:pt x="416" y="3929"/>
                        <a:pt x="460" y="3868"/>
                        <a:pt x="503" y="3807"/>
                      </a:cubicBezTo>
                      <a:cubicBezTo>
                        <a:pt x="492" y="3712"/>
                        <a:pt x="480" y="3618"/>
                        <a:pt x="469" y="3523"/>
                      </a:cubicBezTo>
                      <a:lnTo>
                        <a:pt x="929" y="2642"/>
                      </a:lnTo>
                      <a:lnTo>
                        <a:pt x="1244" y="2954"/>
                      </a:lnTo>
                      <a:cubicBezTo>
                        <a:pt x="1295" y="2850"/>
                        <a:pt x="1347" y="2746"/>
                        <a:pt x="1398" y="2642"/>
                      </a:cubicBezTo>
                      <a:lnTo>
                        <a:pt x="1713" y="2954"/>
                      </a:lnTo>
                      <a:lnTo>
                        <a:pt x="2182" y="3523"/>
                      </a:lnTo>
                      <a:lnTo>
                        <a:pt x="2489" y="3248"/>
                      </a:lnTo>
                      <a:lnTo>
                        <a:pt x="2804" y="3248"/>
                      </a:lnTo>
                      <a:cubicBezTo>
                        <a:pt x="2855" y="3340"/>
                        <a:pt x="2907" y="3431"/>
                        <a:pt x="2958" y="3523"/>
                      </a:cubicBezTo>
                      <a:lnTo>
                        <a:pt x="3580" y="3523"/>
                      </a:lnTo>
                      <a:cubicBezTo>
                        <a:pt x="3559" y="3395"/>
                        <a:pt x="3539" y="3266"/>
                        <a:pt x="3518" y="3138"/>
                      </a:cubicBezTo>
                      <a:cubicBezTo>
                        <a:pt x="3436" y="2973"/>
                        <a:pt x="3355" y="2807"/>
                        <a:pt x="3273" y="2642"/>
                      </a:cubicBezTo>
                      <a:lnTo>
                        <a:pt x="3580" y="2367"/>
                      </a:lnTo>
                      <a:lnTo>
                        <a:pt x="3427" y="2073"/>
                      </a:lnTo>
                      <a:lnTo>
                        <a:pt x="3580" y="1761"/>
                      </a:lnTo>
                      <a:lnTo>
                        <a:pt x="3580" y="881"/>
                      </a:lnTo>
                      <a:lnTo>
                        <a:pt x="3919" y="917"/>
                      </a:lnTo>
                      <a:lnTo>
                        <a:pt x="5024" y="284"/>
                      </a:lnTo>
                      <a:lnTo>
                        <a:pt x="5311" y="0"/>
                      </a:lnTo>
                      <a:lnTo>
                        <a:pt x="5464" y="0"/>
                      </a:lnTo>
                      <a:lnTo>
                        <a:pt x="5933" y="0"/>
                      </a:lnTo>
                      <a:cubicBezTo>
                        <a:pt x="5987" y="202"/>
                        <a:pt x="6042" y="404"/>
                        <a:pt x="6096" y="606"/>
                      </a:cubicBezTo>
                      <a:lnTo>
                        <a:pt x="6096" y="881"/>
                      </a:lnTo>
                      <a:lnTo>
                        <a:pt x="6249" y="881"/>
                      </a:lnTo>
                      <a:lnTo>
                        <a:pt x="6555" y="1193"/>
                      </a:lnTo>
                      <a:lnTo>
                        <a:pt x="6770" y="935"/>
                      </a:lnTo>
                      <a:cubicBezTo>
                        <a:pt x="6804" y="1119"/>
                        <a:pt x="6885" y="797"/>
                        <a:pt x="6919" y="981"/>
                      </a:cubicBezTo>
                      <a:lnTo>
                        <a:pt x="7178" y="881"/>
                      </a:lnTo>
                      <a:lnTo>
                        <a:pt x="7493" y="606"/>
                      </a:lnTo>
                      <a:cubicBezTo>
                        <a:pt x="7544" y="899"/>
                        <a:pt x="7596" y="1193"/>
                        <a:pt x="7647" y="1486"/>
                      </a:cubicBezTo>
                      <a:lnTo>
                        <a:pt x="8269" y="3523"/>
                      </a:lnTo>
                      <a:lnTo>
                        <a:pt x="8431" y="2954"/>
                      </a:lnTo>
                      <a:lnTo>
                        <a:pt x="8584" y="3523"/>
                      </a:lnTo>
                      <a:lnTo>
                        <a:pt x="9053" y="3248"/>
                      </a:lnTo>
                      <a:lnTo>
                        <a:pt x="9522" y="4128"/>
                      </a:lnTo>
                      <a:lnTo>
                        <a:pt x="9847" y="4404"/>
                      </a:lnTo>
                      <a:lnTo>
                        <a:pt x="10000" y="4716"/>
                      </a:lnTo>
                      <a:lnTo>
                        <a:pt x="9847" y="5009"/>
                      </a:lnTo>
                      <a:close/>
                    </a:path>
                  </a:pathLst>
                </a:custGeom>
                <a:solidFill>
                  <a:srgbClr val="333399"/>
                </a:solidFill>
                <a:ln w="9525" cap="flat" cmpd="sng">
                  <a:solidFill>
                    <a:schemeClr val="bg2"/>
                  </a:solidFill>
                  <a:prstDash val="solid"/>
                  <a:round/>
                  <a:headEnd type="none" w="med" len="med"/>
                  <a:tailEnd type="none" w="med" len="med"/>
                </a:ln>
                <a:effectLst/>
                <a:extLst/>
              </p:spPr>
              <p:txBody>
                <a:bodyPr/>
                <a:lstStyle/>
                <a:p>
                  <a:endParaRPr lang="de-DE"/>
                </a:p>
              </p:txBody>
            </p:sp>
            <p:sp>
              <p:nvSpPr>
                <p:cNvPr id="452" name="Freeform 149"/>
                <p:cNvSpPr>
                  <a:spLocks/>
                </p:cNvSpPr>
                <p:nvPr>
                  <p:custDataLst>
                    <p:tags r:id="rId2"/>
                  </p:custDataLst>
                </p:nvPr>
              </p:nvSpPr>
              <p:spPr bwMode="auto">
                <a:xfrm>
                  <a:off x="5740667" y="2890511"/>
                  <a:ext cx="350974" cy="273050"/>
                </a:xfrm>
                <a:custGeom>
                  <a:avLst/>
                  <a:gdLst>
                    <a:gd name="T0" fmla="*/ 385080 w 400"/>
                    <a:gd name="T1" fmla="*/ 218440 h 240"/>
                    <a:gd name="T2" fmla="*/ 385080 w 400"/>
                    <a:gd name="T3" fmla="*/ 218440 h 240"/>
                    <a:gd name="T4" fmla="*/ 367943 w 400"/>
                    <a:gd name="T5" fmla="*/ 200237 h 240"/>
                    <a:gd name="T6" fmla="*/ 367943 w 400"/>
                    <a:gd name="T7" fmla="*/ 218440 h 240"/>
                    <a:gd name="T8" fmla="*/ 350806 w 400"/>
                    <a:gd name="T9" fmla="*/ 218440 h 240"/>
                    <a:gd name="T10" fmla="*/ 332661 w 400"/>
                    <a:gd name="T11" fmla="*/ 254847 h 240"/>
                    <a:gd name="T12" fmla="*/ 298387 w 400"/>
                    <a:gd name="T13" fmla="*/ 254847 h 240"/>
                    <a:gd name="T14" fmla="*/ 298387 w 400"/>
                    <a:gd name="T15" fmla="*/ 273050 h 240"/>
                    <a:gd name="T16" fmla="*/ 243951 w 400"/>
                    <a:gd name="T17" fmla="*/ 273050 h 240"/>
                    <a:gd name="T18" fmla="*/ 243951 w 400"/>
                    <a:gd name="T19" fmla="*/ 254847 h 240"/>
                    <a:gd name="T20" fmla="*/ 243951 w 400"/>
                    <a:gd name="T21" fmla="*/ 237781 h 240"/>
                    <a:gd name="T22" fmla="*/ 140121 w 400"/>
                    <a:gd name="T23" fmla="*/ 183171 h 240"/>
                    <a:gd name="T24" fmla="*/ 87701 w 400"/>
                    <a:gd name="T25" fmla="*/ 183171 h 240"/>
                    <a:gd name="T26" fmla="*/ 52419 w 400"/>
                    <a:gd name="T27" fmla="*/ 200237 h 240"/>
                    <a:gd name="T28" fmla="*/ 52419 w 400"/>
                    <a:gd name="T29" fmla="*/ 146764 h 240"/>
                    <a:gd name="T30" fmla="*/ 35282 w 400"/>
                    <a:gd name="T31" fmla="*/ 146764 h 240"/>
                    <a:gd name="T32" fmla="*/ 35282 w 400"/>
                    <a:gd name="T33" fmla="*/ 109220 h 240"/>
                    <a:gd name="T34" fmla="*/ 18145 w 400"/>
                    <a:gd name="T35" fmla="*/ 109220 h 240"/>
                    <a:gd name="T36" fmla="*/ 18145 w 400"/>
                    <a:gd name="T37" fmla="*/ 92154 h 240"/>
                    <a:gd name="T38" fmla="*/ 52419 w 400"/>
                    <a:gd name="T39" fmla="*/ 92154 h 240"/>
                    <a:gd name="T40" fmla="*/ 69556 w 400"/>
                    <a:gd name="T41" fmla="*/ 73951 h 240"/>
                    <a:gd name="T42" fmla="*/ 35282 w 400"/>
                    <a:gd name="T43" fmla="*/ 37544 h 240"/>
                    <a:gd name="T44" fmla="*/ 18145 w 400"/>
                    <a:gd name="T45" fmla="*/ 37544 h 240"/>
                    <a:gd name="T46" fmla="*/ 18145 w 400"/>
                    <a:gd name="T47" fmla="*/ 73951 h 240"/>
                    <a:gd name="T48" fmla="*/ 0 w 400"/>
                    <a:gd name="T49" fmla="*/ 37544 h 240"/>
                    <a:gd name="T50" fmla="*/ 52419 w 400"/>
                    <a:gd name="T51" fmla="*/ 19341 h 240"/>
                    <a:gd name="T52" fmla="*/ 87701 w 400"/>
                    <a:gd name="T53" fmla="*/ 54610 h 240"/>
                    <a:gd name="T54" fmla="*/ 104839 w 400"/>
                    <a:gd name="T55" fmla="*/ 54610 h 240"/>
                    <a:gd name="T56" fmla="*/ 121976 w 400"/>
                    <a:gd name="T57" fmla="*/ 54610 h 240"/>
                    <a:gd name="T58" fmla="*/ 121976 w 400"/>
                    <a:gd name="T59" fmla="*/ 37544 h 240"/>
                    <a:gd name="T60" fmla="*/ 157258 w 400"/>
                    <a:gd name="T61" fmla="*/ 19341 h 240"/>
                    <a:gd name="T62" fmla="*/ 174395 w 400"/>
                    <a:gd name="T63" fmla="*/ 19341 h 240"/>
                    <a:gd name="T64" fmla="*/ 157258 w 400"/>
                    <a:gd name="T65" fmla="*/ 0 h 240"/>
                    <a:gd name="T66" fmla="*/ 174395 w 400"/>
                    <a:gd name="T67" fmla="*/ 0 h 240"/>
                    <a:gd name="T68" fmla="*/ 209677 w 400"/>
                    <a:gd name="T69" fmla="*/ 19341 h 240"/>
                    <a:gd name="T70" fmla="*/ 209677 w 400"/>
                    <a:gd name="T71" fmla="*/ 54610 h 240"/>
                    <a:gd name="T72" fmla="*/ 261088 w 400"/>
                    <a:gd name="T73" fmla="*/ 54610 h 240"/>
                    <a:gd name="T74" fmla="*/ 281249 w 400"/>
                    <a:gd name="T75" fmla="*/ 109220 h 240"/>
                    <a:gd name="T76" fmla="*/ 367943 w 400"/>
                    <a:gd name="T77" fmla="*/ 163830 h 240"/>
                    <a:gd name="T78" fmla="*/ 403225 w 400"/>
                    <a:gd name="T79" fmla="*/ 183171 h 240"/>
                    <a:gd name="T80" fmla="*/ 385080 w 400"/>
                    <a:gd name="T81" fmla="*/ 218440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connsiteX0" fmla="*/ 9550 w 10000"/>
                    <a:gd name="connsiteY0" fmla="*/ 8000 h 10000"/>
                    <a:gd name="connsiteX1" fmla="*/ 9550 w 10000"/>
                    <a:gd name="connsiteY1" fmla="*/ 8000 h 10000"/>
                    <a:gd name="connsiteX2" fmla="*/ 9125 w 10000"/>
                    <a:gd name="connsiteY2" fmla="*/ 7333 h 10000"/>
                    <a:gd name="connsiteX3" fmla="*/ 9125 w 10000"/>
                    <a:gd name="connsiteY3" fmla="*/ 8000 h 10000"/>
                    <a:gd name="connsiteX4" fmla="*/ 8700 w 10000"/>
                    <a:gd name="connsiteY4" fmla="*/ 8000 h 10000"/>
                    <a:gd name="connsiteX5" fmla="*/ 8250 w 10000"/>
                    <a:gd name="connsiteY5" fmla="*/ 9333 h 10000"/>
                    <a:gd name="connsiteX6" fmla="*/ 7400 w 10000"/>
                    <a:gd name="connsiteY6" fmla="*/ 9333 h 10000"/>
                    <a:gd name="connsiteX7" fmla="*/ 7400 w 10000"/>
                    <a:gd name="connsiteY7" fmla="*/ 10000 h 10000"/>
                    <a:gd name="connsiteX8" fmla="*/ 6050 w 10000"/>
                    <a:gd name="connsiteY8" fmla="*/ 10000 h 10000"/>
                    <a:gd name="connsiteX9" fmla="*/ 6050 w 10000"/>
                    <a:gd name="connsiteY9" fmla="*/ 9333 h 10000"/>
                    <a:gd name="connsiteX10" fmla="*/ 6050 w 10000"/>
                    <a:gd name="connsiteY10" fmla="*/ 8708 h 10000"/>
                    <a:gd name="connsiteX11" fmla="*/ 3475 w 10000"/>
                    <a:gd name="connsiteY11" fmla="*/ 6708 h 10000"/>
                    <a:gd name="connsiteX12" fmla="*/ 2175 w 10000"/>
                    <a:gd name="connsiteY12" fmla="*/ 6708 h 10000"/>
                    <a:gd name="connsiteX13" fmla="*/ 1300 w 10000"/>
                    <a:gd name="connsiteY13" fmla="*/ 7700 h 10000"/>
                    <a:gd name="connsiteX14" fmla="*/ 1300 w 10000"/>
                    <a:gd name="connsiteY14" fmla="*/ 5375 h 10000"/>
                    <a:gd name="connsiteX15" fmla="*/ 875 w 10000"/>
                    <a:gd name="connsiteY15" fmla="*/ 5375 h 10000"/>
                    <a:gd name="connsiteX16" fmla="*/ 875 w 10000"/>
                    <a:gd name="connsiteY16" fmla="*/ 4000 h 10000"/>
                    <a:gd name="connsiteX17" fmla="*/ 450 w 10000"/>
                    <a:gd name="connsiteY17" fmla="*/ 4000 h 10000"/>
                    <a:gd name="connsiteX18" fmla="*/ 450 w 10000"/>
                    <a:gd name="connsiteY18" fmla="*/ 3375 h 10000"/>
                    <a:gd name="connsiteX19" fmla="*/ 1300 w 10000"/>
                    <a:gd name="connsiteY19" fmla="*/ 3375 h 10000"/>
                    <a:gd name="connsiteX20" fmla="*/ 1725 w 10000"/>
                    <a:gd name="connsiteY20" fmla="*/ 2708 h 10000"/>
                    <a:gd name="connsiteX21" fmla="*/ 875 w 10000"/>
                    <a:gd name="connsiteY21" fmla="*/ 1375 h 10000"/>
                    <a:gd name="connsiteX22" fmla="*/ 450 w 10000"/>
                    <a:gd name="connsiteY22" fmla="*/ 1375 h 10000"/>
                    <a:gd name="connsiteX23" fmla="*/ 450 w 10000"/>
                    <a:gd name="connsiteY23" fmla="*/ 2708 h 10000"/>
                    <a:gd name="connsiteX24" fmla="*/ 0 w 10000"/>
                    <a:gd name="connsiteY24" fmla="*/ 1375 h 10000"/>
                    <a:gd name="connsiteX25" fmla="*/ 1300 w 10000"/>
                    <a:gd name="connsiteY25" fmla="*/ 708 h 10000"/>
                    <a:gd name="connsiteX26" fmla="*/ 2175 w 10000"/>
                    <a:gd name="connsiteY26" fmla="*/ 2000 h 10000"/>
                    <a:gd name="connsiteX27" fmla="*/ 2600 w 10000"/>
                    <a:gd name="connsiteY27" fmla="*/ 2000 h 10000"/>
                    <a:gd name="connsiteX28" fmla="*/ 3025 w 10000"/>
                    <a:gd name="connsiteY28" fmla="*/ 2000 h 10000"/>
                    <a:gd name="connsiteX29" fmla="*/ 3025 w 10000"/>
                    <a:gd name="connsiteY29" fmla="*/ 1375 h 10000"/>
                    <a:gd name="connsiteX30" fmla="*/ 3900 w 10000"/>
                    <a:gd name="connsiteY30" fmla="*/ 708 h 10000"/>
                    <a:gd name="connsiteX31" fmla="*/ 4325 w 10000"/>
                    <a:gd name="connsiteY31" fmla="*/ 708 h 10000"/>
                    <a:gd name="connsiteX32" fmla="*/ 3900 w 10000"/>
                    <a:gd name="connsiteY32" fmla="*/ 0 h 10000"/>
                    <a:gd name="connsiteX33" fmla="*/ 4325 w 10000"/>
                    <a:gd name="connsiteY33" fmla="*/ 0 h 10000"/>
                    <a:gd name="connsiteX34" fmla="*/ 5200 w 10000"/>
                    <a:gd name="connsiteY34" fmla="*/ 708 h 10000"/>
                    <a:gd name="connsiteX35" fmla="*/ 5200 w 10000"/>
                    <a:gd name="connsiteY35" fmla="*/ 2000 h 10000"/>
                    <a:gd name="connsiteX36" fmla="*/ 6475 w 10000"/>
                    <a:gd name="connsiteY36" fmla="*/ 2000 h 10000"/>
                    <a:gd name="connsiteX37" fmla="*/ 6975 w 10000"/>
                    <a:gd name="connsiteY37" fmla="*/ 4000 h 10000"/>
                    <a:gd name="connsiteX38" fmla="*/ 9125 w 10000"/>
                    <a:gd name="connsiteY38" fmla="*/ 6000 h 10000"/>
                    <a:gd name="connsiteX39" fmla="*/ 10000 w 10000"/>
                    <a:gd name="connsiteY39" fmla="*/ 6708 h 10000"/>
                    <a:gd name="connsiteX40" fmla="*/ 9550 w 10000"/>
                    <a:gd name="connsiteY40" fmla="*/ 8000 h 10000"/>
                    <a:gd name="connsiteX0" fmla="*/ 9100 w 9550"/>
                    <a:gd name="connsiteY0" fmla="*/ 8000 h 10000"/>
                    <a:gd name="connsiteX1" fmla="*/ 9100 w 9550"/>
                    <a:gd name="connsiteY1" fmla="*/ 8000 h 10000"/>
                    <a:gd name="connsiteX2" fmla="*/ 8675 w 9550"/>
                    <a:gd name="connsiteY2" fmla="*/ 7333 h 10000"/>
                    <a:gd name="connsiteX3" fmla="*/ 8675 w 9550"/>
                    <a:gd name="connsiteY3" fmla="*/ 8000 h 10000"/>
                    <a:gd name="connsiteX4" fmla="*/ 8250 w 9550"/>
                    <a:gd name="connsiteY4" fmla="*/ 8000 h 10000"/>
                    <a:gd name="connsiteX5" fmla="*/ 7800 w 9550"/>
                    <a:gd name="connsiteY5" fmla="*/ 9333 h 10000"/>
                    <a:gd name="connsiteX6" fmla="*/ 6950 w 9550"/>
                    <a:gd name="connsiteY6" fmla="*/ 9333 h 10000"/>
                    <a:gd name="connsiteX7" fmla="*/ 6950 w 9550"/>
                    <a:gd name="connsiteY7" fmla="*/ 10000 h 10000"/>
                    <a:gd name="connsiteX8" fmla="*/ 5600 w 9550"/>
                    <a:gd name="connsiteY8" fmla="*/ 10000 h 10000"/>
                    <a:gd name="connsiteX9" fmla="*/ 5600 w 9550"/>
                    <a:gd name="connsiteY9" fmla="*/ 9333 h 10000"/>
                    <a:gd name="connsiteX10" fmla="*/ 5600 w 9550"/>
                    <a:gd name="connsiteY10" fmla="*/ 8708 h 10000"/>
                    <a:gd name="connsiteX11" fmla="*/ 3025 w 9550"/>
                    <a:gd name="connsiteY11" fmla="*/ 6708 h 10000"/>
                    <a:gd name="connsiteX12" fmla="*/ 1725 w 9550"/>
                    <a:gd name="connsiteY12" fmla="*/ 6708 h 10000"/>
                    <a:gd name="connsiteX13" fmla="*/ 850 w 9550"/>
                    <a:gd name="connsiteY13" fmla="*/ 7700 h 10000"/>
                    <a:gd name="connsiteX14" fmla="*/ 850 w 9550"/>
                    <a:gd name="connsiteY14" fmla="*/ 5375 h 10000"/>
                    <a:gd name="connsiteX15" fmla="*/ 425 w 9550"/>
                    <a:gd name="connsiteY15" fmla="*/ 5375 h 10000"/>
                    <a:gd name="connsiteX16" fmla="*/ 425 w 9550"/>
                    <a:gd name="connsiteY16" fmla="*/ 4000 h 10000"/>
                    <a:gd name="connsiteX17" fmla="*/ 0 w 9550"/>
                    <a:gd name="connsiteY17" fmla="*/ 4000 h 10000"/>
                    <a:gd name="connsiteX18" fmla="*/ 0 w 9550"/>
                    <a:gd name="connsiteY18" fmla="*/ 3375 h 10000"/>
                    <a:gd name="connsiteX19" fmla="*/ 850 w 9550"/>
                    <a:gd name="connsiteY19" fmla="*/ 3375 h 10000"/>
                    <a:gd name="connsiteX20" fmla="*/ 1275 w 9550"/>
                    <a:gd name="connsiteY20" fmla="*/ 2708 h 10000"/>
                    <a:gd name="connsiteX21" fmla="*/ 425 w 9550"/>
                    <a:gd name="connsiteY21" fmla="*/ 1375 h 10000"/>
                    <a:gd name="connsiteX22" fmla="*/ 0 w 9550"/>
                    <a:gd name="connsiteY22" fmla="*/ 1375 h 10000"/>
                    <a:gd name="connsiteX23" fmla="*/ 0 w 9550"/>
                    <a:gd name="connsiteY23" fmla="*/ 2708 h 10000"/>
                    <a:gd name="connsiteX24" fmla="*/ 850 w 9550"/>
                    <a:gd name="connsiteY24" fmla="*/ 708 h 10000"/>
                    <a:gd name="connsiteX25" fmla="*/ 1725 w 9550"/>
                    <a:gd name="connsiteY25" fmla="*/ 2000 h 10000"/>
                    <a:gd name="connsiteX26" fmla="*/ 2150 w 9550"/>
                    <a:gd name="connsiteY26" fmla="*/ 2000 h 10000"/>
                    <a:gd name="connsiteX27" fmla="*/ 2575 w 9550"/>
                    <a:gd name="connsiteY27" fmla="*/ 2000 h 10000"/>
                    <a:gd name="connsiteX28" fmla="*/ 2575 w 9550"/>
                    <a:gd name="connsiteY28" fmla="*/ 1375 h 10000"/>
                    <a:gd name="connsiteX29" fmla="*/ 3450 w 9550"/>
                    <a:gd name="connsiteY29" fmla="*/ 708 h 10000"/>
                    <a:gd name="connsiteX30" fmla="*/ 3875 w 9550"/>
                    <a:gd name="connsiteY30" fmla="*/ 708 h 10000"/>
                    <a:gd name="connsiteX31" fmla="*/ 3450 w 9550"/>
                    <a:gd name="connsiteY31" fmla="*/ 0 h 10000"/>
                    <a:gd name="connsiteX32" fmla="*/ 3875 w 9550"/>
                    <a:gd name="connsiteY32" fmla="*/ 0 h 10000"/>
                    <a:gd name="connsiteX33" fmla="*/ 4750 w 9550"/>
                    <a:gd name="connsiteY33" fmla="*/ 708 h 10000"/>
                    <a:gd name="connsiteX34" fmla="*/ 4750 w 9550"/>
                    <a:gd name="connsiteY34" fmla="*/ 2000 h 10000"/>
                    <a:gd name="connsiteX35" fmla="*/ 6025 w 9550"/>
                    <a:gd name="connsiteY35" fmla="*/ 2000 h 10000"/>
                    <a:gd name="connsiteX36" fmla="*/ 6525 w 9550"/>
                    <a:gd name="connsiteY36" fmla="*/ 4000 h 10000"/>
                    <a:gd name="connsiteX37" fmla="*/ 8675 w 9550"/>
                    <a:gd name="connsiteY37" fmla="*/ 6000 h 10000"/>
                    <a:gd name="connsiteX38" fmla="*/ 9550 w 9550"/>
                    <a:gd name="connsiteY38" fmla="*/ 6708 h 10000"/>
                    <a:gd name="connsiteX39" fmla="*/ 9100 w 9550"/>
                    <a:gd name="connsiteY39" fmla="*/ 8000 h 10000"/>
                    <a:gd name="connsiteX0" fmla="*/ 9529 w 10000"/>
                    <a:gd name="connsiteY0" fmla="*/ 8000 h 10000"/>
                    <a:gd name="connsiteX1" fmla="*/ 9529 w 10000"/>
                    <a:gd name="connsiteY1" fmla="*/ 8000 h 10000"/>
                    <a:gd name="connsiteX2" fmla="*/ 9084 w 10000"/>
                    <a:gd name="connsiteY2" fmla="*/ 7333 h 10000"/>
                    <a:gd name="connsiteX3" fmla="*/ 9084 w 10000"/>
                    <a:gd name="connsiteY3" fmla="*/ 8000 h 10000"/>
                    <a:gd name="connsiteX4" fmla="*/ 8639 w 10000"/>
                    <a:gd name="connsiteY4" fmla="*/ 8000 h 10000"/>
                    <a:gd name="connsiteX5" fmla="*/ 8168 w 10000"/>
                    <a:gd name="connsiteY5" fmla="*/ 9333 h 10000"/>
                    <a:gd name="connsiteX6" fmla="*/ 7277 w 10000"/>
                    <a:gd name="connsiteY6" fmla="*/ 9333 h 10000"/>
                    <a:gd name="connsiteX7" fmla="*/ 7277 w 10000"/>
                    <a:gd name="connsiteY7" fmla="*/ 10000 h 10000"/>
                    <a:gd name="connsiteX8" fmla="*/ 5864 w 10000"/>
                    <a:gd name="connsiteY8" fmla="*/ 10000 h 10000"/>
                    <a:gd name="connsiteX9" fmla="*/ 5864 w 10000"/>
                    <a:gd name="connsiteY9" fmla="*/ 9333 h 10000"/>
                    <a:gd name="connsiteX10" fmla="*/ 5864 w 10000"/>
                    <a:gd name="connsiteY10" fmla="*/ 8708 h 10000"/>
                    <a:gd name="connsiteX11" fmla="*/ 3168 w 10000"/>
                    <a:gd name="connsiteY11" fmla="*/ 6708 h 10000"/>
                    <a:gd name="connsiteX12" fmla="*/ 1806 w 10000"/>
                    <a:gd name="connsiteY12" fmla="*/ 6708 h 10000"/>
                    <a:gd name="connsiteX13" fmla="*/ 890 w 10000"/>
                    <a:gd name="connsiteY13" fmla="*/ 7700 h 10000"/>
                    <a:gd name="connsiteX14" fmla="*/ 890 w 10000"/>
                    <a:gd name="connsiteY14" fmla="*/ 5375 h 10000"/>
                    <a:gd name="connsiteX15" fmla="*/ 445 w 10000"/>
                    <a:gd name="connsiteY15" fmla="*/ 5375 h 10000"/>
                    <a:gd name="connsiteX16" fmla="*/ 445 w 10000"/>
                    <a:gd name="connsiteY16" fmla="*/ 4000 h 10000"/>
                    <a:gd name="connsiteX17" fmla="*/ 0 w 10000"/>
                    <a:gd name="connsiteY17" fmla="*/ 4000 h 10000"/>
                    <a:gd name="connsiteX18" fmla="*/ 0 w 10000"/>
                    <a:gd name="connsiteY18" fmla="*/ 3375 h 10000"/>
                    <a:gd name="connsiteX19" fmla="*/ 890 w 10000"/>
                    <a:gd name="connsiteY19" fmla="*/ 3375 h 10000"/>
                    <a:gd name="connsiteX20" fmla="*/ 445 w 10000"/>
                    <a:gd name="connsiteY20" fmla="*/ 1375 h 10000"/>
                    <a:gd name="connsiteX21" fmla="*/ 0 w 10000"/>
                    <a:gd name="connsiteY21" fmla="*/ 1375 h 10000"/>
                    <a:gd name="connsiteX22" fmla="*/ 0 w 10000"/>
                    <a:gd name="connsiteY22" fmla="*/ 2708 h 10000"/>
                    <a:gd name="connsiteX23" fmla="*/ 890 w 10000"/>
                    <a:gd name="connsiteY23" fmla="*/ 708 h 10000"/>
                    <a:gd name="connsiteX24" fmla="*/ 1806 w 10000"/>
                    <a:gd name="connsiteY24" fmla="*/ 2000 h 10000"/>
                    <a:gd name="connsiteX25" fmla="*/ 2251 w 10000"/>
                    <a:gd name="connsiteY25" fmla="*/ 2000 h 10000"/>
                    <a:gd name="connsiteX26" fmla="*/ 2696 w 10000"/>
                    <a:gd name="connsiteY26" fmla="*/ 2000 h 10000"/>
                    <a:gd name="connsiteX27" fmla="*/ 2696 w 10000"/>
                    <a:gd name="connsiteY27" fmla="*/ 1375 h 10000"/>
                    <a:gd name="connsiteX28" fmla="*/ 3613 w 10000"/>
                    <a:gd name="connsiteY28" fmla="*/ 708 h 10000"/>
                    <a:gd name="connsiteX29" fmla="*/ 4058 w 10000"/>
                    <a:gd name="connsiteY29" fmla="*/ 708 h 10000"/>
                    <a:gd name="connsiteX30" fmla="*/ 3613 w 10000"/>
                    <a:gd name="connsiteY30" fmla="*/ 0 h 10000"/>
                    <a:gd name="connsiteX31" fmla="*/ 4058 w 10000"/>
                    <a:gd name="connsiteY31" fmla="*/ 0 h 10000"/>
                    <a:gd name="connsiteX32" fmla="*/ 4974 w 10000"/>
                    <a:gd name="connsiteY32" fmla="*/ 708 h 10000"/>
                    <a:gd name="connsiteX33" fmla="*/ 4974 w 10000"/>
                    <a:gd name="connsiteY33" fmla="*/ 2000 h 10000"/>
                    <a:gd name="connsiteX34" fmla="*/ 6309 w 10000"/>
                    <a:gd name="connsiteY34" fmla="*/ 2000 h 10000"/>
                    <a:gd name="connsiteX35" fmla="*/ 6832 w 10000"/>
                    <a:gd name="connsiteY35" fmla="*/ 4000 h 10000"/>
                    <a:gd name="connsiteX36" fmla="*/ 9084 w 10000"/>
                    <a:gd name="connsiteY36" fmla="*/ 6000 h 10000"/>
                    <a:gd name="connsiteX37" fmla="*/ 10000 w 10000"/>
                    <a:gd name="connsiteY37" fmla="*/ 6708 h 10000"/>
                    <a:gd name="connsiteX38" fmla="*/ 9529 w 10000"/>
                    <a:gd name="connsiteY38" fmla="*/ 8000 h 10000"/>
                    <a:gd name="connsiteX0" fmla="*/ 9529 w 10000"/>
                    <a:gd name="connsiteY0" fmla="*/ 8000 h 10000"/>
                    <a:gd name="connsiteX1" fmla="*/ 9529 w 10000"/>
                    <a:gd name="connsiteY1" fmla="*/ 8000 h 10000"/>
                    <a:gd name="connsiteX2" fmla="*/ 9084 w 10000"/>
                    <a:gd name="connsiteY2" fmla="*/ 7333 h 10000"/>
                    <a:gd name="connsiteX3" fmla="*/ 9084 w 10000"/>
                    <a:gd name="connsiteY3" fmla="*/ 8000 h 10000"/>
                    <a:gd name="connsiteX4" fmla="*/ 8639 w 10000"/>
                    <a:gd name="connsiteY4" fmla="*/ 8000 h 10000"/>
                    <a:gd name="connsiteX5" fmla="*/ 8168 w 10000"/>
                    <a:gd name="connsiteY5" fmla="*/ 9333 h 10000"/>
                    <a:gd name="connsiteX6" fmla="*/ 7277 w 10000"/>
                    <a:gd name="connsiteY6" fmla="*/ 9333 h 10000"/>
                    <a:gd name="connsiteX7" fmla="*/ 7277 w 10000"/>
                    <a:gd name="connsiteY7" fmla="*/ 10000 h 10000"/>
                    <a:gd name="connsiteX8" fmla="*/ 5864 w 10000"/>
                    <a:gd name="connsiteY8" fmla="*/ 10000 h 10000"/>
                    <a:gd name="connsiteX9" fmla="*/ 5864 w 10000"/>
                    <a:gd name="connsiteY9" fmla="*/ 9333 h 10000"/>
                    <a:gd name="connsiteX10" fmla="*/ 5864 w 10000"/>
                    <a:gd name="connsiteY10" fmla="*/ 8708 h 10000"/>
                    <a:gd name="connsiteX11" fmla="*/ 3168 w 10000"/>
                    <a:gd name="connsiteY11" fmla="*/ 6708 h 10000"/>
                    <a:gd name="connsiteX12" fmla="*/ 1806 w 10000"/>
                    <a:gd name="connsiteY12" fmla="*/ 6708 h 10000"/>
                    <a:gd name="connsiteX13" fmla="*/ 890 w 10000"/>
                    <a:gd name="connsiteY13" fmla="*/ 7700 h 10000"/>
                    <a:gd name="connsiteX14" fmla="*/ 890 w 10000"/>
                    <a:gd name="connsiteY14" fmla="*/ 5375 h 10000"/>
                    <a:gd name="connsiteX15" fmla="*/ 445 w 10000"/>
                    <a:gd name="connsiteY15" fmla="*/ 5375 h 10000"/>
                    <a:gd name="connsiteX16" fmla="*/ 445 w 10000"/>
                    <a:gd name="connsiteY16" fmla="*/ 4000 h 10000"/>
                    <a:gd name="connsiteX17" fmla="*/ 0 w 10000"/>
                    <a:gd name="connsiteY17" fmla="*/ 4000 h 10000"/>
                    <a:gd name="connsiteX18" fmla="*/ 0 w 10000"/>
                    <a:gd name="connsiteY18" fmla="*/ 3375 h 10000"/>
                    <a:gd name="connsiteX19" fmla="*/ 445 w 10000"/>
                    <a:gd name="connsiteY19" fmla="*/ 1375 h 10000"/>
                    <a:gd name="connsiteX20" fmla="*/ 0 w 10000"/>
                    <a:gd name="connsiteY20" fmla="*/ 1375 h 10000"/>
                    <a:gd name="connsiteX21" fmla="*/ 0 w 10000"/>
                    <a:gd name="connsiteY21" fmla="*/ 2708 h 10000"/>
                    <a:gd name="connsiteX22" fmla="*/ 890 w 10000"/>
                    <a:gd name="connsiteY22" fmla="*/ 708 h 10000"/>
                    <a:gd name="connsiteX23" fmla="*/ 1806 w 10000"/>
                    <a:gd name="connsiteY23" fmla="*/ 2000 h 10000"/>
                    <a:gd name="connsiteX24" fmla="*/ 2251 w 10000"/>
                    <a:gd name="connsiteY24" fmla="*/ 2000 h 10000"/>
                    <a:gd name="connsiteX25" fmla="*/ 2696 w 10000"/>
                    <a:gd name="connsiteY25" fmla="*/ 2000 h 10000"/>
                    <a:gd name="connsiteX26" fmla="*/ 2696 w 10000"/>
                    <a:gd name="connsiteY26" fmla="*/ 1375 h 10000"/>
                    <a:gd name="connsiteX27" fmla="*/ 3613 w 10000"/>
                    <a:gd name="connsiteY27" fmla="*/ 708 h 10000"/>
                    <a:gd name="connsiteX28" fmla="*/ 4058 w 10000"/>
                    <a:gd name="connsiteY28" fmla="*/ 708 h 10000"/>
                    <a:gd name="connsiteX29" fmla="*/ 3613 w 10000"/>
                    <a:gd name="connsiteY29" fmla="*/ 0 h 10000"/>
                    <a:gd name="connsiteX30" fmla="*/ 4058 w 10000"/>
                    <a:gd name="connsiteY30" fmla="*/ 0 h 10000"/>
                    <a:gd name="connsiteX31" fmla="*/ 4974 w 10000"/>
                    <a:gd name="connsiteY31" fmla="*/ 708 h 10000"/>
                    <a:gd name="connsiteX32" fmla="*/ 4974 w 10000"/>
                    <a:gd name="connsiteY32" fmla="*/ 2000 h 10000"/>
                    <a:gd name="connsiteX33" fmla="*/ 6309 w 10000"/>
                    <a:gd name="connsiteY33" fmla="*/ 2000 h 10000"/>
                    <a:gd name="connsiteX34" fmla="*/ 6832 w 10000"/>
                    <a:gd name="connsiteY34" fmla="*/ 4000 h 10000"/>
                    <a:gd name="connsiteX35" fmla="*/ 9084 w 10000"/>
                    <a:gd name="connsiteY35" fmla="*/ 6000 h 10000"/>
                    <a:gd name="connsiteX36" fmla="*/ 10000 w 10000"/>
                    <a:gd name="connsiteY36" fmla="*/ 6708 h 10000"/>
                    <a:gd name="connsiteX37" fmla="*/ 9529 w 10000"/>
                    <a:gd name="connsiteY37" fmla="*/ 8000 h 10000"/>
                    <a:gd name="connsiteX0" fmla="*/ 9529 w 10000"/>
                    <a:gd name="connsiteY0" fmla="*/ 8000 h 10000"/>
                    <a:gd name="connsiteX1" fmla="*/ 9529 w 10000"/>
                    <a:gd name="connsiteY1" fmla="*/ 8000 h 10000"/>
                    <a:gd name="connsiteX2" fmla="*/ 9084 w 10000"/>
                    <a:gd name="connsiteY2" fmla="*/ 7333 h 10000"/>
                    <a:gd name="connsiteX3" fmla="*/ 9084 w 10000"/>
                    <a:gd name="connsiteY3" fmla="*/ 8000 h 10000"/>
                    <a:gd name="connsiteX4" fmla="*/ 8639 w 10000"/>
                    <a:gd name="connsiteY4" fmla="*/ 8000 h 10000"/>
                    <a:gd name="connsiteX5" fmla="*/ 8168 w 10000"/>
                    <a:gd name="connsiteY5" fmla="*/ 9333 h 10000"/>
                    <a:gd name="connsiteX6" fmla="*/ 7277 w 10000"/>
                    <a:gd name="connsiteY6" fmla="*/ 9333 h 10000"/>
                    <a:gd name="connsiteX7" fmla="*/ 7277 w 10000"/>
                    <a:gd name="connsiteY7" fmla="*/ 10000 h 10000"/>
                    <a:gd name="connsiteX8" fmla="*/ 5864 w 10000"/>
                    <a:gd name="connsiteY8" fmla="*/ 10000 h 10000"/>
                    <a:gd name="connsiteX9" fmla="*/ 5864 w 10000"/>
                    <a:gd name="connsiteY9" fmla="*/ 9333 h 10000"/>
                    <a:gd name="connsiteX10" fmla="*/ 5864 w 10000"/>
                    <a:gd name="connsiteY10" fmla="*/ 8708 h 10000"/>
                    <a:gd name="connsiteX11" fmla="*/ 3168 w 10000"/>
                    <a:gd name="connsiteY11" fmla="*/ 6708 h 10000"/>
                    <a:gd name="connsiteX12" fmla="*/ 1806 w 10000"/>
                    <a:gd name="connsiteY12" fmla="*/ 6708 h 10000"/>
                    <a:gd name="connsiteX13" fmla="*/ 890 w 10000"/>
                    <a:gd name="connsiteY13" fmla="*/ 7700 h 10000"/>
                    <a:gd name="connsiteX14" fmla="*/ 890 w 10000"/>
                    <a:gd name="connsiteY14" fmla="*/ 5375 h 10000"/>
                    <a:gd name="connsiteX15" fmla="*/ 445 w 10000"/>
                    <a:gd name="connsiteY15" fmla="*/ 5375 h 10000"/>
                    <a:gd name="connsiteX16" fmla="*/ 445 w 10000"/>
                    <a:gd name="connsiteY16" fmla="*/ 4000 h 10000"/>
                    <a:gd name="connsiteX17" fmla="*/ 0 w 10000"/>
                    <a:gd name="connsiteY17" fmla="*/ 4000 h 10000"/>
                    <a:gd name="connsiteX18" fmla="*/ 0 w 10000"/>
                    <a:gd name="connsiteY18" fmla="*/ 3375 h 10000"/>
                    <a:gd name="connsiteX19" fmla="*/ 445 w 10000"/>
                    <a:gd name="connsiteY19" fmla="*/ 1375 h 10000"/>
                    <a:gd name="connsiteX20" fmla="*/ 0 w 10000"/>
                    <a:gd name="connsiteY20" fmla="*/ 2708 h 10000"/>
                    <a:gd name="connsiteX21" fmla="*/ 890 w 10000"/>
                    <a:gd name="connsiteY21" fmla="*/ 708 h 10000"/>
                    <a:gd name="connsiteX22" fmla="*/ 1806 w 10000"/>
                    <a:gd name="connsiteY22" fmla="*/ 2000 h 10000"/>
                    <a:gd name="connsiteX23" fmla="*/ 2251 w 10000"/>
                    <a:gd name="connsiteY23" fmla="*/ 2000 h 10000"/>
                    <a:gd name="connsiteX24" fmla="*/ 2696 w 10000"/>
                    <a:gd name="connsiteY24" fmla="*/ 2000 h 10000"/>
                    <a:gd name="connsiteX25" fmla="*/ 2696 w 10000"/>
                    <a:gd name="connsiteY25" fmla="*/ 1375 h 10000"/>
                    <a:gd name="connsiteX26" fmla="*/ 3613 w 10000"/>
                    <a:gd name="connsiteY26" fmla="*/ 708 h 10000"/>
                    <a:gd name="connsiteX27" fmla="*/ 4058 w 10000"/>
                    <a:gd name="connsiteY27" fmla="*/ 708 h 10000"/>
                    <a:gd name="connsiteX28" fmla="*/ 3613 w 10000"/>
                    <a:gd name="connsiteY28" fmla="*/ 0 h 10000"/>
                    <a:gd name="connsiteX29" fmla="*/ 4058 w 10000"/>
                    <a:gd name="connsiteY29" fmla="*/ 0 h 10000"/>
                    <a:gd name="connsiteX30" fmla="*/ 4974 w 10000"/>
                    <a:gd name="connsiteY30" fmla="*/ 708 h 10000"/>
                    <a:gd name="connsiteX31" fmla="*/ 4974 w 10000"/>
                    <a:gd name="connsiteY31" fmla="*/ 2000 h 10000"/>
                    <a:gd name="connsiteX32" fmla="*/ 6309 w 10000"/>
                    <a:gd name="connsiteY32" fmla="*/ 2000 h 10000"/>
                    <a:gd name="connsiteX33" fmla="*/ 6832 w 10000"/>
                    <a:gd name="connsiteY33" fmla="*/ 4000 h 10000"/>
                    <a:gd name="connsiteX34" fmla="*/ 9084 w 10000"/>
                    <a:gd name="connsiteY34" fmla="*/ 6000 h 10000"/>
                    <a:gd name="connsiteX35" fmla="*/ 10000 w 10000"/>
                    <a:gd name="connsiteY35" fmla="*/ 6708 h 10000"/>
                    <a:gd name="connsiteX36" fmla="*/ 9529 w 10000"/>
                    <a:gd name="connsiteY36" fmla="*/ 8000 h 10000"/>
                    <a:gd name="connsiteX0" fmla="*/ 9529 w 10000"/>
                    <a:gd name="connsiteY0" fmla="*/ 8000 h 10000"/>
                    <a:gd name="connsiteX1" fmla="*/ 9529 w 10000"/>
                    <a:gd name="connsiteY1" fmla="*/ 8000 h 10000"/>
                    <a:gd name="connsiteX2" fmla="*/ 9084 w 10000"/>
                    <a:gd name="connsiteY2" fmla="*/ 7333 h 10000"/>
                    <a:gd name="connsiteX3" fmla="*/ 9084 w 10000"/>
                    <a:gd name="connsiteY3" fmla="*/ 8000 h 10000"/>
                    <a:gd name="connsiteX4" fmla="*/ 8639 w 10000"/>
                    <a:gd name="connsiteY4" fmla="*/ 8000 h 10000"/>
                    <a:gd name="connsiteX5" fmla="*/ 8168 w 10000"/>
                    <a:gd name="connsiteY5" fmla="*/ 9333 h 10000"/>
                    <a:gd name="connsiteX6" fmla="*/ 7277 w 10000"/>
                    <a:gd name="connsiteY6" fmla="*/ 9333 h 10000"/>
                    <a:gd name="connsiteX7" fmla="*/ 7277 w 10000"/>
                    <a:gd name="connsiteY7" fmla="*/ 10000 h 10000"/>
                    <a:gd name="connsiteX8" fmla="*/ 5864 w 10000"/>
                    <a:gd name="connsiteY8" fmla="*/ 10000 h 10000"/>
                    <a:gd name="connsiteX9" fmla="*/ 5864 w 10000"/>
                    <a:gd name="connsiteY9" fmla="*/ 9333 h 10000"/>
                    <a:gd name="connsiteX10" fmla="*/ 5864 w 10000"/>
                    <a:gd name="connsiteY10" fmla="*/ 8708 h 10000"/>
                    <a:gd name="connsiteX11" fmla="*/ 3168 w 10000"/>
                    <a:gd name="connsiteY11" fmla="*/ 6708 h 10000"/>
                    <a:gd name="connsiteX12" fmla="*/ 1806 w 10000"/>
                    <a:gd name="connsiteY12" fmla="*/ 6708 h 10000"/>
                    <a:gd name="connsiteX13" fmla="*/ 890 w 10000"/>
                    <a:gd name="connsiteY13" fmla="*/ 7700 h 10000"/>
                    <a:gd name="connsiteX14" fmla="*/ 890 w 10000"/>
                    <a:gd name="connsiteY14" fmla="*/ 5375 h 10000"/>
                    <a:gd name="connsiteX15" fmla="*/ 445 w 10000"/>
                    <a:gd name="connsiteY15" fmla="*/ 5375 h 10000"/>
                    <a:gd name="connsiteX16" fmla="*/ 445 w 10000"/>
                    <a:gd name="connsiteY16" fmla="*/ 4000 h 10000"/>
                    <a:gd name="connsiteX17" fmla="*/ 0 w 10000"/>
                    <a:gd name="connsiteY17" fmla="*/ 4000 h 10000"/>
                    <a:gd name="connsiteX18" fmla="*/ 0 w 10000"/>
                    <a:gd name="connsiteY18" fmla="*/ 3375 h 10000"/>
                    <a:gd name="connsiteX19" fmla="*/ 159 w 10000"/>
                    <a:gd name="connsiteY19" fmla="*/ 1650 h 10000"/>
                    <a:gd name="connsiteX20" fmla="*/ 0 w 10000"/>
                    <a:gd name="connsiteY20" fmla="*/ 2708 h 10000"/>
                    <a:gd name="connsiteX21" fmla="*/ 890 w 10000"/>
                    <a:gd name="connsiteY21" fmla="*/ 708 h 10000"/>
                    <a:gd name="connsiteX22" fmla="*/ 1806 w 10000"/>
                    <a:gd name="connsiteY22" fmla="*/ 2000 h 10000"/>
                    <a:gd name="connsiteX23" fmla="*/ 2251 w 10000"/>
                    <a:gd name="connsiteY23" fmla="*/ 2000 h 10000"/>
                    <a:gd name="connsiteX24" fmla="*/ 2696 w 10000"/>
                    <a:gd name="connsiteY24" fmla="*/ 2000 h 10000"/>
                    <a:gd name="connsiteX25" fmla="*/ 2696 w 10000"/>
                    <a:gd name="connsiteY25" fmla="*/ 1375 h 10000"/>
                    <a:gd name="connsiteX26" fmla="*/ 3613 w 10000"/>
                    <a:gd name="connsiteY26" fmla="*/ 708 h 10000"/>
                    <a:gd name="connsiteX27" fmla="*/ 4058 w 10000"/>
                    <a:gd name="connsiteY27" fmla="*/ 708 h 10000"/>
                    <a:gd name="connsiteX28" fmla="*/ 3613 w 10000"/>
                    <a:gd name="connsiteY28" fmla="*/ 0 h 10000"/>
                    <a:gd name="connsiteX29" fmla="*/ 4058 w 10000"/>
                    <a:gd name="connsiteY29" fmla="*/ 0 h 10000"/>
                    <a:gd name="connsiteX30" fmla="*/ 4974 w 10000"/>
                    <a:gd name="connsiteY30" fmla="*/ 708 h 10000"/>
                    <a:gd name="connsiteX31" fmla="*/ 4974 w 10000"/>
                    <a:gd name="connsiteY31" fmla="*/ 2000 h 10000"/>
                    <a:gd name="connsiteX32" fmla="*/ 6309 w 10000"/>
                    <a:gd name="connsiteY32" fmla="*/ 2000 h 10000"/>
                    <a:gd name="connsiteX33" fmla="*/ 6832 w 10000"/>
                    <a:gd name="connsiteY33" fmla="*/ 4000 h 10000"/>
                    <a:gd name="connsiteX34" fmla="*/ 9084 w 10000"/>
                    <a:gd name="connsiteY34" fmla="*/ 6000 h 10000"/>
                    <a:gd name="connsiteX35" fmla="*/ 10000 w 10000"/>
                    <a:gd name="connsiteY35" fmla="*/ 6708 h 10000"/>
                    <a:gd name="connsiteX36" fmla="*/ 9529 w 10000"/>
                    <a:gd name="connsiteY36" fmla="*/ 8000 h 10000"/>
                    <a:gd name="connsiteX0" fmla="*/ 9529 w 10000"/>
                    <a:gd name="connsiteY0" fmla="*/ 8000 h 10000"/>
                    <a:gd name="connsiteX1" fmla="*/ 9529 w 10000"/>
                    <a:gd name="connsiteY1" fmla="*/ 8000 h 10000"/>
                    <a:gd name="connsiteX2" fmla="*/ 9084 w 10000"/>
                    <a:gd name="connsiteY2" fmla="*/ 7333 h 10000"/>
                    <a:gd name="connsiteX3" fmla="*/ 9084 w 10000"/>
                    <a:gd name="connsiteY3" fmla="*/ 8000 h 10000"/>
                    <a:gd name="connsiteX4" fmla="*/ 8639 w 10000"/>
                    <a:gd name="connsiteY4" fmla="*/ 8000 h 10000"/>
                    <a:gd name="connsiteX5" fmla="*/ 8168 w 10000"/>
                    <a:gd name="connsiteY5" fmla="*/ 9333 h 10000"/>
                    <a:gd name="connsiteX6" fmla="*/ 7277 w 10000"/>
                    <a:gd name="connsiteY6" fmla="*/ 9333 h 10000"/>
                    <a:gd name="connsiteX7" fmla="*/ 7277 w 10000"/>
                    <a:gd name="connsiteY7" fmla="*/ 10000 h 10000"/>
                    <a:gd name="connsiteX8" fmla="*/ 5864 w 10000"/>
                    <a:gd name="connsiteY8" fmla="*/ 9333 h 10000"/>
                    <a:gd name="connsiteX9" fmla="*/ 5864 w 10000"/>
                    <a:gd name="connsiteY9" fmla="*/ 8708 h 10000"/>
                    <a:gd name="connsiteX10" fmla="*/ 3168 w 10000"/>
                    <a:gd name="connsiteY10" fmla="*/ 6708 h 10000"/>
                    <a:gd name="connsiteX11" fmla="*/ 1806 w 10000"/>
                    <a:gd name="connsiteY11" fmla="*/ 6708 h 10000"/>
                    <a:gd name="connsiteX12" fmla="*/ 890 w 10000"/>
                    <a:gd name="connsiteY12" fmla="*/ 7700 h 10000"/>
                    <a:gd name="connsiteX13" fmla="*/ 890 w 10000"/>
                    <a:gd name="connsiteY13" fmla="*/ 5375 h 10000"/>
                    <a:gd name="connsiteX14" fmla="*/ 445 w 10000"/>
                    <a:gd name="connsiteY14" fmla="*/ 5375 h 10000"/>
                    <a:gd name="connsiteX15" fmla="*/ 445 w 10000"/>
                    <a:gd name="connsiteY15" fmla="*/ 4000 h 10000"/>
                    <a:gd name="connsiteX16" fmla="*/ 0 w 10000"/>
                    <a:gd name="connsiteY16" fmla="*/ 4000 h 10000"/>
                    <a:gd name="connsiteX17" fmla="*/ 0 w 10000"/>
                    <a:gd name="connsiteY17" fmla="*/ 3375 h 10000"/>
                    <a:gd name="connsiteX18" fmla="*/ 159 w 10000"/>
                    <a:gd name="connsiteY18" fmla="*/ 1650 h 10000"/>
                    <a:gd name="connsiteX19" fmla="*/ 0 w 10000"/>
                    <a:gd name="connsiteY19" fmla="*/ 2708 h 10000"/>
                    <a:gd name="connsiteX20" fmla="*/ 890 w 10000"/>
                    <a:gd name="connsiteY20" fmla="*/ 708 h 10000"/>
                    <a:gd name="connsiteX21" fmla="*/ 1806 w 10000"/>
                    <a:gd name="connsiteY21" fmla="*/ 2000 h 10000"/>
                    <a:gd name="connsiteX22" fmla="*/ 2251 w 10000"/>
                    <a:gd name="connsiteY22" fmla="*/ 2000 h 10000"/>
                    <a:gd name="connsiteX23" fmla="*/ 2696 w 10000"/>
                    <a:gd name="connsiteY23" fmla="*/ 2000 h 10000"/>
                    <a:gd name="connsiteX24" fmla="*/ 2696 w 10000"/>
                    <a:gd name="connsiteY24" fmla="*/ 1375 h 10000"/>
                    <a:gd name="connsiteX25" fmla="*/ 3613 w 10000"/>
                    <a:gd name="connsiteY25" fmla="*/ 708 h 10000"/>
                    <a:gd name="connsiteX26" fmla="*/ 4058 w 10000"/>
                    <a:gd name="connsiteY26" fmla="*/ 708 h 10000"/>
                    <a:gd name="connsiteX27" fmla="*/ 3613 w 10000"/>
                    <a:gd name="connsiteY27" fmla="*/ 0 h 10000"/>
                    <a:gd name="connsiteX28" fmla="*/ 4058 w 10000"/>
                    <a:gd name="connsiteY28" fmla="*/ 0 h 10000"/>
                    <a:gd name="connsiteX29" fmla="*/ 4974 w 10000"/>
                    <a:gd name="connsiteY29" fmla="*/ 708 h 10000"/>
                    <a:gd name="connsiteX30" fmla="*/ 4974 w 10000"/>
                    <a:gd name="connsiteY30" fmla="*/ 2000 h 10000"/>
                    <a:gd name="connsiteX31" fmla="*/ 6309 w 10000"/>
                    <a:gd name="connsiteY31" fmla="*/ 2000 h 10000"/>
                    <a:gd name="connsiteX32" fmla="*/ 6832 w 10000"/>
                    <a:gd name="connsiteY32" fmla="*/ 4000 h 10000"/>
                    <a:gd name="connsiteX33" fmla="*/ 9084 w 10000"/>
                    <a:gd name="connsiteY33" fmla="*/ 6000 h 10000"/>
                    <a:gd name="connsiteX34" fmla="*/ 10000 w 10000"/>
                    <a:gd name="connsiteY34" fmla="*/ 6708 h 10000"/>
                    <a:gd name="connsiteX35" fmla="*/ 9529 w 10000"/>
                    <a:gd name="connsiteY35" fmla="*/ 8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00">
                      <a:moveTo>
                        <a:pt x="9529" y="8000"/>
                      </a:moveTo>
                      <a:lnTo>
                        <a:pt x="9529" y="8000"/>
                      </a:lnTo>
                      <a:lnTo>
                        <a:pt x="9084" y="7333"/>
                      </a:lnTo>
                      <a:lnTo>
                        <a:pt x="9084" y="8000"/>
                      </a:lnTo>
                      <a:lnTo>
                        <a:pt x="8639" y="8000"/>
                      </a:lnTo>
                      <a:lnTo>
                        <a:pt x="8168" y="9333"/>
                      </a:lnTo>
                      <a:lnTo>
                        <a:pt x="7277" y="9333"/>
                      </a:lnTo>
                      <a:lnTo>
                        <a:pt x="7277" y="10000"/>
                      </a:lnTo>
                      <a:lnTo>
                        <a:pt x="5864" y="9333"/>
                      </a:lnTo>
                      <a:lnTo>
                        <a:pt x="5864" y="8708"/>
                      </a:lnTo>
                      <a:lnTo>
                        <a:pt x="3168" y="6708"/>
                      </a:lnTo>
                      <a:lnTo>
                        <a:pt x="1806" y="6708"/>
                      </a:lnTo>
                      <a:lnTo>
                        <a:pt x="890" y="7700"/>
                      </a:lnTo>
                      <a:lnTo>
                        <a:pt x="890" y="5375"/>
                      </a:lnTo>
                      <a:lnTo>
                        <a:pt x="445" y="5375"/>
                      </a:lnTo>
                      <a:lnTo>
                        <a:pt x="445" y="4000"/>
                      </a:lnTo>
                      <a:lnTo>
                        <a:pt x="0" y="4000"/>
                      </a:lnTo>
                      <a:lnTo>
                        <a:pt x="0" y="3375"/>
                      </a:lnTo>
                      <a:cubicBezTo>
                        <a:pt x="148" y="2708"/>
                        <a:pt x="11" y="2317"/>
                        <a:pt x="159" y="1650"/>
                      </a:cubicBezTo>
                      <a:lnTo>
                        <a:pt x="0" y="2708"/>
                      </a:lnTo>
                      <a:lnTo>
                        <a:pt x="890" y="708"/>
                      </a:lnTo>
                      <a:lnTo>
                        <a:pt x="1806" y="2000"/>
                      </a:lnTo>
                      <a:lnTo>
                        <a:pt x="2251" y="2000"/>
                      </a:lnTo>
                      <a:lnTo>
                        <a:pt x="2696" y="2000"/>
                      </a:lnTo>
                      <a:lnTo>
                        <a:pt x="2696" y="1375"/>
                      </a:lnTo>
                      <a:lnTo>
                        <a:pt x="3613" y="708"/>
                      </a:lnTo>
                      <a:lnTo>
                        <a:pt x="4058" y="708"/>
                      </a:lnTo>
                      <a:lnTo>
                        <a:pt x="3613" y="0"/>
                      </a:lnTo>
                      <a:lnTo>
                        <a:pt x="4058" y="0"/>
                      </a:lnTo>
                      <a:lnTo>
                        <a:pt x="4974" y="708"/>
                      </a:lnTo>
                      <a:lnTo>
                        <a:pt x="4974" y="2000"/>
                      </a:lnTo>
                      <a:lnTo>
                        <a:pt x="6309" y="2000"/>
                      </a:lnTo>
                      <a:lnTo>
                        <a:pt x="6832" y="4000"/>
                      </a:lnTo>
                      <a:lnTo>
                        <a:pt x="9084" y="6000"/>
                      </a:lnTo>
                      <a:lnTo>
                        <a:pt x="10000" y="6708"/>
                      </a:lnTo>
                      <a:lnTo>
                        <a:pt x="9529" y="8000"/>
                      </a:lnTo>
                      <a:close/>
                    </a:path>
                  </a:pathLst>
                </a:custGeom>
                <a:noFill/>
                <a:ln w="9525">
                  <a:solidFill>
                    <a:schemeClr val="bg2"/>
                  </a:solidFill>
                  <a:round/>
                  <a:headEnd/>
                  <a:tailEnd/>
                </a:ln>
                <a:extLst>
                  <a:ext uri="{909E8E84-426E-40DD-AFC4-6F175D3DCCD1}">
                    <a14:hiddenFill xmlns:a14="http://schemas.microsoft.com/office/drawing/2010/main">
                      <a:solidFill>
                        <a:schemeClr val="accent1"/>
                      </a:solidFill>
                    </a14:hiddenFill>
                  </a:ext>
                </a:extLst>
              </p:spPr>
              <p:txBody>
                <a:bodyPr/>
                <a:lstStyle/>
                <a:p>
                  <a:endParaRPr lang="de-DE"/>
                </a:p>
              </p:txBody>
            </p:sp>
            <p:sp>
              <p:nvSpPr>
                <p:cNvPr id="453" name="Freeform 151"/>
                <p:cNvSpPr>
                  <a:spLocks/>
                </p:cNvSpPr>
                <p:nvPr>
                  <p:custDataLst>
                    <p:tags r:id="rId3"/>
                  </p:custDataLst>
                </p:nvPr>
              </p:nvSpPr>
              <p:spPr bwMode="auto">
                <a:xfrm>
                  <a:off x="6143228" y="2965123"/>
                  <a:ext cx="147352" cy="144201"/>
                </a:xfrm>
                <a:custGeom>
                  <a:avLst/>
                  <a:gdLst>
                    <a:gd name="T0" fmla="*/ 176789 w 209"/>
                    <a:gd name="T1" fmla="*/ 54504 h 144"/>
                    <a:gd name="T2" fmla="*/ 176789 w 209"/>
                    <a:gd name="T3" fmla="*/ 54504 h 144"/>
                    <a:gd name="T4" fmla="*/ 176789 w 209"/>
                    <a:gd name="T5" fmla="*/ 89705 h 144"/>
                    <a:gd name="T6" fmla="*/ 211137 w 209"/>
                    <a:gd name="T7" fmla="*/ 89705 h 144"/>
                    <a:gd name="T8" fmla="*/ 211137 w 209"/>
                    <a:gd name="T9" fmla="*/ 144209 h 144"/>
                    <a:gd name="T10" fmla="*/ 158605 w 209"/>
                    <a:gd name="T11" fmla="*/ 126041 h 144"/>
                    <a:gd name="T12" fmla="*/ 124258 w 209"/>
                    <a:gd name="T13" fmla="*/ 163512 h 144"/>
                    <a:gd name="T14" fmla="*/ 107084 w 209"/>
                    <a:gd name="T15" fmla="*/ 109008 h 144"/>
                    <a:gd name="T16" fmla="*/ 88900 w 209"/>
                    <a:gd name="T17" fmla="*/ 89705 h 144"/>
                    <a:gd name="T18" fmla="*/ 71726 w 209"/>
                    <a:gd name="T19" fmla="*/ 126041 h 144"/>
                    <a:gd name="T20" fmla="*/ 54552 w 209"/>
                    <a:gd name="T21" fmla="*/ 126041 h 144"/>
                    <a:gd name="T22" fmla="*/ 54552 w 209"/>
                    <a:gd name="T23" fmla="*/ 144209 h 144"/>
                    <a:gd name="T24" fmla="*/ 17174 w 209"/>
                    <a:gd name="T25" fmla="*/ 144209 h 144"/>
                    <a:gd name="T26" fmla="*/ 0 w 209"/>
                    <a:gd name="T27" fmla="*/ 144209 h 144"/>
                    <a:gd name="T28" fmla="*/ 17174 w 209"/>
                    <a:gd name="T29" fmla="*/ 109008 h 144"/>
                    <a:gd name="T30" fmla="*/ 17174 w 209"/>
                    <a:gd name="T31" fmla="*/ 72672 h 144"/>
                    <a:gd name="T32" fmla="*/ 0 w 209"/>
                    <a:gd name="T33" fmla="*/ 54504 h 144"/>
                    <a:gd name="T34" fmla="*/ 35358 w 209"/>
                    <a:gd name="T35" fmla="*/ 54504 h 144"/>
                    <a:gd name="T36" fmla="*/ 54552 w 209"/>
                    <a:gd name="T37" fmla="*/ 18168 h 144"/>
                    <a:gd name="T38" fmla="*/ 54552 w 209"/>
                    <a:gd name="T39" fmla="*/ 0 h 144"/>
                    <a:gd name="T40" fmla="*/ 88900 w 209"/>
                    <a:gd name="T41" fmla="*/ 0 h 144"/>
                    <a:gd name="T42" fmla="*/ 88900 w 209"/>
                    <a:gd name="T43" fmla="*/ 18168 h 144"/>
                    <a:gd name="T44" fmla="*/ 88900 w 209"/>
                    <a:gd name="T45" fmla="*/ 35201 h 144"/>
                    <a:gd name="T46" fmla="*/ 54552 w 209"/>
                    <a:gd name="T47" fmla="*/ 35201 h 144"/>
                    <a:gd name="T48" fmla="*/ 54552 w 209"/>
                    <a:gd name="T49" fmla="*/ 54504 h 144"/>
                    <a:gd name="T50" fmla="*/ 107084 w 209"/>
                    <a:gd name="T51" fmla="*/ 54504 h 144"/>
                    <a:gd name="T52" fmla="*/ 124258 w 209"/>
                    <a:gd name="T53" fmla="*/ 54504 h 144"/>
                    <a:gd name="T54" fmla="*/ 176789 w 209"/>
                    <a:gd name="T55" fmla="*/ 54504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connsiteX0" fmla="*/ 8373 w 10000"/>
                    <a:gd name="connsiteY0" fmla="*/ 3333 h 10000"/>
                    <a:gd name="connsiteX1" fmla="*/ 8373 w 10000"/>
                    <a:gd name="connsiteY1" fmla="*/ 3333 h 10000"/>
                    <a:gd name="connsiteX2" fmla="*/ 8373 w 10000"/>
                    <a:gd name="connsiteY2" fmla="*/ 5486 h 10000"/>
                    <a:gd name="connsiteX3" fmla="*/ 10000 w 10000"/>
                    <a:gd name="connsiteY3" fmla="*/ 5486 h 10000"/>
                    <a:gd name="connsiteX4" fmla="*/ 10000 w 10000"/>
                    <a:gd name="connsiteY4" fmla="*/ 8819 h 10000"/>
                    <a:gd name="connsiteX5" fmla="*/ 7512 w 10000"/>
                    <a:gd name="connsiteY5" fmla="*/ 7708 h 10000"/>
                    <a:gd name="connsiteX6" fmla="*/ 5885 w 10000"/>
                    <a:gd name="connsiteY6" fmla="*/ 10000 h 10000"/>
                    <a:gd name="connsiteX7" fmla="*/ 5072 w 10000"/>
                    <a:gd name="connsiteY7" fmla="*/ 6667 h 10000"/>
                    <a:gd name="connsiteX8" fmla="*/ 4211 w 10000"/>
                    <a:gd name="connsiteY8" fmla="*/ 5486 h 10000"/>
                    <a:gd name="connsiteX9" fmla="*/ 3397 w 10000"/>
                    <a:gd name="connsiteY9" fmla="*/ 7708 h 10000"/>
                    <a:gd name="connsiteX10" fmla="*/ 2584 w 10000"/>
                    <a:gd name="connsiteY10" fmla="*/ 7708 h 10000"/>
                    <a:gd name="connsiteX11" fmla="*/ 2584 w 10000"/>
                    <a:gd name="connsiteY11" fmla="*/ 8819 h 10000"/>
                    <a:gd name="connsiteX12" fmla="*/ 1854 w 10000"/>
                    <a:gd name="connsiteY12" fmla="*/ 6214 h 10000"/>
                    <a:gd name="connsiteX13" fmla="*/ 0 w 10000"/>
                    <a:gd name="connsiteY13" fmla="*/ 8819 h 10000"/>
                    <a:gd name="connsiteX14" fmla="*/ 813 w 10000"/>
                    <a:gd name="connsiteY14" fmla="*/ 6667 h 10000"/>
                    <a:gd name="connsiteX15" fmla="*/ 813 w 10000"/>
                    <a:gd name="connsiteY15" fmla="*/ 4444 h 10000"/>
                    <a:gd name="connsiteX16" fmla="*/ 0 w 10000"/>
                    <a:gd name="connsiteY16" fmla="*/ 3333 h 10000"/>
                    <a:gd name="connsiteX17" fmla="*/ 1675 w 10000"/>
                    <a:gd name="connsiteY17" fmla="*/ 3333 h 10000"/>
                    <a:gd name="connsiteX18" fmla="*/ 2584 w 10000"/>
                    <a:gd name="connsiteY18" fmla="*/ 1111 h 10000"/>
                    <a:gd name="connsiteX19" fmla="*/ 2584 w 10000"/>
                    <a:gd name="connsiteY19" fmla="*/ 0 h 10000"/>
                    <a:gd name="connsiteX20" fmla="*/ 4211 w 10000"/>
                    <a:gd name="connsiteY20" fmla="*/ 0 h 10000"/>
                    <a:gd name="connsiteX21" fmla="*/ 4211 w 10000"/>
                    <a:gd name="connsiteY21" fmla="*/ 1111 h 10000"/>
                    <a:gd name="connsiteX22" fmla="*/ 4211 w 10000"/>
                    <a:gd name="connsiteY22" fmla="*/ 2153 h 10000"/>
                    <a:gd name="connsiteX23" fmla="*/ 2584 w 10000"/>
                    <a:gd name="connsiteY23" fmla="*/ 2153 h 10000"/>
                    <a:gd name="connsiteX24" fmla="*/ 2584 w 10000"/>
                    <a:gd name="connsiteY24" fmla="*/ 3333 h 10000"/>
                    <a:gd name="connsiteX25" fmla="*/ 5072 w 10000"/>
                    <a:gd name="connsiteY25" fmla="*/ 3333 h 10000"/>
                    <a:gd name="connsiteX26" fmla="*/ 5885 w 10000"/>
                    <a:gd name="connsiteY26" fmla="*/ 3333 h 10000"/>
                    <a:gd name="connsiteX27" fmla="*/ 8373 w 10000"/>
                    <a:gd name="connsiteY27" fmla="*/ 3333 h 10000"/>
                    <a:gd name="connsiteX0" fmla="*/ 8373 w 10000"/>
                    <a:gd name="connsiteY0" fmla="*/ 3333 h 10000"/>
                    <a:gd name="connsiteX1" fmla="*/ 8373 w 10000"/>
                    <a:gd name="connsiteY1" fmla="*/ 3333 h 10000"/>
                    <a:gd name="connsiteX2" fmla="*/ 8373 w 10000"/>
                    <a:gd name="connsiteY2" fmla="*/ 5486 h 10000"/>
                    <a:gd name="connsiteX3" fmla="*/ 10000 w 10000"/>
                    <a:gd name="connsiteY3" fmla="*/ 5486 h 10000"/>
                    <a:gd name="connsiteX4" fmla="*/ 10000 w 10000"/>
                    <a:gd name="connsiteY4" fmla="*/ 8819 h 10000"/>
                    <a:gd name="connsiteX5" fmla="*/ 7512 w 10000"/>
                    <a:gd name="connsiteY5" fmla="*/ 7708 h 10000"/>
                    <a:gd name="connsiteX6" fmla="*/ 5885 w 10000"/>
                    <a:gd name="connsiteY6" fmla="*/ 10000 h 10000"/>
                    <a:gd name="connsiteX7" fmla="*/ 5072 w 10000"/>
                    <a:gd name="connsiteY7" fmla="*/ 6667 h 10000"/>
                    <a:gd name="connsiteX8" fmla="*/ 4211 w 10000"/>
                    <a:gd name="connsiteY8" fmla="*/ 5486 h 10000"/>
                    <a:gd name="connsiteX9" fmla="*/ 3397 w 10000"/>
                    <a:gd name="connsiteY9" fmla="*/ 7708 h 10000"/>
                    <a:gd name="connsiteX10" fmla="*/ 2584 w 10000"/>
                    <a:gd name="connsiteY10" fmla="*/ 7708 h 10000"/>
                    <a:gd name="connsiteX11" fmla="*/ 1854 w 10000"/>
                    <a:gd name="connsiteY11" fmla="*/ 6214 h 10000"/>
                    <a:gd name="connsiteX12" fmla="*/ 0 w 10000"/>
                    <a:gd name="connsiteY12" fmla="*/ 8819 h 10000"/>
                    <a:gd name="connsiteX13" fmla="*/ 813 w 10000"/>
                    <a:gd name="connsiteY13" fmla="*/ 6667 h 10000"/>
                    <a:gd name="connsiteX14" fmla="*/ 813 w 10000"/>
                    <a:gd name="connsiteY14" fmla="*/ 4444 h 10000"/>
                    <a:gd name="connsiteX15" fmla="*/ 0 w 10000"/>
                    <a:gd name="connsiteY15" fmla="*/ 3333 h 10000"/>
                    <a:gd name="connsiteX16" fmla="*/ 1675 w 10000"/>
                    <a:gd name="connsiteY16" fmla="*/ 3333 h 10000"/>
                    <a:gd name="connsiteX17" fmla="*/ 2584 w 10000"/>
                    <a:gd name="connsiteY17" fmla="*/ 1111 h 10000"/>
                    <a:gd name="connsiteX18" fmla="*/ 2584 w 10000"/>
                    <a:gd name="connsiteY18" fmla="*/ 0 h 10000"/>
                    <a:gd name="connsiteX19" fmla="*/ 4211 w 10000"/>
                    <a:gd name="connsiteY19" fmla="*/ 0 h 10000"/>
                    <a:gd name="connsiteX20" fmla="*/ 4211 w 10000"/>
                    <a:gd name="connsiteY20" fmla="*/ 1111 h 10000"/>
                    <a:gd name="connsiteX21" fmla="*/ 4211 w 10000"/>
                    <a:gd name="connsiteY21" fmla="*/ 2153 h 10000"/>
                    <a:gd name="connsiteX22" fmla="*/ 2584 w 10000"/>
                    <a:gd name="connsiteY22" fmla="*/ 2153 h 10000"/>
                    <a:gd name="connsiteX23" fmla="*/ 2584 w 10000"/>
                    <a:gd name="connsiteY23" fmla="*/ 3333 h 10000"/>
                    <a:gd name="connsiteX24" fmla="*/ 5072 w 10000"/>
                    <a:gd name="connsiteY24" fmla="*/ 3333 h 10000"/>
                    <a:gd name="connsiteX25" fmla="*/ 5885 w 10000"/>
                    <a:gd name="connsiteY25" fmla="*/ 3333 h 10000"/>
                    <a:gd name="connsiteX26" fmla="*/ 8373 w 10000"/>
                    <a:gd name="connsiteY26" fmla="*/ 3333 h 10000"/>
                    <a:gd name="connsiteX0" fmla="*/ 8373 w 10000"/>
                    <a:gd name="connsiteY0" fmla="*/ 3333 h 10000"/>
                    <a:gd name="connsiteX1" fmla="*/ 8373 w 10000"/>
                    <a:gd name="connsiteY1" fmla="*/ 3333 h 10000"/>
                    <a:gd name="connsiteX2" fmla="*/ 8373 w 10000"/>
                    <a:gd name="connsiteY2" fmla="*/ 5486 h 10000"/>
                    <a:gd name="connsiteX3" fmla="*/ 10000 w 10000"/>
                    <a:gd name="connsiteY3" fmla="*/ 5486 h 10000"/>
                    <a:gd name="connsiteX4" fmla="*/ 10000 w 10000"/>
                    <a:gd name="connsiteY4" fmla="*/ 8819 h 10000"/>
                    <a:gd name="connsiteX5" fmla="*/ 7512 w 10000"/>
                    <a:gd name="connsiteY5" fmla="*/ 7708 h 10000"/>
                    <a:gd name="connsiteX6" fmla="*/ 5885 w 10000"/>
                    <a:gd name="connsiteY6" fmla="*/ 10000 h 10000"/>
                    <a:gd name="connsiteX7" fmla="*/ 5072 w 10000"/>
                    <a:gd name="connsiteY7" fmla="*/ 6667 h 10000"/>
                    <a:gd name="connsiteX8" fmla="*/ 3397 w 10000"/>
                    <a:gd name="connsiteY8" fmla="*/ 7708 h 10000"/>
                    <a:gd name="connsiteX9" fmla="*/ 2584 w 10000"/>
                    <a:gd name="connsiteY9" fmla="*/ 7708 h 10000"/>
                    <a:gd name="connsiteX10" fmla="*/ 1854 w 10000"/>
                    <a:gd name="connsiteY10" fmla="*/ 6214 h 10000"/>
                    <a:gd name="connsiteX11" fmla="*/ 0 w 10000"/>
                    <a:gd name="connsiteY11" fmla="*/ 8819 h 10000"/>
                    <a:gd name="connsiteX12" fmla="*/ 813 w 10000"/>
                    <a:gd name="connsiteY12" fmla="*/ 6667 h 10000"/>
                    <a:gd name="connsiteX13" fmla="*/ 813 w 10000"/>
                    <a:gd name="connsiteY13" fmla="*/ 4444 h 10000"/>
                    <a:gd name="connsiteX14" fmla="*/ 0 w 10000"/>
                    <a:gd name="connsiteY14" fmla="*/ 3333 h 10000"/>
                    <a:gd name="connsiteX15" fmla="*/ 1675 w 10000"/>
                    <a:gd name="connsiteY15" fmla="*/ 3333 h 10000"/>
                    <a:gd name="connsiteX16" fmla="*/ 2584 w 10000"/>
                    <a:gd name="connsiteY16" fmla="*/ 1111 h 10000"/>
                    <a:gd name="connsiteX17" fmla="*/ 2584 w 10000"/>
                    <a:gd name="connsiteY17" fmla="*/ 0 h 10000"/>
                    <a:gd name="connsiteX18" fmla="*/ 4211 w 10000"/>
                    <a:gd name="connsiteY18" fmla="*/ 0 h 10000"/>
                    <a:gd name="connsiteX19" fmla="*/ 4211 w 10000"/>
                    <a:gd name="connsiteY19" fmla="*/ 1111 h 10000"/>
                    <a:gd name="connsiteX20" fmla="*/ 4211 w 10000"/>
                    <a:gd name="connsiteY20" fmla="*/ 2153 h 10000"/>
                    <a:gd name="connsiteX21" fmla="*/ 2584 w 10000"/>
                    <a:gd name="connsiteY21" fmla="*/ 2153 h 10000"/>
                    <a:gd name="connsiteX22" fmla="*/ 2584 w 10000"/>
                    <a:gd name="connsiteY22" fmla="*/ 3333 h 10000"/>
                    <a:gd name="connsiteX23" fmla="*/ 5072 w 10000"/>
                    <a:gd name="connsiteY23" fmla="*/ 3333 h 10000"/>
                    <a:gd name="connsiteX24" fmla="*/ 5885 w 10000"/>
                    <a:gd name="connsiteY24" fmla="*/ 3333 h 10000"/>
                    <a:gd name="connsiteX25" fmla="*/ 8373 w 10000"/>
                    <a:gd name="connsiteY25" fmla="*/ 3333 h 10000"/>
                    <a:gd name="connsiteX0" fmla="*/ 8373 w 10000"/>
                    <a:gd name="connsiteY0" fmla="*/ 3333 h 8819"/>
                    <a:gd name="connsiteX1" fmla="*/ 8373 w 10000"/>
                    <a:gd name="connsiteY1" fmla="*/ 3333 h 8819"/>
                    <a:gd name="connsiteX2" fmla="*/ 8373 w 10000"/>
                    <a:gd name="connsiteY2" fmla="*/ 5486 h 8819"/>
                    <a:gd name="connsiteX3" fmla="*/ 10000 w 10000"/>
                    <a:gd name="connsiteY3" fmla="*/ 5486 h 8819"/>
                    <a:gd name="connsiteX4" fmla="*/ 10000 w 10000"/>
                    <a:gd name="connsiteY4" fmla="*/ 8819 h 8819"/>
                    <a:gd name="connsiteX5" fmla="*/ 7512 w 10000"/>
                    <a:gd name="connsiteY5" fmla="*/ 7708 h 8819"/>
                    <a:gd name="connsiteX6" fmla="*/ 6276 w 10000"/>
                    <a:gd name="connsiteY6" fmla="*/ 8161 h 8819"/>
                    <a:gd name="connsiteX7" fmla="*/ 5072 w 10000"/>
                    <a:gd name="connsiteY7" fmla="*/ 6667 h 8819"/>
                    <a:gd name="connsiteX8" fmla="*/ 3397 w 10000"/>
                    <a:gd name="connsiteY8" fmla="*/ 7708 h 8819"/>
                    <a:gd name="connsiteX9" fmla="*/ 2584 w 10000"/>
                    <a:gd name="connsiteY9" fmla="*/ 7708 h 8819"/>
                    <a:gd name="connsiteX10" fmla="*/ 1854 w 10000"/>
                    <a:gd name="connsiteY10" fmla="*/ 6214 h 8819"/>
                    <a:gd name="connsiteX11" fmla="*/ 0 w 10000"/>
                    <a:gd name="connsiteY11" fmla="*/ 8819 h 8819"/>
                    <a:gd name="connsiteX12" fmla="*/ 813 w 10000"/>
                    <a:gd name="connsiteY12" fmla="*/ 6667 h 8819"/>
                    <a:gd name="connsiteX13" fmla="*/ 813 w 10000"/>
                    <a:gd name="connsiteY13" fmla="*/ 4444 h 8819"/>
                    <a:gd name="connsiteX14" fmla="*/ 0 w 10000"/>
                    <a:gd name="connsiteY14" fmla="*/ 3333 h 8819"/>
                    <a:gd name="connsiteX15" fmla="*/ 1675 w 10000"/>
                    <a:gd name="connsiteY15" fmla="*/ 3333 h 8819"/>
                    <a:gd name="connsiteX16" fmla="*/ 2584 w 10000"/>
                    <a:gd name="connsiteY16" fmla="*/ 1111 h 8819"/>
                    <a:gd name="connsiteX17" fmla="*/ 2584 w 10000"/>
                    <a:gd name="connsiteY17" fmla="*/ 0 h 8819"/>
                    <a:gd name="connsiteX18" fmla="*/ 4211 w 10000"/>
                    <a:gd name="connsiteY18" fmla="*/ 0 h 8819"/>
                    <a:gd name="connsiteX19" fmla="*/ 4211 w 10000"/>
                    <a:gd name="connsiteY19" fmla="*/ 1111 h 8819"/>
                    <a:gd name="connsiteX20" fmla="*/ 4211 w 10000"/>
                    <a:gd name="connsiteY20" fmla="*/ 2153 h 8819"/>
                    <a:gd name="connsiteX21" fmla="*/ 2584 w 10000"/>
                    <a:gd name="connsiteY21" fmla="*/ 2153 h 8819"/>
                    <a:gd name="connsiteX22" fmla="*/ 2584 w 10000"/>
                    <a:gd name="connsiteY22" fmla="*/ 3333 h 8819"/>
                    <a:gd name="connsiteX23" fmla="*/ 5072 w 10000"/>
                    <a:gd name="connsiteY23" fmla="*/ 3333 h 8819"/>
                    <a:gd name="connsiteX24" fmla="*/ 5885 w 10000"/>
                    <a:gd name="connsiteY24" fmla="*/ 3333 h 8819"/>
                    <a:gd name="connsiteX25" fmla="*/ 8373 w 10000"/>
                    <a:gd name="connsiteY25" fmla="*/ 3333 h 8819"/>
                    <a:gd name="connsiteX0" fmla="*/ 8373 w 10000"/>
                    <a:gd name="connsiteY0" fmla="*/ 3779 h 10000"/>
                    <a:gd name="connsiteX1" fmla="*/ 8373 w 10000"/>
                    <a:gd name="connsiteY1" fmla="*/ 3779 h 10000"/>
                    <a:gd name="connsiteX2" fmla="*/ 8373 w 10000"/>
                    <a:gd name="connsiteY2" fmla="*/ 6221 h 10000"/>
                    <a:gd name="connsiteX3" fmla="*/ 10000 w 10000"/>
                    <a:gd name="connsiteY3" fmla="*/ 6221 h 10000"/>
                    <a:gd name="connsiteX4" fmla="*/ 7657 w 10000"/>
                    <a:gd name="connsiteY4" fmla="*/ 8263 h 10000"/>
                    <a:gd name="connsiteX5" fmla="*/ 7512 w 10000"/>
                    <a:gd name="connsiteY5" fmla="*/ 8740 h 10000"/>
                    <a:gd name="connsiteX6" fmla="*/ 6276 w 10000"/>
                    <a:gd name="connsiteY6" fmla="*/ 9254 h 10000"/>
                    <a:gd name="connsiteX7" fmla="*/ 5072 w 10000"/>
                    <a:gd name="connsiteY7" fmla="*/ 7560 h 10000"/>
                    <a:gd name="connsiteX8" fmla="*/ 3397 w 10000"/>
                    <a:gd name="connsiteY8" fmla="*/ 8740 h 10000"/>
                    <a:gd name="connsiteX9" fmla="*/ 2584 w 10000"/>
                    <a:gd name="connsiteY9" fmla="*/ 8740 h 10000"/>
                    <a:gd name="connsiteX10" fmla="*/ 1854 w 10000"/>
                    <a:gd name="connsiteY10" fmla="*/ 7046 h 10000"/>
                    <a:gd name="connsiteX11" fmla="*/ 0 w 10000"/>
                    <a:gd name="connsiteY11" fmla="*/ 10000 h 10000"/>
                    <a:gd name="connsiteX12" fmla="*/ 813 w 10000"/>
                    <a:gd name="connsiteY12" fmla="*/ 7560 h 10000"/>
                    <a:gd name="connsiteX13" fmla="*/ 813 w 10000"/>
                    <a:gd name="connsiteY13" fmla="*/ 5039 h 10000"/>
                    <a:gd name="connsiteX14" fmla="*/ 0 w 10000"/>
                    <a:gd name="connsiteY14" fmla="*/ 3779 h 10000"/>
                    <a:gd name="connsiteX15" fmla="*/ 1675 w 10000"/>
                    <a:gd name="connsiteY15" fmla="*/ 3779 h 10000"/>
                    <a:gd name="connsiteX16" fmla="*/ 2584 w 10000"/>
                    <a:gd name="connsiteY16" fmla="*/ 1260 h 10000"/>
                    <a:gd name="connsiteX17" fmla="*/ 2584 w 10000"/>
                    <a:gd name="connsiteY17" fmla="*/ 0 h 10000"/>
                    <a:gd name="connsiteX18" fmla="*/ 4211 w 10000"/>
                    <a:gd name="connsiteY18" fmla="*/ 0 h 10000"/>
                    <a:gd name="connsiteX19" fmla="*/ 4211 w 10000"/>
                    <a:gd name="connsiteY19" fmla="*/ 1260 h 10000"/>
                    <a:gd name="connsiteX20" fmla="*/ 4211 w 10000"/>
                    <a:gd name="connsiteY20" fmla="*/ 2441 h 10000"/>
                    <a:gd name="connsiteX21" fmla="*/ 2584 w 10000"/>
                    <a:gd name="connsiteY21" fmla="*/ 2441 h 10000"/>
                    <a:gd name="connsiteX22" fmla="*/ 2584 w 10000"/>
                    <a:gd name="connsiteY22" fmla="*/ 3779 h 10000"/>
                    <a:gd name="connsiteX23" fmla="*/ 5072 w 10000"/>
                    <a:gd name="connsiteY23" fmla="*/ 3779 h 10000"/>
                    <a:gd name="connsiteX24" fmla="*/ 5885 w 10000"/>
                    <a:gd name="connsiteY24" fmla="*/ 3779 h 10000"/>
                    <a:gd name="connsiteX25" fmla="*/ 8373 w 10000"/>
                    <a:gd name="connsiteY25" fmla="*/ 3779 h 10000"/>
                    <a:gd name="connsiteX0" fmla="*/ 8373 w 8373"/>
                    <a:gd name="connsiteY0" fmla="*/ 3779 h 10000"/>
                    <a:gd name="connsiteX1" fmla="*/ 8373 w 8373"/>
                    <a:gd name="connsiteY1" fmla="*/ 3779 h 10000"/>
                    <a:gd name="connsiteX2" fmla="*/ 8373 w 8373"/>
                    <a:gd name="connsiteY2" fmla="*/ 6221 h 10000"/>
                    <a:gd name="connsiteX3" fmla="*/ 7657 w 8373"/>
                    <a:gd name="connsiteY3" fmla="*/ 8263 h 10000"/>
                    <a:gd name="connsiteX4" fmla="*/ 7512 w 8373"/>
                    <a:gd name="connsiteY4" fmla="*/ 8740 h 10000"/>
                    <a:gd name="connsiteX5" fmla="*/ 6276 w 8373"/>
                    <a:gd name="connsiteY5" fmla="*/ 9254 h 10000"/>
                    <a:gd name="connsiteX6" fmla="*/ 5072 w 8373"/>
                    <a:gd name="connsiteY6" fmla="*/ 7560 h 10000"/>
                    <a:gd name="connsiteX7" fmla="*/ 3397 w 8373"/>
                    <a:gd name="connsiteY7" fmla="*/ 8740 h 10000"/>
                    <a:gd name="connsiteX8" fmla="*/ 2584 w 8373"/>
                    <a:gd name="connsiteY8" fmla="*/ 8740 h 10000"/>
                    <a:gd name="connsiteX9" fmla="*/ 1854 w 8373"/>
                    <a:gd name="connsiteY9" fmla="*/ 7046 h 10000"/>
                    <a:gd name="connsiteX10" fmla="*/ 0 w 8373"/>
                    <a:gd name="connsiteY10" fmla="*/ 10000 h 10000"/>
                    <a:gd name="connsiteX11" fmla="*/ 813 w 8373"/>
                    <a:gd name="connsiteY11" fmla="*/ 7560 h 10000"/>
                    <a:gd name="connsiteX12" fmla="*/ 813 w 8373"/>
                    <a:gd name="connsiteY12" fmla="*/ 5039 h 10000"/>
                    <a:gd name="connsiteX13" fmla="*/ 0 w 8373"/>
                    <a:gd name="connsiteY13" fmla="*/ 3779 h 10000"/>
                    <a:gd name="connsiteX14" fmla="*/ 1675 w 8373"/>
                    <a:gd name="connsiteY14" fmla="*/ 3779 h 10000"/>
                    <a:gd name="connsiteX15" fmla="*/ 2584 w 8373"/>
                    <a:gd name="connsiteY15" fmla="*/ 1260 h 10000"/>
                    <a:gd name="connsiteX16" fmla="*/ 2584 w 8373"/>
                    <a:gd name="connsiteY16" fmla="*/ 0 h 10000"/>
                    <a:gd name="connsiteX17" fmla="*/ 4211 w 8373"/>
                    <a:gd name="connsiteY17" fmla="*/ 0 h 10000"/>
                    <a:gd name="connsiteX18" fmla="*/ 4211 w 8373"/>
                    <a:gd name="connsiteY18" fmla="*/ 1260 h 10000"/>
                    <a:gd name="connsiteX19" fmla="*/ 4211 w 8373"/>
                    <a:gd name="connsiteY19" fmla="*/ 2441 h 10000"/>
                    <a:gd name="connsiteX20" fmla="*/ 2584 w 8373"/>
                    <a:gd name="connsiteY20" fmla="*/ 2441 h 10000"/>
                    <a:gd name="connsiteX21" fmla="*/ 2584 w 8373"/>
                    <a:gd name="connsiteY21" fmla="*/ 3779 h 10000"/>
                    <a:gd name="connsiteX22" fmla="*/ 5072 w 8373"/>
                    <a:gd name="connsiteY22" fmla="*/ 3779 h 10000"/>
                    <a:gd name="connsiteX23" fmla="*/ 5885 w 8373"/>
                    <a:gd name="connsiteY23" fmla="*/ 3779 h 10000"/>
                    <a:gd name="connsiteX24" fmla="*/ 8373 w 8373"/>
                    <a:gd name="connsiteY24" fmla="*/ 3779 h 10000"/>
                    <a:gd name="connsiteX0" fmla="*/ 10000 w 10000"/>
                    <a:gd name="connsiteY0" fmla="*/ 3779 h 10000"/>
                    <a:gd name="connsiteX1" fmla="*/ 10000 w 10000"/>
                    <a:gd name="connsiteY1" fmla="*/ 3779 h 10000"/>
                    <a:gd name="connsiteX2" fmla="*/ 9145 w 10000"/>
                    <a:gd name="connsiteY2" fmla="*/ 8263 h 10000"/>
                    <a:gd name="connsiteX3" fmla="*/ 8972 w 10000"/>
                    <a:gd name="connsiteY3" fmla="*/ 8740 h 10000"/>
                    <a:gd name="connsiteX4" fmla="*/ 7496 w 10000"/>
                    <a:gd name="connsiteY4" fmla="*/ 9254 h 10000"/>
                    <a:gd name="connsiteX5" fmla="*/ 6058 w 10000"/>
                    <a:gd name="connsiteY5" fmla="*/ 7560 h 10000"/>
                    <a:gd name="connsiteX6" fmla="*/ 4057 w 10000"/>
                    <a:gd name="connsiteY6" fmla="*/ 8740 h 10000"/>
                    <a:gd name="connsiteX7" fmla="*/ 3086 w 10000"/>
                    <a:gd name="connsiteY7" fmla="*/ 8740 h 10000"/>
                    <a:gd name="connsiteX8" fmla="*/ 2214 w 10000"/>
                    <a:gd name="connsiteY8" fmla="*/ 7046 h 10000"/>
                    <a:gd name="connsiteX9" fmla="*/ 0 w 10000"/>
                    <a:gd name="connsiteY9" fmla="*/ 10000 h 10000"/>
                    <a:gd name="connsiteX10" fmla="*/ 971 w 10000"/>
                    <a:gd name="connsiteY10" fmla="*/ 7560 h 10000"/>
                    <a:gd name="connsiteX11" fmla="*/ 971 w 10000"/>
                    <a:gd name="connsiteY11" fmla="*/ 5039 h 10000"/>
                    <a:gd name="connsiteX12" fmla="*/ 0 w 10000"/>
                    <a:gd name="connsiteY12" fmla="*/ 3779 h 10000"/>
                    <a:gd name="connsiteX13" fmla="*/ 2000 w 10000"/>
                    <a:gd name="connsiteY13" fmla="*/ 3779 h 10000"/>
                    <a:gd name="connsiteX14" fmla="*/ 3086 w 10000"/>
                    <a:gd name="connsiteY14" fmla="*/ 1260 h 10000"/>
                    <a:gd name="connsiteX15" fmla="*/ 3086 w 10000"/>
                    <a:gd name="connsiteY15" fmla="*/ 0 h 10000"/>
                    <a:gd name="connsiteX16" fmla="*/ 5029 w 10000"/>
                    <a:gd name="connsiteY16" fmla="*/ 0 h 10000"/>
                    <a:gd name="connsiteX17" fmla="*/ 5029 w 10000"/>
                    <a:gd name="connsiteY17" fmla="*/ 1260 h 10000"/>
                    <a:gd name="connsiteX18" fmla="*/ 5029 w 10000"/>
                    <a:gd name="connsiteY18" fmla="*/ 2441 h 10000"/>
                    <a:gd name="connsiteX19" fmla="*/ 3086 w 10000"/>
                    <a:gd name="connsiteY19" fmla="*/ 2441 h 10000"/>
                    <a:gd name="connsiteX20" fmla="*/ 3086 w 10000"/>
                    <a:gd name="connsiteY20" fmla="*/ 3779 h 10000"/>
                    <a:gd name="connsiteX21" fmla="*/ 6058 w 10000"/>
                    <a:gd name="connsiteY21" fmla="*/ 3779 h 10000"/>
                    <a:gd name="connsiteX22" fmla="*/ 7029 w 10000"/>
                    <a:gd name="connsiteY22" fmla="*/ 3779 h 10000"/>
                    <a:gd name="connsiteX23" fmla="*/ 10000 w 10000"/>
                    <a:gd name="connsiteY23" fmla="*/ 3779 h 10000"/>
                    <a:gd name="connsiteX0" fmla="*/ 7357 w 10000"/>
                    <a:gd name="connsiteY0" fmla="*/ 6559 h 10000"/>
                    <a:gd name="connsiteX1" fmla="*/ 10000 w 10000"/>
                    <a:gd name="connsiteY1" fmla="*/ 3779 h 10000"/>
                    <a:gd name="connsiteX2" fmla="*/ 9145 w 10000"/>
                    <a:gd name="connsiteY2" fmla="*/ 8263 h 10000"/>
                    <a:gd name="connsiteX3" fmla="*/ 8972 w 10000"/>
                    <a:gd name="connsiteY3" fmla="*/ 8740 h 10000"/>
                    <a:gd name="connsiteX4" fmla="*/ 7496 w 10000"/>
                    <a:gd name="connsiteY4" fmla="*/ 9254 h 10000"/>
                    <a:gd name="connsiteX5" fmla="*/ 6058 w 10000"/>
                    <a:gd name="connsiteY5" fmla="*/ 7560 h 10000"/>
                    <a:gd name="connsiteX6" fmla="*/ 4057 w 10000"/>
                    <a:gd name="connsiteY6" fmla="*/ 8740 h 10000"/>
                    <a:gd name="connsiteX7" fmla="*/ 3086 w 10000"/>
                    <a:gd name="connsiteY7" fmla="*/ 8740 h 10000"/>
                    <a:gd name="connsiteX8" fmla="*/ 2214 w 10000"/>
                    <a:gd name="connsiteY8" fmla="*/ 7046 h 10000"/>
                    <a:gd name="connsiteX9" fmla="*/ 0 w 10000"/>
                    <a:gd name="connsiteY9" fmla="*/ 10000 h 10000"/>
                    <a:gd name="connsiteX10" fmla="*/ 971 w 10000"/>
                    <a:gd name="connsiteY10" fmla="*/ 7560 h 10000"/>
                    <a:gd name="connsiteX11" fmla="*/ 971 w 10000"/>
                    <a:gd name="connsiteY11" fmla="*/ 5039 h 10000"/>
                    <a:gd name="connsiteX12" fmla="*/ 0 w 10000"/>
                    <a:gd name="connsiteY12" fmla="*/ 3779 h 10000"/>
                    <a:gd name="connsiteX13" fmla="*/ 2000 w 10000"/>
                    <a:gd name="connsiteY13" fmla="*/ 3779 h 10000"/>
                    <a:gd name="connsiteX14" fmla="*/ 3086 w 10000"/>
                    <a:gd name="connsiteY14" fmla="*/ 1260 h 10000"/>
                    <a:gd name="connsiteX15" fmla="*/ 3086 w 10000"/>
                    <a:gd name="connsiteY15" fmla="*/ 0 h 10000"/>
                    <a:gd name="connsiteX16" fmla="*/ 5029 w 10000"/>
                    <a:gd name="connsiteY16" fmla="*/ 0 h 10000"/>
                    <a:gd name="connsiteX17" fmla="*/ 5029 w 10000"/>
                    <a:gd name="connsiteY17" fmla="*/ 1260 h 10000"/>
                    <a:gd name="connsiteX18" fmla="*/ 5029 w 10000"/>
                    <a:gd name="connsiteY18" fmla="*/ 2441 h 10000"/>
                    <a:gd name="connsiteX19" fmla="*/ 3086 w 10000"/>
                    <a:gd name="connsiteY19" fmla="*/ 2441 h 10000"/>
                    <a:gd name="connsiteX20" fmla="*/ 3086 w 10000"/>
                    <a:gd name="connsiteY20" fmla="*/ 3779 h 10000"/>
                    <a:gd name="connsiteX21" fmla="*/ 6058 w 10000"/>
                    <a:gd name="connsiteY21" fmla="*/ 3779 h 10000"/>
                    <a:gd name="connsiteX22" fmla="*/ 7029 w 10000"/>
                    <a:gd name="connsiteY22" fmla="*/ 3779 h 10000"/>
                    <a:gd name="connsiteX23" fmla="*/ 7357 w 10000"/>
                    <a:gd name="connsiteY23" fmla="*/ 6559 h 10000"/>
                    <a:gd name="connsiteX0" fmla="*/ 7357 w 9145"/>
                    <a:gd name="connsiteY0" fmla="*/ 6559 h 10000"/>
                    <a:gd name="connsiteX1" fmla="*/ 8445 w 9145"/>
                    <a:gd name="connsiteY1" fmla="*/ 6906 h 10000"/>
                    <a:gd name="connsiteX2" fmla="*/ 9145 w 9145"/>
                    <a:gd name="connsiteY2" fmla="*/ 8263 h 10000"/>
                    <a:gd name="connsiteX3" fmla="*/ 8972 w 9145"/>
                    <a:gd name="connsiteY3" fmla="*/ 8740 h 10000"/>
                    <a:gd name="connsiteX4" fmla="*/ 7496 w 9145"/>
                    <a:gd name="connsiteY4" fmla="*/ 9254 h 10000"/>
                    <a:gd name="connsiteX5" fmla="*/ 6058 w 9145"/>
                    <a:gd name="connsiteY5" fmla="*/ 7560 h 10000"/>
                    <a:gd name="connsiteX6" fmla="*/ 4057 w 9145"/>
                    <a:gd name="connsiteY6" fmla="*/ 8740 h 10000"/>
                    <a:gd name="connsiteX7" fmla="*/ 3086 w 9145"/>
                    <a:gd name="connsiteY7" fmla="*/ 8740 h 10000"/>
                    <a:gd name="connsiteX8" fmla="*/ 2214 w 9145"/>
                    <a:gd name="connsiteY8" fmla="*/ 7046 h 10000"/>
                    <a:gd name="connsiteX9" fmla="*/ 0 w 9145"/>
                    <a:gd name="connsiteY9" fmla="*/ 10000 h 10000"/>
                    <a:gd name="connsiteX10" fmla="*/ 971 w 9145"/>
                    <a:gd name="connsiteY10" fmla="*/ 7560 h 10000"/>
                    <a:gd name="connsiteX11" fmla="*/ 971 w 9145"/>
                    <a:gd name="connsiteY11" fmla="*/ 5039 h 10000"/>
                    <a:gd name="connsiteX12" fmla="*/ 0 w 9145"/>
                    <a:gd name="connsiteY12" fmla="*/ 3779 h 10000"/>
                    <a:gd name="connsiteX13" fmla="*/ 2000 w 9145"/>
                    <a:gd name="connsiteY13" fmla="*/ 3779 h 10000"/>
                    <a:gd name="connsiteX14" fmla="*/ 3086 w 9145"/>
                    <a:gd name="connsiteY14" fmla="*/ 1260 h 10000"/>
                    <a:gd name="connsiteX15" fmla="*/ 3086 w 9145"/>
                    <a:gd name="connsiteY15" fmla="*/ 0 h 10000"/>
                    <a:gd name="connsiteX16" fmla="*/ 5029 w 9145"/>
                    <a:gd name="connsiteY16" fmla="*/ 0 h 10000"/>
                    <a:gd name="connsiteX17" fmla="*/ 5029 w 9145"/>
                    <a:gd name="connsiteY17" fmla="*/ 1260 h 10000"/>
                    <a:gd name="connsiteX18" fmla="*/ 5029 w 9145"/>
                    <a:gd name="connsiteY18" fmla="*/ 2441 h 10000"/>
                    <a:gd name="connsiteX19" fmla="*/ 3086 w 9145"/>
                    <a:gd name="connsiteY19" fmla="*/ 2441 h 10000"/>
                    <a:gd name="connsiteX20" fmla="*/ 3086 w 9145"/>
                    <a:gd name="connsiteY20" fmla="*/ 3779 h 10000"/>
                    <a:gd name="connsiteX21" fmla="*/ 6058 w 9145"/>
                    <a:gd name="connsiteY21" fmla="*/ 3779 h 10000"/>
                    <a:gd name="connsiteX22" fmla="*/ 7029 w 9145"/>
                    <a:gd name="connsiteY22" fmla="*/ 3779 h 10000"/>
                    <a:gd name="connsiteX23" fmla="*/ 7357 w 9145"/>
                    <a:gd name="connsiteY23" fmla="*/ 6559 h 10000"/>
                    <a:gd name="connsiteX0" fmla="*/ 8045 w 10000"/>
                    <a:gd name="connsiteY0" fmla="*/ 6559 h 10000"/>
                    <a:gd name="connsiteX1" fmla="*/ 9235 w 10000"/>
                    <a:gd name="connsiteY1" fmla="*/ 6906 h 10000"/>
                    <a:gd name="connsiteX2" fmla="*/ 10000 w 10000"/>
                    <a:gd name="connsiteY2" fmla="*/ 8263 h 10000"/>
                    <a:gd name="connsiteX3" fmla="*/ 9811 w 10000"/>
                    <a:gd name="connsiteY3" fmla="*/ 8740 h 10000"/>
                    <a:gd name="connsiteX4" fmla="*/ 8197 w 10000"/>
                    <a:gd name="connsiteY4" fmla="*/ 9254 h 10000"/>
                    <a:gd name="connsiteX5" fmla="*/ 6624 w 10000"/>
                    <a:gd name="connsiteY5" fmla="*/ 7560 h 10000"/>
                    <a:gd name="connsiteX6" fmla="*/ 4946 w 10000"/>
                    <a:gd name="connsiteY6" fmla="*/ 9435 h 10000"/>
                    <a:gd name="connsiteX7" fmla="*/ 3375 w 10000"/>
                    <a:gd name="connsiteY7" fmla="*/ 8740 h 10000"/>
                    <a:gd name="connsiteX8" fmla="*/ 2421 w 10000"/>
                    <a:gd name="connsiteY8" fmla="*/ 7046 h 10000"/>
                    <a:gd name="connsiteX9" fmla="*/ 0 w 10000"/>
                    <a:gd name="connsiteY9" fmla="*/ 10000 h 10000"/>
                    <a:gd name="connsiteX10" fmla="*/ 1062 w 10000"/>
                    <a:gd name="connsiteY10" fmla="*/ 7560 h 10000"/>
                    <a:gd name="connsiteX11" fmla="*/ 1062 w 10000"/>
                    <a:gd name="connsiteY11" fmla="*/ 5039 h 10000"/>
                    <a:gd name="connsiteX12" fmla="*/ 0 w 10000"/>
                    <a:gd name="connsiteY12" fmla="*/ 3779 h 10000"/>
                    <a:gd name="connsiteX13" fmla="*/ 2187 w 10000"/>
                    <a:gd name="connsiteY13" fmla="*/ 3779 h 10000"/>
                    <a:gd name="connsiteX14" fmla="*/ 3375 w 10000"/>
                    <a:gd name="connsiteY14" fmla="*/ 1260 h 10000"/>
                    <a:gd name="connsiteX15" fmla="*/ 3375 w 10000"/>
                    <a:gd name="connsiteY15" fmla="*/ 0 h 10000"/>
                    <a:gd name="connsiteX16" fmla="*/ 5499 w 10000"/>
                    <a:gd name="connsiteY16" fmla="*/ 0 h 10000"/>
                    <a:gd name="connsiteX17" fmla="*/ 5499 w 10000"/>
                    <a:gd name="connsiteY17" fmla="*/ 1260 h 10000"/>
                    <a:gd name="connsiteX18" fmla="*/ 5499 w 10000"/>
                    <a:gd name="connsiteY18" fmla="*/ 2441 h 10000"/>
                    <a:gd name="connsiteX19" fmla="*/ 3375 w 10000"/>
                    <a:gd name="connsiteY19" fmla="*/ 2441 h 10000"/>
                    <a:gd name="connsiteX20" fmla="*/ 3375 w 10000"/>
                    <a:gd name="connsiteY20" fmla="*/ 3779 h 10000"/>
                    <a:gd name="connsiteX21" fmla="*/ 6624 w 10000"/>
                    <a:gd name="connsiteY21" fmla="*/ 3779 h 10000"/>
                    <a:gd name="connsiteX22" fmla="*/ 7686 w 10000"/>
                    <a:gd name="connsiteY22" fmla="*/ 3779 h 10000"/>
                    <a:gd name="connsiteX23" fmla="*/ 8045 w 10000"/>
                    <a:gd name="connsiteY23" fmla="*/ 6559 h 10000"/>
                    <a:gd name="connsiteX0" fmla="*/ 8045 w 10000"/>
                    <a:gd name="connsiteY0" fmla="*/ 6559 h 10000"/>
                    <a:gd name="connsiteX1" fmla="*/ 9235 w 10000"/>
                    <a:gd name="connsiteY1" fmla="*/ 6906 h 10000"/>
                    <a:gd name="connsiteX2" fmla="*/ 10000 w 10000"/>
                    <a:gd name="connsiteY2" fmla="*/ 8263 h 10000"/>
                    <a:gd name="connsiteX3" fmla="*/ 9811 w 10000"/>
                    <a:gd name="connsiteY3" fmla="*/ 8740 h 10000"/>
                    <a:gd name="connsiteX4" fmla="*/ 8197 w 10000"/>
                    <a:gd name="connsiteY4" fmla="*/ 9254 h 10000"/>
                    <a:gd name="connsiteX5" fmla="*/ 7644 w 10000"/>
                    <a:gd name="connsiteY5" fmla="*/ 7560 h 10000"/>
                    <a:gd name="connsiteX6" fmla="*/ 4946 w 10000"/>
                    <a:gd name="connsiteY6" fmla="*/ 9435 h 10000"/>
                    <a:gd name="connsiteX7" fmla="*/ 3375 w 10000"/>
                    <a:gd name="connsiteY7" fmla="*/ 8740 h 10000"/>
                    <a:gd name="connsiteX8" fmla="*/ 2421 w 10000"/>
                    <a:gd name="connsiteY8" fmla="*/ 7046 h 10000"/>
                    <a:gd name="connsiteX9" fmla="*/ 0 w 10000"/>
                    <a:gd name="connsiteY9" fmla="*/ 10000 h 10000"/>
                    <a:gd name="connsiteX10" fmla="*/ 1062 w 10000"/>
                    <a:gd name="connsiteY10" fmla="*/ 7560 h 10000"/>
                    <a:gd name="connsiteX11" fmla="*/ 1062 w 10000"/>
                    <a:gd name="connsiteY11" fmla="*/ 5039 h 10000"/>
                    <a:gd name="connsiteX12" fmla="*/ 0 w 10000"/>
                    <a:gd name="connsiteY12" fmla="*/ 3779 h 10000"/>
                    <a:gd name="connsiteX13" fmla="*/ 2187 w 10000"/>
                    <a:gd name="connsiteY13" fmla="*/ 3779 h 10000"/>
                    <a:gd name="connsiteX14" fmla="*/ 3375 w 10000"/>
                    <a:gd name="connsiteY14" fmla="*/ 1260 h 10000"/>
                    <a:gd name="connsiteX15" fmla="*/ 3375 w 10000"/>
                    <a:gd name="connsiteY15" fmla="*/ 0 h 10000"/>
                    <a:gd name="connsiteX16" fmla="*/ 5499 w 10000"/>
                    <a:gd name="connsiteY16" fmla="*/ 0 h 10000"/>
                    <a:gd name="connsiteX17" fmla="*/ 5499 w 10000"/>
                    <a:gd name="connsiteY17" fmla="*/ 1260 h 10000"/>
                    <a:gd name="connsiteX18" fmla="*/ 5499 w 10000"/>
                    <a:gd name="connsiteY18" fmla="*/ 2441 h 10000"/>
                    <a:gd name="connsiteX19" fmla="*/ 3375 w 10000"/>
                    <a:gd name="connsiteY19" fmla="*/ 2441 h 10000"/>
                    <a:gd name="connsiteX20" fmla="*/ 3375 w 10000"/>
                    <a:gd name="connsiteY20" fmla="*/ 3779 h 10000"/>
                    <a:gd name="connsiteX21" fmla="*/ 6624 w 10000"/>
                    <a:gd name="connsiteY21" fmla="*/ 3779 h 10000"/>
                    <a:gd name="connsiteX22" fmla="*/ 7686 w 10000"/>
                    <a:gd name="connsiteY22" fmla="*/ 3779 h 10000"/>
                    <a:gd name="connsiteX23" fmla="*/ 8045 w 10000"/>
                    <a:gd name="connsiteY23" fmla="*/ 655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000" h="10000">
                      <a:moveTo>
                        <a:pt x="8045" y="6559"/>
                      </a:moveTo>
                      <a:lnTo>
                        <a:pt x="9235" y="6906"/>
                      </a:lnTo>
                      <a:lnTo>
                        <a:pt x="10000" y="8263"/>
                      </a:lnTo>
                      <a:cubicBezTo>
                        <a:pt x="9938" y="8422"/>
                        <a:pt x="9873" y="8581"/>
                        <a:pt x="9811" y="8740"/>
                      </a:cubicBezTo>
                      <a:lnTo>
                        <a:pt x="8197" y="9254"/>
                      </a:lnTo>
                      <a:lnTo>
                        <a:pt x="7644" y="7560"/>
                      </a:lnTo>
                      <a:lnTo>
                        <a:pt x="4946" y="9435"/>
                      </a:lnTo>
                      <a:lnTo>
                        <a:pt x="3375" y="8740"/>
                      </a:lnTo>
                      <a:lnTo>
                        <a:pt x="2421" y="7046"/>
                      </a:lnTo>
                      <a:lnTo>
                        <a:pt x="0" y="10000"/>
                      </a:lnTo>
                      <a:lnTo>
                        <a:pt x="1062" y="7560"/>
                      </a:lnTo>
                      <a:lnTo>
                        <a:pt x="1062" y="5039"/>
                      </a:lnTo>
                      <a:lnTo>
                        <a:pt x="0" y="3779"/>
                      </a:lnTo>
                      <a:lnTo>
                        <a:pt x="2187" y="3779"/>
                      </a:lnTo>
                      <a:lnTo>
                        <a:pt x="3375" y="1260"/>
                      </a:lnTo>
                      <a:lnTo>
                        <a:pt x="3375" y="0"/>
                      </a:lnTo>
                      <a:lnTo>
                        <a:pt x="5499" y="0"/>
                      </a:lnTo>
                      <a:lnTo>
                        <a:pt x="5499" y="1260"/>
                      </a:lnTo>
                      <a:lnTo>
                        <a:pt x="5499" y="2441"/>
                      </a:lnTo>
                      <a:lnTo>
                        <a:pt x="3375" y="2441"/>
                      </a:lnTo>
                      <a:lnTo>
                        <a:pt x="3375" y="3779"/>
                      </a:lnTo>
                      <a:lnTo>
                        <a:pt x="6624" y="3779"/>
                      </a:lnTo>
                      <a:lnTo>
                        <a:pt x="7686" y="3779"/>
                      </a:lnTo>
                      <a:cubicBezTo>
                        <a:pt x="7805" y="4706"/>
                        <a:pt x="7926" y="5632"/>
                        <a:pt x="8045" y="6559"/>
                      </a:cubicBezTo>
                      <a:close/>
                    </a:path>
                  </a:pathLst>
                </a:custGeom>
                <a:noFill/>
                <a:ln w="9525">
                  <a:solidFill>
                    <a:schemeClr val="bg2"/>
                  </a:solidFill>
                  <a:round/>
                  <a:headEnd/>
                  <a:tailEnd/>
                </a:ln>
                <a:extLst>
                  <a:ext uri="{909E8E84-426E-40DD-AFC4-6F175D3DCCD1}">
                    <a14:hiddenFill xmlns:a14="http://schemas.microsoft.com/office/drawing/2010/main">
                      <a:solidFill>
                        <a:schemeClr val="accent1"/>
                      </a:solidFill>
                    </a14:hiddenFill>
                  </a:ext>
                </a:extLst>
              </p:spPr>
              <p:txBody>
                <a:bodyPr/>
                <a:lstStyle/>
                <a:p>
                  <a:endParaRPr lang="de-DE"/>
                </a:p>
              </p:txBody>
            </p:sp>
            <p:sp>
              <p:nvSpPr>
                <p:cNvPr id="454" name="Скругленный прямоугольник 8"/>
                <p:cNvSpPr/>
                <p:nvPr/>
              </p:nvSpPr>
              <p:spPr>
                <a:xfrm>
                  <a:off x="6125483" y="2386940"/>
                  <a:ext cx="500948" cy="307162"/>
                </a:xfrm>
                <a:prstGeom prst="roundRect">
                  <a:avLst/>
                </a:prstGeom>
                <a:blipFill rotWithShape="0">
                  <a:blip r:embed="rId14"/>
                  <a:srcRect/>
                  <a:stretch>
                    <a:fillRect l="5068" t="6188" r="3209" b="6616"/>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GB"/>
                </a:p>
              </p:txBody>
            </p:sp>
            <p:sp>
              <p:nvSpPr>
                <p:cNvPr id="455" name="TextBox 454"/>
                <p:cNvSpPr txBox="1"/>
                <p:nvPr/>
              </p:nvSpPr>
              <p:spPr>
                <a:xfrm>
                  <a:off x="5486397" y="2162095"/>
                  <a:ext cx="1200439" cy="480131"/>
                </a:xfrm>
                <a:prstGeom prst="rect">
                  <a:avLst/>
                </a:prstGeom>
                <a:noFill/>
              </p:spPr>
              <p:txBody>
                <a:bodyPr wrap="square" rtlCol="0">
                  <a:spAutoFit/>
                </a:bodyPr>
                <a:lstStyle/>
                <a:p>
                  <a:pPr>
                    <a:lnSpc>
                      <a:spcPct val="90000"/>
                    </a:lnSpc>
                    <a:defRPr/>
                  </a:pPr>
                  <a:r>
                    <a:rPr lang="en-GB" sz="1400" b="1" kern="0" dirty="0">
                      <a:solidFill>
                        <a:srgbClr val="FFFFFF"/>
                      </a:solidFill>
                      <a:latin typeface="Calibri"/>
                    </a:rPr>
                    <a:t>Kazakhstan - </a:t>
                  </a:r>
                  <a:r>
                    <a:rPr lang="en-GB" sz="1400" b="1" i="1" kern="0" dirty="0">
                      <a:solidFill>
                        <a:srgbClr val="FFFFFF"/>
                      </a:solidFill>
                      <a:latin typeface="Calibri"/>
                    </a:rPr>
                    <a:t>KAZRC</a:t>
                  </a:r>
                </a:p>
              </p:txBody>
            </p:sp>
          </p:grpSp>
          <p:pic>
            <p:nvPicPr>
              <p:cNvPr id="443" name="Picture 2" descr="C:\Users\wellsne\AppData\Local\Microsoft\Windows\Temporary Internet Files\Content.Outlook\V7BM8KNI\logo CBRR.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016941" y="4350013"/>
                <a:ext cx="676335" cy="273688"/>
              </a:xfrm>
              <a:prstGeom prst="rect">
                <a:avLst/>
              </a:prstGeom>
              <a:noFill/>
              <a:extLst>
                <a:ext uri="{909E8E84-426E-40DD-AFC4-6F175D3DCCD1}">
                  <a14:hiddenFill xmlns:a14="http://schemas.microsoft.com/office/drawing/2010/main">
                    <a:solidFill>
                      <a:srgbClr val="FFFFFF"/>
                    </a:solidFill>
                  </a14:hiddenFill>
                </a:ext>
              </a:extLst>
            </p:spPr>
          </p:pic>
          <p:sp>
            <p:nvSpPr>
              <p:cNvPr id="444" name="Freeform 443"/>
              <p:cNvSpPr/>
              <p:nvPr/>
            </p:nvSpPr>
            <p:spPr bwMode="auto">
              <a:xfrm>
                <a:off x="6181250" y="2883013"/>
                <a:ext cx="238600" cy="117362"/>
              </a:xfrm>
              <a:custGeom>
                <a:avLst/>
                <a:gdLst>
                  <a:gd name="connsiteX0" fmla="*/ 235744 w 235744"/>
                  <a:gd name="connsiteY0" fmla="*/ 4762 h 107156"/>
                  <a:gd name="connsiteX1" fmla="*/ 230982 w 235744"/>
                  <a:gd name="connsiteY1" fmla="*/ 47625 h 107156"/>
                  <a:gd name="connsiteX2" fmla="*/ 207169 w 235744"/>
                  <a:gd name="connsiteY2" fmla="*/ 66675 h 107156"/>
                  <a:gd name="connsiteX3" fmla="*/ 192882 w 235744"/>
                  <a:gd name="connsiteY3" fmla="*/ 83344 h 107156"/>
                  <a:gd name="connsiteX4" fmla="*/ 171450 w 235744"/>
                  <a:gd name="connsiteY4" fmla="*/ 107156 h 107156"/>
                  <a:gd name="connsiteX5" fmla="*/ 145257 w 235744"/>
                  <a:gd name="connsiteY5" fmla="*/ 102394 h 107156"/>
                  <a:gd name="connsiteX6" fmla="*/ 97632 w 235744"/>
                  <a:gd name="connsiteY6" fmla="*/ 97631 h 107156"/>
                  <a:gd name="connsiteX7" fmla="*/ 73819 w 235744"/>
                  <a:gd name="connsiteY7" fmla="*/ 85725 h 107156"/>
                  <a:gd name="connsiteX8" fmla="*/ 52388 w 235744"/>
                  <a:gd name="connsiteY8" fmla="*/ 73819 h 107156"/>
                  <a:gd name="connsiteX9" fmla="*/ 16669 w 235744"/>
                  <a:gd name="connsiteY9" fmla="*/ 64294 h 107156"/>
                  <a:gd name="connsiteX10" fmla="*/ 0 w 235744"/>
                  <a:gd name="connsiteY10" fmla="*/ 71437 h 107156"/>
                  <a:gd name="connsiteX11" fmla="*/ 0 w 235744"/>
                  <a:gd name="connsiteY11" fmla="*/ 71437 h 107156"/>
                  <a:gd name="connsiteX12" fmla="*/ 42863 w 235744"/>
                  <a:gd name="connsiteY12" fmla="*/ 7144 h 107156"/>
                  <a:gd name="connsiteX13" fmla="*/ 92869 w 235744"/>
                  <a:gd name="connsiteY13" fmla="*/ 26194 h 107156"/>
                  <a:gd name="connsiteX14" fmla="*/ 95250 w 235744"/>
                  <a:gd name="connsiteY14" fmla="*/ 7144 h 107156"/>
                  <a:gd name="connsiteX15" fmla="*/ 114300 w 235744"/>
                  <a:gd name="connsiteY15" fmla="*/ 0 h 107156"/>
                  <a:gd name="connsiteX16" fmla="*/ 142875 w 235744"/>
                  <a:gd name="connsiteY16" fmla="*/ 11906 h 107156"/>
                  <a:gd name="connsiteX17" fmla="*/ 235744 w 235744"/>
                  <a:gd name="connsiteY17" fmla="*/ 4762 h 10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5744" h="107156">
                    <a:moveTo>
                      <a:pt x="235744" y="4762"/>
                    </a:moveTo>
                    <a:lnTo>
                      <a:pt x="230982" y="47625"/>
                    </a:lnTo>
                    <a:lnTo>
                      <a:pt x="207169" y="66675"/>
                    </a:lnTo>
                    <a:lnTo>
                      <a:pt x="192882" y="83344"/>
                    </a:lnTo>
                    <a:lnTo>
                      <a:pt x="171450" y="107156"/>
                    </a:lnTo>
                    <a:lnTo>
                      <a:pt x="145257" y="102394"/>
                    </a:lnTo>
                    <a:lnTo>
                      <a:pt x="97632" y="97631"/>
                    </a:lnTo>
                    <a:lnTo>
                      <a:pt x="73819" y="85725"/>
                    </a:lnTo>
                    <a:lnTo>
                      <a:pt x="52388" y="73819"/>
                    </a:lnTo>
                    <a:lnTo>
                      <a:pt x="16669" y="64294"/>
                    </a:lnTo>
                    <a:lnTo>
                      <a:pt x="0" y="71437"/>
                    </a:lnTo>
                    <a:lnTo>
                      <a:pt x="0" y="71437"/>
                    </a:lnTo>
                    <a:lnTo>
                      <a:pt x="42863" y="7144"/>
                    </a:lnTo>
                    <a:lnTo>
                      <a:pt x="92869" y="26194"/>
                    </a:lnTo>
                    <a:lnTo>
                      <a:pt x="95250" y="7144"/>
                    </a:lnTo>
                    <a:lnTo>
                      <a:pt x="114300" y="0"/>
                    </a:lnTo>
                    <a:lnTo>
                      <a:pt x="142875" y="11906"/>
                    </a:lnTo>
                    <a:lnTo>
                      <a:pt x="235744" y="4762"/>
                    </a:lnTo>
                    <a:close/>
                  </a:path>
                </a:pathLst>
              </a:custGeom>
              <a:solidFill>
                <a:schemeClr val="bg1"/>
              </a:solidFill>
              <a:ln w="9525"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445" name="TextBox 444"/>
              <p:cNvSpPr txBox="1"/>
              <p:nvPr/>
            </p:nvSpPr>
            <p:spPr>
              <a:xfrm>
                <a:off x="6194522" y="4118473"/>
                <a:ext cx="1060945" cy="738664"/>
              </a:xfrm>
              <a:prstGeom prst="rect">
                <a:avLst/>
              </a:prstGeom>
              <a:noFill/>
            </p:spPr>
            <p:txBody>
              <a:bodyPr wrap="square" rtlCol="0">
                <a:spAutoFit/>
              </a:bodyPr>
              <a:lstStyle/>
              <a:p>
                <a:r>
                  <a:rPr lang="en-AU" sz="1400" dirty="0">
                    <a:latin typeface="Calibri" panose="020F0502020204030204" pitchFamily="34" charset="0"/>
                    <a:cs typeface="Calibri" panose="020F0502020204030204" pitchFamily="34" charset="0"/>
                  </a:rPr>
                  <a:t>I</a:t>
                </a:r>
                <a:r>
                  <a:rPr lang="en-AU" sz="1400" b="1" dirty="0">
                    <a:latin typeface="Calibri" panose="020F0502020204030204" pitchFamily="34" charset="0"/>
                    <a:cs typeface="Calibri" panose="020F0502020204030204" pitchFamily="34" charset="0"/>
                  </a:rPr>
                  <a:t>ndonesia -</a:t>
                </a:r>
              </a:p>
              <a:p>
                <a:r>
                  <a:rPr lang="en-AU" sz="1400" b="1" i="1" dirty="0">
                    <a:latin typeface="Calibri" panose="020F0502020204030204" pitchFamily="34" charset="0"/>
                    <a:cs typeface="Calibri" panose="020F0502020204030204" pitchFamily="34" charset="0"/>
                  </a:rPr>
                  <a:t>KOMBERS-KCMI</a:t>
                </a:r>
              </a:p>
            </p:txBody>
          </p:sp>
          <p:sp>
            <p:nvSpPr>
              <p:cNvPr id="446" name="TextBox 445"/>
              <p:cNvSpPr txBox="1"/>
              <p:nvPr/>
            </p:nvSpPr>
            <p:spPr>
              <a:xfrm>
                <a:off x="1397696" y="4097232"/>
                <a:ext cx="1047953" cy="523220"/>
              </a:xfrm>
              <a:prstGeom prst="rect">
                <a:avLst/>
              </a:prstGeom>
              <a:noFill/>
            </p:spPr>
            <p:txBody>
              <a:bodyPr wrap="square" rtlCol="0">
                <a:spAutoFit/>
              </a:bodyPr>
              <a:lstStyle/>
              <a:p>
                <a:r>
                  <a:rPr lang="en-US" sz="1400" b="1" dirty="0">
                    <a:latin typeface="Calibri" charset="0"/>
                    <a:ea typeface="Calibri" charset="0"/>
                    <a:cs typeface="Calibri" charset="0"/>
                  </a:rPr>
                  <a:t>Colombia –</a:t>
                </a:r>
              </a:p>
              <a:p>
                <a:r>
                  <a:rPr lang="en-US" sz="1400" b="1" i="1" dirty="0">
                    <a:latin typeface="Calibri" charset="0"/>
                    <a:ea typeface="Calibri" charset="0"/>
                    <a:cs typeface="Calibri" charset="0"/>
                  </a:rPr>
                  <a:t>CCRR</a:t>
                </a:r>
              </a:p>
            </p:txBody>
          </p:sp>
          <p:sp>
            <p:nvSpPr>
              <p:cNvPr id="447" name="TextBox 446"/>
              <p:cNvSpPr txBox="1"/>
              <p:nvPr/>
            </p:nvSpPr>
            <p:spPr>
              <a:xfrm>
                <a:off x="5399021" y="3261230"/>
                <a:ext cx="1047953" cy="523220"/>
              </a:xfrm>
              <a:prstGeom prst="rect">
                <a:avLst/>
              </a:prstGeom>
              <a:noFill/>
            </p:spPr>
            <p:txBody>
              <a:bodyPr wrap="square" rtlCol="0">
                <a:spAutoFit/>
              </a:bodyPr>
              <a:lstStyle/>
              <a:p>
                <a:r>
                  <a:rPr lang="en-US" sz="1400" b="1" dirty="0">
                    <a:latin typeface="Calibri" charset="0"/>
                    <a:ea typeface="Calibri" charset="0"/>
                    <a:cs typeface="Calibri" charset="0"/>
                  </a:rPr>
                  <a:t>Turkey –</a:t>
                </a:r>
              </a:p>
              <a:p>
                <a:r>
                  <a:rPr lang="en-US" sz="1400" b="1" i="1" dirty="0">
                    <a:latin typeface="Calibri" charset="0"/>
                    <a:ea typeface="Calibri" charset="0"/>
                    <a:cs typeface="Calibri" charset="0"/>
                  </a:rPr>
                  <a:t>UMREK</a:t>
                </a:r>
              </a:p>
            </p:txBody>
          </p:sp>
          <p:pic>
            <p:nvPicPr>
              <p:cNvPr id="448" name="Picture 447" descr="C:\Users\gkutlubay\Desktop\UMREK\umrek\Logo-02.jpg"/>
              <p:cNvPicPr>
                <a:picLocks noChangeAspect="1"/>
              </p:cNvPicPr>
              <p:nvPr/>
            </p:nvPicPr>
            <p:blipFill rotWithShape="1">
              <a:blip r:embed="rId16" cstate="print">
                <a:extLst>
                  <a:ext uri="{28A0092B-C50C-407E-A947-70E740481C1C}">
                    <a14:useLocalDpi xmlns:a14="http://schemas.microsoft.com/office/drawing/2010/main" val="0"/>
                  </a:ext>
                </a:extLst>
              </a:blip>
              <a:srcRect l="15125" t="36100" r="14772" b="35541"/>
              <a:stretch/>
            </p:blipFill>
            <p:spPr bwMode="auto">
              <a:xfrm>
                <a:off x="4646368" y="3354693"/>
                <a:ext cx="648000" cy="185340"/>
              </a:xfrm>
              <a:prstGeom prst="rect">
                <a:avLst/>
              </a:prstGeom>
              <a:noFill/>
              <a:ln>
                <a:noFill/>
              </a:ln>
              <a:extLst>
                <a:ext uri="{53640926-AAD7-44D8-BBD7-CCE9431645EC}">
                  <a14:shadowObscured xmlns:a14="http://schemas.microsoft.com/office/drawing/2010/main"/>
                </a:ext>
              </a:extLst>
            </p:spPr>
          </p:pic>
        </p:grpSp>
        <p:pic>
          <p:nvPicPr>
            <p:cNvPr id="441" name="Picture 440">
              <a:extLst>
                <a:ext uri="{FF2B5EF4-FFF2-40B4-BE49-F238E27FC236}">
                  <a16:creationId xmlns:a16="http://schemas.microsoft.com/office/drawing/2014/main" id="{7247A608-1ACC-4A9C-964A-5EE0B1A3EC2D}"/>
                </a:ext>
              </a:extLst>
            </p:cNvPr>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50612" y="4588735"/>
              <a:ext cx="641353" cy="294575"/>
            </a:xfrm>
            <a:prstGeom prst="rect">
              <a:avLst/>
            </a:prstGeom>
          </p:spPr>
        </p:pic>
      </p:grpSp>
    </p:spTree>
    <p:extLst>
      <p:ext uri="{BB962C8B-B14F-4D97-AF65-F5344CB8AC3E}">
        <p14:creationId xmlns:p14="http://schemas.microsoft.com/office/powerpoint/2010/main" val="356886413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custDataLst>
              <p:tags r:id="rId2"/>
            </p:custDataLst>
            <p:extLst>
              <p:ext uri="{D42A27DB-BD31-4B8C-83A1-F6EECF244321}">
                <p14:modId xmlns:p14="http://schemas.microsoft.com/office/powerpoint/2010/main" val="262378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5" name="Rectangle 44" hidden="1"/>
          <p:cNvSpPr/>
          <p:nvPr>
            <p:custDataLst>
              <p:tags r:id="rId3"/>
            </p:custDataLst>
          </p:nvPr>
        </p:nvSpPr>
        <p:spPr bwMode="auto">
          <a:xfrm>
            <a:off x="0" y="0"/>
            <a:ext cx="158750" cy="158750"/>
          </a:xfrm>
          <a:prstGeom prst="rect">
            <a:avLst/>
          </a:prstGeom>
          <a:blipFill dpi="0" rotWithShape="0">
            <a:blip r:embed="rId13"/>
            <a:srcRect/>
            <a:tile tx="0" ty="0" sx="100000" sy="100000" flip="none" algn="tl"/>
          </a:blipFill>
          <a:ln w="25400" cap="flat" cmpd="sng" algn="ctr">
            <a:solidFill>
              <a:srgbClr val="000000"/>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GB" sz="4800" u="none" strike="noStrike" cap="none" normalizeH="0" dirty="0">
              <a:ln>
                <a:noFill/>
              </a:ln>
              <a:solidFill>
                <a:srgbClr val="000000"/>
              </a:solidFill>
              <a:effectLst/>
              <a:ea typeface="+mj-ea"/>
              <a:cs typeface="+mj-cs"/>
            </a:endParaRPr>
          </a:p>
        </p:txBody>
      </p:sp>
      <p:sp>
        <p:nvSpPr>
          <p:cNvPr id="2" name="Title 1"/>
          <p:cNvSpPr>
            <a:spLocks noGrp="1"/>
          </p:cNvSpPr>
          <p:nvPr>
            <p:ph type="title"/>
          </p:nvPr>
        </p:nvSpPr>
        <p:spPr>
          <a:xfrm>
            <a:off x="1969200" y="176400"/>
            <a:ext cx="10464800" cy="831600"/>
          </a:xfrm>
        </p:spPr>
        <p:txBody>
          <a:bodyPr/>
          <a:lstStyle/>
          <a:p>
            <a:r>
              <a:rPr lang="en-GB" dirty="0"/>
              <a:t>13 </a:t>
            </a:r>
            <a:r>
              <a:rPr lang="ru-RU" dirty="0"/>
              <a:t>стран – членов </a:t>
            </a:r>
            <a:r>
              <a:rPr lang="en-GB" dirty="0"/>
              <a:t>CRIRSCO</a:t>
            </a:r>
          </a:p>
        </p:txBody>
      </p:sp>
      <p:sp>
        <p:nvSpPr>
          <p:cNvPr id="4" name="Скругленный прямоугольник 8"/>
          <p:cNvSpPr>
            <a:spLocks noChangeAspect="1"/>
          </p:cNvSpPr>
          <p:nvPr>
            <p:custDataLst>
              <p:tags r:id="rId4"/>
            </p:custDataLst>
          </p:nvPr>
        </p:nvSpPr>
        <p:spPr>
          <a:xfrm>
            <a:off x="7594326" y="6202067"/>
            <a:ext cx="587121" cy="360000"/>
          </a:xfrm>
          <a:prstGeom prst="roundRect">
            <a:avLst/>
          </a:prstGeom>
          <a:blipFill rotWithShape="0">
            <a:blip r:embed="rId14"/>
            <a:srcRect/>
            <a:stretch>
              <a:fillRect l="5068" t="6188" r="3209" b="6616"/>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GB"/>
          </a:p>
        </p:txBody>
      </p:sp>
      <p:pic>
        <p:nvPicPr>
          <p:cNvPr id="5" name="Picture 8" descr="http://www.smenet.org/images/masthead/masthead.gif"/>
          <p:cNvPicPr>
            <a:picLocks noChangeAspect="1" noChangeArrowheads="1"/>
          </p:cNvPicPr>
          <p:nvPr>
            <p:custDataLst>
              <p:tags r:id="rId5"/>
            </p:custDataLst>
          </p:nvPr>
        </p:nvPicPr>
        <p:blipFill rotWithShape="1">
          <a:blip r:embed="rId15" cstate="print">
            <a:extLst>
              <a:ext uri="{28A0092B-C50C-407E-A947-70E740481C1C}">
                <a14:useLocalDpi xmlns:a14="http://schemas.microsoft.com/office/drawing/2010/main" val="0"/>
              </a:ext>
            </a:extLst>
          </a:blip>
          <a:srcRect l="7586" r="9769"/>
          <a:stretch/>
        </p:blipFill>
        <p:spPr bwMode="auto">
          <a:xfrm>
            <a:off x="7490188" y="8517919"/>
            <a:ext cx="1487610" cy="360000"/>
          </a:xfrm>
          <a:prstGeom prst="rect">
            <a:avLst/>
          </a:prstGeom>
          <a:noFill/>
          <a:extLst>
            <a:ext uri="{909E8E84-426E-40DD-AFC4-6F175D3DCCD1}">
              <a14:hiddenFill xmlns:a14="http://schemas.microsoft.com/office/drawing/2010/main">
                <a:solidFill>
                  <a:srgbClr val="FFFFFF"/>
                </a:solidFill>
              </a14:hiddenFill>
            </a:ext>
          </a:extLst>
        </p:spPr>
      </p:pic>
      <p:sp>
        <p:nvSpPr>
          <p:cNvPr id="17" name="Freeform 16"/>
          <p:cNvSpPr/>
          <p:nvPr/>
        </p:nvSpPr>
        <p:spPr>
          <a:xfrm rot="16200000">
            <a:off x="-2006542" y="5344283"/>
            <a:ext cx="6038905" cy="1118365"/>
          </a:xfrm>
          <a:custGeom>
            <a:avLst/>
            <a:gdLst>
              <a:gd name="connsiteX0" fmla="*/ 0 w 6971085"/>
              <a:gd name="connsiteY0" fmla="*/ 0 h 1118365"/>
              <a:gd name="connsiteX1" fmla="*/ 6971085 w 6971085"/>
              <a:gd name="connsiteY1" fmla="*/ 0 h 1118365"/>
              <a:gd name="connsiteX2" fmla="*/ 6971085 w 6971085"/>
              <a:gd name="connsiteY2" fmla="*/ 1118365 h 1118365"/>
              <a:gd name="connsiteX3" fmla="*/ 0 w 6971085"/>
              <a:gd name="connsiteY3" fmla="*/ 1118365 h 1118365"/>
              <a:gd name="connsiteX4" fmla="*/ 0 w 6971085"/>
              <a:gd name="connsiteY4" fmla="*/ 0 h 1118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71085" h="1118365">
                <a:moveTo>
                  <a:pt x="0" y="0"/>
                </a:moveTo>
                <a:lnTo>
                  <a:pt x="6971085" y="0"/>
                </a:lnTo>
                <a:lnTo>
                  <a:pt x="6971085" y="1118365"/>
                </a:lnTo>
                <a:lnTo>
                  <a:pt x="0" y="1118365"/>
                </a:lnTo>
                <a:lnTo>
                  <a:pt x="0" y="0"/>
                </a:lnTo>
                <a:close/>
              </a:path>
            </a:pathLst>
          </a:custGeom>
          <a:solidFill>
            <a:srgbClr val="29325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639" tIns="40639" rIns="40641" bIns="40640" numCol="1" spcCol="1270" anchor="ctr" anchorCtr="0">
            <a:noAutofit/>
          </a:bodyPr>
          <a:lstStyle/>
          <a:p>
            <a:pPr lvl="0" algn="l" defTabSz="2844800">
              <a:lnSpc>
                <a:spcPct val="90000"/>
              </a:lnSpc>
              <a:spcBef>
                <a:spcPct val="0"/>
              </a:spcBef>
              <a:spcAft>
                <a:spcPct val="35000"/>
              </a:spcAft>
            </a:pPr>
            <a:r>
              <a:rPr lang="en-GB" sz="6400" b="1" kern="1200" dirty="0"/>
              <a:t> CRIRSCO</a:t>
            </a:r>
          </a:p>
        </p:txBody>
      </p:sp>
      <p:sp>
        <p:nvSpPr>
          <p:cNvPr id="18" name="Freeform 17"/>
          <p:cNvSpPr/>
          <p:nvPr/>
        </p:nvSpPr>
        <p:spPr>
          <a:xfrm>
            <a:off x="1725536" y="3821944"/>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lvl="0" algn="l" defTabSz="933450">
              <a:lnSpc>
                <a:spcPct val="90000"/>
              </a:lnSpc>
              <a:spcAft>
                <a:spcPct val="35000"/>
              </a:spcAft>
            </a:pPr>
            <a:r>
              <a:rPr lang="en-GB" sz="1600" b="1" kern="1200" dirty="0"/>
              <a:t>   </a:t>
            </a:r>
            <a:r>
              <a:rPr lang="en-GB" sz="1600" b="1" dirty="0"/>
              <a:t>CIM </a:t>
            </a:r>
            <a:r>
              <a:rPr lang="en-GB" sz="1600" dirty="0"/>
              <a:t>(Canada)  </a:t>
            </a:r>
            <a:r>
              <a:rPr lang="en-GB" sz="1600" i="1" dirty="0"/>
              <a:t>1994</a:t>
            </a:r>
          </a:p>
        </p:txBody>
      </p:sp>
      <p:sp>
        <p:nvSpPr>
          <p:cNvPr id="19" name="Freeform 18"/>
          <p:cNvSpPr/>
          <p:nvPr/>
        </p:nvSpPr>
        <p:spPr>
          <a:xfrm>
            <a:off x="1725536" y="4298429"/>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335" tIns="13335" rIns="13335" bIns="13335" numCol="1" spcCol="1270" anchor="ctr" anchorCtr="0">
            <a:noAutofit/>
          </a:bodyPr>
          <a:lstStyle/>
          <a:p>
            <a:pPr lvl="0" algn="l" defTabSz="889000">
              <a:lnSpc>
                <a:spcPct val="90000"/>
              </a:lnSpc>
              <a:spcAft>
                <a:spcPct val="35000"/>
              </a:spcAft>
            </a:pPr>
            <a:r>
              <a:rPr lang="en-GB" sz="1600" b="1" kern="1200" dirty="0"/>
              <a:t>   </a:t>
            </a:r>
            <a:r>
              <a:rPr lang="en-GB" sz="1600" b="1" dirty="0"/>
              <a:t>Comision </a:t>
            </a:r>
            <a:r>
              <a:rPr lang="en-GB" sz="1600" b="1" dirty="0" err="1"/>
              <a:t>Minera</a:t>
            </a:r>
            <a:r>
              <a:rPr lang="en-GB" sz="1600" b="1" dirty="0"/>
              <a:t> </a:t>
            </a:r>
            <a:r>
              <a:rPr lang="en-GB" sz="1600" dirty="0"/>
              <a:t>(Chile)   </a:t>
            </a:r>
            <a:r>
              <a:rPr lang="en-GB" sz="1600" i="1" dirty="0"/>
              <a:t>2003  </a:t>
            </a:r>
          </a:p>
        </p:txBody>
      </p:sp>
      <p:sp>
        <p:nvSpPr>
          <p:cNvPr id="20" name="Freeform 19"/>
          <p:cNvSpPr/>
          <p:nvPr/>
        </p:nvSpPr>
        <p:spPr>
          <a:xfrm>
            <a:off x="1725536" y="4759147"/>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a:solidFill>
              <a:schemeClr val="lt1">
                <a:hueOff val="0"/>
                <a:satOff val="0"/>
                <a:lumOff val="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335" tIns="13335" rIns="13335" bIns="13335" numCol="1" spcCol="1270" anchor="ctr" anchorCtr="0">
            <a:noAutofit/>
          </a:bodyPr>
          <a:lstStyle/>
          <a:p>
            <a:pPr lvl="0" algn="l" defTabSz="933450">
              <a:lnSpc>
                <a:spcPct val="90000"/>
              </a:lnSpc>
              <a:spcBef>
                <a:spcPct val="0"/>
              </a:spcBef>
              <a:spcAft>
                <a:spcPct val="35000"/>
              </a:spcAft>
            </a:pPr>
            <a:r>
              <a:rPr lang="en-GB" sz="1600" b="1" kern="1200" dirty="0"/>
              <a:t>   CRRR </a:t>
            </a:r>
            <a:r>
              <a:rPr lang="en-GB" sz="1600" kern="1200" dirty="0"/>
              <a:t>(Colombia)  </a:t>
            </a:r>
            <a:r>
              <a:rPr lang="en-GB" sz="1600" i="1" kern="1200" dirty="0"/>
              <a:t>2018</a:t>
            </a:r>
          </a:p>
        </p:txBody>
      </p:sp>
      <p:sp>
        <p:nvSpPr>
          <p:cNvPr id="21" name="Freeform 20"/>
          <p:cNvSpPr/>
          <p:nvPr/>
        </p:nvSpPr>
        <p:spPr>
          <a:xfrm>
            <a:off x="1725536" y="5219865"/>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l" defTabSz="889000">
              <a:lnSpc>
                <a:spcPct val="90000"/>
              </a:lnSpc>
              <a:spcAft>
                <a:spcPct val="35000"/>
              </a:spcAft>
            </a:pPr>
            <a:r>
              <a:rPr lang="en-GB" sz="1600" b="1" dirty="0"/>
              <a:t>   PERC </a:t>
            </a:r>
            <a:r>
              <a:rPr lang="en-GB" sz="1600" dirty="0"/>
              <a:t>(Europe)  </a:t>
            </a:r>
            <a:r>
              <a:rPr lang="en-GB" sz="1600" i="1" dirty="0"/>
              <a:t>1994 (as IMM Code)</a:t>
            </a:r>
          </a:p>
        </p:txBody>
      </p:sp>
      <p:sp>
        <p:nvSpPr>
          <p:cNvPr id="22" name="Freeform 21"/>
          <p:cNvSpPr/>
          <p:nvPr/>
        </p:nvSpPr>
        <p:spPr>
          <a:xfrm>
            <a:off x="1725536" y="5680583"/>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l" defTabSz="889000">
              <a:lnSpc>
                <a:spcPct val="90000"/>
              </a:lnSpc>
              <a:spcBef>
                <a:spcPct val="0"/>
              </a:spcBef>
              <a:spcAft>
                <a:spcPct val="35000"/>
              </a:spcAft>
            </a:pPr>
            <a:r>
              <a:rPr lang="en-GB" sz="1600" b="1" kern="1200" dirty="0"/>
              <a:t>   </a:t>
            </a:r>
            <a:r>
              <a:rPr lang="en-GB" sz="1600" b="1" kern="1200" dirty="0" err="1"/>
              <a:t>Kombers</a:t>
            </a:r>
            <a:r>
              <a:rPr lang="en-GB" sz="1600" b="1" kern="1200" dirty="0"/>
              <a:t>-KCMI </a:t>
            </a:r>
            <a:r>
              <a:rPr lang="en-GB" sz="1600" kern="1200" dirty="0"/>
              <a:t>(Indonesia)</a:t>
            </a:r>
            <a:r>
              <a:rPr lang="en-GB" sz="1600" b="1" kern="1200" dirty="0"/>
              <a:t> </a:t>
            </a:r>
            <a:r>
              <a:rPr lang="en-GB" sz="1600" i="1" kern="1200" dirty="0"/>
              <a:t>2017</a:t>
            </a:r>
          </a:p>
        </p:txBody>
      </p:sp>
      <p:sp>
        <p:nvSpPr>
          <p:cNvPr id="23" name="Freeform 22"/>
          <p:cNvSpPr/>
          <p:nvPr/>
        </p:nvSpPr>
        <p:spPr>
          <a:xfrm>
            <a:off x="1725536" y="6157067"/>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l" defTabSz="889000">
              <a:lnSpc>
                <a:spcPct val="90000"/>
              </a:lnSpc>
              <a:spcBef>
                <a:spcPct val="0"/>
              </a:spcBef>
              <a:spcAft>
                <a:spcPct val="35000"/>
              </a:spcAft>
            </a:pPr>
            <a:r>
              <a:rPr lang="en-GB" sz="1600" b="1" kern="1200" dirty="0"/>
              <a:t>   KAZRC </a:t>
            </a:r>
            <a:r>
              <a:rPr lang="en-GB" sz="1600" kern="1200" dirty="0"/>
              <a:t>(Kazakhstan)  </a:t>
            </a:r>
            <a:r>
              <a:rPr lang="en-GB" sz="1600" i="1" kern="1200" dirty="0"/>
              <a:t>2016</a:t>
            </a:r>
          </a:p>
        </p:txBody>
      </p:sp>
      <p:sp>
        <p:nvSpPr>
          <p:cNvPr id="24" name="Freeform 23"/>
          <p:cNvSpPr/>
          <p:nvPr/>
        </p:nvSpPr>
        <p:spPr>
          <a:xfrm>
            <a:off x="1725536" y="6617785"/>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l" defTabSz="889000">
              <a:lnSpc>
                <a:spcPct val="90000"/>
              </a:lnSpc>
              <a:spcBef>
                <a:spcPct val="0"/>
              </a:spcBef>
              <a:spcAft>
                <a:spcPct val="35000"/>
              </a:spcAft>
            </a:pPr>
            <a:r>
              <a:rPr lang="en-GB" sz="1600" b="1" kern="1200" dirty="0"/>
              <a:t>   MPIGM </a:t>
            </a:r>
            <a:r>
              <a:rPr lang="en-GB" sz="1600" kern="1200" dirty="0"/>
              <a:t>(Mongolia)  </a:t>
            </a:r>
            <a:r>
              <a:rPr lang="en-GB" sz="1600" i="1" kern="1200" dirty="0"/>
              <a:t>2014</a:t>
            </a:r>
          </a:p>
        </p:txBody>
      </p:sp>
      <p:sp>
        <p:nvSpPr>
          <p:cNvPr id="25" name="Freeform 24"/>
          <p:cNvSpPr/>
          <p:nvPr/>
        </p:nvSpPr>
        <p:spPr>
          <a:xfrm>
            <a:off x="1725536" y="7078503"/>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l" defTabSz="889000">
              <a:lnSpc>
                <a:spcPct val="90000"/>
              </a:lnSpc>
              <a:spcBef>
                <a:spcPct val="0"/>
              </a:spcBef>
              <a:spcAft>
                <a:spcPct val="35000"/>
              </a:spcAft>
            </a:pPr>
            <a:r>
              <a:rPr lang="en-GB" sz="1600" b="1" kern="1200" dirty="0"/>
              <a:t>   OERN </a:t>
            </a:r>
            <a:r>
              <a:rPr lang="en-GB" sz="1600" kern="1200" dirty="0"/>
              <a:t>(Russia)  </a:t>
            </a:r>
            <a:r>
              <a:rPr lang="en-GB" sz="1600" i="1" kern="1200" dirty="0"/>
              <a:t>2011</a:t>
            </a:r>
          </a:p>
        </p:txBody>
      </p:sp>
      <p:sp>
        <p:nvSpPr>
          <p:cNvPr id="26" name="Freeform 25"/>
          <p:cNvSpPr/>
          <p:nvPr/>
        </p:nvSpPr>
        <p:spPr>
          <a:xfrm>
            <a:off x="1725536" y="7996435"/>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rgbClr val="293756"/>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l" defTabSz="889000">
              <a:lnSpc>
                <a:spcPct val="90000"/>
              </a:lnSpc>
              <a:spcBef>
                <a:spcPct val="0"/>
              </a:spcBef>
              <a:spcAft>
                <a:spcPct val="35000"/>
              </a:spcAft>
            </a:pPr>
            <a:r>
              <a:rPr lang="en-GB" sz="1600" b="1" kern="1200" dirty="0"/>
              <a:t>   UMREK </a:t>
            </a:r>
            <a:r>
              <a:rPr lang="en-GB" sz="1600" kern="1200" dirty="0"/>
              <a:t>(Turkey)  </a:t>
            </a:r>
            <a:r>
              <a:rPr lang="en-GB" sz="1600" i="1" kern="1200" dirty="0"/>
              <a:t>2018</a:t>
            </a:r>
          </a:p>
        </p:txBody>
      </p:sp>
      <p:sp>
        <p:nvSpPr>
          <p:cNvPr id="27" name="Freeform 26"/>
          <p:cNvSpPr/>
          <p:nvPr/>
        </p:nvSpPr>
        <p:spPr>
          <a:xfrm>
            <a:off x="1725536" y="8472919"/>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065" tIns="12065" rIns="12065" bIns="12065" numCol="1" spcCol="1270" anchor="ctr" anchorCtr="0">
            <a:noAutofit/>
          </a:bodyPr>
          <a:lstStyle/>
          <a:p>
            <a:pPr lvl="0" algn="l" defTabSz="844550">
              <a:lnSpc>
                <a:spcPct val="90000"/>
              </a:lnSpc>
              <a:spcBef>
                <a:spcPct val="0"/>
              </a:spcBef>
              <a:spcAft>
                <a:spcPct val="35000"/>
              </a:spcAft>
            </a:pPr>
            <a:r>
              <a:rPr lang="en-GB" sz="1600" b="1" kern="1200" dirty="0"/>
              <a:t>   SME </a:t>
            </a:r>
            <a:r>
              <a:rPr lang="en-GB" sz="1600" kern="1200" dirty="0"/>
              <a:t>(United States of America)  </a:t>
            </a:r>
            <a:r>
              <a:rPr lang="en-GB" sz="1600" i="1" kern="1200" dirty="0"/>
              <a:t>1994</a:t>
            </a:r>
          </a:p>
        </p:txBody>
      </p:sp>
      <p:pic>
        <p:nvPicPr>
          <p:cNvPr id="28" name="Picture 2"/>
          <p:cNvPicPr>
            <a:picLocks noChangeAspect="1" noChangeArrowheads="1"/>
          </p:cNvPicPr>
          <p:nvPr>
            <p:custDataLst>
              <p:tags r:id="rId6"/>
            </p:custDataLst>
          </p:nvPr>
        </p:nvPicPr>
        <p:blipFill>
          <a:blip r:embed="rId16" cstate="print">
            <a:extLst>
              <a:ext uri="{28A0092B-C50C-407E-A947-70E740481C1C}">
                <a14:useLocalDpi xmlns:a14="http://schemas.microsoft.com/office/drawing/2010/main" val="0"/>
              </a:ext>
            </a:extLst>
          </a:blip>
          <a:srcRect/>
          <a:stretch>
            <a:fillRect/>
          </a:stretch>
        </p:blipFill>
        <p:spPr bwMode="auto">
          <a:xfrm rot="16200000">
            <a:off x="214522" y="3532664"/>
            <a:ext cx="1489201" cy="722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8" descr="CIM - ICM"/>
          <p:cNvPicPr>
            <a:picLocks noChangeAspect="1" noChangeArrowheads="1"/>
          </p:cNvPicPr>
          <p:nvPr>
            <p:custDataLst>
              <p:tags r:id="rId7"/>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7645001" y="3866944"/>
            <a:ext cx="257648" cy="3600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p:cNvPicPr>
            <a:picLocks noChangeAspect="1" noChangeArrowheads="1"/>
          </p:cNvPicPr>
          <p:nvPr>
            <p:custDataLst>
              <p:tags r:id="rId8"/>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7616475" y="4344137"/>
            <a:ext cx="495000" cy="36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12" descr="perc-hi-res-logo"/>
          <p:cNvPicPr>
            <a:picLocks noChangeAspect="1" noChangeArrowheads="1"/>
          </p:cNvPicPr>
          <p:nvPr>
            <p:custDataLst>
              <p:tags r:id="rId9"/>
            </p:custDataLst>
          </p:nvPr>
        </p:nvPicPr>
        <p:blipFill>
          <a:blip r:embed="rId19" cstate="email">
            <a:extLst>
              <a:ext uri="{28A0092B-C50C-407E-A947-70E740481C1C}">
                <a14:useLocalDpi xmlns:a14="http://schemas.microsoft.com/office/drawing/2010/main"/>
              </a:ext>
            </a:extLst>
          </a:blip>
          <a:srcRect/>
          <a:stretch>
            <a:fillRect/>
          </a:stretch>
        </p:blipFill>
        <p:spPr bwMode="auto">
          <a:xfrm>
            <a:off x="7620492" y="5257336"/>
            <a:ext cx="1240687" cy="36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3"/>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594326" y="7123503"/>
            <a:ext cx="293837" cy="36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2" descr="https://media.licdn.com/media/AAEAAQAAAAAAAALKAAAAJGU3MGNmNWI3LWNhMDQtNGI2MS1iYmMzLTZkYzQyNjZjMGVhYw.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616475" y="6662785"/>
            <a:ext cx="1116389" cy="36000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C:\Users\wellsne\AppData\Local\Microsoft\Windows\Temporary Internet Files\Content.Outlook\V7BM8KNI\logo CBRR.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620905" y="3389734"/>
            <a:ext cx="889628" cy="360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7620905" y="2929015"/>
            <a:ext cx="1137050" cy="36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5" descr="http://www.samcode.co.za/templates/rt_kraken/custom/images/logo/logo%201.png"/>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616277" y="7568764"/>
            <a:ext cx="1295998" cy="36000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2" descr="The Canadian Institute of Mining, Metallurgy and Petroleum"/>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8034823" y="3977887"/>
            <a:ext cx="942975" cy="138113"/>
          </a:xfrm>
          <a:prstGeom prst="rect">
            <a:avLst/>
          </a:prstGeom>
          <a:noFill/>
          <a:extLst>
            <a:ext uri="{909E8E84-426E-40DD-AFC4-6F175D3DCCD1}">
              <a14:hiddenFill xmlns:a14="http://schemas.microsoft.com/office/drawing/2010/main">
                <a:solidFill>
                  <a:srgbClr val="FFFFFF"/>
                </a:solidFill>
              </a14:hiddenFill>
            </a:ext>
          </a:extLst>
        </p:spPr>
      </p:pic>
      <p:sp>
        <p:nvSpPr>
          <p:cNvPr id="38" name="Right Brace 37"/>
          <p:cNvSpPr/>
          <p:nvPr/>
        </p:nvSpPr>
        <p:spPr bwMode="auto">
          <a:xfrm>
            <a:off x="9725337" y="2884015"/>
            <a:ext cx="576064" cy="6038904"/>
          </a:xfrm>
          <a:prstGeom prst="rightBrace">
            <a:avLst>
              <a:gd name="adj1" fmla="val 27490"/>
              <a:gd name="adj2" fmla="val 50000"/>
            </a:avLst>
          </a:prstGeom>
          <a:noFill/>
          <a:ln w="63500" cap="flat" cmpd="sng" algn="ctr">
            <a:solidFill>
              <a:srgbClr val="29325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4200" b="0" i="0" u="none" strike="noStrike" cap="none" normalizeH="0" baseline="0">
              <a:ln>
                <a:noFill/>
              </a:ln>
              <a:solidFill>
                <a:srgbClr val="000000"/>
              </a:solidFill>
              <a:effectLst/>
              <a:latin typeface="Gill Sans" charset="0"/>
              <a:sym typeface="Gill Sans" charset="0"/>
            </a:endParaRPr>
          </a:p>
        </p:txBody>
      </p:sp>
      <p:sp>
        <p:nvSpPr>
          <p:cNvPr id="39" name="TextBox 38"/>
          <p:cNvSpPr txBox="1"/>
          <p:nvPr/>
        </p:nvSpPr>
        <p:spPr>
          <a:xfrm>
            <a:off x="10301400" y="5121788"/>
            <a:ext cx="2388987" cy="1569660"/>
          </a:xfrm>
          <a:prstGeom prst="rect">
            <a:avLst/>
          </a:prstGeom>
          <a:noFill/>
        </p:spPr>
        <p:txBody>
          <a:bodyPr wrap="square" rtlCol="0">
            <a:spAutoFit/>
          </a:bodyPr>
          <a:lstStyle/>
          <a:p>
            <a:r>
              <a:rPr lang="ru-RU" sz="2400" b="1" dirty="0"/>
              <a:t>Национальные Отчетные Организации</a:t>
            </a:r>
            <a:r>
              <a:rPr lang="en-GB" sz="2400" b="1" dirty="0"/>
              <a:t> (NROs)</a:t>
            </a:r>
          </a:p>
        </p:txBody>
      </p:sp>
      <p:sp>
        <p:nvSpPr>
          <p:cNvPr id="40" name="Freeform 39"/>
          <p:cNvSpPr/>
          <p:nvPr/>
        </p:nvSpPr>
        <p:spPr>
          <a:xfrm>
            <a:off x="1725535" y="2884015"/>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970" tIns="13970" rIns="13970" bIns="13970" numCol="1" spcCol="1270" anchor="ctr" anchorCtr="0">
            <a:noAutofit/>
          </a:bodyPr>
          <a:lstStyle/>
          <a:p>
            <a:pPr lvl="0" algn="l" defTabSz="977900">
              <a:lnSpc>
                <a:spcPct val="90000"/>
              </a:lnSpc>
              <a:spcBef>
                <a:spcPct val="0"/>
              </a:spcBef>
              <a:spcAft>
                <a:spcPct val="35000"/>
              </a:spcAft>
            </a:pPr>
            <a:r>
              <a:rPr lang="en-GB" sz="1600" b="1" kern="1200" dirty="0"/>
              <a:t>   JORC</a:t>
            </a:r>
            <a:r>
              <a:rPr lang="en-GB" sz="1600" kern="1200" dirty="0"/>
              <a:t> (Australasia) </a:t>
            </a:r>
            <a:r>
              <a:rPr lang="en-GB" sz="1600" i="1" kern="1200" dirty="0"/>
              <a:t>1994</a:t>
            </a:r>
          </a:p>
        </p:txBody>
      </p:sp>
      <p:sp>
        <p:nvSpPr>
          <p:cNvPr id="41" name="Freeform 40"/>
          <p:cNvSpPr/>
          <p:nvPr/>
        </p:nvSpPr>
        <p:spPr>
          <a:xfrm>
            <a:off x="1725535" y="3344734"/>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3335" tIns="13335" rIns="13335" bIns="13335" numCol="1" spcCol="1270" anchor="ctr" anchorCtr="0">
            <a:noAutofit/>
          </a:bodyPr>
          <a:lstStyle/>
          <a:p>
            <a:pPr lvl="0" algn="l" defTabSz="933450">
              <a:lnSpc>
                <a:spcPct val="90000"/>
              </a:lnSpc>
              <a:spcBef>
                <a:spcPct val="0"/>
              </a:spcBef>
              <a:spcAft>
                <a:spcPct val="35000"/>
              </a:spcAft>
            </a:pPr>
            <a:r>
              <a:rPr lang="en-GB" sz="1600" b="1" kern="1200" dirty="0"/>
              <a:t>   CBRR</a:t>
            </a:r>
            <a:r>
              <a:rPr lang="en-GB" sz="1600" kern="1200" dirty="0"/>
              <a:t> (Brazil)  </a:t>
            </a:r>
            <a:r>
              <a:rPr lang="en-GB" sz="1600" i="1" kern="1200" dirty="0"/>
              <a:t>2015</a:t>
            </a:r>
          </a:p>
        </p:txBody>
      </p:sp>
      <p:sp>
        <p:nvSpPr>
          <p:cNvPr id="42" name="Freeform 41"/>
          <p:cNvSpPr/>
          <p:nvPr/>
        </p:nvSpPr>
        <p:spPr>
          <a:xfrm>
            <a:off x="1725535" y="7532071"/>
            <a:ext cx="5852280" cy="450000"/>
          </a:xfrm>
          <a:custGeom>
            <a:avLst/>
            <a:gdLst>
              <a:gd name="connsiteX0" fmla="*/ 0 w 5852280"/>
              <a:gd name="connsiteY0" fmla="*/ 0 h 570379"/>
              <a:gd name="connsiteX1" fmla="*/ 5852280 w 5852280"/>
              <a:gd name="connsiteY1" fmla="*/ 0 h 570379"/>
              <a:gd name="connsiteX2" fmla="*/ 5852280 w 5852280"/>
              <a:gd name="connsiteY2" fmla="*/ 570379 h 570379"/>
              <a:gd name="connsiteX3" fmla="*/ 0 w 5852280"/>
              <a:gd name="connsiteY3" fmla="*/ 570379 h 570379"/>
              <a:gd name="connsiteX4" fmla="*/ 0 w 5852280"/>
              <a:gd name="connsiteY4" fmla="*/ 0 h 570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52280" h="570379">
                <a:moveTo>
                  <a:pt x="0" y="0"/>
                </a:moveTo>
                <a:lnTo>
                  <a:pt x="5852280" y="0"/>
                </a:lnTo>
                <a:lnTo>
                  <a:pt x="5852280" y="570379"/>
                </a:lnTo>
                <a:lnTo>
                  <a:pt x="0" y="570379"/>
                </a:lnTo>
                <a:lnTo>
                  <a:pt x="0" y="0"/>
                </a:lnTo>
                <a:close/>
              </a:path>
            </a:pathLst>
          </a:custGeom>
          <a:solidFill>
            <a:schemeClr val="bg1">
              <a:lumMod val="50000"/>
            </a:schemeClr>
          </a:solidFill>
          <a:ln w="25400"/>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00" tIns="12700" rIns="12700" bIns="12700" numCol="1" spcCol="1270" anchor="ctr" anchorCtr="0">
            <a:noAutofit/>
          </a:bodyPr>
          <a:lstStyle/>
          <a:p>
            <a:pPr lvl="0" algn="l" defTabSz="889000">
              <a:lnSpc>
                <a:spcPct val="90000"/>
              </a:lnSpc>
              <a:spcBef>
                <a:spcPct val="0"/>
              </a:spcBef>
              <a:spcAft>
                <a:spcPct val="35000"/>
              </a:spcAft>
            </a:pPr>
            <a:r>
              <a:rPr lang="en-GB" sz="1600" b="1" kern="1200" dirty="0"/>
              <a:t>   SAMCODES </a:t>
            </a:r>
            <a:r>
              <a:rPr lang="en-GB" sz="1600" kern="1200" dirty="0"/>
              <a:t>(South Africa)  </a:t>
            </a:r>
            <a:r>
              <a:rPr lang="en-GB" sz="1600" i="1" kern="1200" dirty="0"/>
              <a:t>1994</a:t>
            </a:r>
          </a:p>
        </p:txBody>
      </p:sp>
      <p:pic>
        <p:nvPicPr>
          <p:cNvPr id="43" name="Picture 42" descr="C:\Users\gkutlubay\Desktop\UMREK\umrek\Logo-02.jpg"/>
          <p:cNvPicPr>
            <a:picLocks noChangeAspect="1"/>
          </p:cNvPicPr>
          <p:nvPr/>
        </p:nvPicPr>
        <p:blipFill rotWithShape="1">
          <a:blip r:embed="rId26" cstate="print">
            <a:extLst>
              <a:ext uri="{28A0092B-C50C-407E-A947-70E740481C1C}">
                <a14:useLocalDpi xmlns:a14="http://schemas.microsoft.com/office/drawing/2010/main" val="0"/>
              </a:ext>
            </a:extLst>
          </a:blip>
          <a:srcRect l="15125" t="36100" r="14772" b="35541"/>
          <a:stretch/>
        </p:blipFill>
        <p:spPr bwMode="auto">
          <a:xfrm>
            <a:off x="7634946" y="8041435"/>
            <a:ext cx="1258660" cy="360000"/>
          </a:xfrm>
          <a:prstGeom prst="rect">
            <a:avLst/>
          </a:prstGeom>
          <a:noFill/>
          <a:ln>
            <a:noFill/>
          </a:ln>
          <a:extLst>
            <a:ext uri="{53640926-AAD7-44D8-BBD7-CCE9431645EC}">
              <a14:shadowObscured xmlns:a14="http://schemas.microsoft.com/office/drawing/2010/main"/>
            </a:ext>
          </a:extLst>
        </p:spPr>
      </p:pic>
      <p:sp>
        <p:nvSpPr>
          <p:cNvPr id="46" name="Rectangle 45"/>
          <p:cNvSpPr/>
          <p:nvPr/>
        </p:nvSpPr>
        <p:spPr>
          <a:xfrm>
            <a:off x="464919" y="2146609"/>
            <a:ext cx="12225468" cy="523220"/>
          </a:xfrm>
          <a:prstGeom prst="rect">
            <a:avLst/>
          </a:prstGeom>
        </p:spPr>
        <p:txBody>
          <a:bodyPr wrap="square">
            <a:spAutoFit/>
          </a:bodyPr>
          <a:lstStyle/>
          <a:p>
            <a:pPr marL="266700" lvl="0" algn="l" eaLnBrk="0" hangingPunct="0">
              <a:spcBef>
                <a:spcPts val="3800"/>
              </a:spcBef>
              <a:buSzPct val="171000"/>
            </a:pPr>
            <a:r>
              <a:rPr lang="en-GB" altLang="en-US" sz="2800" b="1" kern="0" dirty="0">
                <a:solidFill>
                  <a:srgbClr val="29325C"/>
                </a:solidFill>
                <a:latin typeface="Gill Sans"/>
                <a:sym typeface="Gill Sans" pitchFamily="-84" charset="0"/>
              </a:rPr>
              <a:t>CRIRSCO </a:t>
            </a:r>
            <a:r>
              <a:rPr lang="ru-RU" altLang="en-US" sz="2800" b="1" kern="0" dirty="0">
                <a:solidFill>
                  <a:srgbClr val="29325C"/>
                </a:solidFill>
                <a:latin typeface="Gill Sans"/>
                <a:sym typeface="Gill Sans" pitchFamily="-84" charset="0"/>
              </a:rPr>
              <a:t>состоит из 13 саморегулируемых национальных органов</a:t>
            </a:r>
            <a:endParaRPr lang="en-US" altLang="en-US" sz="2800" b="1" u="sng" kern="0" dirty="0">
              <a:solidFill>
                <a:srgbClr val="29325C"/>
              </a:solidFill>
              <a:latin typeface="Gill Sans"/>
              <a:sym typeface="Gill Sans" pitchFamily="-84" charset="0"/>
            </a:endParaRPr>
          </a:p>
        </p:txBody>
      </p:sp>
      <p:pic>
        <p:nvPicPr>
          <p:cNvPr id="47" name="Picture 46">
            <a:extLst>
              <a:ext uri="{FF2B5EF4-FFF2-40B4-BE49-F238E27FC236}">
                <a16:creationId xmlns:a16="http://schemas.microsoft.com/office/drawing/2014/main" id="{7247A608-1ACC-4A9C-964A-5EE0B1A3EC2D}"/>
              </a:ext>
            </a:extLst>
          </p:cNvPr>
          <p:cNvPicPr>
            <a:picLocks noChangeAspect="1"/>
          </p:cNvPicPr>
          <p:nvPr/>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87648" y="5723465"/>
            <a:ext cx="783798" cy="360000"/>
          </a:xfrm>
          <a:prstGeom prst="rect">
            <a:avLst/>
          </a:prstGeom>
        </p:spPr>
      </p:pic>
    </p:spTree>
    <p:extLst>
      <p:ext uri="{BB962C8B-B14F-4D97-AF65-F5344CB8AC3E}">
        <p14:creationId xmlns:p14="http://schemas.microsoft.com/office/powerpoint/2010/main" val="125884814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 name="TextBox 438"/>
          <p:cNvSpPr txBox="1"/>
          <p:nvPr/>
        </p:nvSpPr>
        <p:spPr>
          <a:xfrm>
            <a:off x="1970093" y="174735"/>
            <a:ext cx="10716197" cy="830997"/>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lvl1pPr eaLnBrk="1" hangingPunct="1">
              <a:defRPr sz="4800">
                <a:solidFill>
                  <a:srgbClr val="D1C46D"/>
                </a:solidFill>
                <a:latin typeface="+mj-lt"/>
                <a:ea typeface="+mj-ea"/>
                <a:cs typeface="+mj-cs"/>
              </a:defRPr>
            </a:lvl1pPr>
            <a:lvl2pPr eaLnBrk="0" hangingPunct="0">
              <a:defRPr sz="4800">
                <a:solidFill>
                  <a:srgbClr val="D1C46D"/>
                </a:solidFill>
                <a:latin typeface="Gill Sans" charset="0"/>
                <a:ea typeface="ヒラギノ角ゴ ProN W3" charset="0"/>
                <a:cs typeface="ヒラギノ角ゴ ProN W3" charset="0"/>
              </a:defRPr>
            </a:lvl2pPr>
            <a:lvl3pPr eaLnBrk="0" hangingPunct="0">
              <a:defRPr sz="4800">
                <a:solidFill>
                  <a:srgbClr val="D1C46D"/>
                </a:solidFill>
                <a:latin typeface="Gill Sans" charset="0"/>
                <a:ea typeface="ヒラギノ角ゴ ProN W3" charset="0"/>
                <a:cs typeface="ヒラギノ角ゴ ProN W3" charset="0"/>
              </a:defRPr>
            </a:lvl3pPr>
            <a:lvl4pPr eaLnBrk="0" hangingPunct="0">
              <a:defRPr sz="4800">
                <a:solidFill>
                  <a:srgbClr val="D1C46D"/>
                </a:solidFill>
                <a:latin typeface="Gill Sans" charset="0"/>
                <a:ea typeface="ヒラギノ角ゴ ProN W3" charset="0"/>
                <a:cs typeface="ヒラギノ角ゴ ProN W3" charset="0"/>
              </a:defRPr>
            </a:lvl4pPr>
            <a:lvl5pPr eaLnBrk="0" hangingPunct="0">
              <a:defRPr sz="4800">
                <a:solidFill>
                  <a:srgbClr val="D1C46D"/>
                </a:solidFill>
                <a:latin typeface="Gill Sans" charset="0"/>
                <a:ea typeface="ヒラギノ角ゴ ProN W3" charset="0"/>
                <a:cs typeface="ヒラギノ角ゴ ProN W3" charset="0"/>
              </a:defRPr>
            </a:lvl5pPr>
            <a:lvl6pPr marL="4572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a:lstStyle>
          <a:p>
            <a:r>
              <a:rPr lang="ru-RU" dirty="0"/>
              <a:t>Глобальный охват стран и континентов, </a:t>
            </a:r>
            <a:r>
              <a:rPr lang="ru-RU" sz="2800" dirty="0"/>
              <a:t>обеспечивающий единый методический подход </a:t>
            </a:r>
            <a:endParaRPr lang="en-GB" sz="2800" dirty="0"/>
          </a:p>
        </p:txBody>
      </p:sp>
      <p:pic>
        <p:nvPicPr>
          <p:cNvPr id="2" name="Рисунок 1">
            <a:extLst>
              <a:ext uri="{FF2B5EF4-FFF2-40B4-BE49-F238E27FC236}">
                <a16:creationId xmlns:a16="http://schemas.microsoft.com/office/drawing/2014/main" id="{B5263129-55FB-49A2-922A-9BACF13D9145}"/>
              </a:ext>
            </a:extLst>
          </p:cNvPr>
          <p:cNvPicPr>
            <a:picLocks noChangeAspect="1"/>
          </p:cNvPicPr>
          <p:nvPr/>
        </p:nvPicPr>
        <p:blipFill rotWithShape="1">
          <a:blip r:embed="rId4"/>
          <a:srcRect l="9026" t="39172" r="57752" b="24625"/>
          <a:stretch/>
        </p:blipFill>
        <p:spPr>
          <a:xfrm>
            <a:off x="4018124" y="1984157"/>
            <a:ext cx="7740860" cy="4744917"/>
          </a:xfrm>
          <a:prstGeom prst="rect">
            <a:avLst/>
          </a:prstGeom>
        </p:spPr>
      </p:pic>
      <p:sp>
        <p:nvSpPr>
          <p:cNvPr id="234" name="TextBox 233">
            <a:extLst>
              <a:ext uri="{FF2B5EF4-FFF2-40B4-BE49-F238E27FC236}">
                <a16:creationId xmlns:a16="http://schemas.microsoft.com/office/drawing/2014/main" id="{2708838F-F595-4E84-8E40-D9F37198A498}"/>
              </a:ext>
            </a:extLst>
          </p:cNvPr>
          <p:cNvSpPr txBox="1"/>
          <p:nvPr>
            <p:custDataLst>
              <p:tags r:id="rId1"/>
            </p:custDataLst>
          </p:nvPr>
        </p:nvSpPr>
        <p:spPr>
          <a:xfrm>
            <a:off x="459426" y="1259191"/>
            <a:ext cx="10219438" cy="738664"/>
          </a:xfrm>
          <a:prstGeom prst="rect">
            <a:avLst/>
          </a:prstGeom>
          <a:noFill/>
        </p:spPr>
        <p:txBody>
          <a:bodyPr wrap="square" lIns="0" rtlCol="0">
            <a:spAutoFit/>
          </a:bodyPr>
          <a:lstStyle/>
          <a:p>
            <a:pPr algn="l"/>
            <a:r>
              <a:rPr lang="ru-RU" b="1" dirty="0">
                <a:solidFill>
                  <a:srgbClr val="29325C"/>
                </a:solidFill>
              </a:rPr>
              <a:t>Представители стран – членов </a:t>
            </a:r>
            <a:r>
              <a:rPr lang="en-US" b="1" dirty="0">
                <a:solidFill>
                  <a:srgbClr val="29325C"/>
                </a:solidFill>
              </a:rPr>
              <a:t>CRIRSCO</a:t>
            </a:r>
            <a:endParaRPr lang="en-GB" b="1" dirty="0">
              <a:solidFill>
                <a:srgbClr val="29325C"/>
              </a:solidFill>
            </a:endParaRPr>
          </a:p>
        </p:txBody>
      </p:sp>
      <p:sp>
        <p:nvSpPr>
          <p:cNvPr id="236" name="TextBox 235">
            <a:extLst>
              <a:ext uri="{FF2B5EF4-FFF2-40B4-BE49-F238E27FC236}">
                <a16:creationId xmlns:a16="http://schemas.microsoft.com/office/drawing/2014/main" id="{0C854CE9-F107-4235-9847-50F9ED975B06}"/>
              </a:ext>
            </a:extLst>
          </p:cNvPr>
          <p:cNvSpPr txBox="1"/>
          <p:nvPr>
            <p:custDataLst>
              <p:tags r:id="rId2"/>
            </p:custDataLst>
          </p:nvPr>
        </p:nvSpPr>
        <p:spPr>
          <a:xfrm>
            <a:off x="453728" y="2070229"/>
            <a:ext cx="6110826" cy="646331"/>
          </a:xfrm>
          <a:prstGeom prst="rect">
            <a:avLst/>
          </a:prstGeom>
          <a:noFill/>
        </p:spPr>
        <p:txBody>
          <a:bodyPr wrap="square" lIns="0" rtlCol="0">
            <a:spAutoFit/>
          </a:bodyPr>
          <a:lstStyle/>
          <a:p>
            <a:pPr algn="l"/>
            <a:r>
              <a:rPr lang="ru-RU" sz="3600" b="1" dirty="0">
                <a:solidFill>
                  <a:srgbClr val="29325C"/>
                </a:solidFill>
              </a:rPr>
              <a:t>Состав комитета </a:t>
            </a:r>
            <a:r>
              <a:rPr lang="en-US" sz="3600" b="1" dirty="0">
                <a:solidFill>
                  <a:srgbClr val="29325C"/>
                </a:solidFill>
              </a:rPr>
              <a:t>CRIRSCO</a:t>
            </a:r>
            <a:endParaRPr lang="en-GB" sz="3600" b="1" dirty="0">
              <a:solidFill>
                <a:srgbClr val="29325C"/>
              </a:solidFill>
            </a:endParaRPr>
          </a:p>
        </p:txBody>
      </p:sp>
      <p:pic>
        <p:nvPicPr>
          <p:cNvPr id="237" name="Рисунок 236">
            <a:extLst>
              <a:ext uri="{FF2B5EF4-FFF2-40B4-BE49-F238E27FC236}">
                <a16:creationId xmlns:a16="http://schemas.microsoft.com/office/drawing/2014/main" id="{B1466AE6-5356-4EDA-9CD2-1CEADBFBFF8A}"/>
              </a:ext>
            </a:extLst>
          </p:cNvPr>
          <p:cNvPicPr>
            <a:picLocks noChangeAspect="1"/>
          </p:cNvPicPr>
          <p:nvPr/>
        </p:nvPicPr>
        <p:blipFill rotWithShape="1">
          <a:blip r:embed="rId5"/>
          <a:srcRect l="9402" t="13385" r="57752" b="70547"/>
          <a:stretch/>
        </p:blipFill>
        <p:spPr>
          <a:xfrm>
            <a:off x="4173919" y="6801448"/>
            <a:ext cx="7549061" cy="2077315"/>
          </a:xfrm>
          <a:prstGeom prst="rect">
            <a:avLst/>
          </a:prstGeom>
        </p:spPr>
      </p:pic>
      <p:pic>
        <p:nvPicPr>
          <p:cNvPr id="238" name="Рисунок 237">
            <a:extLst>
              <a:ext uri="{FF2B5EF4-FFF2-40B4-BE49-F238E27FC236}">
                <a16:creationId xmlns:a16="http://schemas.microsoft.com/office/drawing/2014/main" id="{CA7FB7EC-5E36-42FB-B4F1-D24D7E525E3A}"/>
              </a:ext>
            </a:extLst>
          </p:cNvPr>
          <p:cNvPicPr>
            <a:picLocks noChangeAspect="1"/>
          </p:cNvPicPr>
          <p:nvPr/>
        </p:nvPicPr>
        <p:blipFill rotWithShape="1">
          <a:blip r:embed="rId4"/>
          <a:srcRect l="22006" t="75493" r="71065" b="8657"/>
          <a:stretch/>
        </p:blipFill>
        <p:spPr>
          <a:xfrm>
            <a:off x="9797314" y="2070229"/>
            <a:ext cx="1614482" cy="2077315"/>
          </a:xfrm>
          <a:prstGeom prst="rect">
            <a:avLst/>
          </a:prstGeom>
        </p:spPr>
      </p:pic>
    </p:spTree>
    <p:extLst>
      <p:ext uri="{BB962C8B-B14F-4D97-AF65-F5344CB8AC3E}">
        <p14:creationId xmlns:p14="http://schemas.microsoft.com/office/powerpoint/2010/main" val="271750290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 name="TextBox 438"/>
          <p:cNvSpPr txBox="1"/>
          <p:nvPr/>
        </p:nvSpPr>
        <p:spPr>
          <a:xfrm>
            <a:off x="1970093" y="174735"/>
            <a:ext cx="10716197" cy="830997"/>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lvl1pPr eaLnBrk="1" hangingPunct="1">
              <a:defRPr sz="4800">
                <a:solidFill>
                  <a:srgbClr val="D1C46D"/>
                </a:solidFill>
                <a:latin typeface="+mj-lt"/>
                <a:ea typeface="+mj-ea"/>
                <a:cs typeface="+mj-cs"/>
              </a:defRPr>
            </a:lvl1pPr>
            <a:lvl2pPr eaLnBrk="0" hangingPunct="0">
              <a:defRPr sz="4800">
                <a:solidFill>
                  <a:srgbClr val="D1C46D"/>
                </a:solidFill>
                <a:latin typeface="Gill Sans" charset="0"/>
                <a:ea typeface="ヒラギノ角ゴ ProN W3" charset="0"/>
                <a:cs typeface="ヒラギノ角ゴ ProN W3" charset="0"/>
              </a:defRPr>
            </a:lvl2pPr>
            <a:lvl3pPr eaLnBrk="0" hangingPunct="0">
              <a:defRPr sz="4800">
                <a:solidFill>
                  <a:srgbClr val="D1C46D"/>
                </a:solidFill>
                <a:latin typeface="Gill Sans" charset="0"/>
                <a:ea typeface="ヒラギノ角ゴ ProN W3" charset="0"/>
                <a:cs typeface="ヒラギノ角ゴ ProN W3" charset="0"/>
              </a:defRPr>
            </a:lvl3pPr>
            <a:lvl4pPr eaLnBrk="0" hangingPunct="0">
              <a:defRPr sz="4800">
                <a:solidFill>
                  <a:srgbClr val="D1C46D"/>
                </a:solidFill>
                <a:latin typeface="Gill Sans" charset="0"/>
                <a:ea typeface="ヒラギノ角ゴ ProN W3" charset="0"/>
                <a:cs typeface="ヒラギノ角ゴ ProN W3" charset="0"/>
              </a:defRPr>
            </a:lvl4pPr>
            <a:lvl5pPr eaLnBrk="0" hangingPunct="0">
              <a:defRPr sz="4800">
                <a:solidFill>
                  <a:srgbClr val="D1C46D"/>
                </a:solidFill>
                <a:latin typeface="Gill Sans" charset="0"/>
                <a:ea typeface="ヒラギノ角ゴ ProN W3" charset="0"/>
                <a:cs typeface="ヒラギノ角ゴ ProN W3" charset="0"/>
              </a:defRPr>
            </a:lvl5pPr>
            <a:lvl6pPr marL="4572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a:lstStyle>
          <a:p>
            <a:r>
              <a:rPr lang="ru-RU" dirty="0"/>
              <a:t>Глобальный охват стран и континентов, </a:t>
            </a:r>
            <a:r>
              <a:rPr lang="ru-RU" sz="2800" dirty="0"/>
              <a:t>обеспечивающий единый методический подход </a:t>
            </a:r>
            <a:endParaRPr lang="en-GB" sz="2800" dirty="0"/>
          </a:p>
        </p:txBody>
      </p:sp>
      <p:sp>
        <p:nvSpPr>
          <p:cNvPr id="234" name="TextBox 233">
            <a:extLst>
              <a:ext uri="{FF2B5EF4-FFF2-40B4-BE49-F238E27FC236}">
                <a16:creationId xmlns:a16="http://schemas.microsoft.com/office/drawing/2014/main" id="{2708838F-F595-4E84-8E40-D9F37198A498}"/>
              </a:ext>
            </a:extLst>
          </p:cNvPr>
          <p:cNvSpPr txBox="1"/>
          <p:nvPr>
            <p:custDataLst>
              <p:tags r:id="rId1"/>
            </p:custDataLst>
          </p:nvPr>
        </p:nvSpPr>
        <p:spPr>
          <a:xfrm>
            <a:off x="459426" y="1259191"/>
            <a:ext cx="10219438" cy="738664"/>
          </a:xfrm>
          <a:prstGeom prst="rect">
            <a:avLst/>
          </a:prstGeom>
          <a:noFill/>
        </p:spPr>
        <p:txBody>
          <a:bodyPr wrap="square" lIns="0" rtlCol="0">
            <a:spAutoFit/>
          </a:bodyPr>
          <a:lstStyle/>
          <a:p>
            <a:pPr algn="l"/>
            <a:r>
              <a:rPr lang="ru-RU" b="1" dirty="0">
                <a:solidFill>
                  <a:srgbClr val="29325C"/>
                </a:solidFill>
              </a:rPr>
              <a:t>Представители стран – членов </a:t>
            </a:r>
            <a:r>
              <a:rPr lang="en-US" b="1" dirty="0">
                <a:solidFill>
                  <a:srgbClr val="29325C"/>
                </a:solidFill>
              </a:rPr>
              <a:t>CRIRSCO</a:t>
            </a:r>
            <a:endParaRPr lang="en-GB" b="1" dirty="0">
              <a:solidFill>
                <a:srgbClr val="29325C"/>
              </a:solidFill>
            </a:endParaRPr>
          </a:p>
        </p:txBody>
      </p:sp>
      <p:sp>
        <p:nvSpPr>
          <p:cNvPr id="236" name="TextBox 235">
            <a:extLst>
              <a:ext uri="{FF2B5EF4-FFF2-40B4-BE49-F238E27FC236}">
                <a16:creationId xmlns:a16="http://schemas.microsoft.com/office/drawing/2014/main" id="{0C854CE9-F107-4235-9847-50F9ED975B06}"/>
              </a:ext>
            </a:extLst>
          </p:cNvPr>
          <p:cNvSpPr txBox="1"/>
          <p:nvPr>
            <p:custDataLst>
              <p:tags r:id="rId2"/>
            </p:custDataLst>
          </p:nvPr>
        </p:nvSpPr>
        <p:spPr>
          <a:xfrm>
            <a:off x="453728" y="2070229"/>
            <a:ext cx="6110826" cy="1200329"/>
          </a:xfrm>
          <a:prstGeom prst="rect">
            <a:avLst/>
          </a:prstGeom>
          <a:noFill/>
        </p:spPr>
        <p:txBody>
          <a:bodyPr wrap="square" lIns="0" rtlCol="0">
            <a:spAutoFit/>
          </a:bodyPr>
          <a:lstStyle/>
          <a:p>
            <a:pPr algn="l"/>
            <a:r>
              <a:rPr lang="ru-RU" sz="3600" b="1" dirty="0">
                <a:solidFill>
                  <a:srgbClr val="29325C"/>
                </a:solidFill>
              </a:rPr>
              <a:t>Состав комитета</a:t>
            </a:r>
          </a:p>
          <a:p>
            <a:pPr algn="l"/>
            <a:r>
              <a:rPr lang="en-US" sz="3600" b="1" dirty="0">
                <a:solidFill>
                  <a:srgbClr val="29325C"/>
                </a:solidFill>
              </a:rPr>
              <a:t>CRIRSCO</a:t>
            </a:r>
            <a:endParaRPr lang="en-GB" sz="3600" b="1" dirty="0">
              <a:solidFill>
                <a:srgbClr val="29325C"/>
              </a:solidFill>
            </a:endParaRPr>
          </a:p>
        </p:txBody>
      </p:sp>
      <p:pic>
        <p:nvPicPr>
          <p:cNvPr id="3" name="Рисунок 2">
            <a:extLst>
              <a:ext uri="{FF2B5EF4-FFF2-40B4-BE49-F238E27FC236}">
                <a16:creationId xmlns:a16="http://schemas.microsoft.com/office/drawing/2014/main" id="{0C1D33DE-F10C-450F-A41F-ECF50A50D399}"/>
              </a:ext>
            </a:extLst>
          </p:cNvPr>
          <p:cNvPicPr>
            <a:picLocks noChangeAspect="1"/>
          </p:cNvPicPr>
          <p:nvPr/>
        </p:nvPicPr>
        <p:blipFill rotWithShape="1">
          <a:blip r:embed="rId4"/>
          <a:srcRect l="7918" t="30314" r="56091" b="18501"/>
          <a:stretch/>
        </p:blipFill>
        <p:spPr>
          <a:xfrm>
            <a:off x="4054128" y="2070229"/>
            <a:ext cx="8507414" cy="6805723"/>
          </a:xfrm>
          <a:prstGeom prst="rect">
            <a:avLst/>
          </a:prstGeom>
        </p:spPr>
      </p:pic>
    </p:spTree>
    <p:extLst>
      <p:ext uri="{BB962C8B-B14F-4D97-AF65-F5344CB8AC3E}">
        <p14:creationId xmlns:p14="http://schemas.microsoft.com/office/powerpoint/2010/main" val="1870092130"/>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9" name="TextBox 438"/>
          <p:cNvSpPr txBox="1"/>
          <p:nvPr/>
        </p:nvSpPr>
        <p:spPr>
          <a:xfrm>
            <a:off x="1970093" y="174735"/>
            <a:ext cx="10716197" cy="830997"/>
          </a:xfrm>
          <a:prstGeom prst="rect">
            <a:avLst/>
          </a:prstGeom>
          <a:noFill/>
          <a:ln w="12700">
            <a:noFill/>
            <a:miter lim="800000"/>
            <a:headEnd/>
            <a:tailEnd/>
          </a:ln>
        </p:spPr>
        <p:txBody>
          <a:bodyPr vert="horz" wrap="square" lIns="50800" tIns="50800" rIns="50800" bIns="50800" numCol="1" anchor="ctr" anchorCtr="0" compatLnSpc="1">
            <a:prstTxWarp prst="textNoShape">
              <a:avLst/>
            </a:prstTxWarp>
          </a:bodyPr>
          <a:lstStyle>
            <a:lvl1pPr eaLnBrk="1" hangingPunct="1">
              <a:defRPr sz="4800">
                <a:solidFill>
                  <a:srgbClr val="D1C46D"/>
                </a:solidFill>
                <a:latin typeface="+mj-lt"/>
                <a:ea typeface="+mj-ea"/>
                <a:cs typeface="+mj-cs"/>
              </a:defRPr>
            </a:lvl1pPr>
            <a:lvl2pPr eaLnBrk="0" hangingPunct="0">
              <a:defRPr sz="4800">
                <a:solidFill>
                  <a:srgbClr val="D1C46D"/>
                </a:solidFill>
                <a:latin typeface="Gill Sans" charset="0"/>
                <a:ea typeface="ヒラギノ角ゴ ProN W3" charset="0"/>
                <a:cs typeface="ヒラギノ角ゴ ProN W3" charset="0"/>
              </a:defRPr>
            </a:lvl2pPr>
            <a:lvl3pPr eaLnBrk="0" hangingPunct="0">
              <a:defRPr sz="4800">
                <a:solidFill>
                  <a:srgbClr val="D1C46D"/>
                </a:solidFill>
                <a:latin typeface="Gill Sans" charset="0"/>
                <a:ea typeface="ヒラギノ角ゴ ProN W3" charset="0"/>
                <a:cs typeface="ヒラギノ角ゴ ProN W3" charset="0"/>
              </a:defRPr>
            </a:lvl3pPr>
            <a:lvl4pPr eaLnBrk="0" hangingPunct="0">
              <a:defRPr sz="4800">
                <a:solidFill>
                  <a:srgbClr val="D1C46D"/>
                </a:solidFill>
                <a:latin typeface="Gill Sans" charset="0"/>
                <a:ea typeface="ヒラギノ角ゴ ProN W3" charset="0"/>
                <a:cs typeface="ヒラギノ角ゴ ProN W3" charset="0"/>
              </a:defRPr>
            </a:lvl4pPr>
            <a:lvl5pPr eaLnBrk="0" hangingPunct="0">
              <a:defRPr sz="4800">
                <a:solidFill>
                  <a:srgbClr val="D1C46D"/>
                </a:solidFill>
                <a:latin typeface="Gill Sans" charset="0"/>
                <a:ea typeface="ヒラギノ角ゴ ProN W3" charset="0"/>
                <a:cs typeface="ヒラギノ角ゴ ProN W3" charset="0"/>
              </a:defRPr>
            </a:lvl5pPr>
            <a:lvl6pPr marL="4572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6pPr>
            <a:lvl7pPr marL="9144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7pPr>
            <a:lvl8pPr marL="13716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8pPr>
            <a:lvl9pPr marL="1828800" fontAlgn="base">
              <a:spcBef>
                <a:spcPct val="0"/>
              </a:spcBef>
              <a:spcAft>
                <a:spcPct val="0"/>
              </a:spcAft>
              <a:defRPr sz="4800">
                <a:solidFill>
                  <a:srgbClr val="D1C46D"/>
                </a:solidFill>
                <a:latin typeface="Gill Sans" charset="0"/>
                <a:ea typeface="ヒラギノ角ゴ ProN W3" charset="0"/>
                <a:cs typeface="ヒラギノ角ゴ ProN W3" charset="0"/>
                <a:sym typeface="Gill Sans" charset="0"/>
              </a:defRPr>
            </a:lvl9pPr>
          </a:lstStyle>
          <a:p>
            <a:r>
              <a:rPr lang="ru-RU" dirty="0"/>
              <a:t>Глобальный охват стран и континентов, </a:t>
            </a:r>
            <a:r>
              <a:rPr lang="ru-RU" sz="2800" dirty="0"/>
              <a:t>обеспечивающий единый методический подход </a:t>
            </a:r>
            <a:endParaRPr lang="en-GB" sz="2800" dirty="0"/>
          </a:p>
        </p:txBody>
      </p:sp>
      <p:sp>
        <p:nvSpPr>
          <p:cNvPr id="234" name="TextBox 233">
            <a:extLst>
              <a:ext uri="{FF2B5EF4-FFF2-40B4-BE49-F238E27FC236}">
                <a16:creationId xmlns:a16="http://schemas.microsoft.com/office/drawing/2014/main" id="{2708838F-F595-4E84-8E40-D9F37198A498}"/>
              </a:ext>
            </a:extLst>
          </p:cNvPr>
          <p:cNvSpPr txBox="1"/>
          <p:nvPr>
            <p:custDataLst>
              <p:tags r:id="rId1"/>
            </p:custDataLst>
          </p:nvPr>
        </p:nvSpPr>
        <p:spPr>
          <a:xfrm>
            <a:off x="459426" y="1259191"/>
            <a:ext cx="10219438" cy="738664"/>
          </a:xfrm>
          <a:prstGeom prst="rect">
            <a:avLst/>
          </a:prstGeom>
          <a:noFill/>
        </p:spPr>
        <p:txBody>
          <a:bodyPr wrap="square" lIns="0" rtlCol="0">
            <a:spAutoFit/>
          </a:bodyPr>
          <a:lstStyle/>
          <a:p>
            <a:pPr algn="l"/>
            <a:r>
              <a:rPr lang="ru-RU" b="1" dirty="0">
                <a:solidFill>
                  <a:srgbClr val="29325C"/>
                </a:solidFill>
              </a:rPr>
              <a:t>Представители стран – членов </a:t>
            </a:r>
            <a:r>
              <a:rPr lang="en-US" b="1" dirty="0">
                <a:solidFill>
                  <a:srgbClr val="29325C"/>
                </a:solidFill>
              </a:rPr>
              <a:t>CRIRSCO</a:t>
            </a:r>
            <a:endParaRPr lang="en-GB" b="1" dirty="0">
              <a:solidFill>
                <a:srgbClr val="29325C"/>
              </a:solidFill>
            </a:endParaRPr>
          </a:p>
        </p:txBody>
      </p:sp>
      <p:sp>
        <p:nvSpPr>
          <p:cNvPr id="236" name="TextBox 235">
            <a:extLst>
              <a:ext uri="{FF2B5EF4-FFF2-40B4-BE49-F238E27FC236}">
                <a16:creationId xmlns:a16="http://schemas.microsoft.com/office/drawing/2014/main" id="{0C854CE9-F107-4235-9847-50F9ED975B06}"/>
              </a:ext>
            </a:extLst>
          </p:cNvPr>
          <p:cNvSpPr txBox="1"/>
          <p:nvPr>
            <p:custDataLst>
              <p:tags r:id="rId2"/>
            </p:custDataLst>
          </p:nvPr>
        </p:nvSpPr>
        <p:spPr>
          <a:xfrm>
            <a:off x="453728" y="2070229"/>
            <a:ext cx="6110826" cy="1200329"/>
          </a:xfrm>
          <a:prstGeom prst="rect">
            <a:avLst/>
          </a:prstGeom>
          <a:noFill/>
        </p:spPr>
        <p:txBody>
          <a:bodyPr wrap="square" lIns="0" rtlCol="0">
            <a:spAutoFit/>
          </a:bodyPr>
          <a:lstStyle/>
          <a:p>
            <a:pPr algn="l"/>
            <a:r>
              <a:rPr lang="ru-RU" sz="3600" b="1" dirty="0">
                <a:solidFill>
                  <a:srgbClr val="29325C"/>
                </a:solidFill>
              </a:rPr>
              <a:t>Состав комитета</a:t>
            </a:r>
          </a:p>
          <a:p>
            <a:pPr algn="l"/>
            <a:r>
              <a:rPr lang="en-US" sz="3600" b="1" dirty="0">
                <a:solidFill>
                  <a:srgbClr val="29325C"/>
                </a:solidFill>
              </a:rPr>
              <a:t>CRIRSCO</a:t>
            </a:r>
            <a:endParaRPr lang="en-GB" sz="3600" b="1" dirty="0">
              <a:solidFill>
                <a:srgbClr val="29325C"/>
              </a:solidFill>
            </a:endParaRPr>
          </a:p>
        </p:txBody>
      </p:sp>
      <p:pic>
        <p:nvPicPr>
          <p:cNvPr id="2" name="Рисунок 1">
            <a:extLst>
              <a:ext uri="{FF2B5EF4-FFF2-40B4-BE49-F238E27FC236}">
                <a16:creationId xmlns:a16="http://schemas.microsoft.com/office/drawing/2014/main" id="{C8B84AC9-9A80-415A-B4BB-05FD8546980D}"/>
              </a:ext>
            </a:extLst>
          </p:cNvPr>
          <p:cNvPicPr>
            <a:picLocks noChangeAspect="1"/>
          </p:cNvPicPr>
          <p:nvPr/>
        </p:nvPicPr>
        <p:blipFill rotWithShape="1">
          <a:blip r:embed="rId4"/>
          <a:srcRect l="7918" t="25070" r="56645" b="24407"/>
          <a:stretch/>
        </p:blipFill>
        <p:spPr>
          <a:xfrm>
            <a:off x="3910111" y="2070229"/>
            <a:ext cx="8438075" cy="6767011"/>
          </a:xfrm>
          <a:prstGeom prst="rect">
            <a:avLst/>
          </a:prstGeom>
        </p:spPr>
      </p:pic>
    </p:spTree>
    <p:extLst>
      <p:ext uri="{BB962C8B-B14F-4D97-AF65-F5344CB8AC3E}">
        <p14:creationId xmlns:p14="http://schemas.microsoft.com/office/powerpoint/2010/main" val="729506674"/>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62138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blipFill dpi="0" rotWithShape="0">
            <a:blip r:embed="rId7"/>
            <a:srcRect/>
            <a:tile tx="0" ty="0" sx="100000" sy="100000" flip="none" algn="tl"/>
          </a:blipFill>
          <a:ln w="254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gn="ctr"/>
            <a:endParaRPr kumimoji="0" lang="en-GB" sz="4800" u="none" strike="noStrike" cap="none" normalizeH="0" dirty="0">
              <a:ln>
                <a:noFill/>
              </a:ln>
              <a:solidFill>
                <a:srgbClr val="000000"/>
              </a:solidFill>
              <a:effectLst/>
              <a:ea typeface="ヒラギノ角ゴ ProN W3" charset="0"/>
              <a:cs typeface="ヒラギノ角ゴ ProN W3" charset="0"/>
            </a:endParaRPr>
          </a:p>
        </p:txBody>
      </p:sp>
      <p:sp>
        <p:nvSpPr>
          <p:cNvPr id="2" name="Title 1"/>
          <p:cNvSpPr>
            <a:spLocks noGrp="1"/>
          </p:cNvSpPr>
          <p:nvPr>
            <p:ph type="title"/>
          </p:nvPr>
        </p:nvSpPr>
        <p:spPr>
          <a:xfrm>
            <a:off x="1969200" y="176400"/>
            <a:ext cx="10464800" cy="831600"/>
          </a:xfrm>
        </p:spPr>
        <p:txBody>
          <a:bodyPr/>
          <a:lstStyle/>
          <a:p>
            <a:r>
              <a:rPr lang="ru-RU" dirty="0"/>
              <a:t>Что же такое </a:t>
            </a:r>
            <a:r>
              <a:rPr lang="en-GB" dirty="0"/>
              <a:t>NRO?</a:t>
            </a:r>
          </a:p>
        </p:txBody>
      </p:sp>
      <p:graphicFrame>
        <p:nvGraphicFramePr>
          <p:cNvPr id="4" name="Diagram 3"/>
          <p:cNvGraphicFramePr/>
          <p:nvPr>
            <p:extLst>
              <p:ext uri="{D42A27DB-BD31-4B8C-83A1-F6EECF244321}">
                <p14:modId xmlns:p14="http://schemas.microsoft.com/office/powerpoint/2010/main" val="1329352548"/>
              </p:ext>
            </p:extLst>
          </p:nvPr>
        </p:nvGraphicFramePr>
        <p:xfrm>
          <a:off x="309712" y="1996481"/>
          <a:ext cx="12457384" cy="489654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Content Placeholder 2"/>
          <p:cNvSpPr>
            <a:spLocks noGrp="1"/>
          </p:cNvSpPr>
          <p:nvPr>
            <p:ph idx="1"/>
          </p:nvPr>
        </p:nvSpPr>
        <p:spPr>
          <a:xfrm>
            <a:off x="328960" y="6965032"/>
            <a:ext cx="6173440" cy="1152128"/>
          </a:xfrm>
        </p:spPr>
        <p:txBody>
          <a:bodyPr/>
          <a:lstStyle/>
          <a:p>
            <a:pPr marL="361950" indent="-361950">
              <a:spcBef>
                <a:spcPts val="1000"/>
              </a:spcBef>
              <a:buClr>
                <a:srgbClr val="29325C"/>
              </a:buClr>
              <a:buSzPct val="125000"/>
            </a:pPr>
            <a:r>
              <a:rPr lang="ru-RU" sz="1600" dirty="0"/>
              <a:t>НРО - это самофинансируемые и управляемые организации</a:t>
            </a:r>
          </a:p>
          <a:p>
            <a:pPr marL="361950" indent="-361950">
              <a:spcBef>
                <a:spcPts val="1000"/>
              </a:spcBef>
              <a:buClr>
                <a:srgbClr val="29325C"/>
              </a:buClr>
              <a:buSzPct val="125000"/>
            </a:pPr>
            <a:r>
              <a:rPr lang="ru-RU" sz="1600" dirty="0"/>
              <a:t>Структуры и организационные механизмы различаются в зависимости от национальных / региональных потребностей</a:t>
            </a:r>
            <a:endParaRPr lang="en-GB" sz="1600" dirty="0"/>
          </a:p>
        </p:txBody>
      </p:sp>
      <p:sp>
        <p:nvSpPr>
          <p:cNvPr id="6" name="Content Placeholder 2"/>
          <p:cNvSpPr txBox="1">
            <a:spLocks/>
          </p:cNvSpPr>
          <p:nvPr/>
        </p:nvSpPr>
        <p:spPr bwMode="auto">
          <a:xfrm>
            <a:off x="6666500" y="6965032"/>
            <a:ext cx="6173440" cy="2016224"/>
          </a:xfrm>
          <a:prstGeom prst="rect">
            <a:avLst/>
          </a:prstGeom>
          <a:noFill/>
          <a:ln w="12700">
            <a:noFill/>
            <a:miter lim="800000"/>
            <a:headEnd/>
            <a:tailEnd/>
          </a:ln>
          <a:effectLst/>
        </p:spPr>
        <p:txBody>
          <a:bodyPr vert="horz" wrap="square" lIns="50800" tIns="50800" rIns="50800" bIns="50800" numCol="1" anchor="t" anchorCtr="0" compatLnSpc="1">
            <a:prstTxWarp prst="textNoShape">
              <a:avLst/>
            </a:prstTxWarp>
          </a:bodyPr>
          <a:lstStyle>
            <a:lvl1pPr marL="760413" indent="-493713" algn="l" rtl="0" fontAlgn="base">
              <a:spcBef>
                <a:spcPts val="3800"/>
              </a:spcBef>
              <a:spcAft>
                <a:spcPct val="0"/>
              </a:spcAft>
              <a:buSzPct val="171000"/>
              <a:buFont typeface="Gill Sans" charset="0"/>
              <a:buChar char="•"/>
              <a:defRPr sz="3200">
                <a:solidFill>
                  <a:srgbClr val="29325C"/>
                </a:solidFill>
                <a:latin typeface="+mn-lt"/>
                <a:ea typeface="+mn-ea"/>
                <a:cs typeface="+mn-cs"/>
                <a:sym typeface="Gill Sans" charset="0"/>
              </a:defRPr>
            </a:lvl1pPr>
            <a:lvl2pPr marL="1204913" indent="-493713" algn="l" rtl="0" fontAlgn="base">
              <a:spcBef>
                <a:spcPts val="3800"/>
              </a:spcBef>
              <a:spcAft>
                <a:spcPct val="0"/>
              </a:spcAft>
              <a:buSzPct val="171000"/>
              <a:buFont typeface="Gill Sans" charset="0"/>
              <a:buChar char="•"/>
              <a:defRPr sz="3200">
                <a:solidFill>
                  <a:srgbClr val="29325C"/>
                </a:solidFill>
                <a:latin typeface="+mn-lt"/>
                <a:sym typeface="Gill Sans" charset="0"/>
              </a:defRPr>
            </a:lvl2pPr>
            <a:lvl3pPr marL="1649413" indent="-493713" algn="l" rtl="0" fontAlgn="base">
              <a:spcBef>
                <a:spcPts val="3800"/>
              </a:spcBef>
              <a:spcAft>
                <a:spcPct val="0"/>
              </a:spcAft>
              <a:buSzPct val="171000"/>
              <a:buFont typeface="Gill Sans" charset="0"/>
              <a:buChar char="•"/>
              <a:defRPr sz="3200">
                <a:solidFill>
                  <a:srgbClr val="29325C"/>
                </a:solidFill>
                <a:latin typeface="+mn-lt"/>
                <a:sym typeface="Gill Sans" charset="0"/>
              </a:defRPr>
            </a:lvl3pPr>
            <a:lvl4pPr marL="2093913" indent="-493713" algn="l" rtl="0" fontAlgn="base">
              <a:spcBef>
                <a:spcPts val="3800"/>
              </a:spcBef>
              <a:spcAft>
                <a:spcPct val="0"/>
              </a:spcAft>
              <a:buSzPct val="171000"/>
              <a:buFont typeface="Gill Sans" charset="0"/>
              <a:buChar char="•"/>
              <a:defRPr sz="3200">
                <a:solidFill>
                  <a:srgbClr val="29325C"/>
                </a:solidFill>
                <a:latin typeface="+mn-lt"/>
                <a:sym typeface="Gill Sans" charset="0"/>
              </a:defRPr>
            </a:lvl4pPr>
            <a:lvl5pPr marL="2538413" indent="-493713" algn="l" rtl="0" fontAlgn="base">
              <a:spcBef>
                <a:spcPts val="3800"/>
              </a:spcBef>
              <a:spcAft>
                <a:spcPct val="0"/>
              </a:spcAft>
              <a:buSzPct val="171000"/>
              <a:buFont typeface="Gill Sans" charset="0"/>
              <a:buChar char="•"/>
              <a:defRPr sz="3200">
                <a:solidFill>
                  <a:srgbClr val="29325C"/>
                </a:solidFill>
                <a:latin typeface="+mn-lt"/>
                <a:sym typeface="Gill Sans" charset="0"/>
              </a:defRPr>
            </a:lvl5pPr>
            <a:lvl6pPr marL="2995613" indent="-493713" algn="l" rtl="0" fontAlgn="base">
              <a:spcBef>
                <a:spcPts val="3800"/>
              </a:spcBef>
              <a:spcAft>
                <a:spcPct val="0"/>
              </a:spcAft>
              <a:buSzPct val="171000"/>
              <a:buFont typeface="Gill Sans" charset="0"/>
              <a:buChar char="•"/>
              <a:defRPr sz="3200">
                <a:solidFill>
                  <a:srgbClr val="29325C"/>
                </a:solidFill>
                <a:latin typeface="+mn-lt"/>
                <a:sym typeface="Gill Sans" charset="0"/>
              </a:defRPr>
            </a:lvl6pPr>
            <a:lvl7pPr marL="3452813" indent="-493713" algn="l" rtl="0" fontAlgn="base">
              <a:spcBef>
                <a:spcPts val="3800"/>
              </a:spcBef>
              <a:spcAft>
                <a:spcPct val="0"/>
              </a:spcAft>
              <a:buSzPct val="171000"/>
              <a:buFont typeface="Gill Sans" charset="0"/>
              <a:buChar char="•"/>
              <a:defRPr sz="3200">
                <a:solidFill>
                  <a:srgbClr val="29325C"/>
                </a:solidFill>
                <a:latin typeface="+mn-lt"/>
                <a:sym typeface="Gill Sans" charset="0"/>
              </a:defRPr>
            </a:lvl7pPr>
            <a:lvl8pPr marL="3910013" indent="-493713" algn="l" rtl="0" fontAlgn="base">
              <a:spcBef>
                <a:spcPts val="3800"/>
              </a:spcBef>
              <a:spcAft>
                <a:spcPct val="0"/>
              </a:spcAft>
              <a:buSzPct val="171000"/>
              <a:buFont typeface="Gill Sans" charset="0"/>
              <a:buChar char="•"/>
              <a:defRPr sz="3200">
                <a:solidFill>
                  <a:srgbClr val="29325C"/>
                </a:solidFill>
                <a:latin typeface="+mn-lt"/>
                <a:sym typeface="Gill Sans" charset="0"/>
              </a:defRPr>
            </a:lvl8pPr>
            <a:lvl9pPr marL="4367213" indent="-493713" algn="l" rtl="0" fontAlgn="base">
              <a:spcBef>
                <a:spcPts val="3800"/>
              </a:spcBef>
              <a:spcAft>
                <a:spcPct val="0"/>
              </a:spcAft>
              <a:buSzPct val="171000"/>
              <a:buFont typeface="Gill Sans" charset="0"/>
              <a:buChar char="•"/>
              <a:defRPr sz="3200">
                <a:solidFill>
                  <a:srgbClr val="29325C"/>
                </a:solidFill>
                <a:latin typeface="+mn-lt"/>
                <a:sym typeface="Gill Sans" charset="0"/>
              </a:defRPr>
            </a:lvl9pPr>
          </a:lstStyle>
          <a:p>
            <a:pPr marL="361950" indent="-361950">
              <a:spcBef>
                <a:spcPts val="1000"/>
              </a:spcBef>
              <a:buClr>
                <a:srgbClr val="29325C"/>
              </a:buClr>
              <a:buSzPct val="125000"/>
            </a:pPr>
            <a:r>
              <a:rPr lang="ru-RU" sz="1600" kern="0" dirty="0"/>
              <a:t>NRO также могут выступать в качестве RPO</a:t>
            </a:r>
          </a:p>
          <a:p>
            <a:pPr marL="361950" indent="-361950">
              <a:spcBef>
                <a:spcPts val="1000"/>
              </a:spcBef>
              <a:buClr>
                <a:srgbClr val="29325C"/>
              </a:buClr>
              <a:buSzPct val="125000"/>
            </a:pPr>
            <a:r>
              <a:rPr lang="ru-RU" sz="1600" kern="0" dirty="0"/>
              <a:t>Не существует единой «стандартной» модели для НРО</a:t>
            </a:r>
            <a:endParaRPr lang="en-GB" sz="1600" kern="0" dirty="0"/>
          </a:p>
          <a:p>
            <a:pPr marL="361950" indent="-361950">
              <a:spcBef>
                <a:spcPts val="1000"/>
              </a:spcBef>
              <a:buClr>
                <a:srgbClr val="29325C"/>
              </a:buClr>
              <a:buSzPct val="125000"/>
            </a:pPr>
            <a:endParaRPr lang="en-GB" sz="2000" kern="0" dirty="0"/>
          </a:p>
        </p:txBody>
      </p:sp>
      <p:sp>
        <p:nvSpPr>
          <p:cNvPr id="7" name="Rectangle 6"/>
          <p:cNvSpPr/>
          <p:nvPr/>
        </p:nvSpPr>
        <p:spPr>
          <a:xfrm>
            <a:off x="328960" y="8117160"/>
            <a:ext cx="12438136" cy="523220"/>
          </a:xfrm>
          <a:prstGeom prst="rect">
            <a:avLst/>
          </a:prstGeom>
        </p:spPr>
        <p:txBody>
          <a:bodyPr wrap="square">
            <a:spAutoFit/>
          </a:bodyPr>
          <a:lstStyle/>
          <a:p>
            <a:pPr algn="ctr"/>
            <a:r>
              <a:rPr lang="ru-RU" sz="2800" b="1" dirty="0">
                <a:solidFill>
                  <a:srgbClr val="293756"/>
                </a:solidFill>
              </a:rPr>
              <a:t>CRIRSCO не определяет и не направляет деятельность НРО</a:t>
            </a:r>
            <a:endParaRPr lang="en-GB" sz="2800" b="1" dirty="0">
              <a:solidFill>
                <a:srgbClr val="293756"/>
              </a:solidFill>
            </a:endParaRPr>
          </a:p>
        </p:txBody>
      </p:sp>
    </p:spTree>
    <p:extLst>
      <p:ext uri="{BB962C8B-B14F-4D97-AF65-F5344CB8AC3E}">
        <p14:creationId xmlns:p14="http://schemas.microsoft.com/office/powerpoint/2010/main" val="2543673586"/>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ISPRING_UUID" val="{A801E39A-7A77-4820-BEFA-503D6D49299E}"/>
  <p:tag name="ISPRING_PROJECT_FOLDER_UPDATED" val="1"/>
  <p:tag name="ISPRING_RESOURCE_FOLDER" val="J:\SRK\008 - EGRC Workshop 2016\4. RAW\EGRC Workshop 2016"/>
  <p:tag name="ISPRING_PRESENTATION_PATH" val="J:\SRK\008 - EGRC Workshop 2016\4. RAW\EGRC Workshop 2016.pptx"/>
  <p:tag name="ISPRING_ULTRA_SCORM_COURSE_ID" val="45BF0CC3-DEC1-4B3B-AE2D-72C1F47E3A56"/>
  <p:tag name="ISPRING_SCORM_RATE_SLIDES" val="1"/>
  <p:tag name="ISPRING_SCORM_PASSING_SCORE" val="100.0000000000"/>
  <p:tag name="ISPRINGONLINEFOLDERID" val="0"/>
  <p:tag name="ISPRINGONLINEFOLDERPATH" val="Content List"/>
  <p:tag name="ISPRINGCLOUDFOLDERID" val="0"/>
  <p:tag name="ISPRINGCLOUDFOLDERPATH" val="Content List"/>
  <p:tag name="ISPRING_OUTPUT_FOLDER" val="J:\SRK\008 - EGRC Workshop 2016\5. PRODUCTION"/>
  <p:tag name="GENSWF_MOVIE_ONCLICK_URL" val="http://"/>
  <p:tag name="GENSWF_MOVIE_ONCLICK_URL_TARGET" val="_self"/>
  <p:tag name="GENSWF_MOVIE_PRESENTATION_END_URL" val="http://"/>
  <p:tag name="GENSWF_MOVIE_PRESENTATION_END_URL_TARGET" val="_self"/>
  <p:tag name="ISPRING_PRESENTATION_TITLE" val="EGRCWorkshop2016"/>
  <p:tag name="ISPRING_PRESENTER_PHOTO_0" val="jpg|/9j/4AAQSkZJRgABAQEAYABgAAD/2wBDAAMCAgMCAgMDAwMEAwMEBQgFBQQEBQoHBwYIDAoMDAsK&#10;CwsNDhIQDQ4RDgsLEBYQERMUFRUVDA8XGBYUGBIUFRT/2wBDAQMEBAUEBQkFBQkUDQsNFBQUFBQU&#10;FBQUFBQUFBQUFBQUFBQUFBQUFBQUFBQUFBQUFBQUFBQUFBQUFBQUFBQUFBT/wAARCAE7ANIDASIA&#10;AhEBAxEB/8QAHwAAAQUBAQEBAQEAAAAAAAAAAAECAwQFBgcICQoL/8QAtRAAAgEDAwIEAwUFBAQA&#10;AAF9AQIDAAQRBRIhMUEGE1FhByJxFDKBkaEII0KxwRVS0fAkM2JyggkKFhcYGRolJicoKSo0NTY3&#10;ODk6Q0RFRkdISUpTVFVWV1hZWmNkZWZnaGlqc3R1dnd4eXqDhIWGh4iJipKTlJWWl5iZmqKjpKWm&#10;p6ipqrKztLW2t7i5usLDxMXGx8jJytLT1NXW19jZ2uHi4+Tl5ufo6erx8vP09fb3+Pn6/8QAHwEA&#10;AwEBAQEBAQEBAQAAAAAAAAECAwQFBgcICQoL/8QAtREAAgECBAQDBAcFBAQAAQJ3AAECAxEEBSEx&#10;BhJBUQdhcRMiMoEIFEKRobHBCSMzUvAVYnLRChYkNOEl8RcYGRomJygpKjU2Nzg5OkNERUZHSElK&#10;U1RVVldYWVpjZGVmZ2hpanN0dXZ3eHl6goOEhYaHiImKkpOUlZaXmJmaoqOkpaanqKmqsrO0tba3&#10;uLm6wsPExcbHyMnK0tPU1dbX2Nna4uPk5ebn6Onq8vP09fb3+Pn6/9oADAMBAAIRAxEAPwCrsp8c&#10;dHl1PHHWOoDI46m2UJUkcdGoBHHT/L+enxx0/ZRqAyOPy6fsqTy/Mp8cdGoDI46PLqfy6f5f9/5K&#10;NQGeXR5dE88VrC8tw/kIn8dcbrnxa0fR7xIkd7pP43T+CgDsvL8ujyPMryjVf2idHtbh0itLidP9&#10;yua1L9oiWSHfZWnk/wC+9Z/AHIe1318kD+V/H/cpn2p4Jvn+SvlHVfi94lnvHliu0g/uVa039pLW&#10;LGHytQtP7Rf+/wDcrQvkPq7/AFnz1VuK888HfGzRNY0eCW9uIbKf+NN9d5pusWWuW3m6fcJdQf7F&#10;GoDJI6pPWhJvqlNRqQZ09UZ6vT1Rno1ApT1Vkq1PVWSjUClNUPNWZI6qyUagLzRUVFGoHrfl09KN&#10;lT7DRqARx1PHHUccdTxx0agHl0/Yakp+yjUBkcdP2U+OOp/Lo1AgjjrF8aeLrXwdpr3d3Kn3PkSt&#10;66nisYXuJX2QIlfKPxm+IX/CTeIXSJN9lb/IlZFwM/xd8YtV8QXk6I9wlr/Alch/wk17I/yb0/4B&#10;TI/EFxI/zxI8if7FbWlT6rdf8e9p89Sbmfa6lqE7/P8Av/8AtjXQ2tjFPCn2iym3/wCwldLpfh/x&#10;LOiSyxW8Cf7b1NqX9sabD+6uLff/ALlQWcBqum6PG7pvmsp/786VxupWssbv5VxDdQf7FdL4q1LV&#10;bp/9I+z3Sf7ENcTJI8c3y27pW0CJFW+nlgtn/g2Vt+APiN4g8ObJdPvXT5/ntf79Uvsrzo6PE9Zc&#10;mlXcD7Ifk/260I1PsTwP8bNE8ZeRZSu9lqmzY6TfxvXcz18GabBdx3MDo+x0/wCW33HSvon4X/GJ&#10;L500TWLv7VP9yGajUwPWZqzp61Z/v/I/3KzpI6NQKUlVHq3NVR6NQK0lVXq1JUElGoEPNFP2GijU&#10;D13YafHHR5dTxx0agHl1PHHTKmjjo1AZ5fz1NHHUmw0+ON99GoE8cFTRx+XUkcdP8ujUDyz9oXWH&#10;0PwN5UUqJPM+zZ/sV8e3WoxSO6JK+/8A2E317R+0TfXfiPxhPb3F39l063TYiJ/HXl9jBaWOz7PF&#10;sT7m/wDjeuWUzthD3Cla2N7IiOlvDBu/jmfe/wD3xXovhXR5dnm3t27on999iVixz6foaedqH+lX&#10;Tf6m1T79amhx+IPiNef2fplu/kfx7E+SqHCB0OpeMdM0qH7PZS+fP/cRN/8A6HXG3WsarrFy6RI/&#10;/AEr3/wj+ynd3VskuqzO7v8AwV7J4R+AuheFbb5LRPtVM7IUT4jj+GXiPxBD/qpkT+/Uc/wF12PZ&#10;vfelff0ng23tY32RIiVlz+HLeRP9UjvUHVGjSPhKD4a3ulO6XCPWJrnh+42bLdNlfcHiDwHb3SSP&#10;5SJXinj/AOGstijyxJVnNOjA+S9UtbvTd7y73pnhWe4nv0e0+R0feldr4m8qOR7e4TY/9+uX026T&#10;Q7l/KRJ971R504ch9feEfECa5oNrd7/n2eS6f7dXp68h+EOsP9purfdsSb+D/br1qSTzErXU5Sq9&#10;UXq9PVKSSjUCrJUElPkkqGSSjUAoqDz6KNQPatlWEqOOpEo1AfHU0dMjjq1BHRqA+OOr0cdRwR1a&#10;jjo1AI4Kknk+y2zy7PuJU0cdZ/iCe7js3dF3pso1A+I/HniD7d4t1GWX/nt8lZdrBcbPtDonnv8A&#10;6lHq7qtimpeJNRu5YtkCTP8AJXt37PXwdfxjqSarexf6FC/yI9cP2z14Q5vfGfBX9kmXxwiax4lu&#10;LiC1m+d4U+/NX2D4R+GuheC7ODT9H0+Gygh/gRK6jStKi022SKJNiInyVqfZfkrpOr3DI+y+Wu1K&#10;gksfn31vfZaJLHy030+QzOen03zIfnesufTU3/crqJ0+Ss6b7tQaQkchqWm1xviDR4p4XR0+SvUL&#10;qDzK5vXNN8xJKzmaHxv8XvhDb6lvlt02f7lfLfiDwzd+Gbx0f7iV+jHibTfPhf5K+X/jT4Vijjd/&#10;K/4HWkDzsRA8Y8I+KrvTb+yeKV0dH+f/AG6+vtNkSewgl/1m9N9fDMf+i3n/AAOvr74V6x/avgay&#10;Z33vClb6nnTOlkrOnkrRu6yJ6NSCCSeqMklSTVUejUCTzKKg8yijUD3+OOp446PLqaOOjUCSOOrs&#10;EdQQJ8lXoI6NQJoI6tRx0yCOrsEdWBJHHWD4/uv7G8K3sqff2bErqI46434tp/xS/wA/zp9oR6zk&#10;B8nT6Ok/ipNMi+ee4dE/4HX378MfDMXhzw3ZWUUSJ8ib6+I/hrB9u+MaP9+v0I8PwJHCn+5XLGJ6&#10;8Jm1BB5abKtUQRp/fqeP95W5pzlXy6e/3Knkgojg8ytw5zEng8xKpSWvmVvTweW/+xWJrmsaf4cs&#10;3u9QuEtU/vu9YchfMZ91B5dYl9Amx68i8YftQ28+pf2V4S0y48Q6jv8A+WCVlweKvjLPC92/hm3S&#10;D/ni7/PUShI0Ok8VQJvdK8V+JXh9NSsJ/wDcrpNV+Kl9Hcpb+INKm0id/wCN/uPTNSjTUrOR0/jS&#10;oFOB8EeLrVtN1h7fZs2PXvH7NmuefoN7aSvv8l/kT/fry/44WP2HxJP8myqXwk8aXvhy8neyh3pN&#10;s37/AOCun7J4vL7SfIfXc8dZdxHU2h6x/wAJBpSXH8b0Tx0RM5w5J8hkTx1VkjrRnjqk9PUgqeXR&#10;T6KNQPomOOp46YlWo46NQHwR1owR1Vgj+etSCP56NQHwR1oxx1BBH89XY46NQJI4/krH8caH/bHh&#10;u9t0T53T5K3o46ZPG8iffo1A+LfhPOmj/GOC0u32TvN5L7/4K/QSPVbTQ7B7i9lSCCFN7u/8CV8J&#10;fHDQ/wDhFfjl4a1W3XyPt18j/wC/sr6u8XWKeI9VsrLUJdmiW8KXt2n/AD2/uI/+xWcT1IGPrH7Q&#10;uu6xcvb+CvB93rcKPse6f5E/4BWXP+1Zqvg5/K8UeEruyf8AvolUvGn7V/hr4a+RpmjxI90nyQwW&#10;qb9lcHqX7TWq65cwQ6x4Sm+yv8++ZP4K6oUecJzhA+nfhr8etH+I0P8AokU0H++lekx3abPv187e&#10;B9Y0e+toLvQlhgd03+SnyV694O1iLWLaP5/3/wDHUT9w35eeBt6rfPBC7p/cr58+JvhyXx5fpb3F&#10;7NsT76I9eyeONVTSbd97/wC5XgM/iaWDQdR1h9/+u2J/t1GptCBiT/Erwl8AdK+z6fp6fbX++6J9&#10;/wD4HXnmsftrardXP2hNCu/7OR9j3SJ8lelePPhzZT/DfTtble01TV3ld7v50fyU2fJsryXwBqX9&#10;h6VrdpqESap9oh2JZQw7/Of+CvS+r+5znjTxU4VeSB1Fj8XvDnxb0ryW8md5v4HT54a0ND0d9Ktp&#10;7fe88Cf6l5Ky/gt8Ib2x1KbU73Sreye4f/Up/BXr3ibQ4rWF/KTZsT+CvGn8R7sPfgfFP7S3hF59&#10;Sgu7dPv15z4H8I3H2l0RH2P9+vpb4oWKXXkb03vXFfD3Z9vure4RE+/srPnLw+C/e853nguBIPDy&#10;IiVduo/nq1odqlro6JTLqOt4HiYv/eJGJPHWfPHWpd1nT1pqcRW5op9FGoH0LHHV2OOqscdXYaNQ&#10;LUEdakEdUoI60beOjUC1B+8q7HHUEEdXoI6sB8cdP8j+5RUnNAHzf+014A1DWPE/hTW7KJ57W0uP&#10;3yJX0Zr/AIR/4SPRPKT5POt0R3T/AHKZdQJdQ7GTfXS6HJ5enoif3Kwkeph4+6fHvgD4ZaJ8IfjH&#10;/bfii0muoHffb3syb0hq98abF9V8Q3V3p+oJe2t3cJdJNZfOiJ/cdK+t77Q9P1WHZLFC/wDfR0rL&#10;g8B6JavvisrdH/2Ertw+I5DHEYf23vng/h/Sr3VYdEt9E0+4S9t/kuNQm+SGb/Yr3Xw5Yvo94n8G&#10;/wC+iVqWOh28G/ZFVq3sfMvP7iVjVq+0mdtGHJA534hSfboYP7m+uasfCunz6alve2SXsG/eld74&#10;q01PJ31iaVAnnbK5zb3zmv8AhUPh+d5Nmnw/P99Eq9pXw90TQ33W+nwps/jdK9CtdKlg/wCB0y+0&#10;fzE30+aYQow5zkbqCK1j3psrhvEc7yJJXcaxG8fyVw+uSfI9YTPeo4f3DyHVdKS+vPnT7j1wFr4A&#10;luvFU+qpL5EHnbESvUNVk+y+e6fO9M0OOW6s0upYtjzJ8n+xUQOLEYj2Jj2Mbxw7H/g+SobqOtq+&#10;g8t/k/4HWRfR13anx0588+cwbqP56zriOtS7+9WdPRqIpbDRU1FGoH0PBV2D/WVSgrQg+/RqBoxx&#10;/JWhBHVKGtGCjUC7BVqOoLeOrcf3jVgP5qSo446koAT/AIBWjpUnlwolZ3z76tWsnz1nI9HCT5J8&#10;hr+X5iVqWOleZH89Z9jskre+3Jaw1jCZ9JKAfZYrG2d3rLtZ/Pm37G2VRutSuNcvNkX7tEqSS+fS&#10;XRfKfZShP3zz5wLvibSppNN3/wCxXmTx3cd4jxO9dt4g8TTSWDuu9/JT7lef6bD4j1Wb7RcIllA/&#10;/LGtJF0onZeDvHD6kk9o6fv7f79dZJrEU6fJXE6Vapo+90T53++/9+tGe68z7ibKjnCHxjNcRJK8&#10;18Rx/Ps2V3k88t0mzya5ufSpb6+tU/gd6wkev7bkgeUaro6Twz/aJXtU2b3emaHapBoNqib/APU/&#10;Pv8A467z4m+GYpEe037POTZXKSQPBZpE779ibK3onyOOnzzMTUfv1zt9XS30f3656+rfU84wbr79&#10;ZU9at1WVPRqBWoooo1A+jIPv1dg+/VK3rUtKNQLsNaMFUoK0LeOjUDQgqxH941BBHVqOOjUB6U+m&#10;06jUAog/eXKIifO9ElMjk8t9/wDGlVKJcPcmbfmS2r7HTZUGq3Uvk/f+/WpockWqptl+/Vq60NJk&#10;2In3K5pnv0cR7pnaPB5EO9/46vXUcUab5diJ/tvXmXxm8VeLfh7o9re6Fpn9o2qPsuJv+eKf36wf&#10;DPhHWPjFDNqGleMLfUYLdE3wp99N/wDfSs4RPQowpVJfvZHskcmn3XyI9vPv/wBuuU8XfFDw54c3&#10;29xd+e8PyeTClR6P+zL4o3vb/wDCQJZb0++ib99SaV+ybo8dn/aGt6rcSXW/98j/AHK35DrisroT&#10;9+rznleq/tIWX+qstHu7p/4K5j/heHijxBfJp+n6VDaz3D7E85/nSvSfiVrHw8+Gtnq9l4ct7fVN&#10;XSaF0hT5/k/v765r9nrwW2paxdeM9T/f/O/ko6VidTlQlS9rGHJE948I6HLa6JAl6yT3vk75pNn8&#10;dVbWxT7fA7p913rpbWT9zO7vvrnb6dLGF5f7lB87OZwHj+dJ9Y2J/Am+uDvvv1vardfarye4f+Ou&#10;evq1PExEvfMS+rnr6Suh1GSuavpK11OUwbqSsu4krRuqyLujUBm+io/Moo1A+loK0bSs6CtGGjUD&#10;Rg/1lacFZkFacFGoGjDU8dQQ1PHRqBJTqKKNQCSm06m1YFnSr77Dc767yCdbq1R0evNua2tD1x4H&#10;8qb7lYTOqjVOvntYrqF4riJJ4Jk2Oj/cevAPGXwr1L4ba1da74KurjT47hP332L+BK98guvM2VNJ&#10;9z7iOn9yoPoMLjJYeevwHiPgf4jeO9SvIJbTXYZ57eHyXtdQ+RH/ANv/AH6veMdY8V+KrCe31XVU&#10;gtX+R7Wy/wCW3+xXqEmj6ZJN5v8AZ8KSf340p/kW8b/urdP+BpXVA9GWYYT2vPCifL+h/Au+8Qax&#10;5txaf2XpCf3/AL7pXveladb6bbJaWkWy1hT5Erengd0/uJ/cqHy0tYa5ZmOPzKrjtJEc995Ftsrg&#10;PiFrn9naVOm/79b19qSec/z/AHK8i8eaq+sXLon+oSsJT5Dy4w5yrpU/2qwgd/46gvv3dQeHL7zN&#10;K2f3PkovpPkreEueJ4NX4znr6Suevq3r6sHUa3IMG7rHnrVuvv1lT0agVaKKKNQPpq3rQgqklXYK&#10;NQNi3rQgrMgrTtaNQNGOp46gjep+aNQJqKYlPo1AKbSSSUzzKNQDmo5JHokkqGSSrA6HQ/ED/wCq&#10;f+Cuvtb5J68vsbry7xH/AL9dfPG9qqS2770rnPRozlyHXeQklP8AISOOuXg8RvGnzo9SP4ui/j31&#10;rqdXOa91Aka73euN8Qa4lqj/AD/f+5U994guJ4XSKKuan0e4un3y/O9YVpnTA56+nuNS/wBHt/4/&#10;vvWPrmj/AGGw2bPnT7leqWPhxLWHfs2Vy/iq1SRJ68ut8B1w5D52k1W48P68mz/UTP8AvkrqJL6K&#10;eHzYn8xKyNf05P7YR6jnsbvTU+0Wib4P+eFXRxHJ7h52IwnP78CS++5XO6lJV7+1Yr75EfY/8aVn&#10;X0lepDlmeJOHIYN1J89Z09XruSsuetNSBKKiooA+nLeSrtvWfBV2CSjUDXhrUt5KxLeStGCSjUDb&#10;gkqaOSs+GrUclGoF2OSlqvHJUnNGoBzUb1JJUElGoDJJPkqrPP8APsf5H/55pWd4m8TaZ4R0173U&#10;72GytU/jd6+TvjN+1tcalv0zwZ/otr/HqD/fetoRA+sY9VtJ797JLuGe6t/vpC+/ZXpulSJdaVs/&#10;2K+W/wBkLw5cR/Dn+2715p9R1O4eZ7qb77p/BX07of8AouxK4pz989SjH3C7YweX8j/wVe+yxSf8&#10;skotY/MmrXgtUqjQwZ7VP4Ep+m6P8+90rb+xJU/l+RD8lTM25jE1KPy4a4DxBB5iP/t1399+8+Su&#10;X1W18x/nrhrG9I8E8TaO8dyj1oabapdW2x1rpfEGlJPcu/8ABWP9haDfsry5HoQ984rxV4D8/fLb&#10;/I/+xXAalY3ti+x4d9e9yfvIdj1g6locV1vrqo1pwOWeHhM8BupH/jTZWdJJXrWseB4pP4K881jw&#10;jd2L70WvUhW5/jPIrYTk+AwfMf1oo+x3f/PJ6K254HF9Xq/yH01HJVq3krOjkq1BJWupgbcElaEE&#10;lYsElakMnyUaga6SVdSSsuCSrUclWBo0+OSqX2pI/wCN6fHI8n3E2VnzF8syr4j8TaZ4V02TUNVv&#10;beytU/v/AMdfOHxC/bW0qxR7TwlZPdT/AHEvZvuf98V4x+1R8VJfHHxCutMtLh30jTH+yon99/43&#10;rx6P9wnz11QhzmMzqPGnxC8QePLl73XdTmnT+CH+BP8AgFch/r2/e/x/JRdTvPR5fyJsrqlDkgEP&#10;jP1U+C2mw2vw38NRW/yIljDXpslr5cPm1558BY/M+G/h7/pjYoletTwJ9jevF5PfPaj8AzSpPkSt&#10;uOSsHSo32VrxxvVE6lvmq7yfJRJJ5afPTJv+Pb5KmZtAy5I/MesjVYfkrofISOHfXPalvuHrkN9T&#10;idUsXrIng8v79dffbI/v1zV9Om+vP5PfPTgZH2T/AGKjksf9ir3mf3Kmjj+St4QCZz11pSSfwVg6&#10;j4fSdH+5srsr66ijSuUvr6W4m2IlbGMjl/8AhFbf+5RW15Nx/dooMwjkq1byVWSpo5K9XU+UNSCS&#10;tGOdI0+d6x450rb0fSnvn82X7n9ys5TOqjh/bFqxkuL7Z9ni+T+/XV6V4c8z57h99Gm2PkJ/crpb&#10;GP56jm5z0PYwokEfhy3j2Ps+SsH4jSReFfAevaxK+z7DYzTV2qfcryL9sS6uLX9n7xD9n/177Ef/&#10;AHP46uEDGcuQ/LWe6e+vHvX+d5neb/vuj/V0QSeRDv8A79Mk3vXrwPF1B6ng++if7aVB5fmVr+Gb&#10;H7dr2l2//Pa4RP8Ax+ip8AQ+OB+nvwP1JLHwZY27/Jshr1D+2PtybErlPD/hGKxsLVIU2fJvrq7G&#10;x8hK8LnPqvZe4dDo8Hlw1t+Wsfz1g2t15afPT59SeStuc5pUie+kSd9iVBdXCxpsqlJO+yqt1I/l&#10;76w5i4QGalrCRps31y+peJorVNm+tCfR3uvnqrH4OikffKlYe+dsIwOHvtZu76b5EfZUEFjcSP8A&#10;PXo3/CP2kKfdSqV1apHH9ysvYnV7WH2Dl47VI4/neoLq6SP5ErUurHzPuVSk035/uVtyGM5mPHB5&#10;70T6akb/AHK247Xy1+5TJ7V/40q+U5ZzMX7ClFaf2Vv7lFXyGHOebRyVNHJVLfT45P467jwYQOl8&#10;P6b/AGjNuf7iV6bpWm+Xs+T5K5PwXap9m3/369D02NK5fjPah7kOQfHa/J9ytS1g8uOiOP5Pkrg/&#10;i/8AHTw18FtBkvdYuEe9dP8AR7JH+eb/AOwraEDmnW5DpfHHjjRfhz4en1vXb1LKyhT/AIG/+wlf&#10;mh+0Z+0hrfxw1V4opZtO8PQ7/JtUfZ539zfXO/Gj46eIPjhrz3esXDwacn/HvpafcRK4SDfsdNmz&#10;f86V3UqR5dWsZ2m3Ut1C7v8Afi+TZV2S68hNmyqvh+SKR9UT+OieR5NN3/xpWxzmjBH5iI6VveFb&#10;pLHxVpErp9y7R/8Ax+sTw/J9qsIH/uVPHO8eq2r/APTZKufwmsPjP2M8P3UV9pVrKn/PFK3oNnk1&#10;5Z8J9Ve68N6W8r/ftkr0P7d8lfPn1cC181EcfmPVXz32UR76C+Qtfx7KfHH56fPUEH+u31e85I02&#10;VtykEccCVDPOkfyVHPfeZ8lUnuvL/wB+oI1GXFZ1xH5iVdku6qvJVCiZckHlvUMlr8++tB4971P5&#10;f9+nyEc5l/ZagntfMrUk/d1DJH89IwmUfI/2KKu7KK1J1PnqpPM+Squ+n+ZSkedA9a8Hx+XZpXcw&#10;SeX/AB15/wCEZ/LsE/3Kh+LHxb0z4Q+D59Y1B/3/ANy0tf8Ans9RS989Or7hB+0F+0RpXwT8Mea7&#10;/atXu/8Aj0so/vv/ALb/AOxX5oeOPH+sfEbxDPreu3b3t7M/8b/In+wlP+JXjjWPiN4quvEGt3Dz&#10;3Vw/yJ/BCn9xK43z3tZv9ivRhHkPInPnNtN+zf8A3KI7pLW5dHTfHsojk/cp/ces7UZ/LSZNnzpW&#10;3OcvKZEF9NY6rvT7k3362rWT7Vpt1XKX0nl3kDp/HXUeGYPMtn+fYlSaamp4Rn8vR5/9h9lXY43j&#10;v7L/AG5kqHQ7V4HurT/ptvrQ8/zNetU/uOlVU+AVH+Kfpn8JJ3j8GaI//TFK9Qgn8yvL/hl/yJOk&#10;f7EKV6TY/vIUevCPq4GxHJT/ADPLqrH+7+d6kkk8yg05yZ7pI/nqCS+T+Cqsm96ZJsjqyAnnf+Co&#10;PMd6HkojjegAko8upPI8yo5E8utomfMR0Uvme9MkenqYjHqD+OiSSoJJNlGoD/8AgVFQ+ZRRqUfP&#10;PmUR/fqHzKfH/rk/8c/2KNTwofGejQa5ZeHPD0+p6hcLBZWkPnTO/wDcr8+/jv8AGa++MXjCe9Z3&#10;g0i3+S0tX/uf367z9qT40vrDp4M0e4/0K0/4/nT+N/7lfOcknyf7H3ErajA2xFb7BowSJdJsd/uV&#10;nSR+Z59u/wDHTJJ/ImR1q1q2zyUu7f8A4HXWcepBo98/z2kv30p+pfvLxP8Apsmys++3/Jdxfwff&#10;q1fT/atKgu0++j0BqYuqWMtqkPmL88TbNn+xW1prvY6b5qPvTfvqbxVAl9ZwPF9/Z89Z+mzvY2fz&#10;/PA6fP8A7FAHc+H9SSe5e4qbSv33iG1f+PzvuVyHhy6eN5/n2V1Hg2f7V4ktd/8AfSlOXuF0Y/vT&#10;9QPhl/yJmnRf34a9D0O6SS22f3Pkry/4e65bweHrVElTYiV1fg7XLLWL+9uNPuHng+RPOf8Av/3K&#10;8iMT3pTO589JE3vTPPSOoPPTZVKeeoOmBNPfP/DUPn76g+eRafBA+yrInItQfvKvInl1BBB5dWth&#10;qzGcxnNQT/vKu+X/AH6pTx1uZ85Skjqo9XpI6pT1GpvAqyffqN6kkqpP/q6NTQXzE/v0VVooA8E3&#10;1leJtSl03wxql3F/yxt3etLmuZ+I0nl+A9eff/y71ofOnw7PfXElzPdy/PPM+93f+OiPUkkfY6bK&#10;P4nqOSxSeuwwmWrqD5P3VUrG+8t3t3ontbiNPkf5KpeXLBdb3SmMtQfuHe3f50eoLV3tfP01/wCL&#10;50pk87yO+x9klRzzpqmze/kXSfxvQBqWOsJ5f2e7t5ndP7iUXV1abHSK0dN/9+mQb4LP97e7/wDc&#10;qlH/AH/n/wCB0BqCSPH9x60NN1W40q8guLeXZOj76pfxU+P93SmXA9y8I/tUa3o8yaVqr79LuN6b&#10;4U+dK94+E/7VHhrSrNIrjVYYPk8lEf8AuJ/HXwfJH5lyj/3KtW/lT3ifaIndIf7lYey5zf2vIfqN&#10;a/tbeAZ0RE1uGtux/aF8Gal/qtdtN7/33r8tbG10fUn8nf8AZZ/4Ep994ZuNN/jd0/2HqPqpr9bP&#10;1y0r4heHNSh/0fW7F3/6+ErqLHVrS6T91d27/wC5Mlfi3BPdwOjpLMn+49bdj4x8R6b89prF9a/7&#10;kz1f1ccsWftPH+82Pso2f3Pnr8ivD/7S3xF8MzI9p4ou96f89n86vZPBf/BQbxnpWxNYsrHW0/jf&#10;/UvR7Ej6wfoj8/8AHUMkdfOfgf8Ab1+H/ibZb6wl34en/je6Tele8aH4u0TxVZpd6PqdvfQP9x4X&#10;31E4G0Kxanjqk9aE8n8FZF9J5f3Kwkd0JlWT92/z1Rvp/L30y+ukj/jrB1XVU2Om+sZzOqBa/tKi&#10;uN/tH/borD2xZ555lZfi7R/+Em8Majpiy+R9oh2b5KveZRJJ+5evRmfLwPm+6/ZJ8UbN+n3tpdJ/&#10;B/A9cprHwI8e+H5v9L8OPOn9+H56+3PDk/8AoyV1drI/8G+s44iR7X1KEz809S8P6lps2y70q+tf&#10;9+3eq3mRb/KeLZsT+Ov0o1aC3nR/Niin/wB9K+Vf2rLW3tfDdrFp9jaWr3FxsmdIfnreFY4q2C9n&#10;A+dpNNtb77j7H/gqq/hWL/l4u1esiS6ljf5JfufJTI7q4nf7711c55mpavreK1k8pKhqCSTzJvv1&#10;PTDUdG9WOaq1N/BQGo//AFaO/wDcpkc97pSfaIn3wTffqOf9+6Rf36kjkl0ffb3HzwPWeoalqDbr&#10;iJLE6QXSffrodH8XPAn2S7T/AOzrkP7Klg/0i0felaNjfJs8q9tH31fMB0t1fW8c2/emx6fHdWkk&#10;Pz7Ky4/7Mk+f7lMnkspE/dJVmRofZ7SdPk21Sn0r+OJ3/wCAVnbPn++6f7lTxx3Ef+quHoAng1KW&#10;x/dXCb0/266Twr441vwjeJe+HNYuNLm/6YzfJ/3xXLyR3c6fOiPVXyXg/g2UGup9mfC/9vi903ZZ&#10;eOLfz4E+T+0LVPn/AOBpX1B4c+LfhzxpYQXGlanb3STJvTY//odfkndSXEafc+R/46teHPFWseDb&#10;xL3R7t9OdP4N/wAj1yzgdVGtyH6xalfeZ9yuX1W6ePfXyx8Of2zvP2WPiuJ0f/n9h+5XrsfxNstc&#10;s/tWn3CXSP8A3K8itA9qFaEzpftzUVwf/CTXH/PJ6K5eQ25oGv5nvRJJ8j0yiT/UyV68j5+mamgT&#10;13NjOmz56888P12VvXHqfXUdh+sXW/8A33/8cr43/aW+I2makn9i2lx9quoZvndPuV9L/E66ltPC&#10;uqTQyNHL9n+8vWvzluJXma6kdi0m9/mNdlL3jycdUfIReX5ju7p/HR/q6P4/+AUTfcr0OU8CPvQG&#10;Qf66p6r2v/LSrFURqFFFFAalW9kfzPNT/lk9dV5EOq2Cb/46w41H9l3XH8daXhf5tNfPPz0BqUv9&#10;L0O53xJvgrq9NkstVtvtG35/46iuokaHlc1z1pM9vqW2Nii+gqg1Oj8jT5N6fcp/9m2mz7iVmT/d&#10;qp50n99vzqw1Nv7Db0//AEeOuXe6l3/6xqb9ok8z75qA1Ogn1JI/uVSn1V5P7lUMmkoDUmn1KW6T&#10;7PsqlJI8fyOn7utW1/49qrTE7Kx1LMyT95/BWj4f8Xar4RvEl0+7dP78O/5Hqi/36h/i2/w+lZTj&#10;zDhLkPWf+GltT/6BtFeSbRRU/V4j9tI//9k="/>
  <p:tag name="ISPRING_PRESENTER_PHOTO_1" val="png|iVBORw0KGgoAAAANSUhEUgAAAXgAAACyCAMAAAB/RyTyAAAACXBIWXMAAAsTAAALEwEAmpwYAAAK&#10;T2lDQ1BQaG90b3Nob3AgSUNDIHByb2ZpbGUAAHjanVNnVFPpFj333vRCS4iAlEtvUhUIIFJCi4AU&#10;kSYqIQkQSoghodkVUcERRUUEG8igiAOOjoCMFVEsDIoK2AfkIaKOg6OIisr74Xuja9a89+bN/rXX&#10;Pues852zzwfACAyWSDNRNYAMqUIeEeCDx8TG4eQuQIEKJHAAEAizZCFz/SMBAPh+PDwrIsAHvgAB&#10;eNMLCADATZvAMByH/w/qQplcAYCEAcB0kThLCIAUAEB6jkKmAEBGAYCdmCZTAKAEAGDLY2LjAFAt&#10;AGAnf+bTAICd+Jl7AQBblCEVAaCRACATZYhEAGg7AKzPVopFAFgwABRmS8Q5ANgtADBJV2ZIALC3&#10;AMDOEAuyAAgMADBRiIUpAAR7AGDIIyN4AISZABRG8lc88SuuEOcqAAB4mbI8uSQ5RYFbCC1xB1dX&#10;Lh4ozkkXKxQ2YQJhmkAuwnmZGTKBNA/g88wAAKCRFRHgg/P9eM4Ors7ONo62Dl8t6r8G/yJiYuP+&#10;5c+rcEAAAOF0ftH+LC+zGoA7BoBt/qIl7gRoXgugdfeLZrIPQLUAoOnaV/Nw+H48PEWhkLnZ2eXk&#10;5NhKxEJbYcpXff5nwl/AV/1s+X48/Pf14L7iJIEyXYFHBPjgwsz0TKUcz5IJhGLc5o9H/LcL//wd&#10;0yLESWK5WCoU41EScY5EmozzMqUiiUKSKcUl0v9k4t8s+wM+3zUAsGo+AXuRLahdYwP2SycQWHTA&#10;4vcAAPK7b8HUKAgDgGiD4c93/+8//UegJQCAZkmScQAAXkQkLlTKsz/HCAAARKCBKrBBG/TBGCzA&#10;BhzBBdzBC/xgNoRCJMTCQhBCCmSAHHJgKayCQiiGzbAdKmAv1EAdNMBRaIaTcA4uwlW4Dj1wD/ph&#10;CJ7BKLyBCQRByAgTYSHaiAFiilgjjggXmYX4IcFIBBKLJCDJiBRRIkuRNUgxUopUIFVIHfI9cgI5&#10;h1xGupE7yAAygvyGvEcxlIGyUT3UDLVDuag3GoRGogvQZHQxmo8WoJvQcrQaPYw2oefQq2gP2o8+&#10;Q8cwwOgYBzPEbDAuxsNCsTgsCZNjy7EirAyrxhqwVqwDu4n1Y8+xdwQSgUXACTYEd0IgYR5BSFhM&#10;WE7YSKggHCQ0EdoJNwkDhFHCJyKTqEu0JroR+cQYYjIxh1hILCPWEo8TLxB7iEPENyQSiUMyJ7mQ&#10;AkmxpFTSEtJG0m5SI+ksqZs0SBojk8naZGuyBzmULCAryIXkneTD5DPkG+Qh8lsKnWJAcaT4U+Io&#10;UspqShnlEOU05QZlmDJBVaOaUt2ooVQRNY9aQq2htlKvUYeoEzR1mjnNgxZJS6WtopXTGmgXaPdp&#10;r+h0uhHdlR5Ol9BX0svpR+iX6AP0dwwNhhWDx4hnKBmbGAcYZxl3GK+YTKYZ04sZx1QwNzHrmOeZ&#10;D5lvVVgqtip8FZHKCpVKlSaVGyovVKmqpqreqgtV81XLVI+pXlN9rkZVM1PjqQnUlqtVqp1Q61Mb&#10;U2epO6iHqmeob1Q/pH5Z/YkGWcNMw09DpFGgsV/jvMYgC2MZs3gsIWsNq4Z1gTXEJrHN2Xx2KruY&#10;/R27iz2qqaE5QzNKM1ezUvOUZj8H45hx+Jx0TgnnKKeX836K3hTvKeIpG6Y0TLkxZVxrqpaXllir&#10;SKtRq0frvTau7aedpr1Fu1n7gQ5Bx0onXCdHZ4/OBZ3nU9lT3acKpxZNPTr1ri6qa6UbobtEd79u&#10;p+6Ynr5egJ5Mb6feeb3n+hx9L/1U/W36p/VHDFgGswwkBtsMzhg8xTVxbzwdL8fb8VFDXcNAQ6Vh&#10;lWGX4YSRudE8o9VGjUYPjGnGXOMk423GbcajJgYmISZLTepN7ppSTbmmKaY7TDtMx83MzaLN1pk1&#10;mz0x1zLnm+eb15vft2BaeFostqi2uGVJsuRaplnutrxuhVo5WaVYVVpds0atna0l1rutu6cRp7lO&#10;k06rntZnw7Dxtsm2qbcZsOXYBtuutm22fWFnYhdnt8Wuw+6TvZN9un2N/T0HDYfZDqsdWh1+c7Ry&#10;FDpWOt6azpzuP33F9JbpL2dYzxDP2DPjthPLKcRpnVOb00dnF2e5c4PziIuJS4LLLpc+Lpsbxt3I&#10;veRKdPVxXeF60vWdm7Obwu2o26/uNu5p7ofcn8w0nymeWTNz0MPIQ+BR5dE/C5+VMGvfrH5PQ0+B&#10;Z7XnIy9jL5FXrdewt6V3qvdh7xc+9j5yn+M+4zw33jLeWV/MN8C3yLfLT8Nvnl+F30N/I/9k/3r/&#10;0QCngCUBZwOJgUGBWwL7+Hp8Ib+OPzrbZfay2e1BjKC5QRVBj4KtguXBrSFoyOyQrSH355jOkc5p&#10;DoVQfujW0Adh5mGLw34MJ4WHhVeGP45wiFga0TGXNXfR3ENz30T6RJZE3ptnMU85ry1KNSo+qi5q&#10;PNo3ujS6P8YuZlnM1VidWElsSxw5LiquNm5svt/87fOH4p3iC+N7F5gvyF1weaHOwvSFpxapLhIs&#10;OpZATIhOOJTwQRAqqBaMJfITdyWOCnnCHcJnIi/RNtGI2ENcKh5O8kgqTXqS7JG8NXkkxTOlLOW5&#10;hCepkLxMDUzdmzqeFpp2IG0yPTq9MYOSkZBxQqohTZO2Z+pn5mZ2y6xlhbL+xW6Lty8elQfJa7OQ&#10;rAVZLQq2QqboVFoo1yoHsmdlV2a/zYnKOZarnivN7cyzytuQN5zvn//tEsIS4ZK2pYZLVy0dWOa9&#10;rGo5sjxxedsK4xUFK4ZWBqw8uIq2Km3VT6vtV5eufr0mek1rgV7ByoLBtQFr6wtVCuWFfevc1+1d&#10;T1gvWd+1YfqGnRs+FYmKrhTbF5cVf9go3HjlG4dvyr+Z3JS0qavEuWTPZtJm6ebeLZ5bDpaql+aX&#10;Dm4N2dq0Dd9WtO319kXbL5fNKNu7g7ZDuaO/PLi8ZafJzs07P1SkVPRU+lQ27tLdtWHX+G7R7ht7&#10;vPY07NXbW7z3/T7JvttVAVVN1WbVZftJ+7P3P66Jqun4lvttXa1ObXHtxwPSA/0HIw6217nU1R3S&#10;PVRSj9Yr60cOxx++/p3vdy0NNg1VjZzG4iNwRHnk6fcJ3/ceDTradox7rOEH0x92HWcdL2pCmvKa&#10;RptTmvtbYlu6T8w+0dbq3nr8R9sfD5w0PFl5SvNUyWna6YLTk2fyz4ydlZ19fi753GDborZ752PO&#10;32oPb++6EHTh0kX/i+c7vDvOXPK4dPKy2+UTV7hXmq86X23qdOo8/pPTT8e7nLuarrlca7nuer21&#10;e2b36RueN87d9L158Rb/1tWeOT3dvfN6b/fF9/XfFt1+cif9zsu72Xcn7q28T7xf9EDtQdlD3YfV&#10;P1v+3Njv3H9qwHeg89HcR/cGhYPP/pH1jw9DBY+Zj8uGDYbrnjg+OTniP3L96fynQ89kzyaeF/6i&#10;/suuFxYvfvjV69fO0ZjRoZfyl5O/bXyl/erA6xmv28bCxh6+yXgzMV70VvvtwXfcdx3vo98PT+R8&#10;IH8o/2j5sfVT0Kf7kxmTk/8EA5jz/GMzLdsAADsCaVRYdFhNTDpjb20uYWRvYmUueG1wAAAAAAA8&#10;P3hwYWNrZXQgYmVnaW49Iu+7vyIgaWQ9Ilc1TTBNcENlaGlIenJlU3pOVGN6a2M5ZCI/Pgo8eDp4&#10;bXBtZXRhIHhtbG5zOng9ImFkb2JlOm5zOm1ldGEvIiB4OnhtcHRrPSJBZG9iZSBYTVAgQ29yZSA1&#10;LjYtYzAxNCA3OS4xNTY3OTcsIDIwMTQvMDgvMjAtMDk6NTM6MDIgICAgICAgICI+CiAgIDxyZGY6&#10;UkRGIHhtbG5zOnJkZj0iaHR0cDovL3d3dy53My5vcmcvMTk5OS8wMi8yMi1yZGYtc3ludGF4LW5z&#10;IyI+CiAgICAgIDxyZGY6RGVzY3JpcHRpb24gcmRmOmFib3V0PSIiCiAgICAgICAgICAgIHhtbG5z&#10;OnhtcD0iaHR0cDovL25zLmFkb2JlLmNvbS94YXAvMS4wLyIKICAgICAgICAgICAgeG1sbnM6ZGM9&#10;Imh0dHA6Ly9wdXJsLm9yZy9kYy9lbGVtZW50cy8xLjEvIgogICAgICAgICAgICB4bWxuczpwaG90&#10;b3Nob3A9Imh0dHA6Ly9ucy5hZG9iZS5jb20vcGhvdG9zaG9wLzEuMC8iCiAgICAgICAgICAgIHht&#10;bG5zOnhtcE1NPSJodHRwOi8vbnMuYWRvYmUuY29tL3hhcC8xLjAvbW0vIgogICAgICAgICAgICB4&#10;bWxuczpzdEV2dD0iaHR0cDovL25zLmFkb2JlLmNvbS94YXAvMS4wL3NUeXBlL1Jlc291cmNlRXZl&#10;bnQjIgogICAgICAgICAgICB4bWxuczp0aWZmPSJodHRwOi8vbnMuYWRvYmUuY29tL3RpZmYvMS4w&#10;LyIKICAgICAgICAgICAgeG1sbnM6ZXhpZj0iaHR0cDovL25zLmFkb2JlLmNvbS9leGlmLzEuMC8i&#10;PgogICAgICAgICA8eG1wOkNyZWF0b3JUb29sPkFkb2JlIFBob3Rvc2hvcCBDQyAyMDE0IChXaW5k&#10;b3dzKTwveG1wOkNyZWF0b3JUb29sPgogICAgICAgICA8eG1wOkNyZWF0ZURhdGU+MjAxMy0wMS0y&#10;MVQxOTozOCswMjowMDwveG1wOkNyZWF0ZURhdGU+CiAgICAgICAgIDx4bXA6TW9kaWZ5RGF0ZT4y&#10;MDE0LTExLTI3VDE3OjI2OjExKzAyOjAwPC94bXA6TW9kaWZ5RGF0ZT4KICAgICAgICAgPHhtcDpN&#10;ZXRhZGF0YURhdGU+MjAxNC0xMS0yN1QxNzoyNjoxMSswMjowMDwveG1wOk1ldGFkYXRhRGF0ZT4K&#10;ICAgICAgICAgPGRjOmZvcm1hdD5pbWFnZS9wbmc8L2RjOmZvcm1hdD4KICAgICAgICAgPHBob3Rv&#10;c2hvcDpDb2xvck1vZGU+MjwvcGhvdG9zaG9wOkNvbG9yTW9kZT4KICAgICAgICAgPHBob3Rvc2hv&#10;cDpJQ0NQcm9maWxlPnNSR0IgSUVDNjE5NjYtMi4xPC9waG90b3Nob3A6SUNDUHJvZmlsZT4KICAg&#10;ICAgICAgPHhtcE1NOkluc3RhbmNlSUQ+eG1wLmlpZDo4ZmQ0NzEwZC1iN2JiLWRhNDMtOTE0Ni0z&#10;YTJhZTZjODE3N2Q8L3htcE1NOkluc3RhbmNlSUQ+CiAgICAgICAgIDx4bXBNTTpEb2N1bWVudElE&#10;PmFkb2JlOmRvY2lkOnBob3Rvc2hvcDphZDIyNjI1OC03NjQ5LTExZTQtYjgzYi05MDE4MjQ3NjBl&#10;MDI8L3htcE1NOkRvY3VtZW50SUQ+CiAgICAgICAgIDx4bXBNTTpPcmlnaW5hbERvY3VtZW50SUQ+&#10;eG1wLmRpZDo2NzEwNmU1Zi1kZWM0LTQ3NDgtYTQxMi04Y2YwMTFmNTFhMjA8L3htcE1NOk9yaWdp&#10;bmFsRG9jdW1lbnRJRD4KICAgICAgICAgPHhtcE1NOkhpc3Rvcnk+CiAgICAgICAgICAgIDxyZGY6&#10;U2VxPgogICAgICAgICAgICAgICA8cmRmOmxpIHJkZjpwYXJzZVR5cGU9IlJlc291cmNlIj4KICAg&#10;ICAgICAgICAgICAgICAgPHN0RXZ0OmFjdGlvbj5jcmVhdGVkPC9zdEV2dDphY3Rpb24+CiAgICAg&#10;ICAgICAgICAgICAgIDxzdEV2dDppbnN0YW5jZUlEPnhtcC5paWQ6NjcxMDZlNWYtZGVjNC00NzQ4&#10;LWE0MTItOGNmMDExZjUxYTIwPC9zdEV2dDppbnN0YW5jZUlEPgogICAgICAgICAgICAgICAgICA8&#10;c3RFdnQ6d2hlbj4yMDEzLTAxLTIxVDE5OjM4KzAyOjAwPC9zdEV2dDp3aGVuPgogICAgICAgICAg&#10;ICAgICAgICA8c3RFdnQ6c29mdHdhcmVBZ2VudD5BZG9iZSBQaG90b3Nob3AgQ0MgMjAxNCAoV2lu&#10;ZG93cyk8L3N0RXZ0OnNvZnR3YXJlQWdlbnQ+CiAgICAgICAgICAgICAgIDwvcmRmOmxpPgogICAg&#10;ICAgICAgICAgICA8cmRmOmxpIHJkZjpwYXJzZVR5cGU9IlJlc291cmNlIj4KICAgICAgICAgICAg&#10;ICAgICAgPHN0RXZ0OmFjdGlvbj5jb252ZXJ0ZWQ8L3N0RXZ0OmFjdGlvbj4KICAgICAgICAgICAg&#10;ICAgICAgPHN0RXZ0OnBhcmFtZXRlcnM+ZnJvbSBpbWFnZS9naWYgdG8gaW1hZ2UvcG5nPC9zdEV2&#10;dDpwYXJhbWV0ZXJzPgogICAgICAgICAgICAgICA8L3JkZjpsaT4KICAgICAgICAgICAgICAgPHJk&#10;ZjpsaSByZGY6cGFyc2VUeXBlPSJSZXNvdXJjZSI+CiAgICAgICAgICAgICAgICAgIDxzdEV2dDph&#10;Y3Rpb24+c2F2ZWQ8L3N0RXZ0OmFjdGlvbj4KICAgICAgICAgICAgICAgICAgPHN0RXZ0Omluc3Rh&#10;bmNlSUQ+eG1wLmlpZDo4ZmQ0NzEwZC1iN2JiLWRhNDMtOTE0Ni0zYTJhZTZjODE3N2Q8L3N0RXZ0&#10;Omluc3RhbmNlSUQ+CiAgICAgICAgICAgICAgICAgIDxzdEV2dDp3aGVuPjIwMTQtMTEtMjdUMTc6&#10;MjY6MTErMDI6MDA8L3N0RXZ0OndoZW4+CiAgICAgICAgICAgICAgICAgIDxzdEV2dDpzb2Z0d2Fy&#10;ZUFnZW50PkFkb2JlIFBob3Rvc2hvcCBDQyAyMDE0IChXaW5kb3dzKTwvc3RFdnQ6c29mdHdhcmVB&#10;Z2VudD4KICAgICAgICAgICAgICAgICAgPHN0RXZ0OmNoYW5nZWQ+Lzwvc3RFdnQ6Y2hhbmdlZD4K&#10;ICAgICAgICAgICAgICAgPC9yZGY6bGk+CiAgICAgICAgICAgIDwvcmRmOlNlcT4KICAgICAgICAg&#10;PC94bXBNTTpIaXN0b3J5PgogICAgICAgICA8dGlmZjpPcmllbnRhdGlvbj4xPC90aWZmOk9yaWVu&#10;dGF0aW9uPgogICAgICAgICA8dGlmZjpYUmVzb2x1dGlvbj43MjAwMDAvMTAwMDA8L3RpZmY6WFJl&#10;c29sdXRpb24+CiAgICAgICAgIDx0aWZmOllSZXNvbHV0aW9uPjcyMDAwMC8xMDAwMDwvdGlmZjpZ&#10;UmVzb2x1dGlvbj4KICAgICAgICAgPHRpZmY6UmVzb2x1dGlvblVuaXQ+MjwvdGlmZjpSZXNvbHV0&#10;aW9uVW5pdD4KICAgICAgICAgPGV4aWY6Q29sb3JTcGFjZT4xPC9leGlmOkNvbG9yU3BhY2U+CiAg&#10;ICAgICAgIDxleGlmOlBpeGVsWERpbWVuc2lvbj4zNzY8L2V4aWY6UGl4ZWxYRGltZW5zaW9uPgog&#10;ICAgICAgICA8ZXhpZjpQaXhlbFlEaW1lbnNpb24+MTc4PC9leGlmOlBpeGVsWURpbWVuc2lvbj4K&#10;ICAgICAgPC9yZGY6RGVzY3JpcHRpb24+CiAgIDwvcmRmOlJERj4KPC94OnhtcG1ldGE+CiAgICAg&#10;ICAgICAgICAgICAgICAgICAgICAgICAgICAgICAgICAgICAgICAgICAgICAgICAgICAgICAgICAg&#10;ICAgICAgICAgICAgICAgICAgICAgICAgICAgICAgICAgICAgICAKICAgICAgICAgICAgICAgICAg&#10;ICAgICAgICAgICAgICAgICAgICAgICAgICAgICAgICAgICAgICAgICAgICAgICAgICAgICAgICAg&#10;ICAgICAgICAgICAgICAgICAgICAgICAgIAogICAgICAgICAgICAgICAgICAgICAgICAgICAgICAg&#10;ICAgICAgICAgICAgICAgICAgICAgICAgICAgICAgICAgICAgICAgICAgICAgICAgICAgICAgICAg&#10;ICAgICAgICAgICAgCiAgICAgICAgICAgICAgICAgICAgICAgICAgICAgICAgICAgICAgICAgICAg&#10;ICAgICAgICAgICAgICAgICAgICAgICAgICAgICAgICAgICAgICAgICAgICAgICAgICAgICAgICAK&#10;ICAgICAgICAgICAgICAgICAgICAgICAgICAgICAgICAgICAgICAgICAgICAgICAgICAgICAgICAg&#10;ICAgICAgICAgICAgICAgICAgICAgICAgICAgICAgICAgICAgICAgICAgIAogICAgICAgICAgICAg&#10;ICAgICAgICAgICAgICAgICAgICAgICAgICAgICAgICAgICAgICAgICAgICAgICAgICAgICAgICAg&#10;ICAgICAgICAgICAgICAgICAgICAgICAgICAgICAgCiAgICAgICAgICAgICAgICAgICAgICAgICAg&#10;ICAgICAgICAgICAgICAgICAgICAgICAgICAgICAgICAgICAgICAgICAgICAgICAgICAgICAgICAg&#10;ICAgICAgICAgICAgICAgICAKICAgICAgICAgICAgICAgICAgICAgICAgICAgICAgICAgICAgICAg&#10;ICAgICAgICAgICAgICAgICAgICAgICAgICAgICAgICAgICAgICAgICAgICAgICAgICAgICAgICAg&#10;ICAgIAogICAgICAgICAgICAgICAgICAgICAgICAgICAgICAgICAgICAgICAgICAgICAgICAgICAg&#10;ICAgICAgICAgICAgICAgICAgICAgICAgICAgICAgICAgICAgICAgICAgICAgICAgCiAgICAgICAg&#10;ICAgICAgICAgICAgICAgICAgICAgICAgICAgICAgICAgICAgICAgICAgICAgICAgICAgICAgICAg&#10;ICAgICAgICAgICAgICAgICAgICAgICAgICAgICAgICAgICAKICAgICAgICAgICAgICAgICAgICAg&#10;ICAgICAgICAgICAgICAgICAgICAgICAgICAgICAgICAgICAgICAgICAgICAgICAgICAgICAgICAg&#10;ICAgICAgICAgICAgICAgICAgICAgIAogICAgICAgICAgICAgICAgICAgICAgICAgICAgICAgICAg&#10;ICAgICAgICAgICAgICAgICAgICAgICAgICAgICAgICAgICAgICAgICAgICAgICAgICAgICAgICAg&#10;ICAgICAgICAgCiAgICAgICAgICAgICAgICAgICAgICAgICAgICAgICAgICAgICAgICAgICAgICAg&#10;ICAgICAgICAgICAgICAgICAgICAgICAgICAgICAgICAgICAgICAgICAgICAgICAgICAgICAKICAg&#10;ICAgICAgICAgICAgICAgICAgICAgICAgICAgICAgICAgICAgICAgICAgICAgICAgICAgICAgICAg&#10;ICAgICAgICAgICAgICAgICAgICAgICAgICAgICAgICAgICAgICAgIAogICAgICAgICAgICAgICAg&#10;ICAgICAgICAgICAgICAgICAgICAgICAgICAgICAgICAgICAgICAgICAgICAgICAgICAgICAgICAg&#10;ICAgICAgICAgICAgICAgICAgICAgICAgICAgCiAgICAgICAgICAgICAgICAgICAgICAgICAgICAg&#10;ICAgICAgICAgICAgICAgICAgICAgICAgICAgICAgICAgICAgICAgICAgICAgICAgICAgICAgICAg&#10;ICAgICAgICAgICAgICAKICAgICAgICAgICAgICAgICAgICAgICAgICAgICAgICAgICAgICAgICAg&#10;ICAgICAgICAgICAgICAgICAgICAgICAgICAgICAgICAgICAgICAgICAgICAgICAgICAgICAgICAg&#10;IAogICAgICAgICAgICAgICAgICAgICAgICAgICAgICAgICAgICAgICAgICAgICAgICAgICAgICAg&#10;ICAgICAgICAgICAgICAgICAgICAgICAgICAgICAgICAgICAgICAgICAgICAgCiAgICAgICAgICAg&#10;ICAgICAgICAgICAgICAgICAgICAgICAgICAgICAgICAgICAgICAgICAgICAgICAgICAgICAgICAg&#10;ICAgICAgICAgICAgICAgICAgICAgICAgICAgICAgICAKICAgICAgICAgICAgICAgICAgICAgICAg&#10;ICAgICAgICAgICAgICAgICAgICAgICAgICAgICAgICAgICAgICAgICAgICAgICAgICAgICAgICAg&#10;ICAgICAgICAgICAgICAgICAgIAogICAgICAgICAgICAgICAgICAgICAgICAgICAgICAgICAgICAg&#10;ICAgICAgICAgICAgICAgICAgICAgICAgICAgICAgICAgICAgICAgICAgICAgICAgICAgICAgICAg&#10;ICAgICAgCiAgICAgICAgICAgICAgICAgICAgICAgICAgICAgICAgICAgICAgICAgICAgICAgICAg&#10;ICAgICAgICAgICAgICAgICAgICAgICAgICAgICAgICAgICAgICAgICAgICAgICAgICAKICAgICAg&#10;ICAgICAgICAgICAgICAgICAgICAgICAgICAgICAgICAgICAgICAgICAgICAgICAgICAgICAgICAg&#10;ICAgICAgICAgICAgICAgICAgICAgICAgICAgICAgICAgICAgIAogICAgICAgICAgICAgICAgICAg&#10;ICAgICAgICAgICAgICAgICAgICAgICAgICAgICAgICAgICAgICAgICAgICAgICAgICAgICAgICAg&#10;ICAgICAgICAgICAgICAgICAgICAgICAgCiAgICAgICAgICAgICAgICAgICAgICAgICAgICAgICAg&#10;ICAgICAgICAgICAgICAgICAgICAgICAgICAgICAgICAgICAgICAgICAgICAgICAgICAgICAgICAg&#10;ICAgICAgICAgICAKICAgICAgICAgICAgICAgICAgICAgICAgICAgICAgICAgICAgICAgICAgICAg&#10;ICAgICAgICAgICAgICAgICAgICAgICAgICAgICAgICAgICAgICAgICAgICAgICAgICAgICAgIAog&#10;ICAgICAgICAgICAgICAgICAgICAgICAgICAgICAgICAgICAgICAgICAgICAgICAgICAgICAgICAg&#10;ICAgICAgICAgICAgICAgICAgICAgICAgICAgICAgICAgICAgICAgICAgCiAgICAgICAgICAgICAg&#10;ICAgICAgICAgICAgICAgICAgICAgICAgICAgICAgICAgICAgICAgICAgICAgICAgICAgICAgICAg&#10;ICAgICAgICAgICAgICAgICAgICAgICAgICAgICAKICAgICAgICAgICAgICAgICAgICAgICAgICAg&#10;ICAgICAgICAgICAgICAgICAgICAgICAgICAgICAgICAgICAgICAgICAgICAgICAgICAgICAgICAg&#10;ICAgICAgICAgICAgICAgIAogICAgICAgICAgICAgICAgICAgICAgICAgICAgICAgICAgICAgICAg&#10;ICAgICAgICAgICAgICAgICAgICAgICAgICAgICAgICAgICAgICAgICAgICAgICAgICAgICAgICAg&#10;ICAgCiAgICAgICAgICAgICAgICAgICAgICAgICAgICAgICAgICAgICAgICAgICAgICAgICAgICAg&#10;ICAgICAgICAgICAgICAgICAgICAgICAgICAgICAgICAgICAgICAgICAgICAgICAKICAgICAgICAg&#10;ICAgICAgICAgICAgICAgICAgICAgICAgICAgICAgICAgICAgICAgICAgICAgICAgICAgICAgICAg&#10;ICAgICAgICAgICAgICAgICAgICAgICAgICAgICAgICAgIAogICAgICAgICAgICAgICAgICAgICAg&#10;ICAgICAgICAgICAgICAgICAgICAgICAgICAgICAgICAgICAgICAgICAgICAgICAgICAgICAgICAg&#10;ICAgICAgICAgICAgICAgICAgICAgCiAgICAgICAgICAgICAgICAgICAgICAgICAgICAgICAgICAg&#10;ICAgICAgICAgICAgICAgICAgICAgICAgICAgICAgICAgICAgICAgICAgICAgICAgICAgICAgICAg&#10;ICAgICAgICAKICAgICAgICAgICAgICAgICAgICAgICAgICAgICAgICAgICAgICAgICAgICAgICAg&#10;ICAgICAgICAgICAgICAgICAgICAgICAgICAgICAgICAgICAgICAgICAgICAgICAgICAgIAogICAg&#10;ICAgICAgICAgICAgICAgICAgICAgICAgICAgICAgICAgICAgICAgICAgICAgICAgICAgICAgICAg&#10;ICAgICAgICAgICAgICAgICAgICAgICAgICAgICAgICAgICAgICAgCiAgICAgICAgICAgICAgICAg&#10;ICAgICAgICAgICAgICAgICAgICAgICAgICAgICAgICAgICAgICAgICAgICAgICAgICAgICAgICAg&#10;ICAgICAgICAgICAgICAgICAgICAgICAgICAKICAgICAgICAgICAgICAgICAgICAgICAgICAgICAg&#10;ICAgICAgICAgICAgICAgICAgICAgICAgICAgICAgICAgICAgICAgICAgICAgICAgICAgICAgICAg&#10;ICAgICAgICAgICAgIAogICAgICAgICAgICAgICAgICAgICAgICAgICAgICAgICAgICAgICAgICAg&#10;ICAgICAgICAgICAgICAgICAgICAgICAgICAgICAgICAgICAgICAgICAgICAgICAgICAgICAgICAg&#10;CiAgICAgICAgICAgICAgICAgICAgICAgICAgICAgICAgICAgICAgICAgICAgICAgICAgICAgICAg&#10;ICAgICAgICAgICAgICAgICAgICAgICAgICAgICAgICAgICAgICAgICAgICAKICAgICAgICAgICAg&#10;ICAgICAgICAgICAgICAgICAgICAgICAgICAgICAgICAgICAgICAgICAgICAgICAgICAgICAgICAg&#10;ICAgICAgICAgICAgICAgICAgICAgICAgICAgICAgIAogICAgICAgICAgICAgICAgICAgICAgICAg&#10;ICAgICAgICAgICAgICAgICAgICAgICAgICAgICAgICAgICAgICAgICAgICAgICAgICAgICAgICAg&#10;ICAgICAgICAgICAgICAgICAgCiAgICAgICAgICAgICAgICAgICAgICAgICAgICAgICAgICAgICAg&#10;ICAgICAgICAgICAgICAgICAgICAgICAgICAgICAgICAgICAgICAgICAgICAgICAgICAgICAgICAg&#10;ICAgICAKICAgICAgICAgICAgICAgICAgICAgICAgICAgICAgICAgICAgICAgICAgICAgICAgICAg&#10;ICAgICAgICAgICAgICAgICAgICAgICAgICAgICAgICAgICAgICAgICAgICAgICAgIAogICAgICAg&#10;ICAgICAgICAgICAgICAgICAgICAgICAgICAgICAgICAgICAgICAgICAgICAgICAgICAgICAgICAg&#10;ICAgICAgICAgICAgICAgICAgICAgICAgICAgICAgICAgICAgCiAgICAgICAgICAgICAgICAgICAg&#10;ICAgICAgICAgICAgICAgICAgICAgICAgICAgICAgICAgICAgICAgICAgICAgICAgICAgICAgICAg&#10;ICAgICAgICAgICAgICAgICAgICAgICAKICAgICAgICAgICAgICAgICAgICAgICAgICAgICAgICAg&#10;ICAgICAgICAgICAgICAgICAgICAgICAgICAgICAgICAgICAgICAgICAgICAgICAgICAgICAgICAg&#10;ICAgICAgICAgIAogICAgICAgICAgICAgICAgICAgICAgICAgICAgICAgICAgICAgICAgICAgICAg&#10;ICAgICAgICAgICAgICAgICAgICAgICAgICAgICAgICAgICAgICAgICAgICAgICAgICAgICAgCiAg&#10;ICAgICAgICAgICAgICAgICAgICAgICAgICAgICAgICAgICAgICAgICAgICAgICAgICAgICAgICAg&#10;ICAgICAgICAgICAgICAgICAgICAgICAgICAgICAgICAgICAgICAgICAKICAgICAgICAgICAgICAg&#10;ICAgICAgICAgICAgICAgICAgICAgICAgICAgICAgICAgICAgICAgICAgICAgICAgICAgICAgICAg&#10;ICAgICAgICAgICAgICAgICAgICAgICAgICAgIAogICAgICAgICAgICAgICAgICAgICAgICAgICAg&#10;ICAgICAgICAgICAgICAgICAgICAgICAgICAgICAgICAgICAgICAgICAgICAgICAgICAgICAgICAg&#10;ICAgICAgICAgICAgICAgCiAgICAgICAgICAgICAgICAgICAgICAgICAgICAgICAgICAgICAgICAg&#10;ICAgICAgICAgICAgICAgICAgICAgICAgICAgICAgICAgICAgICAgICAgICAgICAgICAgICAgICAg&#10;ICAKICAgICAgICAgICAgICAgICAgICAgICAgICAgICAgICAgICAgICAgICAgICAgICAgICAgICAg&#10;ICAgICAgICAgICAgICAgICAgICAgICAgICAgICAgICAgICAgICAgICAgICAgIAogICAgICAgICAg&#10;ICAgICAgICAgICAgICAgICAgICAgICAgICAgICAgICAgICAgICAgICAgICAgICAgICAgICAgICAg&#10;ICAgICAgICAgICAgICAgICAgICAgICAgICAgICAgICAgCiAgICAgICAgICAgICAgICAgICAgICAg&#10;ICAgICAgICAgICAgICAgICAgICAgICAgICAgICAgICAgICAgICAgICAgICAgICAgICAgICAgICAg&#10;ICAgICAgICAgICAgICAgICAgICAKICAgICAgICAgICAgICAgICAgICAgICAgICAgICAgICAgICAg&#10;ICAgICAgICAgICAgICAgICAgICAgICAgICAgICAgICAgICAgICAgICAgICAgICAgICAgICAgICAg&#10;ICAgICAgIAogICAgICAgICAgICAgICAgICAgICAgICAgICAgICAgICAgICAgICAgICAgICAgICAg&#10;ICAgICAgICAgICAgICAgICAgICAgICAgICAgICAgICAgICAgICAgICAgICAgICAgICAgCiAgICAg&#10;ICAgICAgICAgICAgICAgICAgICAgICAgICAgICAgICAgICAgICAgICAgICAgICAgICAgICAgICAg&#10;ICAgICAgICAgICAgICAgICAgICAgICAgICAgICAgICAgICAgICAKICAgICAgICAgICAgICAgICAg&#10;ICAgICAgICAgICAgICAgICAgICAgICAgICAgICAgICAgICAgICAgICAgICAgICAgICAgICAgICAg&#10;ICAgICAgICAgICAgICAgICAgICAgICAgIAogICAgICAgICAgICAgICAgICAgICAgICAgICAgICAg&#10;ICAgICAgICAgICAgICAgICAgICAgICAgICAgICAgICAgICAgICAgICAgICAgICAgICAgICAgICAg&#10;ICAgICAgICAgICAgCiAgICAgICAgICAgICAgICAgICAgICAgICAgICAgICAgICAgICAgICAgICAg&#10;ICAgICAgICAgICAgICAgICAgICAgICAgICAgICAgICAgICAgICAgICAgICAgICAgICAgICAgICAK&#10;ICAgICAgICAgICAgICAgICAgICAgICAgICAgICAgICAgICAgICAgICAgICAgICAgICAgICAgICAg&#10;ICAgICAgICAgICAgICAgICAgICAgICAgICAgICAgICAgICAgICAgICAgIAogICAgICAgICAgICAg&#10;ICAgICAgICAgICAgICAgICAgICAgICAgICAgICAgICAgICAgICAgICAgICAgICAgICAgICAgICAg&#10;ICAgICAgICAgICAgICAgICAgICAgICAgICAgICAgCiAgICAgICAgICAgICAgICAgICAgICAgICAg&#10;ICAgICAgICAgICAgICAgICAgICAgICAgICAgICAgICAgICAgICAgICAgICAgICAgICAgICAgICAg&#10;ICAgICAgICAgICAgICAgICAKICAgICAgICAgICAgICAgICAgICAgICAgICAgICAgICAgICAgICAg&#10;ICAgICAgICAgICAgICAgICAgICAgICAgICAgICAgICAgICAgICAgICAgICAgICAgICAgICAgICAg&#10;ICAgIAogICAgICAgICAgICAgICAgICAgICAgICAgICAgICAgICAgICAgICAgICAgICAgICAgICAg&#10;ICAgICAgICAgICAgICAgICAgICAgICAgICAgICAgICAgICAgICAgICAgICAgICAgCiAgICAgICAg&#10;ICAgICAgICAgICAgICAgICAgICAgICAgICAgICAgICAgICAgICAgICAgICAgICAgICAgICAgICAg&#10;ICAgICAgICAgICAgICAgICAgICAgICAgICAgICAgICAgICAKICAgICAgICAgICAgICAgICAgICAg&#10;ICAgICAgICAgICAgICAgICAgICAgICAgICAgICAgICAgICAgICAgICAgICAgICAgICAgICAgICAg&#10;ICAgICAgICAgICAgICAgICAgICAgIAogICAgICAgICAgICAgICAgICAgICAgICAgICAgICAgICAg&#10;ICAgICAgICAgICAgICAgICAgICAgICAgICAgICAgICAgICAgICAgICAgICAgICAgICAgICAgICAg&#10;ICAgICAgICAgCiAgICAgICAgICAgICAgICAgICAgICAgICAgICAgICAgICAgICAgICAgICAgICAg&#10;ICAgICAgICAgICAgICAgICAgICAgICAgICAgICAgICAgICAgICAgICAgICAgICAgICAgICAKICAg&#10;ICAgICAgICAgICAgICAgICAgICAgICAgICAgICAgICAgICAgICAgICAgICAgICAgICAgICAgICAg&#10;ICAgICAgICAgICAgICAgICAgICAgICAgICAgICAgICAgICAgICAgIAogICAgICAgICAgICAgICAg&#10;ICAgICAgICAgICAgICAgICAgICAgICAgICAgICAgICAgICAgICAgICAgICAgICAgICAgICAgICAg&#10;ICAgICAgICAgICAgICAgICAgICAgICAgICAgCiAgICAgICAgICAgICAgICAgICAgICAgICAgICAg&#10;ICAgICAgICAgICAgICAgICAgICAgICAgICAgICAgICAgICAgICAgICAgICAgICAgICAgICAgICAg&#10;ICAgICAgICAgICAgICAKICAgICAgICAgICAgICAgICAgICAgICAgICAgICAgICAgICAgICAgICAg&#10;ICAgICAgICAgICAgICAgICAgICAgICAgICAgICAgICAgICAgICAgICAgICAgICAgICAgICAgICAg&#10;IAogICAgICAgICAgICAgICAgICAgICAgICAgICAgICAgICAgICAgICAgICAgICAgICAgICAgICAg&#10;ICAgICAgICAgICAgICAgICAgICAgICAgICAgICAgICAgICAgICAgICAgICAgCiAgICAgICAgICAg&#10;ICAgICAgICAgICAgICAgICAgICAgICAgICAgICAgICAgICAgICAgICAgICAgICAgICAgICAgICAg&#10;ICAgICAgICAgICAgICAgICAgICAgICAgICAgICAgICAKICAgICAgICAgICAgICAgICAgICAgICAg&#10;ICAgICAgICAgICAgICAgICAgICAgICAgICAgICAgICAgICAgICAgICAgICAgICAgICAgICAgICAg&#10;ICAgICAgICAgICAgICAgICAgIAogICAgICAgICAgICAgICAgICAgICAgICAgICAgICAgICAgICAg&#10;ICAgICAgICAgICAgICAgICAgICAgICAgICAgICAgICAgICAgICAgICAgICAgICAgICAgICAgICAg&#10;ICAgICAgCiAgICAgICAgICAgICAgICAgICAgICAgICAgICAgICAgICAgICAgICAgICAgICAgICAg&#10;ICAgICAgICAgICAgICAgICAgICAgICAgICAgICAgICAgICAgICAgICAgICAgICAgICAKICAgICAg&#10;ICAgICAgICAgICAgICAgICAgICAgICAgICAgICAgICAgICAgICAgICAgICAgICAgICAgICAgICAg&#10;ICAgICAgICAgICAgICAgICAgICAgICAgICAgICAgICAgICAgIAogICAgICAgICAgICAgICAgICAg&#10;ICAgICAgICAgICAgICAgICAgICAgICAgICAgICAgICAgICAgICAgICAgICAgICAgICAgICAgICAg&#10;ICAgICAgICAgICAgICAgICAgICAgICAgCiAgICAgICAgICAgICAgICAgICAgICAgICAgICAgICAg&#10;ICAgICAgICAgICAgICAgICAgICAgICAgICAgICAgICAgICAgICAgICAgICAgICAgICAgICAgICAg&#10;ICAgICAgICAgICAKICAgICAgICAgICAgICAgICAgICAgICAgICAgICAgICAgICAgICAgICAgICAg&#10;ICAgICAgICAgICAgICAgICAgICAgICAgICAgICAgICAgICAgICAgICAgICAgICAgICAgICAgIAog&#10;ICAgICAgICAgICAgICAgICAgICAgICAgICAgICAgICAgICAgICAgICAgICAgICAgICAgICAgICAg&#10;ICAgICAgICAgICAgICAgICAgICAgICAgICAgICAgICAgICAgICAgICAgCiAgICAgICAgICAgICAg&#10;ICAgICAgICAgICAgICAgICAgICAgICAgICAgICAgICAgICAgICAgICAgICAgICAgICAgICAgICAg&#10;ICAgICAgICAgICAgICAgICAgICAgICAgICAgICAKICAgICAgICAgICAgICAgICAgICAgICAgICAg&#10;ICAgICAgICAgICAgICAgICAgICAgICAgICAgICAgICAgICAgICAgICAgICAgICAgICAgICAgICAg&#10;ICAgICAgICAgICAgICAgIAogICAgICAgICAgICAgICAgICAgICAgICAgICAgICAgICAgICAgICAg&#10;ICAgICAgICAgICAgICAgICAgICAgICAgICAgICAgICAgICAgICAgICAgICAgICAgICAgICAgICAg&#10;ICAgCiAgICAgICAgICAgICAgICAgICAgICAgICAgICAgICAgICAgICAgICAgICAgICAgICAgICAg&#10;ICAgICAgICAgICAgICAgICAgICAgICAgICAgICAgICAgICAgICAgICAgICAgICAKICAgICAgICAg&#10;ICAgICAgICAgICAgICAgICAgICAgICAgICAgICAgICAgICAgICAgICAgICAgICAgICAgICAgICAg&#10;ICAgICAgICAgICAgICAgICAgICAgICAgICAgICAgICAgIAogICAgICAgICAgICAgICAgICAgICAg&#10;ICAgICAgICAgICAgICAgICAgICAgICAgICAgICAgICAgICAgICAgICAgICAgICAgICAgICAgICAg&#10;ICAgICAgICAgICAgICAgICAgICAgCiAgICAgICAgICAgICAgICAgICAgICAgICAgICAgICAgICAg&#10;ICAgICAgICAgICAgICAgICAgICAgICAgICAgICAgICAgICAgICAgICAgICAgICAgICAgICAgICAg&#10;ICAgICAgICAKICAgICAgICAgICAgICAgICAgICAgICAgICAgICAgICAgICAgICAgICAgICAgICAg&#10;ICAgICAgICAgICAgICAgICAgICAgICAgICAgICAgICAgICAgICAgICAgICAgICAgICAgIAogICAg&#10;ICAgICAgICAgICAgICAgICAgICAgICAgICAgICAgICAgICAgICAgICAgICAgICAgICAgICAgICAg&#10;ICAgICAgICAgICAgICAgICAgICAgICAgICAgICAgICAgICAgICAgCiAgICAgICAgICAgICAgICAg&#10;ICAgICAgICAgICAgICAgICAgICAgICAgICAgICAgICAgICAgICAgICAgICAgICAgICAgICAgICAg&#10;ICAgICAgICAgICAgICAgICAgICAgICAgICAKICAgICAgICAgICAgICAgICAgICAgICAgICAgICAg&#10;ICAgICAgICAgICAgICAgICAgICAgICAgICAgICAgICAgICAgICAgICAgICAgICAgICAgICAgICAg&#10;ICAgICAgICAgICAgIAogICAgICAgICAgICAgICAgICAgICAgICAgICAgICAgICAgICAgICAgICAg&#10;ICAgICAgICAgICAgICAgICAgICAgICAgICAgICAgICAgICAgICAgICAgICAgICAgICAgICAgICAg&#10;CiAgICAgICAgICAgICAgICAgICAgICAgICAgICAgICAgICAgICAgICAgICAgICAgICAgICAgICAg&#10;ICAgICAgICAgICAgICAgICAgICAgICAgICAgICAgICAgICAgICAgICAgICAKICAgICAgICAgICAg&#10;ICAgICAgICAgICAgICAgICAgICAgICAgICAgICAgICAgICAgICAgICAgICAgICAgICAgICAgICAg&#10;ICAgICAgICAgICAgICAgICAgICAgICAgICAgICAgIAogICAgICAgICAgICAgICAgICAgICAgICAg&#10;ICAgICAgICAgICAgICAgICAgICAgICAgICAgICAgICAgICAgICAgICAgICAgICAgICAgICAgICAg&#10;ICAgICAgICAgICAgICAgICAgCiAgICAgICAgICAgICAgICAgICAgICAgICAgICAgICAgICAgICAg&#10;ICAgICAgICAgICAgICAgICAgICAgICAgICAgICAgICAgICAgICAgICAgICAgICAgICAgICAgICAg&#10;ICAgICAKICAgICAgICAgICAgICAgICAgICAgICAgICAgICAgICAgICAgICAgICAgICAgICAgICAg&#10;ICAgICAgICAgICAgICAgICAgICAgICAgICAgICAgICAgICAgICAgICAgICAgICAgIAogICAgICAg&#10;ICAgICAgICAgICAgICAgICAgICAgICAgICAgICAgICAgICAgICAgICAgICAgICAgICAgICAgICAg&#10;ICAgICAgICAgICAgICAgICAgICAgICAgICAgICAgICAgICAgCiAgICAgICAgICAgICAgICAgICAg&#10;ICAgICAgICAgICAgICAgICAgICAgICAgICAgICAgICAgICAgICAgICAgICAgICAgICAgICAgICAg&#10;ICAgICAgICAgICAgICAgICAgICAgICAKICAgICAgICAgICAgICAgICAgICAgICAgICAgICAgICAg&#10;ICAgICAgICAgICAgICAgICAgICAgICAgICAgICAgICAgICAgICAgICAgICAgICAgICAgICAgICAg&#10;ICAgICAgICAgIAogICAgICAgICAgICAgICAgICAgICAgICAgICAgICAgICAgICAgICAgICAgICAg&#10;ICAgICAgICAgICAgICAgICAgICAgICAgICAgICAgICAgICAgICAgICAgICAgICAgICAgICAgCiAg&#10;ICAgICAgICAgICAgICAgICAgICAgICAgICAgICAgICAgICAgICAgICAgICAgICAgICAgICAgICAg&#10;ICAgICAgICAgICAgICAgICAgICAgICAgICAgICAgICAgICAgICAgICAKICAgICAgICAgICAgICAg&#10;ICAgICAgICAgICAgICAgICAgICAgICAgICAgICAgICAgICAgICAgICAgICAgICAgICAgICAgICAg&#10;ICAgICAgICAgICAgICAgICAgICAgICAgICAgIAogICAgICAgICAgICAgICAgICAgICAgICAgICAg&#10;ICAgICAgICAgICAgICAgICAgICAgICAgICAgICAgICAgICAgICAgICAgICAgICAgICAgICAgICAg&#10;ICAgICAgICAgICAgICAgCiAgICAgICAgICAgICAgICAgICAgICAgICAgICAgICAgICAgICAgICAg&#10;ICAgICAgICAgICAgICAgICAgICAgICAgICAgICAgICAgICAgICAgICAgICAgICAgICAgICAgICAg&#10;ICAKICAgICAgICAgICAgICAgICAgICAgICAgICAgICAgICAgICAgICAgICAgICAgICAgICAgICAg&#10;ICAgICAgICAgICAgICAgICAgICAgICAgICAgICAgICAgICAgICAgICAgICAgIAogICAgICAgICAg&#10;ICAgICAgICAgICAgICAgICAgICAgICAgICAgICAgICAgICAgICAgICAgICAgICAgICAgICAgICAg&#10;ICAgICAgICAgICAgICAgICAgICAgICAgICAgICAgICAgCiAgICAgICAgICAgICAgICAgICAgICAg&#10;ICAgICAgICAgICAgICAgICAgICAgICAgICAgICAgICAgICAgICAgICAgICAgICAgICAgICAgICAg&#10;ICAgICAgICAgICAgICAgICAgICAKICAgICAgICAgICAgICAgICAgICAgICAgICAgICAgICAgICAg&#10;ICAgICAgICAgICAgICAgICAgICAgICAgICAgICAgICAgICAgICAgICAgICAgICAgICAgICAgICAg&#10;ICAgICAgIAogICAgICAgICAgICAgICAgICAgICAgICAgICAgICAgICAgICAgICAgICAgICAgICAg&#10;ICAgICAgICAgICAgICAgICAgICAgICAgICAgICAgICAgICAgICAgICAgICAgICAgICAgCiAgICAg&#10;ICAgICAgICAgICAgICAgICAgICAgICAgICAgICAgICAgICAgICAgICAgICAgICAgICAgICAgICAg&#10;ICAgICAgICAgICAgICAgICAgICAgICAgICAgICAgICAgICAgICAKICAgICAgICAgICAgICAgICAg&#10;ICAgICAgICAgICAgICAgICAgICAgICAgICAgICAgICAgICAgICAgICAgICAgICAgICAgICAgICAg&#10;ICAgICAgICAgICAgICAgICAgICAgICAgIAogICAgICAgICAgICAgICAgICAgICAgICAgICAgICAg&#10;ICAgICAgICAgICAgICAgICAgICAgICAgICAgICAgICAgICAgICAgICAgICAgICAgICAgICAgICAg&#10;ICAgICAgICAgICAgCiAgICAgICAgICAgICAgICAgICAgICAgICAgICAgICAgICAgICAgICAgICAg&#10;ICAgICAgICAgICAgICAgICAgICAgICAgICAgICAgICAgICAgICAgICAgICAgICAgICAgICAgICAK&#10;ICAgICAgICAgICAgICAgICAgICAgICAgICAgICAgICAgICAgICAgICAgICAgICAgICAgICAgICAg&#10;ICAgICAgICAgICAgICAgICAgICAgICAgICAgICAgICAgICAgICAgICAgIAogICAgICAgICAgICAg&#10;ICAgICAgICAgICAgICAgCjw/eHBhY2tldCBlbmQ9InciPz6DHMzjAAAAIGNIUk0AAHolAACAgwAA&#10;+f8AAIDpAAB1MAAA6mAAADqYAAAXb5JfxUYAAAMAUExURWqppPHx8vX19TaKhVlXWEhGR5LAvPT5&#10;+Yaqp+zt7bGztSglJqmqrTg2N1Wcl+np6tDj4qXEwtri4ou5tXqwrGaloaKjpfz8/JqbnXmYlpOT&#10;lHKtqZK8uFhpaODg4eTl5gBoYoSxrgtxbIu1soqKjHNxcv7+/nCLiefo6SeCfNXZ2kWTjsXGyPr6&#10;+s7R0u/w8M3Mzdzd3kyXkh4ZG5C5tpudoIqZmo2+uqutsNjZ2r7Bw2F1dIS1sYODhLq5ur2+wMbJ&#10;ynx7fK6ws56goxt7dmRiY83O0CAcHaapq2xqa9XV1qSmqQBqZPj4+NHR0hgUFba4u4O5tJK0ssnJ&#10;yrXMytXX2Jm+u8HBwr28vbS2uExYWCN/edHS1MHCxNrc3b3U0ri6vX62sdna3GyFg8TFx8nLzers&#10;7NPV1uPk5cPExsXQ0KG/vd3e4Fygm5OWmY+sqsza2uXn57DCwi+Ggbu9vxN2cBYSEx9+ecvMzr3N&#10;zZ2xsQJsZuHi45eqqz5DRKm6ugVuaJaZnO3u7wsHCPP09ImOkLjQzqaxsnSRjxsXGABnYSMfIJGi&#10;ourr7Mbb2fz7/ABjXdro5w9zbhd5c5Owr/Lz8/j29/r4+YKLjbi3uF5tbb+/wYSFiPf7+vb39wRt&#10;Zy0qK+Tj5MTX1v79/mJfYP78/T47PO3r7dfX2Hl4eoChn5CQkZu4tnx+gBAMDcfHyENAQfv6+9/f&#10;4NPT1AhwarCwsfTy83BvcMPDxOnn6Pn3+DyOic/P0RQPEJiYma/Ix2hoaWh/fk1KTFNSU+jw8Kio&#10;qRl3cmZmZ15bXW5tbjMwMWZkZfr5+fPz9J6nqNPg39vb3ICAgT+Oievq6o6NjoeFhqalpnV2eGBg&#10;YjAtLszLzPn5+fv7+/39/fv8/Lu7u/3+/sC/v+/u7/Dv8Ii8tzMyM5aVlufn6P7+/RB1b5fCv87e&#10;3dDP0Dk+Pn9+fwhtZ22Sj3FvcGGkn/3+/fv8+1NhYW97fHZ0dYiIiaCgoq6trkVOTlBOT56dnwBs&#10;Zv///xU7y84AADFjSURBVHja7L15QIzr+z/+alBTadFe2kxpqFGkXYpMlmRwIiP7kiUiy3EsB1k6&#10;llP2YzmWZEmKgxGSChkp2dJE0zKlEq1aqGnxzO+P0jZFkff389Nc/zTzPM+99Jrrubb7uq9bTAAR&#10;/b8gkggCEfAi4EUkAl4EvIhEwIuAF5EIeBHwIhIBLwJeRCLgRcB3der+Px6PestG5b+VE+dvRa+W&#10;t6zMT1zZg1DGGG5XAF5M8D9FfcKKyn9TxJO33Dy0eUDj9ZXYkziE5SR5qtpggeRQEkUEfOeiTlAF&#10;ZJ1h3Z8aP1LTSS20arwVCyUreshL/tglm4+LcbsG8P8rUcObkKZPfmvJOsKT0U82Lfn4GCqNsI+X&#10;UHrr5bz+rzNLuo6M/59wPDVsuWVIpucN/dLqaoNgqwqObbd4YACARMD8c4lUrOvn5xpyqhsofHQV&#10;jv9fAK9mMXo1z7K3niS/W7CxIuJ1JqgGwAsAMDx76azptB3LiTe/XZn1Vh3/PFbhuok4vlO4/eaK&#10;UHfp4We5hKJGhnw3/mvqDl51AYKYyrB+ZA0APdEPyASwH39w6Zsbm/acKwL++2W71+jVi4afXeg1&#10;+jDJPr57ZKHERodgV2wdf9f1mPo79TpfgqjzJnpllENL/S16IxkycWGUuVwR8N9JeY5J3oEVvT8R&#10;ow/bdcsnP3oz1yEKDlGBjKcmcUa4AOQBowF43XS66XQTAOPpW1KJeO//wihDRKLm+ynj3ryX/yzy&#10;zRHEk+wtXLmpQUr0CIet440PmUdakDlNn6RxAHiIVxfMMO4T97u7+q+vX38i8NSbBt7uPnl6b2uv&#10;2z+9lh5QyESQ63SrApOc99eWgtfycQpIbxR6vmVE9X4pUq4/hLvEogRSxQti9DPxopItfmCCCA7n&#10;7D+wSyqJQ2O1eJjBoRkdEddN389+VIUuETL4aQ4Ujxq6Xq6npkntUSnqCwc/JoioUIGJI7fHdWFm&#10;Z3AOjf9UMnqg7/maa5DrErj/NI5X27G/avcNIqWbuPWoEZtICFIK1S5Sfn/tVTRLWMbEOZTwif3s&#10;QXxGl/Cd6ky5n9NtekFOmGTww5oqyU++921JQUFjh0uTPGdrHV3dEncKZZWCUek5QUTRtZ5eXQf3&#10;nyRq1Aq8P/zxmayfzNsZX0GiE0eOneJ7ks/TWtGo+o/31KwsyOghf+Q9uhL9FFGTcS/n5LWZJrXX&#10;e4Z4KdGDmB7Gxh73ztNYrcGuaC4psWBsDAVdjH4G8GoF3idHuAVcJvn34JJAbO9ZRFYihGFncCYf&#10;UzSX1NMjtnEBEfA/bs/09T55bU2v6yS1++dIEYXR9pmjHrYGO0k+y0FST4+Yjq5Ina9ceV4D3BVm&#10;ql4nFf7JIAWxB35KOf2QJyxlXLLL8of1tjLporj/BI5PM6DSJwRcJu3rfpBJTDfTfqLVGrsPOW9m&#10;KVBYQuGLjc3MlxOJmh8n40Xrz4rdLLke28ONSczvPaY8TciUAYVU2KPP2PwVWXvUIsRKqn09ubbv&#10;RaLmxygwabXn0dp31+dauzGJTxaKR4VxZ1BcymQ9ki0C1oRNfOw21LBfoswFzzQ1nojjf0TAE2Sf&#10;YZE1yQ/J20nEp5tPKISw6U4ae8w5WzbRHJ9RIqXaO49cKT7h7lH+yb1VXBHw3y9oDlq8r6riFfuQ&#10;gsIt0r1P84Sku6TVvXUeYG+8FFYup+iTeGWjam6RhtwMz1HHT9rpdR3gu3l3qgWf6cDk9Pwoe+zp&#10;gCBPB/ELf7XEnbI4MbcoLyxXnDnZMDwjdn3tpJv37vc/4IxB7yerbVXQKOkl4vjvICrVPLfo9YAP&#10;VxVtgczI/SFCuE8+LVGos22dEi57ygOpwDsTLWjd2lpyN2zfxhEHdRNT9EQc33HSUTm5M1HtarF2&#10;KkP3Rg6hcrGFmHnLKTJOkchO59o5vR5RQTdcIfaRTT4z/4GkGvdQsVWes7T+C4Wl+zxFHN9Rhl+7&#10;RNmOR+ZEXyMRn06pFLfgdwYyJN+p9n9kyAFo9dc4AO2V9YsScq/Z5QovXAI1epHD9onyajpI6X21&#10;LQrUP3xiIILtv8L9SXO/ibFo05Bi3fNoZfUJ02rvmCRqh+1Pf8kp1dXuEsh3IvC8vn9npBgftfTc&#10;xgwi18oIGfAjx/sJo/5F+IN01UFwLLRcqUeExPKuYN10IvDGJOssjcDhS/9kEp929p21WshxAusr&#10;rRl2htoOumMvD5TfMHq5vSjLoCMML0MZ9f69wfTFSmz/FbMTWB3tgGFHTg08Fum06eZobS5XBHz7&#10;JfxCQcVbSb9rJKLXyWEXvycCwOBkW/PFKfIR3JSxvzrynRaroUa/rCDKxZ/HRgVt/7emDndGB/tg&#10;0XaQ31Wr8Oiy4RIiju8wwwd9tLlvyALAOBnv1NFuKKRyHbtk016V0l4ijm8fw/vG9SoXfx4bRcRm&#10;nFnEAsDov/toc0nCoNSRL4XS1svAI5ZYR/eLVCLkeCLg20O3Kg+ovy1DVB6dpK08JhoA4yy/aecM&#10;CsWkvyRLoXhcsUJAtv4rhm/r2POeyFpHi0V+2E+IgG8PEasP1nZ7bF0WFeRVJMthAQzOpofKrEbY&#10;zSQVfC7lz9UfbT96vaR8RlngoP6UVo1GVoJp1Oes4ZkXf22W7yQZz+tr4B0RSFKXZUYMP5jNYAG+&#10;oz1cw1lfrJXJN0vIg++M6HsDunwZFWlpcnlyFvmm5W/nW0OXschZU8FGI/7XtikFnUJpJtrGq61U&#10;rg4eXKTZTZcgCN0/NE11CYIgCMJZN89USfOu16ILFy5I+vVbpP3CKYLGlOq58TdF9Nd1JoRJN0Zp&#10;ydx+T1UFvzB1DsdT134Y4aWeMT+ETliddjnKAuNVmdxvr1kAQJk2bCrZo0BR0XGIHHBLsMIyJNMz&#10;i6gsjB8+POZ+jRLRCtP75l09kfXml2b5zgFe7eZvoxPJj2/FRB1wkmOuBijj8sIUeADgW7CxzyWW&#10;gaNYg0Cn3oye537bnnhxfUD/KUGZox62gjylWHbYE89Rv3DMpnOUq8qNcb0MKnqmRznQlUZEA77Z&#10;jyIX1yHo72+Y/Dqwp16jIuXq7Uy1kr+mK3NssMwKm2m7slvRsbTtfLmKohUiq+YbkmaF39PQKqm7&#10;eXRSgUUIC5QC7fekJB4AiovV5/LwUe+bZy1x9eyJcvFc5ka+zCPbGLPjwsiz+B+CnCda8kTAf5VK&#10;K6fqKeY9Ng4mvAgpALSNimrFdgAoLnEztz8fIgws5aWyprzq71sHyuxenzUn21fogei1RWIXZ/3C&#10;9Xc7RcYbT86vqsminbTF8IODWKC43F/jIWvIAkWSf2qEfhsaknd/HlVSuarqr4Jwjr6wnKe4nJ4y&#10;tHKOiOO/LmnyBFWx0zYVBh56zwGDVDwJ1QQLlFUFJSN4bVkmFHtn7s3d1v38kt0niq8UcmNptKIL&#10;a3OpIjv+K2Twz6IIGymHq4N3DZkY6kzomuq56f2hSzj7w9XE4Cvt0seJ6UymSY3Q70Eu0xUy5nff&#10;MTMUS/tl7fjO4Piwf7tH2Iy3T1XaujxyKYuyqkf1sNIdNHB8zSJefDUSue9kftxAj7he/r8puQjp&#10;gWjjTMM3ApGo+Qp9znwamla5hihctbI3QEtJ2CavSmFR9Ct+2//1rZOUYRtKSUOINxJeWwM2txQ2&#10;LMupqnsfiJTrV0R8mtZQsXLJxY/AMnA5ypmyd9J1cW8/HmVcnr3Ht9qmGSzMNeAUPc9T/6wllP2U&#10;PagiWZ8r4vg2jUmBID8LZbwo0vKeS1m0U+eKjMm3eZQpz62+iTvGnuxbUFIte/TUVrVpLVmetjJz&#10;fOgtkahp220l06vN9SceLJy7WxwUo9KrDsvlOcCR/yq+3ZZrt/qtkmziy96rNDM5LW+KF458YiMC&#10;vk3S1XlfWBhPc3UdqHWFhg3nirQOqIMRJ/77hnY0djopNeSD6SPTfQnXhbzX86aX/EQyvk3ilRyf&#10;FKB6uJuB0kuuG2fVuajY2UQ2KNmDTI+1p3n6gIH6qdLEaJaBTovUM1Cy1Ss2ev2iwP/4BmMbNZJ8&#10;epbsqqAYai8tjw2KIQdr1Sk8eJwLaldzJz7/Oc86e2uJbXZay3sG1ZOGikRNW8Q+VxXbQzuDcH1/&#10;dR8MR2hcYZH7g3HoP0b7Yrrck0XW4xMrSLzCu0LOqwdhGv+rAv/jadrKEguuSxUa5gR/dP80iRMe&#10;nXxZn1LLSZHZqta+9jKFmWJq4xdvSxxQubz5nQt6d7RN9UQc34aIP3h5w9AaMi/4yHFVu8NnPp+K&#10;lOx5mgUT/pH2ahnJNfI4oujQawhNyMGSSE0TiZq2Yj1Fw5w+GiYfdN2X3R9xz7uzk8+LA5hFOd7O&#10;DobcWgloDY9ZflDInnzy9teNkf2wchX49VapFr/yV/DAaS6vXjJfelRbruECs61PdkxT/JcqXECo&#10;pv6l8h1f2fzGuXQNasQPV9BKT7s2suU1I+7SCP3/P5iT1DStoS9k9dz9Jj4nrtNC1Y0LB550BjjF&#10;3Uo/t68HtRejTAueFq68xnVuYU4yTHwmOSwGUDXeIbjZHSXQleV/px/+wbmrShW2uKQEurJ8lZTz&#10;/32Ov6V/8NDQj5dH2LiLfd4xq6aXm+dzI86hZQC2ttfx3b3nHBZvcIFw+nwPmAIAJLZvZ7a4FQGH&#10;iYr3x1T8yNy5OB9iC+GOi5T7/PbTQ0Q/KuPFtmjrfMxOO4h/Bj2AxgQ18C4P9Lgw2QNuG9vr+FZG&#10;lMQj1GZOmVBk2Kw3xAAAbkILInQ6SZn0+fa2H5u9ovAlOp2kHJG35v+8ciX81qeir71m1Ob0G4c/&#10;rNlko+k4FS9Y0MeW9q0eUW/cLJKE4YwoiqawxVRVbt7ka1DjKgm7IALAs5qzPzZ7hZb9EgVsAPTd&#10;Rya12cZHGnDLbu2OtM//UNREyytkaT066XfAqUDu0PIURtTw/ca0pFXiVQXiN9snq8SLpqsMKCWm&#10;rrvs3uIWh9+vqVINCkj9IpLptn8edWMCuxeMvYFbgl0BTZvNXreH4ivdXI2+nmfU/S5Ou/RRW7hI&#10;iHfeGTSI+sgokwjQQS/YAAAXZc7uEOLUyNtAoVyWUE4tyTqw3ggr0mbsADCrt9GGnwY8r1KQPxQD&#10;VEHJ9hS/kMaeNPV5nAf59eikZMnUtHYlghElPrIVn6cV8ZROC90zuX9GZ3DDN1fpCY3yKerikcVM&#10;0AvmAO/P9vJqGsR02qB09mTgzEbx7/N7/79mgzvWJuTlzEj1d2NetBhmaGO/84F3ZwEo3qXpAfuf&#10;hAW3nFOMZw+g+wFx4f/kUIVk3Ydhz08GA9hc3ffniRqbIrrOxwfubjb+vDXVLwp5Nrxzu3BksBdW&#10;f1ixuD0sz6M6cw0Us2XM/C8/EnKgwiizmn5t9mXKG00A3H+BOf/OsSE1JSbddrvCyfFfnjxB27g9&#10;QlnZ1pZkq6zM3Paa92+LYXY3+1Y0PAIINg8EEDNrDakl2QYAwBOSMDUImsSXIJFIUZqaej9P1LDN&#10;hmTJKqlrBk+2HIQk9WUO/gwdkOBQ3buU5RK+79ssT3gPDKiK7y75ZIlmS2sStD7nEszbjE7K2ACw&#10;WQWApAAAQV90hE0wk45n7LtBdZbQ3aOuyqBHOBQBUCSB+ezPmwqTvjKj9VMLAWA2ADxRBQAipun9&#10;ZQC8Px6oG4rU5P6Ixi4MlQGw+tF+HvAP5qYPfaVfCM9FhnbkHvkOwUs8jGn5pYLZh3nr7h9L/bYR&#10;7xmYKJU6gBCfbnenpYhnvIodwYlps2kT/TZiOxCxilJvGq7W8lOiw3bZDCYA3A1TIgFsrCrjY9qd&#10;sWRbkPjx+Ary/5YpAa66Co2li1bZNzE62cnza0AwIm0BYPVobyAi6oEtADZv4f66R3S2XgBAZy/9&#10;eVYNNfey4ceaQgp4SpWIu3EPyd5xHq8Ee8SrPeLiBO4G30rBo+4gKkrLFZO2rrG6H96SPzjWcpqZ&#10;0m22tYgBEMNu0AfDLGvqyHbHgqkRwIF8ALj9ewIdYN/4vVsvdfWoboJ1BQA9YeeJpj29bi7x19AB&#10;s7wG3CO8zb/0XFNTU2NJLgeyntddcn4WATi4WNbU1NRY7opwrGtx/RUdAPiHxv404EtnsWKz9MoD&#10;bf6IXYwXzvkxq6R3wVpuLImAcSbz9gCvb5iUEpWBvfXK+JmjnxXsCmkpaTxeD+bfUm1yoZntMtWG&#10;D4DKbKXXlwskyUDOmTRATUqTDrDLKCPw8MBh4LblIzZA1/RIb3w8WDPr3y/kRsTJ2QJE9sA25zxF&#10;CmB2q/us3vTGCyszAMCZ5wkAAdALBD9N1LCDY/tLl3ikBZ/6OIjzMizQ5hBDB3+Mz9kxX+Fw9Qzr&#10;xNAU6tfEfHoSn57yTjK/522rS1ItbzLMnvnpNeWZYMbrL79j3pRHOz7QgQj2jFY7NqICWLhfH8P9&#10;bAH25GnYe3Khnvlg3gdEO7FtYYu59xseZt5oIs/WcZkAsXXcmya9+bdQS0Dr+7Pqr56wpsM7gg0k&#10;YNDznwT8g5yqBIPPU8Ymfza0Y82bnREstd8Y2bvcyC46py34WnGyF79m2ajtkPhQo5oqTZZgfM43&#10;bimWOHJ62ZX5TS4wWUUNn60VIugA1vgZtdrzR64yXP+cA/hvBiLYU3F2DikcS71IvT5gcfEFOqhX&#10;mr71TeMGykDQS9qFpr3NeVb/Qd79729jsvKEG5Md9nr9dhKdrfyTOJ5XKW1YW1griVWnKvHHtl57&#10;PBdlYpqP/cZnt2M9DhdnKsyUDGK2ZVNRS3fkzPpPRZ3HPBK2qTZA+IHro2P+bRYoJCk3wwcRa6Qa&#10;3xPuB7362721y/KZQNFLgJqxHSAfm4I5fsuWAThAAcbdJwOKmelt23pKD1cFNRVh590tASBC5lp7&#10;gL/egwmUzaHutoVtkMfhnwK8zZMNz8yUfA6w/c0TEHpqCXjS5z3IcxKjpFY9OExbzxhK4/QKuthG&#10;jbebBktUNIbUFJBSne7H960UKl422Z9Y/5bVPH7VSIWuMVT2tew+DRdsLUj1L4QnEcMEgpSUgemj&#10;FzNBlYDiicvLAGDfyodDQFCBKE4TnziiSYxSk5pAp2/0Lvc82Bi8meFaDACmeBD3bUzk7yxmsldp&#10;4tNNGxI0j/8c4FW2VQ4qyfhE5CxZ64wDi6Yl+DOGLh0StlpzhcujP+e5RQ2XsFizfFEYr5UtH1SJ&#10;KRKzEuxrj/a/Ha68pXr15ZbFPuwCyGrXHzfXKP80fnbUHTY6SKLpC+H95XeJoNsCbNfVJCD3lRIA&#10;Dfy5pc5kos04MwTOjsqA6YUGI4pIMM1tCMtNtC64SqI/K3BNa+y7gfvL24HJwzNMwKkcjhIxtrC1&#10;ydT9GcDrRptlaeinFHluMeJwik+wcpb43UWQetyHP7bZk2fholtwLK3vmjt3bIRKqapZhGat4tJq&#10;2f0fvMQ6q0lbhKuX5YW8n9ZM0hDxg1fVf+w7UkMlHG+ax3MLASjRASDCJHKvDgnArfoDBbs9r1PC&#10;nL8a/NnwcQ0t7ZvlQ4z43Y8J5dDxjWOzW3WdW6cgu0gmMYcA8NzQhoSYVW1ZFz8CPDVtfW33qrc8&#10;LlmlzCM6dONcz+eRDJjo59i8FVdTOWqYMFKQhRM2Pn03SaY7NR2f5+Xp41VjeVX/Qv8JyjbDtaVC&#10;hA3+SLJ/Arf5WtCiCiELogkdMAOO6S9mAhGnPqRraAMAm3QQgByWda/LjPI6sxsIDQPwz6i2QgbP&#10;VK0BcL3DG66sHWhcZ6Ym5n2zSGD3/UzAaTwA/UnBTNi67P0Jdnyp4EZoFfLdoalRFW02R6mIF3se&#10;tHvK6nm9NwW/lLdj7VnLr1YoFWSkxfZdm/7FFKSqMS5EzFPO6bmDV9P/wc5NL6+UtbIfZMoHqzGT&#10;bTswmYKaso8feZYJbAB31l+qU52a6a6A4kDgb/0DFAblgMUsADJcwEF+ZJs9neQDsLnHa3CgPMgp&#10;KSkpKSnkBZxvzUJqbiSwddQrOzu7V2uTIwCbCcadD7yKu/6ga9iziV98hcCnbTqjNDWG0hb1l5id&#10;DRqvukcBhec3MJNzK7GqoHbD7gGpPv5paWlp3ZYvic7p5+1GTiZ6Pl0bBJ34sjnCVXCnnTJX2zml&#10;QwWHFUAQG4gnE4NAz5v75d/aXARE7RiFFZbHJ7+avCl+GXBxGB8oUm97xfY4AAQHTBC24yu+uaqW&#10;vpgJeMsGWFtbB2zypgMkp6OdD/yKLRKqVqiMOXDMyINDctF/UsxeCnNxCa0/8+QV56w6TQMvbc47&#10;w2Ef1Uh5Zs7P33sHBASM8IgLOsfblPwmteYz897McKrHlUqhIlrgTCGUhkz+nrmZrNEESDGv6r/q&#10;KQJ0YqMxlDi6y3VLlwE8XTod4L5ou4srZACumo2/TMNGLO631tdJ1EiAKKh7uakFbAA2Bd06G3hq&#10;7j+aaRUZPFBqnA/Dt3Ca6jEVcFb27p9wrCJjfeDV0lu+4IUcsz5WxeF9VCMf4ozKq60d9e7ZYF+p&#10;aVWR0hY9HZQ3Xko57ddKte0hHpdu7Jwy5ntmlfdnAaDMqnfcjm8oAEi+mv6AxzIPAGmjd9gC7FWH&#10;mjRpvs43/n0OgCKTNj3XZzltDq66mIkg+2nxdTStOgIgxdR0NvClITdCw5HpjmGOkjSYvGW5qzgD&#10;aplepjMki2A+w/yNJAW8oxmzowt/+33iFd7jjx+Tkz/eUkl9WmP9mRniEN7LhKuncLQV3Ffe07ic&#10;n0j6vgXnwOVBQLC+Tt03Q+UgwFZ84VRjAEhn9jG0BSL4FU14N3jS7cw6mprpRjhFMpgAuM0sHWoj&#10;AV5tWpU+exQRdOShcVQdGd/8kw0oXhzYyVaNyszYt1YV/UeT9twy5lHuUdkWBkOTOGE28sa5VzVk&#10;av/2Na85zWCxGJdlK5+enr0izPq0FgDr8N5zL/GuaZssWTHAP+duK/FLxuxtEpyL/TW/sxLfHunN&#10;AHNNcJ0dlxBDBDFhawOm08ejH9+l+dkCEeT/mvIbc6drQt2nQcED14nb0gGYrrva6ECZRzYJZj4Y&#10;4dRm3s3vG5UxwrjJMrF2DkB60ermiu/Pq6GuTSxQOwr+2MPjn2vxGM9HG+zjGvMoChmlJ3Jyo4ek&#10;xD9hL5PZfZkFMDgrhxnr9ZqdqvXphtUlLIFiyX7yA81VMqdbK0PJMCl7ZBEl0awQn8FEZYBwbcMZ&#10;4b19REKBV0OokM+0BQrM62PuMTFsWwBBmlRwbUgA2HzWl4W7sKOtG06m5aUzAWCQKl3YdI1Z0FDw&#10;S/7xMjqI5/WRnW7nskkRUzc1dS96+JAQdMSxpDM5/pa+ltsbe/5j/N5t322GmbKluFQcQAt8qhXn&#10;/ffNEgNzs/LpA56BwQILjD0b4t7NpPR73SdHEnvQP5kXt9/5Mq3VYjUuzwIXLFPTbFZ6UperDMRs&#10;a+Mdv68AAB8agHd4yacjIXJ8j7q4xpIDoVw+nVkX4IlwKLo5v2HBtEiorwjAoUhx5+o6R4tqGkH/&#10;mjg+a2oLxIR8aRumDAf5yGbB/SJlMC+ZdirHpwcyDvEkd90iUq4tTMDJRZIBttNvszb6/HWaa7xo&#10;vdwYrm5W+bwNNXZ1eUoMDmiLMg6nPJ96YRBTQ/p0WzVXKbOLAhcE5m9oFlurGl+oBDgM33OhtSbd&#10;9OZHAQ6qbj3qf7rpu5UAOASzB9UtcaTpxI2mU7kAqFzbFSmxX6wUqqpUoVKLzuhQlh/lWZ/3uWgM&#10;N0poOIe+El84/r2WTxTgsF0nEQBjx60gJQBzPzVuR49RuhoFwGHZ4ZWdB3ya2ci3hOKme1s/Gxbz&#10;KFNOLInk5oPxqmzPDFBvGMjOKHlhlvzQmrBWbCjezwAH8DgM0NqsuUpZuU3HsV/hMLmmuPPWID0Y&#10;cN25pdWFQJ/EbQBczXbWpyf5a9S9LOsKGV/+Xap0HDHgDAxzLNkyjW9SeuK5ltkbrirdmyRlXj/P&#10;FcoycA2maOR9kTS+9gBcB/Q4CcD/dm16MICNAxqTOlJ/6x4MABL9KjoNeGragknnCuIvhZJPyVTy&#10;KC5XH0fOV+Ax+l96rATwvEKp9BKXa8kP9wY9yWt3EQ6GXdE5dQvLwsqL/5dPrbgYerYTevluc/KW&#10;oPuRqngmGf7mVTxg1lvZxb0BTmjvQACUfc7cCNewTFtHT+ZvRkN821f5k4LRD4dUWxaSp/yfPi1k&#10;Smfg/v3AT3B/qpKHxI0JtWwCgG0vf7sqGuCUmYR65Gfckir93Gt3tndYgEs7TEOG76q4uSaC0ofk&#10;kWO7wCkt3w38Cmk9afEBD8inpAIBIGd5MZtgAbNs6lw+yj7nslJTjoTLiNdXpkv+KfnNk1oZiwIu&#10;StgNffxgYLV+Vzgd53tlPK/kSm1yjZ7Vi5z06bdZgBbhekiLB4pChl+9UucR4QmkCiLH7PCTmzH3&#10;Myx/O0/7SoFtxknTgsXHz4eFsBJW/oIwc3U6C3jjyWnPeD2pzzad+pgNMBbN/mhm/ZoFRp/ftL/w&#10;NlUiyTuwwrJU7537nIVJ94vuvN6DtrFnUE8fubYEmwb/kvytsayzgPffbW+2wpJEV93Si7kajJMu&#10;/DeWLDBMfP5a12j4lFqE+qbGWRD88uCJpqqnB/Q8vFL8PNpA39df8ckfSdImW39F4Cv5nQQ8dXki&#10;T6rGwiTGx3bYRR4oQ8L6nApbDcarqh3NMl2MkwZkTq2QJPjdJk+JvpKURWbLfhrOM+S0Br6vv2KS&#10;zC7FpV3j/LPvVK4Sqytyw+N7T1OMSe9HA6AmSf4YDXBWiDeP5b5MvVT+yETsCT/3j8F/W4X/O/wQ&#10;fdDzsjiFIWbC9bRXz3mkEJCUuLZrHPr3fRxPTTOgfHpquT1662fDYh5AkS6tsmQBFMnqZS2kGTV8&#10;XJLAfYslvVozVLFXeAnjLwT0jbpPVh0RIsT1FAWSxfjRtJcijm+LSgWTanvZ2+UVlZj0BwCPbJtI&#10;DgCkVCUJ6fOXqanvcudffhBo0a9izDza36td3WPWTSI9Kh7VkutpkU8Kz/sm8UTAt0UW5Kx6SWOo&#10;ywMQLRF5lgYA/cZrt+KR6rHk3ezce3W/T1F/mqJDvTJbd/d4mwnKFxXMmlv3rEHTcufQBkzo2GTe&#10;NPxQvE4u2kc0yeamqrU2yiD1lm0aHqN+g3++p4JcOundQvueI5J3ne5jqksQhLO3krIzQRCErmev&#10;J23W6lMdMI4ktmCF9tzr7jMmOKgsCwk26/3H7hZ1tGU1DSVPGXRoNokJGhoaubkaGiEhkmoaGhoa&#10;GrmvWHW3pEJCrgsEAoHYZ85UwbvckJ4CgUDwRIWTIWBpcAYKGCGc4wKBQCCXGzJdIBAMOJ40Zox+&#10;2KkvVbzV1lyRzK3rcOp2VX5I3SgaSYzckNxFAkG2WkjUq11R9UX1qjhSAoFAIPisX/dYbkLQ8ZBc&#10;DQ2NKKl+nVZN25j0wS25Rs/qhY/0ios8gHHSJlOLV7cjePxXz+DmCaLnkXnxZ0tVa6/39+d+ttEZ&#10;0yxSSQmcdqo6bWuH0gs4Yaa3AQAyW6vFNz2hAqNidu5ZAAAGMzFdFwAe3D/ytpv0mlGSNACxEWvE&#10;OVZnz18aL2bmaAkgzfRq8FHM+5eVxMZCzHqpWxcMexMWddg8JxaAFZTGBRCxAACrGbv3zhJPPAvO&#10;0+zVZDuFmhsAgB6bA1IB4HF4/arBqALjy+UArJK0+tp0kqhZkdm7sIyf+DaSJtudBoCzkthLA4AL&#10;Soyvn31O0duZRj/5QnMpv+dgGQdPmc3dcjlNBT2PXXTk/DiVDs1G/qnfg+2Rk9I58TYQGPncGTq0&#10;woClygOQ8/5Jed16kANqYcQXv1RyGMBARECe5DMbShHs/xwA6POf9UB4yA6lpGQ3KfVIw7p+x8cs&#10;hGRuwGy3oZyLU+4bn+1hWjwvwf7BCY5VqmP1coDIXpeDgzab654ejo8AgNOXh2bsHWV+h6Nvo2/k&#10;zBk6VMzgCvu28Ky/ZwVKLX9hjLx40R7fI1NV6448mK3AZwHg6PMHfNN5BotHhKcqVm8MUC2TyD20&#10;lAZGE54/vPjh0Icdq6KteQEY79p7vSmAuwUGzwBc3D21AoD5mqHjEmpHAGDfARCS+o/V4PqcSO2e&#10;uOi8rL83/c8qCQAR+VBbs9XwBQD/A3Wx82c9p/hMQYXNxksmzugL8iVgyDuUxwC6yNcqkx5jQWbc&#10;gGvGcXUtAPgrrP4fAJzZ90yfAYhJ2lJTF/6T7xSOp+7wrVA4/GyCCtVIyaku9fOPiLqsWBP+1PaE&#10;f8eO+n1DzFWBtKyfldQHTkbT/CxaEvvo2soO2zWngr/w3bUzF21s+i+UlwS67WHPYtvKND6lHGx0&#10;522d9ssCAESU/v3kYW8A2AIzo4QXADCnfjPBxjWUl4BUzIUzCaajToEPwB84AwAY1xepLn39bgDc&#10;xFcprczHEQBGoa720f0nWqTOAL608oBkNWnAkKvKN3h1+2d4VX/X/QBhlHa5nVy9VD73bHQ3adl/&#10;Hkuo3m0aNGbZGUnbL+34pFzr/txN5SU9k/3t/Aw3PeBB+tXM/TujG3eVFCS/Ihdn1nE8AKBQMm/v&#10;7enVAJYaZwZwAZ2k16qvYzgA4L5MAAA5e//brL2ocEBWs+Fseu5/URELACusatua0xcBU8K/49UZ&#10;wFusPkioSBnlmj2fXpeAyNAfeJQFADSHO+0sqEEZm/LX8lvj5T8mJe9at2JyE+QPD9TtuaXjGv8L&#10;x5v1nrn1lOnE7p8Atc826cyN1XqXG59KnXD92K2+rAaOB/Bu5qh9MpF0vIxfNg3overG7+9GxwPA&#10;0NvpAOB676/iYifVqZktXPd/EoJ1AGCTXNsB7/rtKqYOhr06AfgMb95ZftmAxQG771aX8gCANbNu&#10;CzPD7L/fe7Y3Tjr2KLlUUD7w05xuC/VP0xoVLO1R8uSJK76b40tdjST63h4pD2Cr37NbJYvEfZSa&#10;LvLfX+bjPvDJF44H3sDIu+/mMd4MSMREUfGi7I9zE87OAQCtf+acAyqwwDA6WsKm5Zqp/T/0+QCA&#10;mmfmbU4qaTgAwKm6amMnAL/8RnxpN0m7ApPQov710nnTJhYAcBTF89tdToNbNbJsRpJdP5XlVeWl&#10;1EYxzzIU+8154ndzfFI88Gn4Gh8AS5YtH/3a/PC+tc0SLpzOxrg14fiRQHSNaT88RC05V89TNibe&#10;kNAgAUCFjcMGQKrp+nqTavZfHKeVcUNLAAC1OKiWk5ND2qjb8Mwo3H02MEe+eqGNpXARpA4Dr2bp&#10;vlYviz8hLkFbWa/F1tRMxSvtDy1yxzqXDRvYvdJozvmtAU3q23Kq3A7O7+isijcYxAJAFMwAMEdl&#10;XELm5vJs2pttMy0xdR7MEIT/ZrBvAui/fLfZFODghnwk7w64BcDVd0K/QXCWLbPRqrhgZ+g9jQwA&#10;8FjoB5ibSTaOYjB8jcKXOO+FAm0AuKCXWB/0Quaufv0ipW7ZAA7QBAApxNit6Ge1mz2kB179qOdq&#10;MG6r9sjZY81rI2vEV7Uo+q5rmi/Wob5Obf0zYvZYte6bmnala6Q5d3tHfWnmuXsvBAJBVmWsikAg&#10;EOjHjmFwYhNOCQQCQZhj7Od/LsZ+FgTEnRsoEAgEOmNiHwqs7517I6CdK30nEAgEV845XhEIBDoh&#10;3a/2OBfF+tJp8eAX78acO9Y4StCjc1PqPxbGn7siEAhm/l1Z77kOd4x3dHR0dHxgL9jaN/aVQCAQ&#10;qJyLd3R0jNMfKBAInraccUeBT/vn3eTFDiOGSg/e2XtD88OznAnlu086GHqQs57vMOLEaXXlxq50&#10;72ga/tMJpwn8eKu0ymPf/MH7jmsJ0KmfcgAX736seIpGQf6e6+RT71oUHmf0998jNr3DsYc3kUtM&#10;HD/sf/3Fi6Jkq4/99xc/YbHjnqtXljVPNUvsRHjkR/6Jyy1iJlSBl1LHgL/a12BIbUWofYlJyY6m&#10;AT5jUVi4pWbNrDAul7QzMx2b8WFLi3UMj+OvtTo4OoXrdoVuIbvxzhHpBgfAI+w9QkXAtwgWEJ6T&#10;o9/zXY2f0ZQ3tjBpGBVlHos6ul46VlFqZyzSHW/LNPR22MsGziLgm+F+Y96HSD8dnpHFiKvTZU+3&#10;YHhOqq0mv6PDcyXl+45PXBgfPtLsi0HpkY2XXWDxryMy/maQ7D1lY47ODPJeMbJwIOuFUdiNDo+/&#10;t4wqZX4keGjJ/fpgLKIllFMPiYBvatEYSKwqqHgmtnAYuk1twKlB0myec2hEx8e/Ip107j0cXOFV&#10;v6GX8UpcouiDSNQ0ETReb1QiubUcu8VLmIQC0TJDgBNhe+3x9+zTW7m5yaZ1gDO5T9a2TSKObyLg&#10;DVKvBdUe7W//KWdfyGXhiPlrfa0H35OLtGdLN9iWLm2I8U2LLBs5VsTxDbhLhMvuLtRjW66Nn/TI&#10;MFCovhxjZRYhubPj4wusdpdgMf9J+NH6V4ima9m93x4R8A2KdQpf7kbQct6i2USUyrylQgl4dsfI&#10;URZyHR+fKtCRjC+KySuvj08yRplIUKq7iUTNF8+pQELZkqs+/Kna1dlPBz8XLj7wqiykck7HJU26&#10;QPERz/rm5HXu9W6w3VHFclW+QMTxdWyZ7ikxy7JA90P+Fd+BAn134eIDdpK6LplXO87vK3z1ZY3L&#10;rq81vlInvBiGJZZvP4lRRMADAPVmUNasYfJml2rOLN3dW7BSuIAopSBPN8Gx43DdDE1daKDonLdc&#10;s95Kshuv/pyi2RXyhdsBPFXCwIdUFCnHttxjxhw2xu10K+ntx8j9dGw7PDgv2reiPJh/1mJxfVE3&#10;xlE1ipL8GdsuAPy3ZTz1Rjj/A1deji39hrwpuai1akq+LnHG1zu+Y0xtx35rYh/JboLCl+KHdhkK&#10;Of0uTZ8q4niARw1fv78O9/vLUs56CldTAoMcZHJ+8uOOAs+z2O+Q8CK+qLv7mHqThhJeYakU4RY3&#10;pgsA/42FEGrpjnmyZ29wdS9Z3nh5//Mm4VNXAQb6PKp4ndLRs2R4XqFUi/caBc81xY4zeADAMPEx&#10;48tY6XcsdfKX5HjqzYIcL0rwZ/n3llPfDN9zxXNHKzlenL9uGoWJdXTVXO2+eS59ZtWlVZqExfo6&#10;dc25ZWa3420vSTl0deB51Nvzc2OVxT7V1CxY3vOzVZmqsCEJX0mPE1d1jDomHqjGnjknN6RkdOu5&#10;lngyqi5h2Df7zVjxK1Jj7bhdHHhq+v2sg85ZtKq3kU//OlVi19OhlephoIQXmFzknOzQJnhq+lrS&#10;3ycsuhnPerWaeEKpixb4rpM/djldw81bD10aeKra2r6x1jZSGjVPxZYUbnL58Ly16mGgBL5wEAvQ&#10;Wdd+3HnpjJmBuz8Y9iMXTBwzJSgllGABYFAGMY71HKg6xftxl8C9LeVKLbXwtl10z4JIiR/Ov/Gf&#10;/viivn1aq3Xiazt5CGdj8aivc+m51SrQBSbO3zomdukW6Rzp3B69SiuzOAtvkR9p0VgAKLTcN8dC&#10;3M/s0ugaW8/aAJ5ayg5frVNhqfe29rpl0rXX4XF21Q9b2ZnKsPMvcBCEl6V8xYYnyW0pVy8jC3Rp&#10;pUpbbjLKupcrPLIUpLpdFHeOEmiSlaNZAHxnSfY5Zp4aGDlPcye36wKfHl1ZFFix+5Teu/e8AW9O&#10;jd0wV1+JaK1qG5Zv0eC8LXP+2rlDb3KiD+PT7+ThIzz67vtD2rr4NyMxsWsby5OzyC8XX6xnd2qA&#10;roube3nuPO9UCroo8LwJK+a53x6XV6pXmSXJN5o6Ul51QGxla7vgKStTAwldHsfjW+c9HX4cKoZ+&#10;ryU/4b/rkEHhcOzMYIQGGtelclKg/18f+zCXvHKTgCrl910E95YhAzU2VfBBW9wiRVuaK87RWT29&#10;8KRfjUtrRQopcNmqO/wxT/fO42+B5eFxWGZ9DQTTfWSVAAn8I6ulMqjAncYDGBya/mO+w0IdVZdA&#10;8YCqFL2ugnsLq4b68EG88dYZFTN1XlXFlsjuuaZ0afT04lZqcjJ8J4877VA9rrTskv03mZSqprl9&#10;c/f0Pgd7HTy99PQxd2eFWZXhoIFCoYx0ieMb2HV3P1h+JlKjysipy+DeZpCszMF9B+Vh+rv+bpxW&#10;YLd7lVFRc6nX+MKv6tVGOpG24OjU28uiogIkIkKmAofBoZkpyP2huzxxqNHevvP+0nY1P+7dhfi9&#10;DTv+ecibfONZI9IPlhGVLOHVJsqr0WWSTgqzVPMrU9odk+wRFr7CP//wuGD703HjiseNizv+PHbu&#10;bM1/w/0mJfbhmM7Q0FTuSri3UK7Um9GV/yLF8fG1lcv94vrrtcLtFMQ55OlaVi9JWKa7fF27dCG1&#10;1OKGgCyu/s6lIsAXiqes+6oFop9G3kRUrnrp2j1Lbsbdo2xZGVV0aeDne88qX9jv/NTLPpVoZSfZ&#10;tMzrioqWSYvWiOWzvbntY/d64Kc6XS1HVZlA0Hs6HBUAFI9WzS3SkEuz7Htm+To5bpfCvaWMj5M4&#10;8SSTWW1gqKLkGgz9wTnPACdgHxCmOhWQgI+erFNSBu2PAv5JOVZHB3u9/qCM/iubwuPhAMZXOmpX&#10;yFUvvWu1WszI/j26GDXn+I8JxyvjB6IgWaKqHwC8li8BGo/8wVqvfTGLnkl5Ljuz3M6pA+GZCSsq&#10;i/zkBfT3Ky86hX9MR48aPYk0q5yqNMt7b3wl91Zxga4NfH/LT6bgUp9BGzIA6jZh3bf32eCz4ZpU&#10;7Ej9mLJ9hezro46LGV3tmIdJlViRO2vbli1O2j4KzhcxJbRYRkr+06lVipJ78+W6IOwtgX+D2nDd&#10;UoUHk9afKU4KL6Y3RLmm+2+6lCauUpU2dgnFV9Lue/IvqLc4J24cXLplhziATX8aLPA8MdRWDl0S&#10;9datmhTxqUolFa81FZreKc45ckL+bMmUuMlxe52+GywqgPoy9mPQZTFvLVbDm6A7cX587L+h/juw&#10;rtmdyy8PeZ64knmluw5E9DOCZCL6f+i5ikgEvAh4EYmAFwEvIhHwIuBFJAJeBLyIRMCLgO/q9P8N&#10;ADxxXxPr0rGlAAAAAElFTkSuQmCC"/>
  <p:tag name="ISPRING_PRESENTERDATA_0" val="S2FyZW4gdmFuIFd5aw==||||ezcwMjY2OTQyLUU5NkMtNEQ1Qi05OERBLUZFNkMyQzI2MDQ4Qn0=|S2FyZW4gaXMgYSBjaGFydGVyZWQgYWNjb3VudGFudC4gU2hlIGhhcyBhIHBhc3Npb24gZm9yIHRh&#10;eGF0aW9uIGFuZCBoYXMgbGVjdHVyZWQgYXQgYSBwb3N0LWdyYWR1YXRlIGxldmVsIGF0IHRoZSBV&#10;bml2ZXJzaXR5IG9mIEpvaGFubmVzYnVyZyBhbmQgdGhlIFdpdHdhdGVyc3JhbmQgVW5pdmVyc2l0&#10;eS4gU2hlIGhhcyBhbHNvIGJlZW4gaW52b2x2ZWQgaW4gdmFyaW91cyBpbml0aWF0aXZlcyBvZiB0&#10;aGUgU291dGggQWZyaWNhbiBJbnN0aXR1dGUgb2YgQ2hhcnRlcmVkIEFjY291bnRhbnRzIChTQUlD&#10;QSksIGxlY3R1cmluZyBvbiB0aGUgVGh1dGh1a2EgcHJvZ3JhbW1lIGFuZCBtYXJraW5nIGFuZCB1&#10;bXBpcmluZyB0aGUgSW5pdGlhbCBUZXN0IG9mIENvbXBldGVuY2UgKGZvcm1lcmx5IGtub3duIGFz&#10;IHRoZSBRdWFsaWZ5aW5nIEV4YW1pbmF0aW9uIFBhcnQgMSBmb3IgdHJhaW5lZSBhY2NvdW50YW50&#10;cykuCkthcmVuIGhhcyBhbHNvIHByZXNlbnRlZCB2YXJpb3VzIGFkdmFuY2VkIHRheGF0aW9uIENQ&#10;RCBzZXNzaW9ucyBvbiBiZWhhbGYgb2YgdGhlIFNvdXRoIEFmcmljYW4gSW5zdGl0dXRlIG9mIFBy&#10;b2Zlc3Npb25hbCBBY2NvdW50YW50cyAoU0FJUEEpIGFuZCB0aG9yb3VnaGx5IGVuam95cyBpbnRl&#10;cmFjdGluZyB3aXRoIHByb2Zlc3Npb25hbHMuCkthcmVu4oCZcyBhcmVhcyBvZiBleHBlcnRpc2Ug&#10;YXJlOgrigKIgIFZhbHVlLUFkZGVkIFRheGF0aW9uCuKAoiAgSW5jb21lIFRheCBvZiBhIENvbXBh&#10;bnkK4oCiICBDYXBpdGFsIEdhaW5zIFRheAo=|SVNQUklOR19QUkVTRU5URVJfUEhPVE9fMA==|MQ==||SVNQUklOR19QUkVTRU5URVJfUEhPVE9fMQ==|"/>
  <p:tag name="ISPRING_PRESENTER_PHOTO_2" val="jpg|/9j/4AAQSkZJRgABAQEASABIAAD/4THgRXhpZgAATU0AKgAAAAgACAEPAAIAAAAGAAAIegEQAAIA&#10;AAAOAAAIgAESAAMAAAABAAEAAAEyAAIAAAAUAAAIjgITAAMAAAABAAIAbYdpAAQAAAABAAAIoogl&#10;AAQAAAABAAAxxuocAAcAAAgMAAAAbgAAAAAc6gAAAAg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ENhbm9uAENhbm9uIEVPUyA0MEQAMjAw&#10;ODoxMDoxNCAxMTo1MjowOQAAIIKaAAUAAAABAAASNIKdAAUAAAABAAASPIgiAAMAAAABAAEAAIgn&#10;AAMAAAABAZAAAJAAAAcAAAAEMDIyMZADAAIAAAAUAAASRJAEAAIAAAAUAAASWJEBAAcAAAAEAQID&#10;AJIBAAoAAAABAAASbJICAAUAAAABAAASdJIEAAoAAAABAAASfJIHAAMAAAABAAIAAJIJAAMAAAAB&#10;AAkAAJIKAAUAAAABAAAShJJ8AAcAAB4iAAASjJKGAAcAAAEIAAAwrpKQAAIAAAADNzIAAJKRAAIA&#10;AAADNzIAAJKSAAIAAAADNzIAAKAAAAcAAAAEMDEwMKABAAMAAAABAAEAAKACAAMAAAABCiAARKAD&#10;AAMAAAABDzAAZ6IOAAUAAAABAAAxtqIPAAUAAAABAAAxvqIQAAMAAAABAAJj1aQBAAMAAAABAABj&#10;1aQCAAMAAAABAAFjzaQDAAMAAAABAAEAAKQGAAMAAAABAAAAAOocAAcAAAgMAAAKKOodAAkAAAAB&#10;AAAQSAAAAAAc6gAAAAg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EAAAD6AAAACgAAAAEyMDA4OjEwOjE0IDExOjUyOjA5ADIwMDg6&#10;MTA6MTQgMTE6NTI6MDkAAAgAAAABAAAABqAAAAEAAAAAAAAAAAABAAAAVQAAAAEiAAEAAwAvAAAA&#10;QAQAAAIAAwAEAAAAngQAAAMAAwAEAAAApgQAAAQAAwAiAAAArgQAAAYAAgAOAAAA8gQAAAcAAgAY&#10;AAAAEgUAAAkAAgAgAAAAKgUAAAwABAABAAAATA2jGQ0ABwAADAAASgUAABAABAABAAAAkAEAgBMA&#10;AwAEAAAAShEAABUABAABAAAAAAAAoBkAAwABAAAAAQAAACYAAwAwAAAAUhEAACgAAQAQAAAAshEA&#10;AIMABAABAAAAAAAAAJMAAwAYAAAAwhMAAJUAAgBAAAAA8hMAAJYAAgAQAAAAMhQAAJcABwAABAAA&#10;QhQAAJgAAwAEAAAAQhgAAJkABABZAAAAShgAAJoABAAFAAAArhkAAKAAAwAOAAAAwhkAAKoAAwAG&#10;AAAA3hkAALQAAwABAAAAAQAAANAABAABAAAAAAAAAOAAAwARAAAA6hkAAAFAAwC0AgAADBoAAAhA&#10;AwADAAAAdB8AAAlAAwADAAAAeh8AABBAAgAgAAAAgB8AABFABwD8AAAAoB8AABJAAgAgAAAAnCAA&#10;AAAAAABeAAIAAAADABAAAAAAAAAAAAABAP//AQD//wIAAAD/f/9/BQACAAAABAD//+oAVQARAAEA&#10;oABAAZEAAUAAAAAA////////AAAAAAAAAAD/////AAAAAP9/////////AABVABAcYbAAAGQAAAAA&#10;AEQAAwDgADQA1AAAAQAAAQADAAAACAAIAKEA//8AAAAAAAAAAAEAAAAAANQAAAFnAAAAAAD4AP//&#10;////////AAAAAAAAQ2Fub24gRU9TIDQwRAAAAAAAAAAAAAAAAAAAAAAAAABGaXJtd2FyZSBWZXJz&#10;aW9uIDEuMC4zAABKZXJlbXkgR2x5biBQaG90b2dyYXBoeQAAAAAAAAAAAKqqeD14PVgAZ2UAAwAA&#10;AAAAAAGRAgEACKEaTVgAAFUAAQAAAAABu7sBAQAAAAAAAQKgwBothIsAAAAAAAEAZEAAAAAAtgCa&#10;DAwKthJUFmkkfCxxMIrMzAMAAAAAAAAABQAAAAAAAAD4AAAAAQAAAAEAAABQFAAAAAAAAAAAAAAB&#10;AAAAAQAAAAEAAAADAAAAAwAAAAMAAAABAAAAAAAAAAAAAAAhAAAAAQAAAAcAAAAAAAAAAwAAAAcA&#10;AAAAAAAACAAAAAAAAAAA////AAAAAAAAAAABMFgA6gARAFWRdxoAAAAAAAAAAAEAAAAAAAAAAAAA&#10;AAAAAAAAAAAAAAAAADEuMC4zADY0SmVyZW15IEdseW4gUGhvdG9ncmFwaHkAMAAiBnCWIgZkAAAA&#10;ZAAAAGQAAAAHHwAAAAAAAAAAAABlAAAAZAAAAGQAAAABAAAAAAAAAAAAAAAAAAAAAAAAAAAAAAAA&#10;AAAAAAAAAAAAAAD7AQAEAASeAg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BAAAAAQAAAAAAAAADAAAAAAAAAAAAAADvvq3e776t3gAAAAACAAAAAAAAAAAA&#10;AADvvq3e776t3gAAAAAEAAAAAAAAAAAAAADvvq3e776t3gAAAAAAAAAAAAAAAAAAAADvvq3e776t&#10;3gAAAAAAAAAAAAAAAAAAAADvvq3e776t3gAAAAADAAAA776t3u++rd4AAAAAAAAAAAIAAAAGAAAA&#10;AAAAAAAAAAAAAAAAAAAAAAAAAAADAAAAAAAAAAAAAAAAAAAAAAAAAAAAAAADAAAAAAAAAAAAAAAA&#10;AAAAAAAAAIEAgQCBAAAAAAAAAAAAAAAAAAAA6Yf0SNACAAAEAAQAAAAAAAQAZilkkQ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BW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BFRi1T&#10;MTctODVtbSBmLzQtNS42IElTIFVTTQ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nwAHAHAAYAACAAkACQAwDyAK&#10;MA8gCmEAYQBhAGEAYQBhAGEAYQBhAGIAYgBiAGIAYgBiAGIAYgBiAAAAd/2JAvb7AAAKBHf9iQIA&#10;ADICKgEqAQAAAAAAANb+1v7O/RAAEAAAAP//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MAAAAAAAAAAAAAAAAAAA&#10;AAAAAAAAAAAAAAAAAP////9NAAAAAAAAALYAmgAAAAAARUYtUzE3LTg1bW0gZi80LTUuNiBJUyBV&#10;U00AAAAAAAAAAAAAAAAAAAAAAAAAAAAAAAAAAAAAAAAAAAAAAAAAAEowMDI1NTM1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BkAQAABAAAAAEAAABcAAAABwAAAAEBAAABAAAAAAAAAAIBAAABAAAAAAAAAAMBAAABAAAA&#10;AAAAAAQBAAABAAAAAAAAAAUBAAABAAAAAAAAAAgBAAABAAAAAAAAAA8BAAABAAAAAAAAAAIAAAAs&#10;AAAAAwAAAAECAAABAAAAAAAAAAICAAABAAAAAAAAAAMCAAABAAAAAAAAAAMAAABcAAAABwAAAAUF&#10;AAABAAAAAAAAAAYFAAABAAAAAAAAAA8FAAABAAAAAAAAABAFAAABAAAAAAAAAA4FAAABAAAAAAAA&#10;ABEFAAABAAAAAAAAAA8GAAABAAAAAAAAAAQAAABoAAAACAAAAAEHAAABAAAAAAAAAAIHAAABAAAA&#10;AAAAAAQHAAABAAAAAAAAAAYHAAABAAAAAAAAAAsIAAABAAAAAAAAAA8IAAABAAAAAAAAABAIAAAB&#10;AAAAAAAAAA4IAAABAAAAAAAAAAAAAAAwDwAAIAoAAAAAAAAAAAAAHAAAAAYAAAAAAAAAAAAAAP//&#10;UBQhAAAAAAAAAAwAbQMABAAEHAIAACIAaA8+CgEAAQAoABcAVw82CgAAAAAAAAAAAAAAAAAAAAAD&#10;ADgDAAQABJMBJwIABAAEOwJ5AQAEAAQOA2cDTQRNBJ8BugIwBS8FzgLqAVIFUAUHBAAAAQD8AP8A&#10;+QAAAAkILBIcEr4LOwQvAS4BKACOANkD1gOwB90HpQ6dDukCAgdLEDYQdgrNAx4BHgEjAHwASgNF&#10;A8IG/AZQDUANigK3CAAEAATNBVoUBAoABAAE9wQbGgEKAgT9A/YEGxoAAAAAAAAAAAAAtwgABAAE&#10;zQVQFB0KAAQABMgEWBtlCQAEAAQ0BXAXzgaHBIcENQqADDwIHgQeBNIIBw+3CAAEAATNBVoUKgoA&#10;BAAE6QSxGj4IAAQABDUGnxIAAVYEVgQAAawNAAFWBFYEAAGsDQABVgRWBAABrA0AAVYEVgQAAawN&#10;AAFWBFYEAAGsDQABVgRWBAABrA0AAVYEVgQAAawNAAFWBFYEAAGsDf8D/wP/AwAEAABu/mIBBQSU&#10;Kof+bAHfAxAnxv6GAYYDbCDp/pUBWQNYGyX/tAETA3AXRf/DAewC4BVr/9YBwgJQFJ//9QGNAlwS&#10;3f8dAlUCaBAZAEgCIwLYDlAAcQL4AawNkwCpAsYBgAzCANMCpwG4C/kACgOFAfAKcgGbA0sBYAn0&#10;ARQIIgj/A/8D/wP/AwAAAAAAABEAFQARADQAHgBLAGQAaAB4AHoAfgBrADoAAAAAAAAAEwA4ADUA&#10;lAB5AG4AUgBAAC8AKwAqAC0AJwAAAAAADwAxAH8AcAChAH8ARAAzACoAKQApACkAJwAtAGMATgBO&#10;ADgAKgAtACkAKQAnAB8AHQAnACgAJwAlACcAAAAAAAAAIQAkACAASAAwAGYAjQCRAKIAoQCkAIQA&#10;QAAAAAAAAAAlAGoAZgAVAeEAxgCMAGkARwBAAD8AQQAxAAAAAAAgAF0A9gDWADMB8gB8AFwASQBA&#10;AD8APgA8AEIAuACIAIYAawBRAFUASwBLAEgAOQAyADwAPgA9ADoAQwAAAAAAAAAiACcAIQBXADMA&#10;dgCYAJkApwCkAKYAgwA8AAAAAAAAACcAbwBoABsB4gDGAIoAZwBHAEAAPgA+ACwAAAAAACIAZAAA&#10;Ad4AOAHyAHwAWgBHAEAAPwA9ADoANQDzALcAswB6AFcAWgBRAE8ASQA4ADEAPQA+ADwAOAAxAAAA&#10;AAAAABoAGwAXADEAIABBAFcAVgBcAFkAWQBDAB0AAAAAAAAAGwBKAEYAtwCSAHwAUwA9ACUAHwAe&#10;AB4AFQAAAAAAGgBCAKkAjwDJAJsASwA1ACgAHwAeAB0AGwAcAJYAawBmAEwANQA3AC8ALgAqACAA&#10;GgAdAB0AHAAaABwAAAAAAAAAAAAAAAAAAAAAAAAAAAAAAAAAAAAAAAAAAAAAAAAAAAAAAAAAAAAA&#10;AAAAAAAAAAAAAAAAAAAAAAAAAAAAAAAAAAAAAAAAAAAAAAAAAAAAAAAAAAAAAAAAAAAAAAAAAAAA&#10;AAAAAAAAAAAAAAAAAAAAAAAAAAAAAAAAAAAAAAAAAAAMAAsAwAAIABYAOQAtAAoBcwMqBGIFRyK/&#10;AAAAAAAAAOACHgFKBLcCQAXVD5kGHgdCDJIc6h8tEjAAAAAAAAQAnQG1AEECCwJJAsAI7AK0AZEK&#10;2hwqHzUPCgANAA0AHQBlAVAATgAsAGYAIQMTAZEAzAMCDSgOIwoLAKAAwAAtGosEAQDTBAAEAASx&#10;CsEPGxpDEIUACwGyEcYPiv8S/38OAAD/AAAAOpQAAOKuAAClrgAANlwABAAEAAAABAAAAQAAAAAA&#10;AAD/HwAB/x8AAQAAAAAAArYC2AHfAckCjQF1AwACAAIAAgACAAB1AOoA/wD/AP8A/wAAAHsA6wD/&#10;AP8A/wD/AAAAYwBsAAAAgQCBAIE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ElJKgCiAg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AAAAAAAAAAAAAAA&#10;AAAAAAAAAAAAAAAAAAAAAAAAAAAAAAAAAAAAAAAAAAAAAAAAAAAAAAAAAAAAACeNAAAAAkcAO1OA&#10;AAADbAABAAAABwAAAAQCAgAAAAAAAP/hD5hodHRwOi8vbnMuYWRvYmUuY29tL3hhcC8xLjAvADw/&#10;eHBhY2tldCBiZWdpbj0n77u/JyBpZD0nVzVNME1wQ2VoaUh6cmVTek5UY3prYzlkJz8+DQo8eG1w&#10;OnhtcG1ldGEgeG1sbnM6eG1wPSJhZG9iZTpuczptZXRhLyI+PHJkZjpSREYgeG1sbnM6cmRmPSJo&#10;dHRwOi8vd3d3LnczLm9yZy8xOTk5LzAyLzIyLXJkZi1zeW50YXgtbnMjIj48cmRmOkRlc2NyaXB0&#10;aW9uIHJkZjphYm91dD0idXVpZDpmYWY1YmRkNS1iYTNkLTExZGEtYWQzMS1kMzNkNzUxODJmMWIi&#10;IHhtbG5zOmV4aWY9Imh0dHA6Ly9ucy5hZG9iZS5jb20vZXhpZi8xLjAvIj48ZXhpZjpGb2NhbExl&#10;bmd0aD44NS8xPC9leGlmOkZvY2FsTGVuZ3RoPjxleGlmOkZOdW1iZXI+MTAvMTwvZXhpZjpGTnVt&#10;YmVyPjxleGlmOkFwZXJ0dXJlVmFsdWU+NDM0MTc2LzY1NTM2PC9leGlmOkFwZXJ0dXJlVmFsdWU+&#10;PGV4aWY6RXhwb3N1cmVUaW1lPjEvMjUwPC9leGlmOkV4cG9zdXJlVGltZT48ZXhpZjpTaHV0dGVy&#10;U3BlZWRWYWx1ZT41MjQyODgvNjU1MzY8L2V4aWY6U2h1dHRlclNwZWVkVmFsdWU+PGV4aWY6RXhw&#10;b3N1cmVCaWFzVmFsdWU+MC8xPC9leGlmOkV4cG9zdXJlQmlhc1ZhbHVlPjxleGlmOkV4aWZWZXJz&#10;aW9uPjAyMjE8L2V4aWY6RXhpZlZlcnNpb24+PGV4aWY6RXhwb3N1cmVQcm9ncmFtPjE8L2V4aWY6&#10;RXhwb3N1cmVQcm9ncmFtPjxleGlmOlByb2dyYW1Nb2RlPjE8L2V4aWY6UHJvZ3JhbU1vZGU+PGV4&#10;aWY6V2hpdGVCYWxhbmNlPjE8L2V4aWY6V2hpdGVCYWxhbmNlPjxleGlmOkRhdGVUaW1lT3JpZ2lu&#10;YWw+MjAwOC0xMC0xNFQwOTo1MjowOVo8L2V4aWY6RGF0ZVRpbWVPcmlnaW5hbD48ZXhpZjpNZXRl&#10;cmluZ01vZGU+MjwvZXhpZjpNZXRlcmluZ01vZGU+PGV4aWY6Rmxhc2g+PHJkZjpEZXNjcmlwdGlv&#10;biB4bWxuczpyZGY9Imh0dHA6Ly93d3cudzMub3JnLzE5OTkvMDIvMjItcmRmLXN5bnRheC1ucyMi&#10;PjxleGlmOkZpcmVkIHhtbG5zOmV4aWY9Imh0dHA6Ly9ucy5hZG9iZS5jb20vZXhpZi8xLjAvIj5U&#10;cnVlPC9leGlmOkZpcmVkPjxleGlmOlJldHVybiB4bWxuczpleGlmPSJodHRwOi8vbnMuYWRvYmUu&#10;Y29tL2V4aWYvMS4wLyI+MDwvZXhpZjpSZXR1cm4+PGV4aWY6TW9kZSB4bWxuczpleGlmPSJodHRw&#10;Oi8vbnMuYWRvYmUuY29tL2V4aWYvMS4wLyI+MTwvZXhpZjpNb2RlPjxleGlmOkZ1bmN0aW9uIHht&#10;bG5zOmV4aWY9Imh0dHA6Ly9ucy5hZG9iZS5jb20vZXhpZi8xLjAvIj5GYWxzZTwvZXhpZjpGdW5j&#10;dGlvbj48ZXhpZjpSZWRFeWVNb2RlIHhtbG5zOmV4aWY9Imh0dHA6Ly9ucy5hZG9iZS5jb20vZXhp&#10;Zi8xLjAvIj5GYWxzZTwvZXhpZjpSZWRFeWVNb2RlPjwvcmRmOkRlc2NyaXB0aW9uPg0KCQkJPC9l&#10;eGlmOkZsYXNoPjxleGlmOklTT1NwZWVkUmF0aW5ncz48cmRmOlNlcSB4bWxuczpyZGY9Imh0dHA6&#10;Ly93d3cudzMub3JnLzE5OTkvMDIvMjItcmRmLXN5bnRheC1ucyMiPjxyZGY6bGk+NDAwPC9yZGY6&#10;bGk+PC9yZGY6U2VxPg0KCQkJPC9leGlmOklTT1NwZWVkUmF0aW5ncz48ZXhpZjpJU09TcGVlZD40&#10;MDA8L2V4aWY6SVNPU3BlZWQ+PGV4aWY6R1BTVmVyc2lvbklEPjIuMi4wLjA8L2V4aWY6R1BTVmVy&#10;c2lvbklEPjwvcmRmOkRlc2NyaXB0aW9uPjxyZGY6RGVzY3JpcHRpb24gcmRmOmFib3V0PSJ1dWlk&#10;OmZhZjViZGQ1LWJhM2QtMTFkYS1hZDMxLWQzM2Q3NTE4MmYxYiIgeG1sbnM6dGlmZj0iaHR0cDov&#10;L25zLmFkb2JlLmNvbS90aWZmLzEuMC8iPjx0aWZmOk1ha2U+Q2Fub248L3RpZmY6TWFrZT48dGlm&#10;ZjptYWtlPkNhbm9uPC90aWZmOm1ha2U+PHRpZmY6TW9kZWw+Q2Fub24gRU9TIDQwRDwvdGlmZjpN&#10;b2RlbD48dGlmZjptb2RlbD5DYW5vbiBFT1MgNDBEPC90aWZmOm1vZGVsPjx0aWZmOk9yaWVudGF0&#10;aW9uPjE8L3RpZmY6T3JpZW50YXRpb24+PC9yZGY6RGVzY3JpcHRpb24+PC9yZGY6UkRGPjwveG1w&#10;OnhtcG1ldGE+DQo8P3hwYWNrZXQgZW5kPSd3Jz8+ICAgICAgICAgICAgICAgICAgICAgICAgICAg&#10;ICAgICAgICAgICAgICAgICAgICAgICAgICAgICAgICAgICAgICAgICAgICAgICAgICAgICAgICAg&#10;ICAgICAgICAgICAgICAgIAogICAgICAgICAgICAgICAgICAgICAgICAgICAgICAgICAgICAgICAg&#10;ICAgICAgICAgICAgICAgICAgICAgICAgICAgICAgICAgICAgICAgICAgICAgICAgICAgICAgICAg&#10;ICAgCiAgICAgICAgICAgICAgICAgICAgICAgICAgICAgICAgICAgICAgICAgICAgICAgICAgICAg&#10;ICAgICAgICAgICAgICAgICAgICAgICAgICAgICAgICAgICAgICAgICAgICAgICAKICAgICAgICAg&#10;ICAgICAgICAgICAgICAgICAgICAgICAgICAgICAgICAgICAgICAgICAgICAgICAgICAgICAgICAg&#10;ICAgICAgICAgICAgICAgICAgICAgICAgICAgICAgICAgIAogICAgICAgICAgICAgICAgICAgICAg&#10;ICAgICAgICAgICAgICAgICAgICAgICAgICAgICAgICAgICAgICAgICAgICAgICAgICAgICAgICAg&#10;ICAgICAgICAgICAgICAgICAgICAgCiAgICAgICAgICAgICAgICAgICAgICAgICAgICAgICAgICAg&#10;ICAgICAgICAgICAgICAgICAgICAgICAgICAgICAgICAgICAgICAgICAgICAgICAgICAgICAgICAg&#10;ICAgICAgICAKICAgICAgICAgICAgICAgICAgICAgICAgICAgICAgICAgICAgICAgICAgICAgICAg&#10;ICAgICAgICAgICAgICAgICAgICAgICAgICAgICAgICAgICAgICAgICAgICAgICAgICAgIAogICAg&#10;ICAgICAgICAgICAgICAgICAgICAgICAgICAgICAgICAgICAgICAgICAgICAgICAgICAgICAgICAg&#10;ICAgICAgICAgICAgICAgICAgICAgICAgICAgICAgICAgICAgICAgCiAgICAgICAgICAgICAgICAg&#10;ICAgICAgICAgICAgICAgICAgICAgICAgICAgICAgICAgICAgICAgICAgICAgICAgICAgICAgICAg&#10;ICAgICAgICAgICAgICAgICAgICAgICAgICAKICAgICAgICAgICAgICAgICAgICAgICAgICAgICAg&#10;ICAgICAgICAgICAgICAgICAgICAgICAgICAgICAgICAgICAgICAgICAgICAgICAgICAgICAgICAg&#10;ICAgICAgICAgICAgIAogICAgICAgICAgICAgICAgICAgICAgICAgICAgICAgICAgICAgICAgICAg&#10;ICAgICAgICAgICAgICAgICAgICAgICAgICAgICAgICAgICAgICAgICAgICAgICAgICAgICAgICAg&#10;CiAgICAgICAgICAgICAgICAgICAgICAgICAgICAgICAgICAgICAgICAgICAgICAgICAgICAgICAg&#10;ICAgICAgICAgICAgICAgICAgICAgICAgICAgICAgICAgICAgICAgICAgICAKICAgICAgICAgICAg&#10;ICAgICAgICAgICAgICAgICAgICAgICAgICAgICAgICAgICAgICAgICAgICAgICAgICAgICAgICAg&#10;ICAgICAgICAgICAgICAgICAgICAgICAgICAgICAgIAogICAgICAgICAgICAgICAgICAgICAgICAg&#10;ICAgICAgICAgICAgICAgICAgICAgICAgICAgICAgICAgICAgICAgICAgICAgICAgICAgICAgICAg&#10;ICAgICAgICAgICAgICAgICAgCiAgICAgICAgICAgICAgICAgICAgICAgICAgICAgICAgICAgICAg&#10;ICAgICAgICAgICAgICAgICAgICAgICAgICAgICAgICAgICAgICAgICAgICAgICAgICAgICAgICAg&#10;ICAgICAKICAgICAgICAgICAgICAgICAgICAgICAgICAgICAgICAgICAgICAgICAgICAgICAgICAg&#10;ICAgICAgICAgICAgICAgICAgICAgICAgICAgICAgICAgICAgICAgICAgICAgICAgIAogICAgICAg&#10;ICAgICAgICAgICAgICAgICAgICAgICAgICAgICAgICAgICAgICAgICAgICAgICAgICAgICAgICAg&#10;ICAgICAgICAgICAgICAgICAgICAgICAgICAgICAgICAgICAgCiAgICAgICAgICAgICAgICAgICAg&#10;ICAgICAgICAgICAgICAgICAgICAgICAgICAgICAgICAgICAgICAgICAgICAgICAgICAgICAgICAg&#10;ICAgICAgICAgICAgICAgICAgICAgICAKICAgICAgICAgICAgICAgICAgICAgICAgICAgICAgICAg&#10;ICAgICAgICAgICAgICAgICAgICAgICAgICAgICAgICAgICAgICAgICAgICAgICAgICAgICAgICAg&#10;ICAgICAgICAgIAogICAgICAgICAgICAgICAgICAgICAgICAgICAgICAgICAgICAgICAgICAgICAg&#10;ICAgICAgICAgICAgICAgICAgICAgICAgICAgICAgICAgICAgICAgICAgICAgICAgICAgICAgCiAg&#10;ICAgICAgICAgICAgICAgICAgICAgICAgICD/2wBDAAEBAQEBAQEBAQEBAQEBAQIBAQEBAQIBAQEC&#10;AgICAgICAgIDAwQDAwMDAwICAwQDAwQEBAQEAgMFBQQEBQQEBAT/2wBDAQEBAQEBAQIBAQIEAwID&#10;BAQEBAQEBAQEBAQEBAQEBAQEBAQEBAQEBAQEBAQEBAQEBAQEBAQEBAQEBAQEBAQEBAT/wAARCAkd&#10;BhMDASIAAhEBAxEB/8QAHwAAAQUBAQEBAQEAAAAAAAAAAAECAwQFBgcICQoL/8QAtRAAAgEDAwIE&#10;AwUFBAQAAAF9AQIDAAQRBRIhMUEGE1FhByJxFDKBkaEII0KxwRVS0fAkM2JyggkKFhcYGRolJico&#10;KSo0NTY3ODk6Q0RFRkdISUpTVFVWV1hZWmNkZWZnaGlqc3R1dnd4eXqDhIWGh4iJipKTlJWWl5iZ&#10;mqKjpKWmp6ipqrKztLW2t7i5usLDxMXGx8jJytLT1NXW19jZ2uHi4+Tl5ufo6erx8vP09fb3+Pn6&#10;/8QAHwEAAwEBAQEBAQEBAQAAAAAAAAECAwQFBgcICQoL/8QAtREAAgECBAQDBAcFBAQAAQJ3AAEC&#10;AxEEBSExBhJBUQdhcRMiMoEIFEKRobHBCSMzUvAVYnLRChYkNOEl8RcYGRomJygpKjU2Nzg5OkNE&#10;RUZHSElKU1RVVldYWVpjZGVmZ2hpanN0dXZ3eHl6goOEhYaHiImKkpOUlZaXmJmaoqOkpaanqKmq&#10;srO0tba3uLm6wsPExcbHyMnK0tPU1dbX2Nna4uPk5ebn6Onq8vP09fb3+Pn6/9oADAMBAAIRAxEA&#10;PwD8w4T8jMpVpHId9qlFOeMsOmcoV46gcEYOLioq7C2xy7oTHLhVYDIJbgg8gDaeo9+CkVmpjkU4&#10;KKxYsThvmHUjHA6Hv1PHWrsMceQHdmd4zJtjABjVAQMZP3uAAemMe2f5SleD5YH9S8kleKZXHyhd&#10;6RyPGdqPuzgsw3BTnJDMExg+mMcYfscblYK0W3YsT5V8rh+FHuTzznafercMCzBiG2MVU71bZzuG&#10;Wz2GBw3HSnPCJVBGFLjAQqehBOVAH0/BgfrnBxk1zfEzScKtXlcO1l+t/vGpB8qRyqsuBsAlIeKR&#10;T0BXuOeRg5GeuebAhMaMvULkYGBjdwFGBwQM5HX1zjNPCyRu6RhN6kMjNxGxI4DnOBlhg/XsKkRY&#10;zKS0qsqnPmYGc8cAYHTYTtPTd7iklrePwjirRUJ77a/L+riiMGON0QqinZ80q7lXlzxzxwWzyBn8&#10;DKwLoIkdcmFVw2FVTgEgnr26g5yPqKIkWOMtG52ghPlbEmRtwq8g5zt4XGM4xViNVUbdmRJkAyEb&#10;lK4DA4B65Q5J6epBAwUlTdonROnGPuxerW36CRxqy7SNwJKlCQxbptBIzwSpztxyFO7vSJEoU7VV&#10;M7xw+xWbD8t2ABI5yO1TDylQOTuYr8irgsSFA6AA7TyRjOAcAkinHYxjKk/I7HDFQx28HafYh+Cc&#10;Y5yetVFyVnHbqZNRlD3tf6sIgYeYjq3mOmcjdJI3zE8gdMYw2cbcnPfDwhDkorHbEVkIwS5dgc43&#10;cDhVAA5L8noQnkSuyhjKGZCzLjzCDkoSSenLAkHru7ZqVYfMyg3vI7bvLaYDd82SAFGf4sDAHB6D&#10;pVO/JzJ6fkJSVObqPf8ANafmMSJASyKCSpMcysMDvgHoMdgcgFm9TTxASHLFkDSLC++QoiLtkLHg&#10;98rz3A70+EDeQ6yRxyOCFjUKXVgPuEZOSOQTweO3FOa3BRGTzIo/LVSEQBZHwNwI9fvEc8D0yQMY&#10;1IpOK62/Q0lTklzrbt9wzaXkMY2pGqFnIxnPBIGMerZ6cEelRMkgLStsEYBwuVJGAByp/vZxnrhc&#10;46CrWTFnKurqSpicA7CQrPuPbjae54HpS7FZ2DxMSFTJPl4O5SRux7NHzg5+vFSqn7x1Lb/1+YKM&#10;ZU7J66foAwwO0SDAVVdHLk7kAwTkHgELjttGBtxUo2EbWkjLFifkwy9lyVBBAC9TzyFwOtAjId2k&#10;Mq+cEyZiInOHBIIBYAkL94lu3PNTgKhLqGkMagiRVDpKAcLyOv8AEOnYZxiqi4XcWvef6mvLUc0u&#10;n/DBsj2ozgs8iDGVIK7C5KHsCCTtU4PzD6089UEbAvkqXLk/N6hcjvkjvk9+MRRrHj94MAxZjWQb&#10;UQF0I2+gO5eRg4J7ZqQBZQSjsXCqBKxKoQHYYY9MthuSOg6YJzi4xjFzXcc5NL93/WhIBFhVkIDD&#10;Kb2Yr5LAZUEZ3EMygEj1ycA8SwbIyY85IcrEXJ4GGIJBz1OOnI2npkEq7R7QdpDHadnVhkZ56Y6Z&#10;6fxUpTr8wZInBYRykxoCCSTzg525z9acvdaj0Vv1JjFN+0T8r9yXah4RCVFz5rbSTxnIC8+4yR16&#10;YIPLFUKYwuwSFcH5flQgMGJ56DcT7kDAJAIVlIkOxpWAGFG4O6IQQvH90noevXAPSk/doDIXk5O8&#10;hgwBV9iMpB45yq8ducH5qfMrcq3vt5f0zRTdlBd9fLUaqI+f3gZ1Yx43g7wBuAYduhweoBzxkEs6&#10;LG8cgZUQL5jS7xkLtwAq4z9zoQdxJ68GREZ4vnkO7gKvCruBG3IB4xhSB249qVpFh3MocxhQzqFD&#10;MSNrKAO33WAxkdPSmnzxem3/AALmCh9l6JfqJK3lysu3y0cqGAcOJwNxIOGwVG0fXPTHADHyryKZ&#10;JJJGJO3hOMZ6+u4dB0Hrw+SMoCwbBVtpYAeW5wMkAnqSRjntUsiZ8pi52xRbzsTay8fKeuAM5HPT&#10;AOTnAFOnFe9vbXsWoOFO/ZEJVPKjDkIpYB3VwsYJP3j3yQWU8jr17VNCCX2sqsrLlw6KHGWBAPuG&#10;VMYOeB3NPO7AWP5DBsfcsZcPklQufXG8/NgfKOeBmKE7k8vKsEyUThApyx2s2N33pARkfgMbaqMn&#10;JcttXb7jPmUbt+X9IkkUoCxYkf6wbgGVCN2Wz1GATnHr3IACOCqruQLggvu+YMSC2CMEfN1+nPcZ&#10;sIFG5Q4Yu4Mn8YUYHHPpnOe/1pjxrhm2iQkEKVOwyBhyTg5Gcc+uPSs7JON3qUoTSdNuzXT+uu9x&#10;F8p8MQoDN5hZfmMhAGRk4A4MnHGQmOpC01DvMQ2jceGJfMKZXcF9eAvfsQfXEscUbKDl1K4KsVDu&#10;p35Oe5H3yQePmPHUGIrv2NuYsCSFGACyksyDJ5Lc8e+OvRtxcozjp5l1Kb5U6a6bdegKoKjzZXfy&#10;0BAclyNnXJLdgp6D35xzOWX5iqKzKDExL/MRubgk9CPnz6/QAVHsUq6byAVWJ42BJG7AfkYOME8d&#10;gvvR8xOwqVYhnHOw5zhsHA2nOSM8keuAKmU7O3f8ioyUJJvoSRNHJlCsm1GLLh87V5GRk4/E9wOu&#10;Kf0YkEmIHdsV146FeB9CRnn+saMRjfuClzAyJgg8upBGCeq9/UZyTUyKgyPm2ugOGyyJ1Axx6kqT&#10;jJ45GQANN1Hfp/mL3uWUW1bf8bClQGiZHCrtZ9u7cJMDOW5B4wAPQt6dHKtvH8x2edvKscgu+7qc&#10;9Mg5OB6d8YpisVQRsJCHLByVAU7SCMAc85Pp93tTwQWXfGSmT8vy/uwG+6MdACSce3cZyN2919RR&#10;V24ye7f/AAf1CSHaAGyymMtIocvjGA21e/Pb6+tMVwqurqxiy2TgOpJOByPwOSOM8ZpyGQFAGLqj&#10;4jYAucLgkj1PTgdA1PUFdhdgqBiQ4GODwODyCSe3pVRjaFpijKSi1T+FpfoDEYJlVVRGOWQkFQQA&#10;DgknrkgdscnvUAKFgVV3RgqkR7uSG5bg8Z5GD09OlXF2k7YyZYySXDuCXLEtjPrjIGf5UpiZgANy&#10;IzKqgOB36sc47EY9BUKWkZdPQF7RrTff9fwKq7W272BK9Jt4QrjBxuJ43EAdeTjFSlVUKGAY7zhd&#10;wQ5P3fbPPcfzoCqgaLechmWN1jDDPGc8+nTrg7eCKaGd2AbcrRlm2IxDEDAGBjIGMkc8VpyJWutP&#10;63Lipxkpy1f63X+RMhkBCyEbZfvk/LIxkB579cg59+veoT8wMuHcRKRgEA4yAT+vfBH1xUpiRERk&#10;XaSjfIWJ3M2TwccA5yBzgEd6jT5sYy4GSu1VQnHXgjODzjPXPcciVyp2RFRxUkmt2K5ZmTYCVOBt&#10;3oXG7LLnuQ3OevOPUU6OFEU7wMly4HHmDO5sc4BwN3Bzx0qyz7QVRVErHKxhcYUg84GCCxc+uAo5&#10;yTiuy75OY8qAELCMZDZGVPf23e4A71qpKd1fYuNNKfNFXvrr/X4COyAyH5JQx3LsO1C3IBweRxnr&#10;gjnK9aR9xijXerB0McieZjcCFBAIGeF5AHcnp2k8oFX3gqxYdEA34Pr69AefTtg0nzjG3CMrDDcE&#10;Dk5IXPOMN65xjFZynFXhbX+v6Zm3JzXNt/wxKYwyGd0RSESPGBEoJwF5xjk4+p470nkt5hYNx5Zw&#10;ofb8zFSCQR14GOeOajdBLvYjJJ2YfAJA4yAD1wcEnk8jtxJmIDLKNyjaCFGCM9D1x2xnP61KdtG9&#10;V/wCqb5VqvMXywCAcKc5BPKAnqcjkDPPfOBTe2xAqoAAW3E8qAoGc44xjPX9KWIFkBmwP3m9wvyq&#10;c5A6+vHHT+qTKkbN5YYKxCkja5JyB06+nTnH4ipik5JLf/hhxV6TaWi/UeCEBJIUkFGBJ2gc8DPB&#10;6D9ajMadZGcYYzbS2QCx6k59wOcfeGPZ8owsaBVd/vO5UheNxDc8E/dGOMYNPAWP58oxkUlXAB4A&#10;GPbI5wTnn1oXuxSls/8AgEqKSs9hIkUF2w48sblGAqA4BHzdedwPX19M0AlgCuAocgYYKvJ288cZ&#10;zjtgGmbgQGMZYsBIseQrLhs4AxgHC9OnA554epICfLI0ThlkwRtBC7Y93sSTnuQx64reTio7mnvw&#10;glHp/SHEEtG6P8igAYUkKQWYEc9AeT0HTrzTFaNXBkYKQihW27ywO0jBzgYHPAPp3DCePBkjMeQd&#10;ryOMBoUAUMcc4H3ew5AxyOChQbUAUshbhjwOpI545OSACOw7jjGCiopPRf8ADEcrTTfX8xozlUYl&#10;VkbdsX5i+DuPJOBjBPvtGOeqINokKuWUv84cng+uef7559B9KeY2ZlcKMgZzja6hQcEgEAD3wc8V&#10;CgKSbmWQdwF6DBPJ575/lxTc0vdWuonKnZRnv/kyxJueRWD/ACSMFBdwHGOjHbgZ9eM+tMjj80LG&#10;x3sDkZywQqeMZ9/8+jfLITDqWGcnJwNoyMYzw38Q/wD11Ou5H2sqmRyU3YDM+cEEnr2IA9cY61pK&#10;zV472Dlt7rYuwqFw6yhj8oAGwlgFBIzkZyBj24OaCMOuMFiuzOSV4b+IkADp/wDX7B8mfJWUPhmk&#10;UhkddinKknIP+0M+hz6UxdrE4G3cRIGl4D5BGCvTHPT2HoKjnUbta9Cb+zjyzWn9fqSMOFDFJCGD&#10;Hy34HfDnOMnIH/AqUbWOZCXlYBhlh82QBgDAx0/8eHXFNKoW2csuNrtgsAwBJ5x3yD6YUcdTTyqo&#10;sZxtc5ZW4DAg4AA6988//rTaesF7rf4GylbSW9/l0ERIzIJEYq2fNaTdt+Y9ApHPHGPr+bhtDZYh&#10;Fd8YXAX5tpB7jnAAX2/AI6ZAVX8sgbgQXjKgsfvN3AHJI/XikYAnczkzNEpI2BASVzlcHAIAAODz&#10;jOM5pU+VtTi/+AZOElZJ+pIy+WZEVcFY8oyyhsqACAwHPU989TUAC7IZGJOGw7I21s5Lc9PXPtzy&#10;eMTIxmjClmD4YthdqjGdxXoOF5OKAVUqdpYEDawYAc4zkdcjqMZ4BppyUlz7+X9djVQhUfuvRESs&#10;FYqsm2NjghsptIODn0xzx/hySbkUMWYhXP3Th2xnJx1IIxwD/hTFjdAzuX2glBhD84HRhx0PHSrM&#10;MTy53vuEoOcqdpUAvtPbnb9TUzklUjJszhScXe+t7ELR+eVU4CbSXAIIHXI3Hrn0/SphsRlEgIDA&#10;MsmdoJBxy307j1HtTRHtGxxujALBm+VgMsOo598H1GTwKnQp+8ZSwEcYSNT0XC5GB3wTyB3P5udT&#10;2iav/wANoaRipJ3Xvf5iDykcHc28lgNxClWBzjA7EnPP9z8KkDrsRnkJ2M2WxjjlgN3Uc4xjnpzU&#10;WFaMNI+Qh3q6fNt+ZSvPqGAxgjoCD0pHw5RVYqWi3uRgF24wpHIyScfTJqYyg3bsQ370rK6I5V8t&#10;22sGYjy2IBCn5jjp9RycfQ9aekpdyoUkptPmOwCPtZRjOcg4O7GOx9RS4QklYyEQjaCdzA+578HH&#10;+cVOkKF3UbV/i3EZ4I6fhz0rVxjfR20H7Gbai3ZPf8/xE/dDawD7I8srlwSckkcADgfMNxPGwDkc&#10;gkdSzK7bcDcV3AKQTkDnqMfU49eTQ0MjMfnLHeCQSSxAB5bJzzuHXqVXkcioW2tggbSybQQch8tz&#10;jjsSeMfxGlaLe+n6lyjJqyVl08tCV3UuQpVpPvlVBJAJA7dhntwOORnNNXoAN+7IkwRmRhsGCT0+&#10;ZiDn0Pvy8LtViPNUDouPvnnAP60gjDb1YhWWMt5e7G4njOfQgrweh5HpSbjFc03oTac4+67MeBtc&#10;qvIMjkkkknA4Iz/CcH9MikLBo5XdiWBAUMS0eN3LAY/u7u3BAGcdVIAwHZlySoZuoYBMg4JIz5ig&#10;9sn0Ioj2SCVQG2gDgfIVPY+p/oc8emacZSUoPQ0p1No366+v+QwlVVmVcFY/lZSSWwfmPHJzlv8A&#10;vo96V0VSVDDAyMRMCshVj91gfu/Lwf51MFwsY35QFhkKpEjEjAIxkbcHGT/EeegFcYw/lgowO1kx&#10;uX5QeVB56EdBzjnGK2lPZxW5mpQglC3vP9BqxuAshePmLG3cUQnqCQOeCW5Gepx6VOm5f3oBC/60&#10;LKokfIwAdoBBGAOMdhxSERFWByowVQr94gHcSe+MH26ntRudclWzg/vEkGxUBI4GeRnnHTgD6UOa&#10;5E3v5dgjCLTl0f8AX3kQYeUY+VkQh+cMH5IyTnkDjkDHzDoacjFlVnOCGDKHkyofCZI5ycepAB46&#10;4IqFXYEs+D5fyMeSME5OBn0BweRnHSiEyOzY8wSM20jZuaIAghQM+hOD069KVnJvsZyaqSUJv+lq&#10;S4KhRyFOEVTkhjuHJXnIwefrxT1hjIVg3zMhZgDkbRgcfQkc9OfplFOWLlsAscAdAMnp3wMd+vqe&#10;aaBlN6OQqpkRnk5DjcpGOn5dO44qZN8m7v8A8E0or2ast/8Agj5EDKyIcFSDyBjvkE9Tgj9D6VJh&#10;JRJhjmHBXMgA6AYyPY5we34UzCgx4ypVscjCjJ+YEjGRzyAeg+tTNGE3mQrjzOFwQep478n+gpXW&#10;kI7/APDEyUVFtrQEdIzlcbjHnAbJB4ODzjjb9eT6VG3zsQ+0IWZlOQWUDJA4HXnpzznmnsgWTarN&#10;KrglzgDjopI7EhQSOnoSMGnNBtJb5sOuXZWAOQFwFA7/AHvf7vU5wKabSb1NbySUXa21vkiFcArk&#10;s8cfOB0UbsKAO3OTnp835I6rIGYgD5MlPOYKG6g9OmCwPB/SpWjVZ2EnzKVGHwCvOc8jqOWOetRS&#10;IgY/eeQx/KNhZVLEfKSD6g5wT+tTBxjJt7mTjywcl3/yCNYwVdgSDlldsxyFMnbuB4UgYJ9PenLt&#10;l2/MSWYJGwJAZv6cnP4jPSnh1RWGZCQxcEx4CMcsjL0AxkkYB64FNWRFQDYB8uQABtTGO35D3LVb&#10;d48smV70IJ1Nhok+4I8q4TgAFQVIyflGPb8ck9M0/dCyjeVBYbMq+CmM546dweeegoMW1hMcSMhI&#10;wBjcAAozjrjr+nbFI0Y2xSl2Uu2cg58rIAJxng8Zz+HY5i8dhLnTb2Wv5oUEhVMZICsNokAVs4A5&#10;7HHB/wDrU8FAWBJCp+7OeNxVjke44HPrnrUbeXt3oCpUMoVRuxkgKo6dQOMf3ieeAHeTGoQorozD&#10;O5OWwOgyDkYI/DFWnGSutGPaLktZafd3JWTefMVVDH5ijfNGORy38hnnr75Y6joq8MQqqACXxwqo&#10;ByCcYHrkDpUagYUhmJOEPIEb8KC2DzwQT2xuGeadtDs0isA2PkG0suRtLZBHowOR7d6PZxUdXrb8&#10;WL7Lcla43D7XkXa8TKHUkgRuNoOfop3DI+vXpAIzhPlMhTAAJzIhxgoQec/IxJ6ccHsLpQvGsbkj&#10;fKSZGJQs/Q8ggnPBwP731qu0Wwybt+Rneu5SYymWJ/2lwCSRwBnOKHa3Lfd3IbqO3WP/AAxUlAZd&#10;qjhgwBjJDMd2R17cEjHUE+1ZgR90eCiMsgZ5HfIUYcAgA9SwXnnADdSRWpLFGFjxhgVIRR/rAxJA&#10;7dOjfifQ1Tmtkj2q0cjdThkzxnHXPTPH/wCqiFpXj8y0qknFtbL9f8jFmEQcozpHtYM67gduR1I7&#10;ZyMHrx6E1QuVVXYswMbMUYlQycbQO+CWA7j7pArdnTcJVKlsE+YzKFaTJPzZxyB83Q9ay540TJlY&#10;hVLYVyfLYBUIbP549SvrtNUrczgn0XzCEeeMot9Tn7mMOwuFZlyGIYHzJGJ4OAOeQ698HGATkLWN&#10;cIm4DenmSKzRrv8Akf5W2/lkMfULgmuknhVQy9VVSvBySBnkcgZ+UHjngc8jOPLbsXZ8TMFCiH5n&#10;2k7GAG3p91+PXA7ClCaa5o6P+v8AImKam6cXq9v68zk54swkxsfLkXdvYcjYSGzjPAXaxxnknj1x&#10;p1liBZoiGMjglhmTHBG4A43ZOOMjkcd66uSAbIt5aRd7MBuwDgFAqkEA/KobAOR0rBvULA/MufmU&#10;OAC56ZDH224yOhJxjJrojUXO4P8A4FyI0pQ1SOWn42ufvYJAIwkiKOeenVm474HXFc/cqXZgQGYj&#10;KF14wWJwccdWJIzzu+tdZPD82TgKo2SKDggtlTgdCu049jzXPXsJYIRuXaqyrxkoegzgcjIXJ6cn&#10;NW+aNlLrqZzVS13rt9+hzU8UYm2yBFIUeYHAUuSDngng8MAB3HSsiaN2GxXVUQNhkZd4wSqsceuF&#10;xn1B7EDo7mL5mC72+YbTuwpyRgHCknI3EDjrgnvWHcBEQ7xlI12eYYwCdvD7sYAxjOemRWkIwfxb&#10;r/gGFVtLmSa2+exiyxqzSL5citKzYaSQ7gQAvJOCTu9B3ziqYjKAmY7U8xeSAXBGF4Ixnjt0yK1T&#10;G0gJxvUOcqzHPQ9uvYE9s9TVGba7BjGBGZREInwMgnB+Y8gZI7DP1BqoRdOLil925EF+79s1ra35&#10;X/Uqv87SZDsjxGSMIwLMVGSp6YHU+3B9qRWIVwAQu3IBGCUDFj8o6DIY8EYJJzyTU8yMefmEmcYV&#10;dmQSeMdB6cdMVFEcKW81iHImWInYM8AEjHBxvPH3ckZ+YitaaShe93/nYfOvaXXX/gfcRMI1JJVt&#10;gAIMhBDEckeoz0xzz160+QDLoED7pPIDtgHgh0GMHt82OefXrTwjzMCruYUUvuQZIABO33Ofryo5&#10;qFI3RCVkdXZ9kYYZR3xjhSP9rjHoMHODU2TivJltXqOcX7un+RJgM0gI/eBQTubCq2OQ2O2foADn&#10;2IrIzNIPvKT5hK4KEqQpHBwclfbjJzg1Oy7Q+3MvlklAfm/iwxI59hxkYI98RCJPlEhZR5e4k4BU&#10;4yenPQsB9felJxUm7/f2NJQftHCcVpp/XmQAsm/qSIyyMxA8wgrnK9eA2eBjg+2XfN1kH3ASysNu&#10;0Z74688cYqRcM5DBwjtgIwzzwQAPUggjNRSD5YWLvucZJcCRowSTjgYxwf8ACrUpP3umlvkRf2cU&#10;4f15ix7QDJhisbBVfYQT8u3DeuCQoI65yCeKRFEbgkvJhi+QFIAAXAxjG7LDj0HtkSTbJGhVt6Lu&#10;MioxYYO3JG3PqgB29wvJxkNQAoMbwRskdSSDJk/MBznGMcD1PGTQnF3k+un/AA/oY3akkv6/4fYU&#10;LE2AAsUkag7i+UTJyN/JxjODn056VIVQeaFZyjOGXzFCsyqQSMYzn0wecn8HLGwQTOu4cqqkgZLO&#10;F3dc9entk4xUgX92zNvLSFtyqCxZgcszMfUgjA9SaS5ZR1e3/A0NLWm7x3HRgZCb2CeZ5kaAlFYD&#10;I5/766+59q04BEocsdrNk7iTkHuSffpyejHpUEMP7+GEMrbwIpJyu05GdxPoAdrc9+wHXUgT/UqB&#10;y6l2d4w2AwO3OcnG4546YPFNqMoJQWt9AUZSU6idrafkTQRqCr7WLEBHIBcsWG4ED2GRz0wea3IY&#10;ZN43EgOQCqSeWjKcMcA57beeTkjmqcUKDy18wZBG8EbhDzgYXPBbdjr3Hbrt2Uaq/mMCVDAkj5ly&#10;BwNuMc8d8ADGOeMfaRldx32/r1CKmmk3tp+RZit1R4/KIJLfuyrI4lchDHtAySQFwc8nOD0ragDx&#10;lWLFFVt0RRiJFwwCliTyee+DhepJqCCIkIzN8ysJF2YQg5bJz0LcEAZ79q3YYeViTDqJCVA3eUVI&#10;IJAOD/eHI7k4zxUTceZrfRHRRpxtLn2WpZtrRZHV1IU4ELKo3eWEB+YADuO/fke9bNpbDzIol2rK&#10;y/O5kPy5ORtCjIOR15wu/gkgrBFEY1XynLF3ysZflMEYBH0xkdMEZHWt22hCKPMDhhGAerYxuAZT&#10;1GFOBnGOT3xUc3JJ1O235ApVIpqyTdn/AMMTW9mkaMY+JHj3QqgKtjIBQEnPUA9D0yOMY1reJtqq&#10;VbzVXyyqgjK/Lx36kkY74pltFhinlsrby8m0hMHHHBGcjGOecc5x11LaEMAo8x3DRqGRTNI2N2D3&#10;yCZAfQBR6E1nzRUXFu7b+7Y0kuSlBvW+3zt/kECRO0hLqVO1dzcNnao2nPcDaDnoCO2K0xE7GRx5&#10;SKAAPMIBbLfdGeMgDjOMkgDOQC77MfOUusiOEG0soAPOM468jd7dPetKG33ggEFOQCQA2QAPywQO&#10;OoFTNxc22u39feVyO/u6r16kMUMbtu2ssTuFww5fqQfY478fQ0sNvGu15GUMnBjGAqtjZySO4b8T&#10;3q/DbjOSZQFYgZG5cHB5569evp681baM7SWJQyRkk9Q3p+GQOR6Cs5TTXKlZmkaaupJba/gZmI84&#10;IXbgMBIAGUkrsbJHHDduu7rgnMxjXDMCdgKnEfzMhIP3Tn2/UZ6irKxCIKrI7MGZWyeoPK557HH+&#10;eQghDA4ITI2lAQMcqARzz0Yc5+/19SUlFqS1tYanK7U1bs/kVZQGVSAwQlVK7s8Z5OPTjp6n3qUJ&#10;GjRsp+4NuTwEJzwPfAOfbrUscMauzyyzKFyrZIARc4zgYyePyY0+JFVfLLlSiq0kefNKbgMAH04O&#10;MY6HoQQLVRyl7y0E4TnKN0u49Y3jWSMD5WIkCfwniQAgdAQHbnr8x55pjeVGAysAqoFwGGflwBuH&#10;bjAx6AU5W6xrK5dtx4JG0cLnr6Y/HB96gdATEoVfL3bGRnIZiRkEDgBcbeD9fooxcpSjP+kNtylz&#10;RW2lvmKohc4XlySXxjccZY8Y7YHHtSlVcMvUAgIpIwBjoc//AFu/vTtqJ+9QSbnXMKs5jlG7HDdx&#10;3zk9+vTLY0B3ZyQo3HB5/wB0juMjp61UpSVu2w4WqtLsD7QIywOR6gYfk8Ed+APXoaGiQf67owZf&#10;vjsCeR1xhMfiM96XCfLlfnQYI3ALgYXp07fX6ZpZIwT5jEjfucfLhh1BI+bPILd+hpXSnyWstvuD&#10;lkne913XmRrvZ/mDDGFyOVjBHUkd8Z6+h4qWMx5EaumQPmDHLKMjDHnpjPPt7UAbUlHzSsy7sLgR&#10;xqAMtkd+vsNv1ps/mBd8SMBlmUMAwUk44HJIUEYz2+pFHNFtua120Jg4wfLLVjpBGhOQyhm/hTOz&#10;o2Bz1AI/I8UwlWUIUI/e5KhiVBJzj1xn1I+o7OUIxIO7DPlUJJ3HjOB26/y7UoVE80+YQkhJYFcE&#10;n1GOnQYxSlCMZ6/1sKMJSmkk7DZAqkFmdkbIderFgxJzn2YZ+vpTArllBchZSdyFA7A4ByPqD/49&#10;QFhMYeTlyWyOQdvoR9cZI64HcUSKwjkRQQWjB5Hzk4IPHbJBIH154pyfNZrrf9BqKjzwWm33W1Gs&#10;kZjXa/Bc+Yu7Lkrj6EA/y57gUxNqIYVIcNmEshARgSQxyRwCS3Hp0x0qdoQkPl7mkEuJSPLUlD0w&#10;DjsCRgVVfakIJmKOrfuS5U57jPrnv9apVEoqy6pjqQd07bIRplzvG+ECTcNilmjH3uOvIz68dajW&#10;IAs7P8oIBKnbtBBGCMc9Tkn+8Pc1K4ypKkbTI7qCu5Rk8Z9c+nbNMY8L8j8MXkU8IAeAQ3J5J/Sl&#10;Tm1b1t8jC/LN8z9RuX2t5QVyB8wDkKSCDwO/AIx6t7YKDzDIAFRdiHKAA9euR9dx754PJqNUcFGK&#10;jc2RvGApwxB4HU5AAzgYz16h7lt77HO5TvfKqVYBc53Hn+EdOfmHTpVRbSu9TaLtBSk9LjDt8ktI&#10;AWlQBVWTJU5PHqO4xxwRgHmoWjZco7HYQC4EmdhGev8ALHsKmlO/JAdVbG19oUyFgVOT/EMgj2IH&#10;TFV5FyCuxi4O0AOH8wMSA2OM44xjr+VKPNrKYpNxs2tOn/BEEcXMiyHHmY2suzzFwSNvTbgsOnYA&#10;VLIjM/lyE4A3qxJ4Pb05G0HJ5xiniOHdJGAY1JwY/uAA4PHvkYwcn60gQPhNrFxN8vmHzC+flGD1&#10;yd3649h0RqOyT6K5MvZpRi7sHHlRlmYyBV42sQyZO5SMYJIwRjng1VXEhk3n5VfHyHlQEHv1BYH6&#10;EfWpcHCgkhowD50QIDDEZBDH03RjPr04OKcUC7gCEUgRlt2CzEAlee4zyB1z16UqVRXVNLqDqQi9&#10;rJ/oV2iAUOQ7LyFYOrHYAGK7Tk5z/DxnjnmnMlu37w7nQMoaMHlvl+Tj0wMcenpUgEYYAmQfPyuN&#10;6njODxgDjqTikaIBPlCgtlVBUAHOBkEc+ufqaT5Glzb/APDaE2UmpRXoQDATY8YCliki7iTlRhxj&#10;0GGznOQOcDJL2Zt5dflVk+47jco5BAwCAOQM8nHXtUjorMy/OJEjwuTkA4K8H16jHoenNRMoLEM7&#10;JjEbhTuKkhQAOnPOQc5z68YHKSi5Ppp8gUHNRXo7L8CqmWAcbhuYpLhvvHj6+oGPTHpQ6gpiMsHD&#10;s5RseY6qCmRnJ65zwMdjg8WmEkJxku0CbdyqBsBBIZiMDIOPxx2FU5YmdgmGeQYZ2JIJ/iAIGMc5&#10;5xzj2q17tpSstPkVNyTaj0a/yGSoyMVfzArxkpJE4Uc4ORxnsDnv+FRhWw/z58tgEffjcB90nPrk&#10;Hnnp05FSTKk/KgyDcCwOdpCt8wzk9QHXHv1zVc/dcKitiMM5b7xwB1OeuO3YfWri1Klyvf8Ar9DO&#10;9XnVrDQSqhI0wYwUKBjhQOnXtxmoCZHdRkgkAEhwWzjI3YIyOCeR1A6YqyVLyPtG4Yb72X7hwx5A&#10;7DntS+WC6cvk4RUYfMylCQe5wcg5xggdeaUZKEnbVf8ADCftanveaRQlLD59uWRmikGQqsU2qAG6&#10;AFtwwO4Y/VrxtkgNIvztkM4OQAVOQR6A4OTkgcZGasAhTEHBZGIjZFwWIGcfUsFOOecHPelO8jBC&#10;lgrgOyAoW/ug4PT5sE/3hx1NEZcjule+3oZPmV4OV9vuM90VTgDbHsOC78fI6k5zxkjuSSdxAzyK&#10;ZKoIXnZhjEVMh3AEgMwzkAD5jgY65P3iatsAWwWYqyKFcoArb9vAYHA+UdR9fvZJryfOSrNjbEWw&#10;oCA7l24GPUMeCAATnA2gjePK/ea0/wAv8ypU3a8n73X8LmYYGkJdGCqxztKqrKe4IIyCDnIPOc0V&#10;oR/ZAmJbgQuGZWjwX2YYgDOPTHHbpk4zRWPM/Mm1F68j/A4BIySSyiMpgA8b8n5kOeOcEY9gDVkA&#10;sF8lY5JGcCOCKJvNdizIUVQCSQSvXnCkemIipnVDFicIQPMVdobPQ8nkcMOCOT04xV5YgP3pKoeB&#10;uYhY4sgFSxPTIBPODtOexzDUWnz7BHlV2utirGnlCLIMpKEhHOwMduDhj9c+nz98VoJuDzq6qpAb&#10;y2zvjUhMLkrnqcjOQOc8CjykUszK4MX3kRzG+AVJAx/eyFHH8XXFIqrGwJ+bMwjJA3qrqqksBjHL&#10;HPU/ewaItStF6bjk5tad9LfmSLCzg7o1RDIo3kb84O8c4GcE9vU9OKnjQ43q4ADFgCSS5DDJ6HqG&#10;zn2HoaTEyRnEh/cgyLkuzoDyoxjpk5567jUqq6BYg0aCJ9yFQBHhWVQgyB1Vg2DnhT0rOUnDWO1t&#10;EOyScba2HbUVWAhJUJIjYbZKpKvljzjPO0gHJHrjkjCOrFzGxcmMkEBd5Y479ApbkclkyevDghDq&#10;DjILIy55PCsTjIABzj6tVgRZG4ljIsoSLdLtYYXAVzgA4OACTgYx6Go6Jdf+GLqpvV7dyCNeIkyF&#10;C5jC7ShjG8Pk4HGRvBXplzx0xMqphxtjd2RPM2lCRk8gBlzzlQBweuc9QKjvLKNrptjBZHXDSqFG&#10;ScDIxgnBPT16U5iFZQiMZjGRNuYxiTp8wPGR+OPccimqkowtHYTatdvrqJEQgmMgy0khPDgqDubI&#10;JPsU+hXpzgPZRGuzBB2lzGh3OGyGznHPAxg8fN64IlYGXy2VWb52DhcMQQAp2qMkjcCo4/gHXIp0&#10;bJuBbdlf3iSBA0bDeFGBxkglG5HJQ8jjGcZ+0d5/F2KbUZNtaf1/wxEFlaRX3ZBG3bnDqF39wAOe&#10;B/wE8nOaUMzxRqSjE4DAkgNnCsBggclEz7gHkg05+FXe3Uk/KeEwSOmckcZxwT7cU5WKhBGrPM6I&#10;wP8AEQcgBecgghTwPx9M3KaShbX/AIYuy/hp69+4m1WI8xnjUO3ABG0rhcZz8q853EdqQBZJG2qs&#10;jPm4ixnEQLMYyFz2OwZ64ViM5wJY9w3sXUAbsEqV3HONuOpBI4I6U4KSGkZfKYSMHUMFVSc5+bHG&#10;0bcL1O3r0pw5Vq9dQbTh7nxIiEYV2lDsFLbcbQhZWOCu4dMbEPA9Dxxif5Q+1oUeFXEe1TsWTBIP&#10;XjjO7p2FMRzKHxGWJ2uiZVguQobO7+HhcDPQkY54fIsiKpjd1LshaQkLCJFYc8+5BOepx+FRqR5k&#10;ns/6+8ajFNX33f4IFidiVYK2Udz82UB/hBx3YEE46dOtP8tF+0EkNHnEuRsOGAJw3bhR19RjpQpG&#10;5ZHwsLSSbWDLgbsKvXnAKYP1JpAwDKNzAJhfMZC4jGeoIGSfmPTHBPXpWUU+dpvT/hhtRVFSeiX3&#10;9NyZEZriRQjIAPIfecFsORtAPTkEkgY5x34miMhUPLJKFdy5jK7FlUsDhs5Ocbsj/bxzwaYCDnIT&#10;cysu2MgKpRwGyM9sEHHGTU0aKSrqEyX5x8x+8CyvgHsevbJ5G4Z0i4uXLN3/AEHTSUeVLbWxGGJA&#10;YEjcCqurbg4AJx06gdunApxMRP3CxbDZc8KduFU4yAM8AcjOOOakaTAKbUYR7VcIDg8RhjjB4/eL&#10;nPAz26hH/ePGTlVb5HRDtdiuSN3XoUBGfalyJavz/wCAZwivZyi3e/QrAbx/q1HBMeRvRH2/OTxw&#10;SADk4Hy1bEZcQIFPlu+1VwoVBnHp0GR3POfpTWJKOSpJyXjKr5jocAN8wHuQAcHocY4p0sYKhMgI&#10;Zd3lHcqYB+8FOSQWJPzY4Oe4ycznbp3/AA0/EfKt7f0rAVRwkUuFj2tlmBUDHB5ZQR0Zcjg8AE84&#10;cPOwibFkIQhxGf3bZUHC98ZZl/TpRkHyjH5aFAGchdwUbhxt7YB/lx2pYzsUEBklIwdgwo3YOCoH&#10;APr1GSTk5qOZ8vuiSeqjql948OfNXaWd42GXOFVu2WAHPfgAAZBxjIpcIhZvLTfGoZiFYJEDwSMn&#10;nheg6Y546vEhQRt91lRcSZOGwv3v58k84HfNN8uQKMg5ClSQcNlfmI2/eySv47j0qoS5Y3ky3CUU&#10;m46/oPCKAWDEYGASwZWLH7pBHcBjxjtzxTGjZBu+VPnBWNFIQjeBk4/vZXj6HvwTSZlKpsyv3Cyl&#10;Ecb27Ec/dAz05B4zUnmSB1kVsNvUMMnOR87BgeOx68dqqMk9tUzSnGle0vw77jGkEhVnAi+Qj922&#10;9CFyvp0yxOcZOTnNDzBhJIpLrvMsxUcyM27liep75/2jxxmnymJFYgJ5zY2gB8f3sH2+U5PT5u9R&#10;bWYyHeTvJC7j90gnv9VYY/2PrUzu43cfT8F+Ji1VjUs30/MYvmIxCjLx4Xzm5Q5U4+XnplfTjv1x&#10;KFY4yylCnUtuYHOMH3OTxn8+DUI80osZZI1QkI5IMgbBAPTpkjp27kVdaNSAIlZVRwhR32BRgKqg&#10;nHQBhkkjp05zU3KPu+QKTi433/IY6qzGPy2UqcsGzGV+Vefx478B+p6l4XazYLqcY2IC6TZBYEDr&#10;wSBn1zx6I0jsDEygSMhCNjp0GOe/p+FOVUkQJIjIUIkDPg9SrKM46/JnIzyoqXzX53/X9XNOanN8&#10;0dG/6sJgMZZW4wFAY5DYXD4znodqjHtUnCtHuLjLsyqygAofu7geem0nrg4/FdodWhZVlk2EIWGA&#10;xyeD06BgDjg0vmM+8uyuyOfL+bBc8n5vrzk05QbScumxLhyPme1vzE2eYoQjYgyzKgw4XJGOORnc&#10;ec+oHrRiQoCY8oWQggYIyWJByBzjJ9fl980/fJlZHLb3P7yEfvGcbMbGbsSx5JPc96kBj3yNl+QQ&#10;g6lwWJ6djwDx6+gpJL2Tj1uONopwe10/wK7rtZW2giJm8x924Lk4QknkZGcr6lRzgGppSTFMik+Y&#10;64ZXXDRsN2cAjorZ4yDj8cNDHOyUYXywCCCGfI3Abuhxj68j8FJjVdgKxncXYnncS2SG7DknpUOK&#10;cbNhzRpxUYa62/BAm9pC6KsjSE+YqncsRDbs7c9hxkjHzep4kVDJISecgsyyuN2EwQQuOBkDGe/P&#10;ajbIoI2pjcFnkZ8Eg+voCQD+nflFyJysjqd0ZDIpwgGXwB6H5+5ycZxwcW5NK19bfqKlaMbu9v10&#10;Bh5g+U4Zm3fujjGDwC2BnPp14pYVWPM2SCV2kKMBcKCD6ZG09ffmpQpMW7JcKwAdvmUKMDjoD3/T&#10;0pp+ZIkUqHY4YucnkkHPJycAZxnqKj3+XkktLlVHJXutrfeDt5krbdocSs8aZ2kLjBwc4zjvx1OT&#10;QqqokOxy+SwBbkkDPJ9T2zj2z0pnyKQ4OVD7zvPmOQDwBgdxjOPU9O7HkZtyOxVljypbCKVPbPbB&#10;IJxzUrmcvc9BQnyRtJb36+SYskTh16hthCuzbmGQAevTp09qacpjYUDxYEixkMr5JIUnHTr/AN88&#10;VIGEm+MnepctGC371l6YYdecH8DUiqygKNkcRfaoOQRhVBI4x2A65+XkDK5uV4ppu/UJtcj5VrcX&#10;5FwQ21lOOct/CDjA7Yx/k1XCHaZJ+CXJUbAFUbhk4ABwev8ALA4pzRAttJ2ArlSx3IvfOT3GAfw7&#10;U5SZVByeNrNHtKk7VGHb8W2AdiccZ50ppK93e6/IU7zi3tfT/gscrlxHklWOSyuwbJyQOQMDcNoH&#10;p39hDuVC3EqjzMopcjA+ueh6+gOc934RmCqYyiMyjj5U3HOM/hn8SeKjSJQ0jKyp5mEkmk4WPBHR&#10;hyR0Py+/BqNW79w5pK63V/8AgEiLkOxHylCW3DGOMKSCPUjr16VCxSRWGSJQo+6/lgYOSoGOc4Az&#10;kHDH2xMzB1IZiA6gKT6qwY9e/wB0/ie4p4b5ASVV2k+QkYDbQBkt1AO09M5x3NChd2+ZpUjyuOvT&#10;X8BgDMVO2LllyDgKfRz0z05xyc9KXBkR8NnLfKVIyvQ8ntyB19PekIdmTeyphAzKjfKTgcnuM8H8&#10;fpiRZQgMaF9uQcElRgA59jgkHnoV60KNtV0IjJ8yuvd1VxsvKERjdz/rWOCDtB28eoycn9RzSiPB&#10;aTa6YZRG7gjBHUkA5OMgds4oWOT/AFbSMGD/ALxiudxBPGcYyVGfl4BJ9KlXgyPkYj2h+S20HAHH&#10;/Ah+dFlTSjuaKCm7xew9gSZmUg7kzHubJKKcKAD8vG3GRjoacAGDLgSBBgncATyAWyDyPmwKjdAp&#10;8xQwZchAoySeccAZwCSSPapUVSeQdu0McAMTjGAP5H0qeVxim35/kjGEVey6/wBbkQgCR5YlipBd&#10;XTBPI6nGQMgfSpSgbeyIoMg8vJAO3Korcclc8cnnJ4yRmiQhnYqsgCfvF2sEYgFcjHHJLg56c1CZ&#10;HO/cNsY4G59ruSGJGOeg5OB/DRHnlG3bc0m2qatt36iMu1422grLIzyHOVQ5BYDA7kkn/wCtVgne&#10;QMDefnDE8AkZG78//rdqY2QGRAkj7SxLZG47s9h2yDz2HTk0gaRNisQxKht2dxI9AcE5xx6Uczs3&#10;HfcjlU1z27XHpGwwu/Lk43MSCPp7dM++KeIwFSEIZJCdojAJXccqMAH129M9uO4Y5+YYDPuwqsfl&#10;2cEqT/EDnORycnnFSqBuWRixYAbUClwu5lGV7Y+Y8HBzk0Wm23sv8iqalGGqvr/TEMYDR5XkDlQu&#10;0HGMg+33j+NDnepKhRL5hYRlQWzxkFuMDBJ4/u+o4Y4LYVgpVvlLcEsAMEsO+MHnHOOeKklgZvNX&#10;eTLISsnlygmQ8lnDHnkbuw7ck1Nlom9vxBx5Zuy6ojLyYLAKMO3BX/WNtGD06j5c+3pk1Id4KqQg&#10;3IdmCN2Qcd+OQzHOTwOwpIZAg2FC+0YG7gr0UMO+ckZA7Z/F0W8sETGzO1mdgH9AOnUDA988D10l&#10;KSi1FbXHOMaaUldt/gTdQ+wRosrhtiu4WM9SuGLEqPck8Hmq2EYpktlclirYBzjBxxjjIHpjrzUq&#10;lRGhQh3jOFWRwAencY43ZHHb9BF2mSQkmVs7Tu4wN2eDzjoOvbr6wunNoDjNpOWwpZyI0cArgRMW&#10;O0/M2Mk5AxnP1zURBZguMBHxv3FpAc9z34z09DVtMZY7RuKmRWGIz1IAB9fTOCPyqIDhl2ZVx5hP&#10;KMRyQeRx24x36d6Ss43iLVK8VoKY5GzhQUUk/wB9oweNxPTHbn1qEb9sRkVFAYrnIVj12joB2X8W&#10;NSLu2IQcSLhvvbo24DELxnAwOOe3SmsCVVAThW2k5BJPHA9OBj8KvkST00M6kYTldO2i2EDIuOZJ&#10;GROCGKeYADwQOvbHPU1MdqkNGXQSOqs6tv8ALUKRuYdgM88E8dDmofMRijBSwMZk2luACuT+OCBQ&#10;6IQrKrAENuCsCmRjPJOemenf8MzvHUtTTmox+H89ibCiMj5w4A27mMgzjGSMevOB0/WmFSssbHIj&#10;zsV87iy7iAoX6sxP40mAuQHKptwuDubOByB0PahC6MF2oy/ekJcuACG5AJ6dcc8Ads80nFSaRU3F&#10;RtF6f0xwDMpQYVTGHlCt5gUlizAe5LNxxwAfqoXcAskgB8zAZiSVGcE/Qc5JHQdetP3D59rKWViW&#10;VeoBCk5yOnIHY98c0hX5SpwuciTaPMGAASB+R6envS2+PZ/h/WwVJQdo31Xb5afiQeZJuV53c7iz&#10;p5XysSw5Vh3AOOOegzgjAn8tASyAKdxClPkckEMCeh7EfjznjEbLtLCUgJn5zGeQfUZ7dsjj68VN&#10;HIFdlkUqyg58tS5ODyBng9f0qbJpT6f8Ezp8kG4306fmNYnKxkFUByey4xuHYDnGCeuR155ahwzM&#10;itkgq23G48/Tpj1owRDwVcqSNm7klON2T64H509CmMB2yQQEbK4Iz1OCfcE4xjvnFVzKzUHe3yHd&#10;aaa/1+Apyolk2jiPkmPG0sMDkjJI9Peo2LSQnKiRtwWXaT85bLgHGOoQ/TH5ySOpw5G9du1kRzIr&#10;bWJZVIyRjdjPUg57VHGqhVUoxVRtGzh24znk8E+5/HmqTUYFVEuRRg9OwLHhY8xqSxG4lgFAAAwe&#10;nqP/AK/WpFUhgWjbaXOFUFipyWIAHYnJyCM80rcs/QOG42N8o6Ln2/DGKFd2Xcn7wJKP4gCOp6EH&#10;HUZOOhOMcYmUve5Xp1+QezjZSW/YiIdWGGQkDc2BuAyRjHY/1waTaoCkjJBYlud5OQQOv4/jUpjc&#10;NuIVSwA8vbkMQuQcdfXGMfdB9KcNgC5OAib/AJMEMT1B9COc+mDQ76ST/rQlPk1+Q0ARjBYvtA+Z&#10;1y2Tk5Jxz0Bz159qehVOUcmSRVZCyfKuMAkA/wB3AIGMHGKVtuZIjtQoNkYQ7cBgOgxx1Gc/XmkV&#10;ipkLlA20KOQoPQEYx0PHpwfalKLck/6si04tqNtLjiFZWWMFYyuYvM6oo3evOMhl+pJ9ajdyFReW&#10;LqAzDceCCDhc46EZ47D1OViCuFhZMps8vZ1U54xnvjPf1qQbi4Y/MxGMsBt2k45PqBnnnovrVXjF&#10;NvyI0u5S0IZFmCBWaSVtwKgfNu3A5Bx04OMeh/KUxsqbmZDzyJAWDdTkjkZG0frSgy+WAhbf/Ccl&#10;WIzvzn0A54pGRNzqyrjBVwr7lcgEE5wVwcYyOx46EjOMIyer0TL5WpcvX/MhHmZUOiMuSRxlhjJ6&#10;+oBI9Oal2gQ79mG3EMpYs3PzemCMdj3xnNKrkLIxwJAxWJ8EcDDHjpj5hRP8xUNtLOo84AjLBiAT&#10;9NrAc+1W0nHTYtU4tyV9XZai4RwrH5XBG2ORmVmOeB+Q6H86JsnczNkqRlc7g5JOAfYn0pcOhE0q&#10;ocKFk+bJwMZIx0xyfX5cVGwLIQW4O2QI6lShBAXnnOT+g6dqmM1G0UtCIRjCnao/66DUdRseQNk7&#10;duX3Yb/gQwQD6g8Z47VMPlTC4IVdnKZI+XOR7bQWz2AqJ9jbwpIBGDs+SaQMg3bcYwSGySfXtUwl&#10;MYctlsN0YZMeCo+71ODyT2HpjNVO8nzLyFZwbUlr/nYVYsYGV2t0bA81M7WwTj0wPqODjkxxllJC&#10;KQxG87Vy7t0yQPoOehqVULeYBhUkkDEsmxM7sc9zjeeakH7sCMqFldN0WBszwd2QePfj0PHNDne6&#10;vuht6K+6t+liNeUWRnBVn8wqB8vyn07deOe/5RyFRt+UdN6KBwAQOMfTAH9Oz5AFjA3M2SBJ5bYD&#10;qcEgqccgjOOfu03aCEkbHlu+ELyFkcqASuOvQjnP8QwacZJyvH0G3olLe/yKswjcKFYp5mFZmB+X&#10;oAoHTHf6k+nFd1d23MXjdF3FRhDkAHg9OcHqfX1q78yuEJLMFX92WLA4GcE46bV/Ko/3hbdvwJGA&#10;Uk56gA8AcYP8/TpPM2+mhlNtz5np/WxnSxhA5VliZAJGkLBVQbc5ye4weuD8pI45OTLCG4U5Makb&#10;V4YLwNv5EAZB9zWw6b1MYCEKCTuGAMAn3Hbv3+vNOX5Yi2QGOB5m7g465AwemevpWt5Jcsi4+zdr&#10;P+upzc0UabAwdnw0QdSZGLDDHIwRjqeeOMDrWVMjMwCKpVyzTeY5QDDAAAYIO4M5z/dUcDJz0dym&#10;1yX3HGQdzbgFBVP/AGbGOhyPesyVSzSEszNkmMKMGTIUdQeemPb9aSbvFwVidIq/X/M5SeIH92QI&#10;mEjCRyA5ViQMt1zjbnnk5PPSsi4jk2uu1QqI2XdW82TbsXk+o3qAR6V1MsIVGZy4GV+6pYg5V1zw&#10;CchWB6fe4rBuokZDvRnRwyoyoS4OMgYOTgYXljVufMlCKv8A1/mc8puM1N7+Ry1zGclBtkKvtzgT&#10;YU+ihs85PI6mP0zWDdR4UBRuRgQ5xnBBJUhemQHwMY4APB5PZPEmFAIDkGLkkJuBAIB4wM7c5zzj&#10;ntXPzKdwYLsWNi8PGWGCDkkdCMk57EDpjjTWGieqG1oo82n/AATj7i3IVt26I5HlhmyX+X5lA6Hp&#10;k8D7hwO4x7lA3IMgZW3KQuVPY47bc/z5HOD1txEoiYKVJZiigN5YCg4I6cZwCffHNYslqqrIhLrI&#10;JNqllPyrgknaTwD1zg/dHrwqcnOTlU9PyI5b1Lvtc5WWBmdzHgbVJK79hwMYBHTjrj2Oaz5EkYb5&#10;C5fBGIy0oUAkEnjAzknAz069cb9wD87YLBRlQMqcE7cjvxnoc9Tx0IyJkSOJ1AdUYgoAxUtwc4A5&#10;wAMnqPTHNdNNzWs/L9CZxhKm5S36mW0bBiQ4ZlblnY72XAPAxngcc9wce8EcbNKiKwfjcu5tvXOA&#10;xPGOeSeKvsB8iZdVGEAz8xAOWOT65AqpJvQsrSDcSMLnLlW+Yj3wAwH4/g4Plnr218+pnLmSTesW&#10;vysQx/L5bKygE70CqAkmDwAuOhK+wIyPUFxVyUKqpdfu4fIUnBHPOOuR74+tIzMvzB12KuSyA/KO&#10;QN2OBzIgwOPxyS1WymA/mRmQNGzYQnnIYE5wOuCehXHNaJLWrHa4KceZTWmv3oGVS6rtAMa8kkkD&#10;1K/hnP1NOX5izFgrbfmY9jnCj1JOGGPbNNPyKCiJvLYd2kKMQGPyjIHGdwyDjjI65qQbVuCdqsxb&#10;CMZv9erbgpOBgcKeM5+cDAwc1K3s3FdP+AEpynL3tdUIikNgFlziRVBySQATlfTkc9COPamRghUK&#10;hAFJYusqkEkgHjPGDngZ+9jHFSAuWDAsj+XlP43cgnGOnrj23ZIPdgWMqArlsEtGCd28/MQCOh+6&#10;fb1rKK5k5PYq0YwUlqxyr5gy6+WCzKzYyzcYGDgDoD/9fmnoCZWYhEYKHlVT5hZiMZI5OScn1zmm&#10;lWUxsXJBYJIC23sQp46nJX8j2p8YZ5NrSLtkZQ3XfGp2hmHPXGBgYJ6HpmqmpOOiSWhCtGWj1X9f&#10;mLCsbgISFcgsrDkliRubGMDr19vytAkOzBVXLEqBgr2A3HGcZ5I478VWiKDcQWAHyYSTy2XthR1H&#10;PQfSrqpvJkkUbN4Luu1RMQAW287V2sXOOuF7k0SjytNbvoNuLbjv5/iWoowvlo4VclcFW3YDAEEY&#10;44z6Zx24rTt4QCoypDqqMrEB1BGAGPtk5/yKp27xAArJIGiAAC/KCxKuCOcbQUXPXgr71p20hjRz&#10;yABnershXA3tubqCMk+w2461DvJKK0f/AAxq+SEHTX3/AHGzEwGSoZGdyC+0gjAyD7gAHOAOVHTi&#10;tGIsyvgKG8zaZeMMvTHJy2VOSCezCqEK7VL7dpZNjqvy7giqWJGMjndxn+HnvW5AysgYMQ78EFd7&#10;JgbtwGOcDHfHvzioS5GpMUk5W5/T7rF+OOXGflZ5Ec7yCIMbtp2tjgn5Tjg7WA9a34EcTRr5ZZWl&#10;KRQgANyHOM5xgtsGME9e5yMWLBJdlYeWgbcpIKsEUZxznLHnpyjdeDXR2QDu7EM0cYy2wZwGJw3b&#10;PzMAD6EelTuuR6r/AIJonK/s5W9VuaFsrAycq4dQSsbARjdnJw3OQRnPPUVuWaEydCilnXDMZAmS&#10;M7s8YwO3QK3Has23jUuq7vl25+9lR0IbB652kd8ZHSt62Y+XFGjncsZLOA0Y4AAyMdVzjsRgD2ER&#10;tyPTr+Fjdc0fdm7rpc0kVQx6oTMxKMm1UKkgDk57kEE5ynbOBpxLHnBVAbhQjggEFQVY7cjK52Dk&#10;HkBgfvVWhEcoYKirtYpI3ykKWzwR7bG4wOcHnAq/AH2+YHd5FUQhSCFIBLZzjHTI5559sjK61kt/&#10;uG0ou0XotS6giSOYojlSDJlwUEnOD82MAAgqPXb7VpwbNkOEEhRMSBiW8wEZBzyc9T/+uqsMBCgO&#10;rZkYTAcKuG+ck46A5/HNW4nDqAC0Z28uRsGVyfQ5xkeowAemTWMndezn8vl/wS6cZRhFSW9vuv8A&#10;mSxqQcKVKgFss33jjgHHXn15JPripYVZXYAKSisN77kLDZkDrxwSc9Tx6ipIlJI4BXJKsrY2nAwW&#10;HXnJx9DQHzlhGd0YbI3H5+PmyPXrx168Vbkpax1M3Hkq2WzY+QpGwIQMAmCrttRGKbSc+x5w3HGD&#10;nFRAiSM4G12IARkKlQTgso69Tzx6VYIk/eEOAr8Bi29UznovXu3Oc9enesrsHYJyB8oIyu3nPPf3&#10;9P0pu1vZ7f0jWrKLgtP+GAQEIVYK0jHapctlQzDB6fpnHQUIVcSMVZgjjLKcnjGAOcc/n19eXsSH&#10;Qs6y7dqvzvClucnsf4sjsVx2wYldxlgNrFN6qyjcSRjgD0BwAOOBjoKUZxb5F238iG5J+1etv1I2&#10;3hDII8+WMpgb3TqWUjv94YH16058BGwikD90sm8lc52DAGOhIOQe3apxGu47QR5Z3biQzSMQOo9f&#10;p6VFFsbaX2ksxQNkkOQevtjKnPHWrhJtcsXqkEuaUlFbP/hiFLdmHnSkkqrHkFnAyW4AGCOCcen4&#10;4bK5WQRk87wvyEDIzyPTBxx0/LObQbafMMjfMAgRQSECBsHI6Y6enA+ohwX+SRlCnlgjAxsR0bOO&#10;eN35HNZqUnFeo3TlzKKVtmxMrgsqkMqAEMcyBcnr1yQMj0P505txA3KCMhcsSrYBznpycqB9M5zz&#10;loIXeoICBRGF3LucZzkAdOPp0H0pgfexAPIUtjJOM4ILHPT/AOv1q2+eXPfUqMowT87EgjC7o8K7&#10;oyuSFxkrnGDjgg9u27PWpSwKhiy46YUlirAjqMY52/jlsVEGVgoZwgRiSSDuzgAt6D0z1OD6E0Mu&#10;R5nGVJLkfKSVIJ575yOe4HoAaqPNKPtJCpxi1Zbku5lLMwXa7mMdWcEKpXOP94deOMdjhDKrq4IU&#10;hNpxgnJO1evXt3469aF6bpeCCQ/mMcsRwQnPfBIBGcnHPADWG4MF3gKBIHUE4Cg7NxHQbsA8dx9K&#10;N/dSu7BF1YUvaXtf+tPUQ7mcI6II9isq8b25B6DjGOvf1xTtpKIZNxkVsruYhGxjr9Omf/r1FLIS&#10;qAkhSMHauXCsWGD16bTjvip3TewYfKpJwZH27AG9+h7e+aiysrj501amtXoxgXGzezYzhlBxF64x&#10;1x24qGQNiNZCimTKMyLkIp54HHQj0/H1mcLncVBIJUx5IJbBIOR64HHTg1GS3EeBzHvLpjjq2c4z&#10;x6deMVSkpJrr2+Romk1TfR/eiGRm/wCPclexbJxgjcCv1OADj19qjyjbDyItoV4nO7JwAPzw3X1I&#10;HApcI0mAspYMcbl2hAR1GOc49PTOelDf6tpFwoEyIQBtcsyMysB12/I3zHIBHOCwBpXi1G3qZON1&#10;d/53EkjclRyix4k+bksAQSOBxkHPp1qJ4vMMpUbASTlXIP3ucD2HPvViIszEuAhaIqpZ9qDIAJYn&#10;gc889B6c0oTeyo6tBlyqlsgAEdNuMgjknv8ATFEbNtJaCahGF7aaWKChQq7+Eiw8u1TgHBYg8cng&#10;kY5IqzuZGlCIGZCVcEbdij5ue/BPOO4qIZOyRwCxAMgBygZkBKnIz8pypz3B/FUADERoMYDyyxDB&#10;fdk8HB6cLk9do9QamUmndepEYuLSkr+Y2SNTliqq03EpVtgIwzKe/Rmz+nuHSTRlUCZXdmKRSpLS&#10;cHGeCBk564UgjJHULJKHYqvIxtBjYkNxzuHXHfkYoRSX4k3KC24OQpGSMe3G0dc/ePqatSk3aTsl&#10;/TIk23z9f+GIWkfDIQqPk4EYGQDn73TJzjJPTHfFPkRR8jM2dyxkBsI2CCDnpxj9PpQyFAyMhZMg&#10;y7AVZWHcjqcH69elRSNs2liADHhwCWBIA2kd+uSfwq4rRK+qZacLPmW/56Ebrjai4AdlZcjCxDgc&#10;qO3AwB+VSZk2uVSM8kuoO2RyOQoJ6Dk5HHGRxTmbcFLbVPCqE5XA59ep5/I+uKXzHQqFwxjfYFK7&#10;jJlgMH2HcdO3SmrKS63/AEJi1Thza9V8xpCjBEYRCC8YLFpBtOCDkYJAxz3DA4qFV4ywOJTySdyu&#10;GGDnP1x36HOKnHzJHExKLjrklVyp+8R7qD9R9KYJZEEarGWIkBIjUNkAZJ6c5Ax65PQ9KlyfLy21&#10;d/z0CEZLXp+JTUPE0qF3YlVdQzDCjJJwee5PTjheOKUQtFEEkUxlVJLuq4clcliDzk9ceox0wKkl&#10;fd3k/eDbtVjlQM4OO2MnoAfmXniodzMELSchkjklD5VtpXbkngZUEd8cVSvN8ze1vwBWi3KL0voR&#10;I+MFxCJNqvgk7BngjB5xxkjoeT1qJigiVgnyS4eRgCVHG0tkgEYAUZPYdKnZNgKjaCo4AzKUAY5y&#10;wA6gHGP73eo43JhKhnUzfKm5MBGYDj06k8daPivd2taw3FqV09ehCQzHBbaBIwkJ+ZVXBDFTkEZL&#10;KASevbjkH3o22o4SRfuAMCWUOBu6dDj1I4PQgvLj5JImQtsMjNHwXCnJOe4wHOemM/gqkRRt5zMW&#10;R9jxkliSNzKCPfg8D+70q+a/Kr6ijam1J76MoyqxG6NtzJ91SCoPPYD6ke/fOc0mX2xxnIaMGONg&#10;T+7UMDkAjGW3dCOh46DD8OqIkjksfkcLgZChsnGB1Pf0wAOlMzIjghAMOAq8s5Qklj17ERgeod+c&#10;gA6OS0intf8Ar7zO6c0xCAAwMZBwDghipUdRkjvke3oTioWaTyFH3ctiIsxIQucg7emPx6DFShSI&#10;mCuCRtIWQ5YgYDZY898/8B+tVptj5lMmXByr5x5wyoJI5xjaw64+TGODWtHlaTez1+RU5RsuVXt+&#10;OvUmUXBBMLOkbMXC74yQSSTnLA5yTnI65oqidxOcoMjOA5xzzxxRQ1h7/EzH6zV6QOO8tYzGGXag&#10;xGjD+Fn45z0wct6YycYqUxEx4jWPzHPmSxpCsYclVZfmyBtJG3BAwSDt5BJFGSTD84E3EAUAFwWE&#10;aZ55bOBtBPfnvWkuGVREI1UhTuPYgspJ6dcZ6DljwoKrXJOpZ6blRjF/Hv8A8Ag3KplydvmSEfOS&#10;pbd8zZJyvJ9B3H4TMOWDqZEJzsjQyfdBCnOevHBOfung9kwU2ozoy7MMAAqsOBuXnvtJA4I/Imby&#10;Yi6sropJUKS3y4QurK2D8xPOMcc9cDNRFKUry26fqEKnvfu1rb+v1I2yFEbxkOrDdtQKGyVIIJHP&#10;QfLkcnpzzI6qPKQqMkE4X5SrLuyCenAXvjpxUzoVKo5jgkQtCwOHCOrvGQCRjI4yvTv60HG08CPg&#10;bHcja3HyZ5J42v1Izk8cA0lzSlzWLVlK3UTaql5CcRwORII137Mswyxzg8lAPXuak2yRhWQAeUu0&#10;RuMIUPPzHBIxg/Ng43ZweKZGYdrsPLUK2HbaWy6legwQDhgcDpu/4EbTReWWXCqUy6nb5i4yAECn&#10;qFGGzjopHHGZlU5tEtF+JpKlNuST7DkQNHJ5ixqyAodq4WMMytySoYg7yQOuGHpUbhUjAVo5AFyJ&#10;gd2RwOp4yDgk9Tz604tI6lHVQUDAqIywbjnrjo0h6Z6jvzTziQyyGRWDs7hxEfnLEkMxBJBb5ckD&#10;qTzWTjaVltf8CZKKXLFa21+YAs25Q2C6hZFT5k6HkHA77WHpnB95EJ3/ADIrMzkYkUuGO5mIAPBy&#10;TnP+170JhowpbIQPMTuzJjofm6nleo5HOOnCKqsGK+W6YxuPC5yM9Bzli7Zzzt593KPLa/4dypU3&#10;G6jr6iMimMJuYSpGMl1OOPmbgccYOcf3fTOEUMFSRo/mMmzcqYjGSdhPJxkdhkZ79KtYUySKxZkD&#10;CNEcYVNwDAZ/4Hx2IXOKifjyFO4PGhjIYHzQWOG35Od2eOx570nUcm00Ty2lz7OyQxVZZXeTLmT5&#10;WYRlRuJYEk9OSp/Q4INTOAythERDIXICbVUk5K5HGSSDx6t61EdgkZNweNMZXB+fABYDH8JGQc4J&#10;6bccmQujtkyASAFCu0oVHsQSCPu8cYOeRihXXwrUakl7j3/O9hApIREAUP8AKMDDFQ27gdQwAwwJ&#10;6tnoDh3mHBV4sDIEYjO/JO8kf3srtGD0GPUks0SobdGdV2BlfIALgbcD3yQGyfVgercsIVdoKhWT&#10;Oz5GkXABUgc5BAQjk/xnA61UYxUUv66D0b5epIY3kICQpvaNklJCkqqncUBAIOAOCcdOp5pxDurF&#10;VCMdoVsZZRtChcgHjknHXgn0pwKOWk2qgZg8SqOUYYwT7ggH86Y2VcuhQFWPzqoJULk5OM5GOMHg&#10;859DMZLms90PlU7Revcc5dcBJSxA8oBB5hHG4gkHOTkfLjgHqQRU8hUKyxrIzfcVATGxIIC5xlv4&#10;SfTnGMVBBtDCPYAUBVlYFjwSvcnI9yTnqcHIFhhEF2glcsFKuSvlEAMOOoHQHryV4HJGtlFpPb/P&#10;UdOVl7y3v8rBtLbVjZhkCNmeE44ByC3ToVboMEDjuXxggr8oJZiymMBsgEMST35x0GcNRlWZBn7x&#10;DHbgiHywMEtnJyQF/lnsItukxchSXI3yBRlsDOAAO2Sf6dKmDjKfLJ6kU9Gk/wCtSRZBu2RAM0hI&#10;VEXCHpkADrknPy45PpkU1NwwS+5yCyLuEYA2sSrd88KO3P0oUku29fMXOwBiFUDGSAecZwDg8AVN&#10;5Tqu0LHK+7ESSNtJbGQHbtw4APTkYAAxRV5ZNey0RHMouMVLX/gipG+fmcsFA2syB8Annj04GOe3&#10;oKUE42Jlt5Z3KDcJCFBBye2FOD22n6l5ZldmR1MLggfu9wZsBOMc8Erhe/HXlajEZb5hs+U7WYMx&#10;T6nIySNo/Hn0FYJSaTa/r+rGsm3H907f59UPD7yzMB88O3ylUoxVlJwoPb5hjGM4xS/dYhkcP54y&#10;yEOsjZ9COQdpPGcgc4zSSPCqM0YAbfuLEZKBVBAJxzjj8x0prsgSIEkPHwfUYBwSSeTxj8fY1XLa&#10;Fmt2DqRU/X8ixJ5kRwF3BQzxsyliSTvZcg5I5xyeBwO1MYbAzNGuVQSkoV8wthdqnnBA56eo7ZJm&#10;CFVXy5Ys7XACxqd5ULkqeCCQwODnnHPGC1HVSEkMSPIzEBs7gONpB7YUNxnv7UoXSsl5+Zq4ciUo&#10;9f8AgAGzKkYQK6tuUyAKOFCHkchSRnHX5j7CoZANzhF8tY3KMpUBlZDnJH+9njtt561b2K8bOnlO&#10;u4qCGYnDH5SOenbk8HOATUCrGUzE+CQBmTLhsksWXHUc8dCOR3q4xd1rp/VkZVZXTSd3pZ/NEaAL&#10;iSXJ2qGXdjOW2MVbv14JHOenvNGy4TnhCIVwu9XJUk7m55JIwQedn1pq/LJHsbBZgfLYgqUPJAI/&#10;i/HqSOalTAU+Y4ZvL8xiI9iIxwAy9++MZ9KUoSvZ9BU7w/ib/mJOCWZQuQFDExjJcEsuBnjjaR7D&#10;GCeyozN84jV8gKjMAr7QFCqGA4XAAx3KjPQUSRjy2ELNmN2J2kNgdu+OMnjqewJ4KCZgSysm3/WS&#10;SrtRRsPzj2AG4AdBgntim480OdNbbenQfIqkuVaX/H+u5cGwMzKg37RHvb5SCckde/A5bioG8xi8&#10;pjQqFKsjAZLAn5lHTIx34p/m/wDLQn90xALlQCOM5BGTjHAzg57dCV+XzFcKCfLcfPgMoJxn6YAb&#10;kZII75FKTnGCTNJO8NwkifAZcEt1J+YLtySMZzg54B9utIqfcLBXYN5jqcMqct2YYGNwJB7L9MES&#10;sUaMspCrvXcSpH1OfQEjpnPSnGFUKsGfli/ysGRwwKZP4HtzwPfKjOctHotCbWtJ9bX+8lYDAKEF&#10;kjEaqXwIztzyeuBwfrwc8gt3KyKGSMrgCVUAfJGefr909B16VG5kcgjDM7bdpypcE5x7nCk49R68&#10;VIgCuQqiSMR7S6uPlZiM598EfXPX5qfLKMLxev8AT+4mUVKpeO7fyGxsN7kO4KjLDbtzzjj8vzxm&#10;pUcKgyiq5bCOSNoxkYz6j5QBjGX60yPO8swDIfkj2DBAyd272PHvxTnXa28tEf4FXcynGQM5wMY4&#10;P0Heoekud632BOLSjJbK3zEkKH5VXZG/YgP1BCgn2yTxjO0cYzQxKNCY1AQnaMggLntnvx1x1p+F&#10;UJKEQ5QAdQ5HYk/xH7oGOMADtS5DzCOLcyoSVLfJnn5TnHHHb1+tOKkoc19tH/mELLVv3WML5Roy&#10;NvluCuY8RxYUgkLjp834e1IuWjLsCeskoYAgKCEJOOuS2Mn1A9qnRQZZEQoSmUbcpCTDLjdjqCRt&#10;OOOOoySA3yM7VeJSQgZXaRVWPAAxxxn5u3oe3FVCTilHrcpWhFt9f+GGsuSGSNQAFCNt3Eg5GBz2&#10;A/SlMQdpBI+149igKAdhwzAjt7g9+PpUu6PYSu1owhaNw2TnY20Dnv8ALx0z1qunmAFXXYX5BBCq&#10;CegP4cZxzk9ORVO0oybfvaerJmnCXs+v9akrsFEG2EImw+dvGHBwpAjIXJXcORngBTRJGiCMeXhU&#10;X5gvytt7/wDjxBz/ALXbrTQAyEINwj2xud4JUlgMheuPvnjptqV4yrs2C2W27wScDHqfwrNNuSkn&#10;rsaWSV5O/kvIiRApRGhUb2+WLYMj/DGOaXGS25WGFCIVG1VJ9R14JI96QR7BG7szYXMfTEQDdQeB&#10;nHp16deaciqX3Y3IWJRMYMeD2556/wDj341UWoy5f6uZQq3aUY6befQYoDfIFAjKZVQcMh3ZOe/J&#10;Oe9OB2gvt81QSJN7bDsDfd3Kdy5APTB460qRqDnC7wuWYPkLjHXjjvz9aRD5qiTHlEkMyFtoB5yP&#10;QdR0o0UueT0WhVp8qW7V7P7mLuUMp2NkASpCoILAY4PpnGO9SMhTajj7y7cZ5jGCQMdu34/jUWVZ&#10;8MAT9wktudGwGznGe65GMEc5pxLRqCxV5VibJkXbv7nkDGTzyPWlHmUm2+ppSu05PZf8B/iSkAbH&#10;IARxtVFG5EHBTA685Bzk8YNOLq2WMbAkK0a7W8ncA2CTnOc/yPHrUfocByGYybZGIMfTAAxgEhhz&#10;n+AdQBVqMbcqzKigYRn6suSTz15z39RRJXqKUdO/bcinKLl767X6Erh1G2MlWlwh53ABSN3/AI6D&#10;njrTouZHVwWJdl2lBwDwRjHbGKRFyoLYyPmCswjZSx2huvPfHrmnx7Q+zKj7vzbggRcEZycemOTj&#10;PfvRGpFpwl0/X+kaQhFTUo/8AN5G7ywxQoGwPn3g9SWPOeTn69TUTM7Ku9MlwViDDaUyy5J77iR0&#10;wfvdeCC8lsM7jdKS54I3tjeMA8dQe+ODzmoQGlZWOwJjO5mGdpxwQe4J6A/wn0NWopxd+xMr8/Iv&#10;u8vUkKsGR4yAUBjWR2+XA5HGc8Y/D37IpRtpU/MIwBjCbSwAUemAR0HvSBidxlGIo9yllABQYBI3&#10;enT/AOtQhicKd4WU/L5a43kAbuQBxwhJOB0GfeUrzX6egotVJ8sdO/qKsJZgTGoA+YSSESqNwJHz&#10;emCw5Hc/hIszOzFFYkEgg4AYggk+pOWz+J9KcXic7YzG2CRuY4xnJyV+oA6Gq+Q2wbl3h+doyxOF&#10;OQPToPxHXIqY809J7f5WJSabTer/AOB+pb3IQY2UqScux6KH2LuAPB+64wePm9qj37I8up3CNVAc&#10;7BI5IUY69ctx1/KoS7YYblWNR8zEbxkHgA4+px3qRQHBjbBiXkgryeeSMnk46dOn40oQUvelsi9H&#10;Lli/f01+VgUSKUbzB86/vGUGM5OBgYwPU8Y68D0lw4duEDKVAZV2hM4JycemcEcj9KaAsq4dcoAJ&#10;CFJDg5QnHQgDOfbI4qXfGqqUY4aXEi7cbR907fTnIwMD5frTTaa7v/gA4qEnGav/AMCw1hGHJyBt&#10;ULtcgKTu647n514zxtz9WsGMztlxtbfGHbYXOCMDvzjgHuR7U4soGSYyWyxc5DkA7gOn1OfXHFPU&#10;lN7EqxZdmWXAJUcH2zkcD/8AUTSh7/TUJSTunqk9Pl+Y7l/n2lJHPCEbmkUcnPcbcdcH8KQMqj7p&#10;IcbU+baAe+DjnAbPuRjNRruDDayg52LHuIaUsentkD6cfQUiSZMjYhbABfapViSck/nkj2GOxoau&#10;+V7Cc6t2u/Ynwo2o2ApJjcA8sMEqeOnZsDHDYz618ARNskJABDugwj4zt4+oH149Kf5jSLIoUB2i&#10;Uj5tkSYyS/rnkA/7o9yWuNyoEACkgkMMADAOSSc56d6qPw3tdP8AqxUI2TUl0/4P6ESpubqyEouW&#10;U7RuB+YE46ckZ44HvipGQKZSB0i8whGKcYOO3Gfl7H71IXjZNqld4yNyHKnIUqN3T+IcdufSnYdH&#10;OSAsilRCuZIiAOQw69QO+Ofasouc3qrW0M/c5lZe6v8AL/MSRiH3IqENEA0WMb/lzg9Oe2fbr3qZ&#10;QwyzAlXzuIOAWzyQM8ckn8vQUxyjkZRMscbywGcMSRt9Bgcd8jtkhVkCkOo/dq22QFeQQWY7VOfQ&#10;c+3tzajJJRRu4KM049fuEdukgVlKncQqKgJ4IJHXGB14/SpQzDCl+khVhkE4HOc55zkAY4yewpUl&#10;CNsxGrZxtXCByQvDHHqBwcfSoyowwdThZGKnBG5hgElc8cbRwOgFOUU4q+xnFRdV7W7bE+VIZthY&#10;hFIVSFaTJUYGegwW+Y/3feq4Tar7VKHZ5SBcochfu5z6/lgYqUAoh2L1AbLHdnqWHXtjJyDwfahv&#10;3vzSDJJI4Vgjc8YGcHGR0J9utZxVRysnaPYbV4KT6atW/IWIoVi2qEZgQQyfc+6ABgHpgnr24HWk&#10;WReVQM6bd7L5LHA2nJz9ATjPbNIgjVlVgQ2NwdwQx+dsLjoMBlXAHbPXmnDy42POCuQTG23jAHAz&#10;3HB/Lpmri1Ti533/AKZnJrforfd2E2PGZAEJwAVR1wOpzwf1p6qpLOyykfLuBwoTHLHPuM4+nfBq&#10;QgKUBXA2YKkFidvDDOdvB9Oee/GGyRoZERI1ZvlzgksQehAHXOR69fShtNq+xbpRclUTsiPYruWG&#10;UchsqsK4k4Unnr0A556YpyDzI5IwWRiRsGPmHcYHTkk9+/TmlYtnBfrIcRoSyqTzgZ6YGeTz7+jn&#10;SBBksYmRs7jg43cDv7+vAFJSkvdYrXcp20S/Hv8AcRgbnjDyMrQoycNuc/e4A46liOOx69qiACyK&#10;CnzJH8pHIIOcAA9fukj6fWnbQryNvCy+XhXddx5BBPPYZJx2x3qSPc21MhBEPKZtoAUr3/IHPpk/&#10;SnOKkt/+AKnOM5KMt+5HBCfnk25ActFkbtxYHluvAyOnr2qcqEOfLDSrgK/I8r7oY853cLt/4FwB&#10;zhS42s0RUgjyxtX7x75HOO2WwOh64JqLzHVGZmSYpHmNQuHOC3J5O3HykEjHX0o5pSUXtoa/u4NJ&#10;9v1HJsCuEyp3emA2eCfoealkKEIGDPtVmbkAFW2gHngnnqOcHjpTWSNQpLh2QbECAsx64X2OR/8A&#10;rFNco7KJWVfNyAzHJBYsd2TyeeoGRx+NZxSk1uZ8kVK191/kOLfKJFUqikSTME3KCcL835oM+uPa&#10;mRMXLIymVypCxIhODySoAx6E+5B+tQ+ZuYKDsdQWLkDI6cemR7ev5AmXeqAqHY9AATIVBPfpkKxy&#10;PQ+nNuMdL/8AD2NYNOSk3bdEqP5u5So4JcFUIYZ657YGRx2J6cVErvyUBkZgRuCruBB25OT0IGOO&#10;eeB2qQMdqqjhFDFS7Agkk8YPHfjP6Z6RxljHsDbMDKKq8jbwB256cc9e3elKUqdrESklCz6a3/It&#10;KSzbS2VZtrKWwwHqD0DDH0x/3yQRsWCI+5eV3sSTESChJHoCehz09aapTG3cF8sbwGwCeeeR1I47&#10;c5p8acjKINylx825vXr3xwPxHTNRNuOltdPxEkpqMevX5DPJZ1OU+YHDLjIIP4n+8wHPOAeKlLqx&#10;YM7ZRGDLgjdkEEd8ZOPx60gA8shmUdixJwV6gKB6HHUDpnmmrGqqrn5t3HzLkqWCkn3+h45NO6ty&#10;v+tgceWKtsPk+UjzA8mxgHUqSFLA7T09D+oPpSx7iCUBRwwxuJAPAXp6fdH4iop2CsGRS5Z9o+Yh&#10;cZIyR6Egd+h78EKpYRux8twHWRC6sjRZ2oMHH3sMw7fePUE4aV4c3X/gk04p2d/T0SHtkFQf9Yob&#10;KsMNtySTg4/2uRz/ADD/ACtqyBQyqVMQYAEqSpIDDoeck+m36UwjYyyLhAG3KSSzBsjB46dDz79s&#10;VKjRPGRuBQ4ULjCjGRt28j1o1UbRXzDmanJTWn9bEG4K0rADDrsKbPMZlymSDwRymM+noCaJFjUi&#10;QE7lG2PagLDhgvBPGCV684z7VIVjJDFgDnZGc7Bz90gjrgj14x2yKZIpG+aSSNpFkJ2MmI2XnIJ/&#10;Lpwc9utQ7NJW7fmXFvmf36/K34lGWFWj3FsMw3nkAsSDwc9Dg46VUuY8u5WPO0hGABClTyTg98g/&#10;UVckyxwBtyQjqpJUlstjHrgHJ6UyRQAIto2nBUoC7AgHAH1JP/jvpVrmTv8A10Jgl7N3VmtNvMxb&#10;iBQjAeYF5BDZGMH168Y/QetY5iG0kRMCAwby8gBSxXOTjIyv3hxnp1rp5FDCRw29Cdu4YYLyc9fQ&#10;le/Q8ZzxmywxKYZBnDzGMFoyzqCvBB74wfTPT0qlzON5d9Alyu7g9LHNTRupIUk+YqGVNpcKVDZ+&#10;XOD/ABY+7gluoG44E1ugaTBVSvJw0h2sdillBHIwn3flGXzn5Qp7CaCEncJEHm/KqFNwIxyQSNpH&#10;Yk8/N9ay5YYxtJcMyq7SNIm0MM8jI7YPXrnPTg0OTUU/6uiKlBt8t1e33baHE3MSO5SNHMr4QuUC&#10;F3Zi/foDhzx2B96wri3FuWkO50YZeVULGHaAxyvB/jIx39xye4ntyu1iuWGVd3kD7s/LkhSOwLde&#10;+aw7mJYyyMAHV9mRnIC4HzZI5wAOgz8uRxW/Mp3aWlvvZlKMm21o9f8Ah/wONuLddvmrEwRiAjGP&#10;ZJlcbgCDjncoI4wSM45B5+S3bfnAVxncUX5lXnG4cYGMdf72c121yjbNp2hnBUgnAbIDZzk/rywU&#10;qeTuGJcQFt5UhQB98N5YJxll457j3+bPoKcbylc0quLio31/y/4Jxb2siuqmPzIWi8tCwyiZUgtk&#10;85+TjPUgdax7iJiEiG0yMdjRqwkQkDOAwxwSw5GO2RxXaT22Adhi3NkrJgsqnc/p1xwu0HqG6GsG&#10;a2RlVcbfl8wAucopVM8Y5Byo6c4HTjFqTau+trf19xjVppRVOKtc5QxMyoFyhIaWVmOFYgMcDPGe&#10;Bg45z14+anNGWU5WSQtGsvnLHvZdwXk5ycZcLnnHNdFNCBlSFAxuB4AQAH7/AGBweh9R+OXJEHMZ&#10;AIKZIeMbSSAy5XuPvOMe9bQcrWT/AOCZezfKoW1aMcq2/wCeM4cMreWdrFgMZxnPOOn+0MdKYfli&#10;y67Y0G/c+7PTAGR2BVgQc5Oc4xzpeVIjcIpZWYjgh2XkAZI/2ePrUH2VVwwAMhyqlnyXwOjegy2O&#10;RjjjOKUqj5eXS3Vehm1714rZWIBCAUBJLBT8wXcVbg9DwOSCxz68HmoyJGV3beVK4RWizKMlsDac&#10;7QASeOmematFVIIAlBICsZSxKjaXwVGRuAJJzxwetTMsx27Aj5U7iuGYbiW5bPX5h1PQ4OKq95tN&#10;/wDALioyi7rXbQzZAGlaVndAq9H5HXhRjgY3kHr7mrJjjjZHWP5gy7xEMMyqMkZz657fw8d6laIy&#10;MFysasCnzZWLDKQScHk4AIwe/wCbvKeQlQVViwB3fKCwySB65BHfrnk9ap2Ssn0HBNJprdr5MqJD&#10;KzNGq7lZzlyu7zMDjvyNwxz0Gcd6agA2jyyVO1cDGYlIDKGAORwVIPuAfSrJywBjMZ3IzHYQBJhT&#10;gnPIxuyOCDg8U5Q/VjEQi/KWyVIOSCBkdPmyT9OtSpykryWuhgoqLvF9RkCg7Y2BVdwWVcb3I5Vi&#10;vQn8cdO2avQR7kHmbt/mGVflKqecEA4ywBVhnnHI9qpsEyBG7FjvyeqnJGBjkrgdgfXpWgm2MIvy&#10;j5QpUIpVyynccD29cEH6Vc01PmXkzanKMYXf/D7F2Jn8xmZkjZhvZdrD5WySmD/CATx6cVoW8xkL&#10;rEZP3iBMooKqBgjDdR2J+hGSCVOZEzqCYmDEfMFYb97LjGTnHAPGOea1bQBgjM0cBDLAinLMgyT2&#10;HUDBwfTk5Izj/wAvFKm+5F+eV0tL/pY2rct5ce6PcVUKVxkYUYUnk8DPU57+9bcCMrKNpWMI0wGw&#10;DbggbT3zyw+bP3cYPbCtcbZ9zKQ0Tk7h5pTCgttGcZwc9/uHoRXQWuNyxSGMbhgkPuJBwFJ754AJ&#10;x69RiiMeb3mtrL+vmbKKmoqWj9fuNNEONw2q4k8oqwxwWOMd+QpKg84/GugtmX95AQ+wx7xvUDHJ&#10;IwcYzkc45I2g8BcY1u6yOEY5IBTj58EFgOvTAx04wFrVt1iIAkbaQxcSPECr7vkABzgkAng4xxyM&#10;is3zN2el+5vFc01bfb7jdtAMFI8oNvyER7JQfUj+9zznnjJGc534HKMjtEfnDeTGjbQ2W3hQcHgj&#10;5c+i+5zhRuVjjYhFEhkCfvDhfuceuPm4Yjselb9rIE8rYQIyxyQx3o2X4IAIA+UdMk5OcVnFSU9d&#10;u36g0rtSl2duxr27BA7TIzErln2rE5AyqsccY4OSef51poSgACDZtwcsSAcgcqeScYOf9k1nwuHw&#10;sRSON8Rl3bL5xuwOckHBJH165ONSBUfZIWDADIw2/wAwbSfXtkcdPm61zuUXBy/rsbKKmpJLs9fx&#10;NGJgxUJlQ2wZKhuFbd1+uf61eVlbaQv3U2LIgCFlAGeeehIBJPQ4B6VnW8W4bWDbViYjAJGWYgkY&#10;HIyoHb6dauwll2KEVSYvMaNP3jAbcfMT3HC5/wBkdMCrnD3ldqyRpTqPkX3XLabIgMbgWHMbYYsM&#10;46j19BgnOMdQbe0ANtXhYzsQElDk8c44yOgNV12sN8mwZxjK8HI6dx25Hv19XurZAyEcY4fcRnls&#10;+g4I/OpjFSTc9iY8kNL3vqPZk3qyjJGAAwIVscn6denfn1qnLtRYsoQhcxtvIWdyQEUemSxGAMDJ&#10;PfgXcNhpC64jLY3EsHyxGcY67RnqfvN6AmFygciMZy53IcBRkAhgTzxtHAIBwOMitbRdmt1qKUVU&#10;jqtPzGLHhQqwyeYj4Dj94oPzE5zwMkn2PI6mlBG7ZIjZVjlnYAH5T79D1z2yMnmnbHAEYYSMoVVf&#10;epWPO4hjjGRkAZOTkjkDaKc0ThFYeWTnLqPnBKgZAX0zgjPoOvWs1LmjuOMIqLS166+S0X3kHluS&#10;rIx2Kx3DOzAwMcHg9D6Ee+eJGXGIixAZf3bD5h8pPIJ69/UZPAHFCbCSCzBVf90Wbnnvzx8vHc06&#10;SFGKr5oLpGWACD5hkLjd1OTluOPl9wDrDkT112uKnCcIXk/6/wCCQkmRTguzISCucKDkk/lnP4++&#10;KeAu91YeXKHCviMHadpAHYgr8vY7s5/3mqREwMYXcxJGQATjnkfd98d6ZIoRgykdVLOpLA9iCOvf&#10;HFLlcW0o6Mc7SlzSWthxDohiIDgEuFxuzjI3kf8AAuvbOO5quqgMysNyYw5UA7u2ec4BPf2NToxk&#10;HGApALKOQQucE/jUZIfKMoIdCCM8Beo/Hj3+9WUI81RStp1IjFWUk7W7ivDuznIIb5nIwWOQuR24&#10;5PfOR6GlCBVVdilgnzH+EEnA35xjjHT0oXDo22NnJ+TYxJUHKbSvfOdwOOu4cDbmnNgxKqlYwq5w&#10;zndJkBSeR0PI/PJ453jGTjy306jTilzW0QxndpGYMJJFk7Lt6sD/AE7d6c0fO5QVOFlwqqUPzLvV&#10;genHrnOD+Lt2SeTzbtkrJmRsBQAR0zznv9MU0BFVQMqgQ/KG+UleoPbPy8dOnQ5GJ5/dUnp/WxUn&#10;7y1vB6+lrW/zIdivFGxDsNpKkKGD4zz9OM+4PXpUqeWV83JZth5KgBWDZGPX07c/SmKSShyGyPl2&#10;jayksDkdDwMZx3H4UJuI2kISvDArtU4ULkegPGBzx3pSc5aOysg5VSvUS0vf0AMXjXIJV5Duyg81&#10;lwB9OQ36duMrKFdVR8PkAo2/POCMEcHHOeRTlY7muAI2dSHfzcyKxySAOOQcd/0puFkyi4IUbeAS&#10;WOFcEk55O5e/BJHY1Laa5uovsqUNW+v9dP8AIYMrjzEaMEEN13YU8MfU/n/UMKKqKQN4LqS3bCc7&#10;fXjbn2wPSpJW3PgqwIZiQVBYqO3Xpz3qF9gBIwkhTEiqpBZsja3HU8lcnsKLptN6f8CwVIpXTV+1&#10;ugSq6kKI2ACea2G2HbngY79c8c/KKrMWUEbQ7fMmEUBCVUHnnAwHB7nDe9LlmdpCwAzvUBtx47jI&#10;+uM8Go2fbuTygo2jDhclgcA4PuRj14roai4ta3X/AACXJ1FaV7L79xzgL5vyZ3uFV94OSpyRkjPQ&#10;gZzkAd+DSszRO6sNhuT5UWSxVwAZFjZhxxsJxnqhPah1O7zQ6u5J2llZgny4P8+3rzikaVcB0URk&#10;gDdkcFScbRnPO1efUjmso3cb9LfiaNRlBNvroOkHlsmEG47n3R4YAAE+uB9QcU1xtYRLGiKhbKoS&#10;EUK2O/PBYY7n9aVzbuM4zGjb/LyVB6DaevGN3B6e9MZly5YqAVIbeu5VDcc46j2q48tr9dvv3HaM&#10;lGfTQFcqzRHe/mMJME4OQAAAx46BfypzCND5aru8sZwy5VVyCCVx3AHA6Z9qhJERYAFUZQ3mjqeQ&#10;WOfQ98HuRRLHsZZCTK+/ChWxkbgTuXBGNvB4yRkUOF+Vp/JEcsXBS6X2ABdqmNiHRQh3OPlCqQCS&#10;Tk8E85JyB1p7CJhtYEKNpBB+XILcA9wQRn/dHqRUT7VLKzZKgeZ+6bDNhV45xg/Nxk9O3QpE0Zdg&#10;saMFUMgBG4DjIx2OMHHJ/DoTavaK21Ijazc31HyRyKrMAA0m4LHgFlPBDEHuMgjIxzSIVU5QYdST&#10;v5DNjkEH8u/GetNdwWk3F1OCODn5snggcY5X9QMcExiUKjynbhnIIQEB8BVwD+A7kYxT5XFOU99/&#10;0JTcJcy2ev4EM0WcfMcK5Q7W+YqD1XB79Rz/ACp8hy5d43RBh/vDOSRj16E/pS7UXYokV4zH5hZF&#10;AONvyjjuMHPX9ajG3IDsFQqGWSIHzA2QMAjnqRnvx71UVFbLv8wSlB883/WgOsbidG3RgDZJuQDd&#10;kkE8jHZSuQchgcHjNc58pFKboiPvHlhkkg4Pfv8AXvUrsVBLDdg4VdxQYOdpx90/wjOCeBjGcU1k&#10;VllZmARl3OsZK8FguCBn1Bz9TxzWiXLpB36/loRXcppS26pfgQSSFjIY1k2sMyI21m3He2eTknPO&#10;PTHbGEZ2ZQy7mzIqFQQpjC85IBGQcjj3qVyoZG3qSST5qZAfJ4UgcAgMFyMZ4OBmo3CbHQrlgoCk&#10;8nGCR2HoB15xn1wQjaSTWzRSlGTutlb8ivJChXBQKUKquVCtkFeckcEggAgt8vfPCscupVXG8pER&#10;IwUHGcDH4gk/49aHOVlAZXZrcjKEEL8vUDuy5Hvlh60jujT7lVWZQf3ZYsSq4JUHjtnBxwTnBwaN&#10;UlKW+t7/AJmcoJXstb/5aAWiEZZyd67gXC7Y/mHJBHbG75RxgY9qhCGTkOQxGSNm7n5eT9dzkgkZ&#10;x9MPdUdUBQKqECTklVOXwQOuchv584qnNIV+QOFfYJMlTulJJ49eARjGB8rdeFrdaqPsnb+uwSUU&#10;7ye/X/MYtrakBp1gSRvmKmGNjg8ryTnkYP49B0oqjLJiRwGRlDfIxPzMv8JOeckYoqHFX1jqc6xF&#10;Tpf8PIx0gdBEFQrIcpEqr98bmkUAAkk7iuc4B3jHcC3EE3RAs0XnyqVJzGFUojDcAvIAlQ8dMN1I&#10;wqRO0jl9m9Y1I+f5j8vGQD345yD0NTuGWeNFIcM+0kYKnaQc/QZ9BzkVyVZxlF00aKKlNpO6uNCK&#10;odJBIQWXLfexwxA9937vGOwbtmpfKyu4NtVVznq0hwOGwRxx7dOD1FD70dWV+EjGE525QAAbMY7H&#10;PrnBzVlkMpb721JVDNuBSIEuDkjt9zk56sTxWcdYQWysi4ws7dPyuRRjcmYw4ZipichUKfeZcc5y&#10;xUYI9zmp5CpAZkQjd9okLBUWI5baQPULK2O+JGA4NVvMZY0UMFjx2QK8gkIX2/hQL0Gc854xaKrF&#10;KIzt3GKNhvRTuAjVEzj2UHn+775q5p83Mtklt8i0qS+Hdb+pFGpdyIwxjG7CSMJZEB3Fht744yQM&#10;D0BarYRZCw80b/OO6TG4KclOWyOd20Yxg5I6iqrqygCNGTKlCWxvGAucZHDHOcjt9CDKFQMHT5Cc&#10;qC6BgzM/uT0G0ZBGQOgyazVvhv6M0pyUbSjqnb8ySOAEEyMUWMsAUPmbgzxoD1IxuKjJ6lfpUaAq&#10;2+M5iChHdYvLUMzA5PHTIIyeOvpy5k+VVUqwQmMyNHgncyZyfTgMcA8gemCwIq7M4kMQZ0X7208h&#10;uR1wDnK9mzwOpTnJJbc39foKUfZ+b/rQeGbY8c3zCSL5mDYKDaWO0gdQF7YI/SpXPGxmCFiXTDZX&#10;buAXopwdxkPznHHXJALYzGR5W51DExSbkEbzlBjBHrgEH0wc9Kdu3sgBVT8qFmIbazFigUZAPYcH&#10;j2IqlJcvLLYUJShZzlvt9y0CWKIA7FVZDHmFCRy437R27hTkg4y3Wm2+QUwXVmYqhdP3oQkMeOoX&#10;D5Oc4znnpUm5VULIQnmKATIw3c7QpJ+o59cjnrmGKQP5ZVlKbSwTYBwFVY1B4yScknpz09aslF8z&#10;0HOPNVUqfS3puWkEZlXGCv33VmIZQW3cNgehB478deIniVoxtcyMrb5FLLtZgrsxCnjnYgPrg8cA&#10;iPHmFpUUNNGSpyoCMwDZPJ6AsvHIwSOcGpXWR4yyMrLE5CNH1yMruxuAP3gvf+LgVlF8suXozTlU&#10;3rHt+ViPCEM0ZKxn92NylvMJGTnnqAAck8AnrxT5AQWUqSPLYgYBZRu25Hp8y9+RjPpTGKwl8sSY&#10;lDfKMqMdPm54wQMjjC9Mmpl2B8swZFO6Q+WAy8tnknk4PGCM4754FGMpcqX9dDFc0W1LXv8AeDRn&#10;95nCqAeNyoCzYxj8unU5B9qWVUEbgEyKWOQJFA5J3FuP9p+QRxg5PIpojLHkBWVSRbpgRmQq7FUb&#10;H1zu454yTQByQSY3VTglAsfy7d3QnOc4GCeADjggpShFXKjKEGlFWWo9GbIO4k4ZsMoR0IG7aoPb&#10;JOSeTk+wCrAS7HOw4IK5yzhexAOQTkd+gPOTzGN4LqGYKrEISPnGGIOATwTg5HPK9sZqUs6yyGQM&#10;6bduZFyGZtqkkAYGQx6dCrdOKcpKTit9NSEo+1b62/MewCgkhnjbBwWWQP8ANtDHOBzkZJ4x19ac&#10;pKYJO8KULqW+QL2J+YjJIPPHXHqaRdg2KxLsqsgGNqKMHHy85DcZycjOMnnKyRoYmYSSOHbcqBdr&#10;Dn5iCuTnHHfG0EHuYu+dK9r6GqVk5xX9bCwscAsU3uwdgw+dRgbgeMcb846fKeOQat5ADBrjcELH&#10;AkCghBkfMOmSqjpzgAHpUdshYBQVBLMAWHAGQfmbGOMrzjHXuakEShnO5HIQytHGm8RISCpwSeFw&#10;oJJzngEAkGnUcorm80vTT/gkcrlNKHVXGy/ulfZ1ffG5DYilztOwkf8AXENnBPykk1IzMoZBIuXT&#10;cpdd5zk4JAxnPpn1weDhnUZCqyjq3kiQ88KwI46Bh6/j0aFDhyFibB/1cmxlTHVWB4IGSec/KGzk&#10;c01FL3X6luEZu6e6HK4d8jCBVYEYO1UYAbyBk4yDjqTzkAjBljbgIhVHc7W3nczEMwJAx06DI4yD&#10;UYZEVUPzNvCqQQW2hTzk/L6jrkj2Bw45wsm4hkbKum3qxwCQTz0BwPUdqucYTtyq3/BM3G7/AHfp&#10;/mTRoc5fiPdgxsSu/Hcjn24PPvinRiFnG6BFMrHzATkj5PxGSoH6DgjFNRozGMqP3Ydwy4RIs/eO&#10;egHFJKmfmjco4TzGKDbJKrBsfTJbP1HuaySc5+9tsdEIydOM7X6tfmSNGhbzNoWQYJIwJDgcHP49&#10;DjqaaFyd4YoqRkLsOSCRk8Zz6c9PryKAHPnrudFbY24x7g2eF6+wPvmhGjDqHJZSCi7yQzZ3DByT&#10;nO36n3o5o35o7/0iJzp6KC12v9xGioG8tJS7rjlZDtUAq3zAdP8AWZ9SGpXhZQYtuZGTa3O9WO4g&#10;5PXIyM4649OaUosLFDuR58sGAD7xgc4I67eM9Ow6jL0TcGIkwNvlnJ+eUl1bJHTAAxxzyvPFXzXi&#10;pfav+DsUo+1bhPdEiEs3klvdQrbRkBAdxz0zz6fMcZxQofcrqrqVG1ZUPlbt+AxRxyDtbGRznjjn&#10;BgOPmQIApYhFJUgdmz0x0/H3p6LsBJVGWP7iliMH+Ld159O5wetRViptpOzLm1L329PyBnjYlwoI&#10;RSCjfeXBUDI9T1PP4VMGjcMY13NuAc7woByDwS3Ax/e7Z45zTWVRjaCVkfzZQVUg5ILAj39j2H0q&#10;Zs78BSCxIKIiqjbgRtUe2eAvTHQds41oy1ff/Izi6bje3vP+r/NkcShH3I7h1Y/NFlGjPGHzjggY&#10;II7Ac4xhVj2KqK25XUlGcqrAYGQMcD047LQNzBGDRo5JQmRMF8A4DDoSAo/75NMfYWjOdxjHmbfL&#10;ARweNp9sgHp26VpKzdmXU9yGn/DB8uCFDqFk5L/wEAEKCRxzz15wenIEoRVdZFVmEQVNxYOq/LjO&#10;PXHOD9aRUBX7wUEEOqrtznGB9OnPrj2pzIzbnBAbYoOUzIRwu48dcJ+Q96SbTt1f9Myl7WE7x7f1&#10;sGFcqD5ixsApfJVkGTgewJVsDuAPWkJjWTZIoAEalpCh2ZDEZAA7fMOSep9KTBRonVkQMCWj2qcl&#10;QOp6Dggj0A6U5CztIz4ZArbSFDFAADyOejDqOo7Dkmmko2a2CTknyzeulvwH/JyAZGBHlkoqMAT7&#10;ngdsk8e4FOQRIY3ff97gDh5Qcnap5HOOp64HeoHUoS/mS5RggX5VjDFiWxxuyQMjJ65GOQROVy48&#10;tl/dn92VBchmJGwDnlScH0wamUYpqK1/rX8y+ayu17tvxuQrvVdxP71SAHC7ETjcfmJPBIOPw64p&#10;7K3mlRlyUGduWVFIHTngMxOMcZb8mSttkUH5wGxuABVefl+boTkHH+NWf3qglVUSbATsGGK5GPyz&#10;2POa0vtJ76EJtPX0RE8YRQwMgLBSzIRg5IOCvsQR9Rg09Vi+WFyzOZAImflyWKggnOBknk9hj0FP&#10;GwjaqMgaLY0bDbtIOAMZ+n5VWWMO0YSQARAI+6TduJPQ98/Lj1OPfNTzRUnObu/6QTu489k3t6rs&#10;OCxlQWcq0bDzWZgoHXJ57nK8j16HNO3FIwuXCsNoDgAsMqSfpxn34pmJI2/jfHyssqgB1OeDjHoT&#10;7cHJ7vOHdQ5BUxnCGMhWJJDdcZ5UcduPek4RcrvsOjTlBWm9/wAkO8sTeYyh1KAEuGKQYJ+X8flc&#10;jtgj60/KgOyjOGGMNnODuO4fgATk1DFujKFlYkIA0oPzsyjBbAPsOnr+b0BMgkIAUggKMMhUg8ew&#10;xx+FKS5Y3uaQhOKiqdnr+DHMRCFiWJGyvyKzKVY85A7YwpHTuOMZpDnMrjAYDfjcR8oGSMdPw5+7&#10;17lijG9WYFsZjXGVGMHjqQDnBYA+napfLIQckk48wlRgY4w3HX6cc1LtyKS6/owtJtO+q/4H5jSs&#10;b4fDPt+YY4ByACCfXp+Q4qJVVi8iszHlfv8ATGRyp7ZI6etSIy53lWLQ/KyL8pJ3YJKj6jn6cVIs&#10;asGEagsUCvgZIUtkbj144OPY9TgVop80bSbvcHrT546P/Ib8oGCclWA3SHaW45Izz2HPv70J5alQ&#10;S5bO9ORwOTkd9x/SmkSOh4XlNoITLrnp0z1wefalURqDEWwWZUbgSddxx09jz7qOMipWi5P66WJm&#10;7vVdk/mSFWJjDISIFUZTEeVHCgHoMADjJ6enSYbnfkYIcjYSFIO0biB1xnZ35CdeDUQEhLgYwMZP&#10;IUAEgjrlscc+3fNIhICtgMQW5KhRySN2MDGcg9M5qYqLb5lsKMm5Jw22d++gqMHcFlwjjuSrKO/y&#10;kdenXHSlClpMyFMykMyq4ePJOcYGfXGO1KkQPDsAT8oHRAGOSSO31Gcc8dqrnMWxx5ueJFjKHdkr&#10;lc4z25yeufTFa04qdP3tX/wwONTnip7f8NYnWJersXG/yz5h37lAyFJ798dvwwC4RQqAWIC+bghV&#10;LqwJIwF9AQQf9008ebwMCMgKwYqBgjLe4wT19QfenlCWCI3mKQBvAGVyOMkZzycYHcr0qGrSUr7/&#10;APAGoJS5n5a/gI2Qctuw2CCRtfB7ZHGOn5n0zSBVQKFDlwGJYMCG4XOR6ZPGfT65Vm3soVvlyWVe&#10;N2DjBPI74IyO3GcYpiEyMXCscDyySAXAIJBBByQSDgf7Gec8FudryuVywUlJ7L/gXARRmGQM6xmT&#10;dC+TsATbk+23BPAxgKelSRrslZVOQgZJDIAhUL25PUZHA9KVIUCkOzYLEKwyzvyDnPPX19+Kcvz4&#10;kDGSTLFkIyGHBJHp1Oc+lP8Adq6v0/ETn+9TW1vyBV3R7yS4A6FiCSwI49VyvbnvimspOWhYOqj5&#10;hGuGByegHf2/ChSXxmNYySSqYGR823LfkpGeo9qGYybSu/O4kqVIY9SSfxLAey1PPazt5f18ias4&#10;ySjvfb8ByhHDjcsgLeYGJ2hV28Dp7sPfPPensSNysrCJ2Dggj5cdMHaT0btgEgcdg0rlQSWb59jl&#10;QMbRnHPrknP1pxRgqxspaPl22qGQMQMnBOM/L19qV0mnK+rRcE2opLVf5kSSKxJjBZ48SLJkiRTw&#10;3pnjAx3qT53xCsZOPmLFRhweM8Y6KFHJ5Kk5GcAIT7pUbXfzAwba2cYGfb3PWlAdBkggkZ3AbwwP&#10;y/iM9uO/NNOMV7r23CUJu8mrL9RZLfYBukXYrFWAkG8YCnGOTjLY+qGo2VyRBF5isSVdcjYpJL5H&#10;t39yD9aXO/eqqpC4cOUO58seAuc5G3OR0z68B24lo3kwdxIm2BQTkMOT2GeeKSlUiox67hDS8e1m&#10;QxxldyNJDIF5Zy2JJGYtuY8Y5ODwedxGBjJcE3JubcoySMMPnBHDDPBHI/Ie1KsbjEgDMhjGxcbB&#10;Hkktkjnpnn3PfFNIYEBmUHJx8nyn7pPA4xwPTHH4OSvPn/roTNONRNarr6CxAKIt8g3keUpeQSbc&#10;cKScfL9ScY68Zp0cbSZViRk+YwjOFIxwT2zz+WemTUIDbSd3Acsv95OBkHJPIGf1BHpMUKLuhYIj&#10;qfvA/MQN7hcEDIDLx2Lj1ok72S6lSV5KT2e3qPMaE9NyxbhG68jJ6g8dMlRu6fe9KCp5kZSrMCNs&#10;mQ27J+b689fUemKkiVMSR7XGegVOCONxyOR0znvnIpzyFtiZU5LO+RnGQRtxntvV+/RfWqlFxknv&#10;b+vzCm432/qw1XRkX51ZSxdACfLJAORn8+vc0KwHzlDGGYlTkF16AYA6ruVjx/e6VAFWONfMJZ9p&#10;B2/PGCT94DPoRxnGR71JhiAQxYkZDAf6rp3+pI9PSneGl1fUiDU3dk6qokCbmYMFkG58oMBFyehx&#10;0+UcHd05p5UDerhHJ2yKu/IPCkg4bH8IB989eMQBmGW4yoAJAwDgdB26dqAkglDK8YCtyWIDMSc7&#10;we+PXPHNRyppJbhJLmdR7f1YtMgJyjEY3EjO1t2zjHHqM5HYrTAkabmEZJUbVPmEujFgcEHIwAGw&#10;OD8wOeOY2O1gfMbkh8EfISOQB9Rxzz0pw3AEEqH3FjxlHG3A4+nFRzbLr+hGvI29lbUdIQcqzoo8&#10;wYKjcxz0HXOD1POcUyMRt82GbDFe20EY78ewJOemevFKMtKioCwyAD5Yy5JCjOOT1HJ7D24GmVQw&#10;RDuJ8tG+Vj9QMcjJ79sDpTbk0k/VdjVwVSMlPfsICsasVlAlViI0HRxuUEDOP72eM8dhkGglm2ll&#10;K7ixK/cRyQcZxjIJHHXn6VGUBUAklivJBwGJADYx0BwnB6YOO9PBLjc/Ds5YYToRvK/zznnuOmK0&#10;l5b/ANbGcU4uyXb9BqkhQ25gGcKTjKLkHgnGO2fwPpUkaLEVI2Aq4CuF2g44DHAyCepPXnrnmoU2&#10;HMY5YHyy6xgEKBnHPvx7jvzUxwFUBt7EADcedrDqB1zgngf4Gs3U0fLtd/gyuXkTS3SI/LjywySW&#10;QlQpDZxg8DtnHUc8+5o8gfxSY/jOGAZyAT1yBwCQM5xkcHvG06qxVlZY423jCg4wAcc89sHBzzyO&#10;KWRi6ozGMKSFyAAFOABg5HA9f/1Vo03TTYRXKtN/xGtt3ZJdXDBAu8MHOMZPYjrzx0B+rFXamMxy&#10;NuwrY2A4/iBPOMH8z6dBhJvUDMbsN4AjKMFBHQkAEEDHB7dOlKFlKMJBH8rZQv1XjByB25zxn8qn&#10;l5YqEegPkcHde8v1sIsceGXLIqj5c8M5PGVz043HODzirQVg4kYlEVlw6RiJMZByBxnGSPqPxqBw&#10;zFmIUEsAzKN0i9WGBzjJLH8TTt0LOztkndiQsu9QFJyByM9+hxyDnpVv305J7/5hGnBTU0+1/wA/&#10;8i0GDP8AJEFSXdv6rnnIxz7HqfTrSKAyk7WjO0HCuodGJyyg9wSxPOenHBxUaLv3EjJGDuQblYbV&#10;AX0yAOo7A+mBKA2G3EBtmDld8ecd/wAPbP6VneNrx7om8uf3lp/X6iyIoTcCVYoDHEZlZiCTkkAk&#10;jJX64xx8wNK6kqEGVVX+TGFaTAGfX174yD36VHHGZPnU4UgKrJjegBAJJ9Mso59fenqHMR2gmUDM&#10;hZcqcFwcYOcYAIz1pJe+m3exSutJbLb5jsQsgLkkE7XUAbEIAHTjGfmz9KeI3jeNy/y7RJAQACAO&#10;BjpyOefc565DDu2pICEbJACqdq4HPHvjH/Au3UQhVyzBlZEAUb1+bPGCTjk4wD7jPHGNIppebY3N&#10;cyjNd18i0QkqrvDeWvyYjbacjO49z1Unnr9KbtjBYIUOSGZh95iN2cLjqePrzn1pioWEagZV8DPl&#10;qyM2f4jg9APpkDjrUg+WXMsfGcdBs5+UH8gP155qYQey2Kt7Rcq0/pWAB2JQqWTYCSz5AAVWIP8A&#10;u424HXB7YpfKdeQioGbkBsPzjt+XXFOQuUIGcxsFIK7YztJ4znk42H6j6UgBcB2MiBCBywO8sXJA&#10;xjOO/wBRTemthWn71O2//AK2AzSBQygNkKWG9+ozkeo/Ud6pyFVjCSDIQCAAtuyVHzAAc5JBJGOp&#10;I9K05mMjBXTaFyB8uFbPqo+Udevb+VdhGkfQgrtZgFBwOQeT07c4pKaUuWW+hm37mr2KDWygO67i&#10;GDZBwR0IwDjr1xjkgVmyRglNybEOfkYgsgyNvAwCcbj1GT2xkVqyB5CDNvww+ZnQTIy5DeuAN2xs&#10;4PI+pqvJGibdo+RMAhgAMAYIHsAM/hTm1Czktf6sLklJXW/X5HPzxRiO2xG7MEJf59iDPzAHKk9g&#10;OCMFcdDmqrWmGlRV8zgEsGRsAhxlecAkE4PfjFbcsAcBiPMR5ACpH7uMEkk8e+Ceo+hqvc2pZTEI&#10;0jDAF9qDeMHgcc9/5+tF3NWl9/8AXoVUiou7W9v+HOTuLQHYFGCctt4LAngZHTkYB9AfpnHubLKJ&#10;C0SjLEhVAUTKCPmQg4Iyrj1yrDPOR100ZKqhQkSFWRmGwuc5I57YK5wQetZlzazKZCdjsjjcJY9p&#10;jzzwOMDOWHXGTjHJO/tXyxitDGWtuZXa/Ba/mcTcWat5ilY1O7JCsB5nQDPoxyD2ztHXNZMlqu44&#10;D4GWQuytsGSoBPHq3Xj7vUjjumtyqAnYI4jsdNu+NshEbDZHs3r68EGsiW2VBI+4ERzlCnlqsisD&#10;g4bqCNrnODhiOAeajW6jf1NJc6Sta3/AOElt5Cs6NIRChDMcEbwQOScYJA2jgnhQMjArGuLOSRpH&#10;RgQT5jE/ediRkdCWAAB5Od3bOK76SxPnMwBCMgZ4+AzKpIIOemMEfhwKyZtPLO8bMqGQ7YUWMSAn&#10;LANtOW7H3IORW1OSaTv72mn9feRJcyUp7/5HnT2aqnmhWZiDHIrHMkpIGDjPGNoJAyDt6Yzij9k5&#10;QKWiLkiMFwh5GSTx75PPQHp1r0CXTHwDtaFhGE+dAwJbKv3+U46YHuDms97LblmUStJv3M6qCmPl&#10;6jqcjOc9+g25Ok58t5XJcGmnsv6RwLWzZMpQOnm4ZM7zgYJXj3VssPXHuab2uJDjaUz5oUKsjBiV&#10;5B9OBwc5wPQV272LO0bIoVWX5pHO8phSd20NnjKDAGDk9MVVOn7XBSMIvmgTpuEZIDs3QDjII49W&#10;9qmTioLlWtjmnzz9+PwpnHtZFQIyzlgzF9pDFgGfkAdOI+hxgsOxOYI7eQDksyHJKgEbTj5gM8jP&#10;QepAHFdfJZy+WPkLxknaFjwT85JO09CQCOegKnk4Aqm1ZQwKYABVd67lBVW7/lgE/wARPtW0ZWWv&#10;Xf0HKLjapLRaNfh/wTnTbgphRsEcmWAyyNnj5uevTntTDC7ITLsJL+U5+ZnjHTfgDqenfOB610Js&#10;/l3cI6hcFk5Oemd3Q/N3FVBbSqGd9024+YFkG8EgggHPcEL05yg9s50W7Ob2v+BT/iXvrv8Ap+pk&#10;+S5dxMiptJQhZdyyc7TtxwCAWIbPQnseXNasGCDYqInlvGrjLNjLLwMjHv2YHrzWv5JL7UKgum3c&#10;6jLE5AHtjIIz6DOelRSwEqXESospG0BQHPOcZ655A56jjpxRUnPV306Aqd1eOz3M9VVyu8yKxLMy&#10;qu0clVOT0G7C9ug4PBqSNAxG0sjPHlXIBZeQOh424AA6cGrLQ7whwwUICVxkJ028Z7DPOON31pyx&#10;kyFSsaeWnKopVRuwVz/DwOpxgnniqv7OSqLVP87kx5W+VkKpIso2RlERdy5fgthRwM5I5ZsdhwTn&#10;BOzbg/Ku5pMDYcnBlOSo3H1/hx6YFVbdGOw78An90o+8nByMjoecHr0q/DuaUMFDbgVRlzlANpCj&#10;t2bn3omorVLYVKySb3fn6f8ADGvCsbBcsiBQq7FcKPlKlj+CoWx0+VuMVrQIRH5YWRdxXfKx+UE5&#10;247HORgt17d8YqW5BjO10BQzxo0bRl1dcB8HBxx0PrkdwdmFRsjZ3Mn777rqrjAJbkEHjcxIBJ6D&#10;oBgTB8zUk9v6/U0qS3lbv+eh0Fv5SMGLs0aYiwjKq4HBIxnoT69/pWoImUBchwYy+6Q4JPCg4J77&#10;QAB3Hc4rEjdVVXBywcIH3YznapBy3Viq9+cCtmDzIijTbQ5bzuGHzndjKjI5BAIB4x6cVDctF1X/&#10;AADaFTnbivXTz0NyLooDFxA+CWbcEBUjJB6DLfX73AHNdDbQlQcEEIwAKIFyCRgnr0655HU5zurn&#10;oBGhYkfJuw+1SxnZSu/AHBZcgpjrh8HIXO9ExMcRDKR5gfKqG38sSFOcscSP6jgY5ArKo6l1ZWNL&#10;t1Xpq1/X4G6gD4JZlfbkhAHVlOD064B9BnkcHitS2VPlQFWVW3FxhVyRjk9ePQdhzWVCArYUttBI&#10;GAN44AwR1wcf+PdBmtNFUEMmUG8FSy71GQCc/wB4+nelGKa5Zb6a/MpKTa9p1XQ0oULOBvAUKuMD&#10;DYzn9eKuSA7lRfpuT5mIH8P06dKoRgQ+dvdtwGNmxTyMfL9MAfjziriqj/KhCjdvHG50Bw4xnt82&#10;Oe2fpUOEva2exLaS9n/XQtuqxja244TgHGAvA6+vIqUFysY2Bd5ZlbO75XDDK+gPcnvnvUQhzDIq&#10;7iq4JAGwhcDHOfUdgOx71aSMSZ8lW2pIP3MagswJ37dvcZIOAOw9DQuWl7j0bb/T/MuDlNWt209B&#10;qoykqx+8xZjuVUx0PQfX1BpHzknYVyQyoB5bKOgAP4HvnmleIquwM8hCEAsQcMMggHOeQFPOB2xx&#10;TGyQHyNjgyqDHtjdSDzngDp9PypbWaZT9mnyq+n9IE2ts3OxGApAGemNoJ+7gEEdfypCAE2hm3O2&#10;QwPRT3x+fPtjrTkJ3OGGzAEjbjyRnac9sjJ4703e29WC71xwQgye4+nQ9fX2pxUkSlJNdV/X+YFS&#10;2WHyKh28sCihhnAP/AScHkhCecGm5iwpVlJYHJXacrn6++OfTHtQ28HYDG+SjqUURgk5kwe2DnPH&#10;v24DGZRy7BRKQpbGFGS2Menf25+lXJLRt2QVlKNOyWt1+hJv+YyKWXOAhjCoibdxJAUZyxGM5GAv&#10;5QnaZBIxYEkE46jeCwUnHBwpGcdVJxT1IGSF3K5ALbBxu6ZzzjDE+2T3pjNJmN3AJwEBEK4AAyGP&#10;bkDnuS3OOatStJc3XZg2nCMnr/WodDuVVDBCoBzh0LMCcD6ngevHbDwgwApYMJsEgfvF7NgAgngY&#10;47E9s1AkhWFCySMVXc6dC4IKoR3PCqcHvnqeaeDwoQfLExd/lCkAAZHXr09OCPWs4r3t9LivGSSt&#10;dMbEwXCMSodeMMYtmMFQVxnJDNjAPfPbLtkhd1Ds3lKjr0XGUV3AGOgO4H13cDGDUhidnYlRtbLF&#10;RgqVPHJ7dTkewqPPlRyNHmQuNibMBge5LYGeST+OO2aqU2qnL0NIx5Uo1PMeBgcPvYfI+SXHyEEA&#10;fU8YHUA880mFKkq5Lq5IjYFtueMe/c8/4UfMoby9zKwAbj5omyMjPqevP0x2pk0mwlCgwAAoVSI4&#10;wCoAJx1zkYHHH5KnJSi5Na9CeeKpa/1sO2suJmJUEFWVCRg4JPQd+frk4yaQxyl8rIpUn5CzAKAe&#10;m7JwM56noTSEkqpRgRyRGsXTcrFlHUA5KnPt9KNqsWYDcGUshfJAwqqVA7HKhiBxkk98kdpRTvox&#10;y5HJwlfvb5qw/AKBd7OmQ7IiFZV3fKT05IHv7464hk2gJGhLgYG/cNpJJPb33c9sdOc05fJLY2jz&#10;M7CpTBTptPfjPXgYp8koYhSqny13KoAJi+8BlsZ256jvtBI7VPvOPvAoynG0XZf0yvvLb5N25S3l&#10;F1ON6jIy3JwWGCfXr3OWHO4GM4CjgEkbeM456jjGe47ej5QVBcEKWUqzBQIgQMDsM+g9+eM00rhQ&#10;wfYFK7IgSwbcuRuI4GM859elVyyqNSWn6IUXyUk5u72+ZVlIQBsZbHyBl2EcnIz+JPXFLygkdyXY&#10;EsgJOAW+bB/kB05p5i+d0ZWIkQEggEqAehJAP3t+Ae2etAYKWkEYZYnLEMu+JMkleeQO/B5/I1q2&#10;mrU9tRSi1+8k730FOGVWJ3E4BLDhupGOMDKnqOm+k2xkliANo2OCMAAqT8rA4yWPOc/KGGMncrWV&#10;Q/7vj5SfmHTPU7egzwOfXrUbbyygFRkhVLNsjTO0OeRx94/Lk8d+tZNKT91f5D5nKNkr/poNRCXD&#10;OZBJ5h3b5N275+WPOM9TyOpJoYKrHMZAVyhaXDO69QRz7ZAJHQdDUjZZXPyOGXcm2Pbu+XnjPrj0&#10;60gDOwZWGGAOSuAysAny9sHOc/jWnLKz+QSUoU7R8iEshcsbpWkQmMhG3bQFXCkduCPYjGKViisf&#10;NVyFwy+U20/d5O0ck9D+HrgU4eXhyi7JQdxG3gjAGS2Ock4AHp7DEPVnfLEsWVUI+ZAACRz3xxWi&#10;iopyT1FLlg9XtuJgGUl2yRxIJBkDJLZ3e5AOfp7UjEIil5GJmbAUnYww+N2CcgZDL74ODxThEp3y&#10;bmZUGCiDJYAE5x1zweB3xzTnHlkvGAUciP7u5crlenIx8o68c5qIThfVW2I51yuFuv4X1AENxnyy&#10;GJR3G1S7KD83PPOevTgjmmGLOEZgp+9tQAbRkMMj14X8vwEUxWMlQB5bnA2FWY4LEErnjjbnHQge&#10;uS+Pa0mHLCbytu0KHYgjGfYnafoRxwOCpJclxRjKUVGXS33dhjIsylpG3R7jEY2OPlVQMHj0yOeO&#10;OMDGWuh37CVQZYhwg2ru28Ec4wPTBIY9QRhUUKI2PmExyZAAC7+DtA5xk5Jxg4wD64YSx3Sb3JwU&#10;DNEBImSSAWz0wTgnsR7A7U5NcvZomfs5Q9naz/4H/A1HyFVyFcfMijJXZGMk4IboeFZuewHHNVMN&#10;IeNxQkw7JCEkI3Y3DnHOAw71Y2AnYwyWwqYQsrDlenLDtgY6E+nLJFlB4wZWCxqqkqmT1A54xx0x&#10;346GqtbSLtLa5bcqll2WvoMeJV4j2KgmLbwW8xt25u/Qc7cDjA5Hq0sN4aQOzeYrcsSo3byB1Oci&#10;N8Z5+U8ECnxqpeRcxsVf7rDcWzgMMHgjBH5HniqzH5omUuyKWYHaqdcZHUnjc3Tj5jms3q3GS1/P&#10;QXIotepCyCMyMWjLs5CIX2hN2w8DPPOT+XpVeUqrFWysi5UTGTciqyYAPpyWxn/Z49ZCS+5vuP1j&#10;fCnac4yB/wADHXnOOOlVZHYs08QXLK3KDDJucgbsZx1jPIJ+TqAc0crfN3SJqRk1zRj9wGRxHgyg&#10;hSCGyCWxtypA5GduST1I71nzMVJYlypw6bjt2DOCAOT1BGfYU938rbIEKnaVuFCAqjLgYOR1U9QQ&#10;DzyKyJrnbuZ2YqY9rJtLuw4yTwPvbBz1+YjPJzrSjZJmUouUUprboTuU3E77QZ5G8fP+NFZwmKjA&#10;miX+8pYgqf4gfxzRWcueMnHsHs03fm/A0oiMh4wpOCjqUKF/l/hIzkZJHPTrxU0cUQYYJlVh90KV&#10;3gHqM5AP39pJ4AOcnOaqHhj5TmMtu8jd86AkYAIx0BbpgZZjg9KnjPliONwcBVXfGC2wEN1GecAK&#10;OMnII7HPO73bT/p9ylOHtLW06fMnKDMaxnl4m+4uFdicFs5BweOcjn6EUpKCQFCVLPh1Uhj8pQks&#10;OQMqTgf7J55FVfNESoBI+2JgqqcYAAT35PG78e3eyEYp84AzGQpfEwUHeh4IIBILDpkHuOtRy6qT&#10;foJKpGUoRXX7yNV+Xb5qxsJNhUKWdwo3ICfYFyvI/wBZ0OTiWCN1cHeiBhjlDvG1dqkEEYI3BguT&#10;1BPFM2gq7KJJWMYMUGwK8jH5DhhyMl1wfU54xkqj7vNYAOpxEg3gSEkLh8joOoAPAwOMVpKo+dtb&#10;WRUYKFZyl3u/8iUFQVHJdUVDIgLrtC5TJ5GAWbA98cbeJFEQVVVROdgUFFIU7RsJJwBglTllJ70x&#10;ywdlRGCeYAxVQNxPI3HGOn5gj2pxJEpmLuqhWZQp2O4cfKQ345BP93vWTTVor7+uqG001Tj8N9/u&#10;HyIMuqh41WNiFBOGJXJOfwPHAwOgpYuCSQVQHZtKgjc4QMFzzyhTOccH2wRWEh+VVZN26Peq/IBg&#10;bckHGSMjGD3IPQM5LZXPkjaSjDEqrhWY7eDjGVBOASh9OErWUJ77+hSk9OYllUM7Yj27mO4hQRGA&#10;SCeOxLY98GoApADbW80qViBycAqwBUejA47YDD0pSFOMZDEZVufLTaWJJPbll6DHB5xjNhiABIGB&#10;3SZZkxGV4PAPXA5BBwfnHvi4tKHujfNUblPRf52InWIrvJLbIFLKoIjj2n7uBwCCVXofuADqafvR&#10;yu0bFT5ZN4IjhGMH5eg5z+GKSQoycgKAfMUMwjkUyNggnqRucfh6dkZmjdWxhBGHbCbVV8FjkDqM&#10;huD3UYoT92zXcb92fuPb+kSlU3gnaqswbKqWznGDjGeC2D14Geacp8oMUdsbjyGwSGRt3I65UEH/&#10;AHhULFUjDlHAj3R75TggsMAjtnaQfUCQfUuUsUVACsiuCCeNzDy+QAQcEYAPfPU45mC5oJP+v+AO&#10;Vb3HGd0rb/PQQ7nB2qHcKwkLoW+6p4GCeS27AA4LD8JR5eCDtPkkggDETFdrHJHJ/iXA5yR9DGDN&#10;I0RVZfOYoFV3zjI+UNu5BBJ6n8sVIrB03BR5hVvmKBSg+Y7zhcgnIGAPQcc4fK4vmh815jo8rhz9&#10;RzNFEzEASYIAJIwAckk7SRyFPIz0HQc1GrIRgspDgxqszkN8xYHtjkbjgdh+SqMK8bZjKRkhlAO7&#10;ABUDv/EuBj696USO8e0sgRV+YIM4A+bcADnk5IAzwxwDkVmoq90tBcya5mtEG1hltqoRHvLDk4DB&#10;flPbO4Z9C3tyiMWcbx5aS4yBsVRgAAAkjdjdgYH8LYFOSRsMPmMQZz+8kA2dVTPQj5uOMnBPA5qU&#10;zElmQMpZSj/Id0fYErj2bjI+7+Nacq5rNGcZKa2/4OpEx2SN5ijarDazcspOcbvT7xOP9nrVgxoJ&#10;V8puUBAIUFkVQzHK54Hy4OM4LCkwoQod29iI2YghpGGMnGM7Qe+AfTgjLo1WNyqkqm47WxhgoKlh&#10;kL1Yj6g8k+kqCk+Z6NFKc2k35abMkLl4yTkLuI3KoWZGHmAhwQcY3LxxypyOeLMQCquQu6Vxu2qG&#10;2kEbiVzkE5IPs5xxTPlQqqFBtYv5ZcTljuAIzjJA5G4468jmnQ7pWdCzIFmLgJ+5cKd+TkE443Hk&#10;9TnmnKScEnsjR04uTad32/4Ip2I+McO4U7k3Mo5JGOv54H54pQwKlpIQpCksGBxMWIDY56YJzkHP&#10;P0qLex2srF8RhXwxKEAqQV7Y/i/rmngF87sqIV2KTJltwIwDk54IIx32n6VLVneOqZKs20t/6/4I&#10;7LCIl9pIdSyOC0K8fcI7j5SCQemOlGxNpUhy4YfPIhYFhgFs59Nw4HB+tMC7dqEsS0m3BfA54y3v&#10;gDk5qZi2G2MXSRlBP3lcDgHHYkt+HFVCTcWmu4o3pyupf0xY8SNE8YKl35Gwq3BUsDlsAkqQCPU8&#10;nIp7qnmttgWPywUjRocDoAwwOFGQeBzlRk1GQsgOzZGSgCSH5ixPfGRwAcfgfc09wA5ZllwriN/L&#10;+bJBOWwc5XAJ3dCMnOKltuXNLbQ25nHmhF6pa/dr/kOlYyGTLomcrkuWOWwcsvpg5GPbpTY4Q3zA&#10;l0VDhenK5AXbux3xxjnPNNZHDuRnzFZkdmcvgt1Ldzg4z+nOKmB2xxggAbyqRM20k4wME+3JH9RU&#10;6c2m60+YuaLak9hrIyu8JcksgLOCwjBUEBgDxn5yMdeTyaVgdshCKqMd7793rknPBHAUjH5ipCxx&#10;kogZoyhDNlCGyAdo64GDjnocZphD7WcR7whLJukJfdICmG4OQDtyR/eYkEVcYtxjfcJcineOqHAR&#10;naQzKj7mUOw2kEZK+vLIOpJ+ZckAgBqBPm3CRYwPL29Sql0ABfHqB0x9OtNBZgiDyy0WVZidr4OC&#10;fw+VPYn3BFSruIHzIrEZkVQSiAk47kgnA46AHp0qG4uScv6/qwcslHmirrV2f5k2+MqSjNIG+WQE&#10;behGWH0wOlN3yERswKxomGRk3McLkqMEjgYHHUY460oaIY3oCWkBQLuGBjGM5BwM5x/UAiRHZVjQ&#10;yALuw0gxhwRk5OMDd1Jxj0x0qppRu1r5Gim4T8rfkEQZw7YZ8qR5ZJiYEFSMEe27jvg8Hu+WMCIC&#10;L75zE+0tgKePMHHruwvX5fcZiDvyrvvYkIWDHgryTj/6+eT+I7NucggszMSXy20bS5J5GejH0yBT&#10;Ubpqnb5mXNafLJXZIuyQOGG3gsXdS8sfG4bevTp0OeaUIzxsykGbZ5jdRwOhY4zxvIJPIzjtTAGV&#10;VaRw0jbmyCTsOA2cd8DP5GlfzNpCEs43KUkXLsNpA4OAQflxj2+tTTjBWh1NPd0itrP/ADJGEKsH&#10;ZMRli7O5IUEtycdeqrwBnj6ZjdsxhoVK7xyQw3AkgZOCRng/dJ69TT1dioSRgmxSY/l6/wC6D154&#10;/wCBU4MDguCqqMqcZ69QPQfNkmm0+bmX9bGdR021OSbv/wAAYYwiqyqBKqZA++SxPO49wcA9+D9a&#10;mBKKTHtBj+cRsN7euW56/Q8YqsrMBvLNEGTzAzAkAEbxnI9+3H9HbXDBgpDOm2LcTtXJGS2R1Ayo&#10;HHPPOKbcW/e3/XsCjzKTS93p3ViWNAHcY2kqGkLHcg4OT1xxnrz/ADqNlG/aY9xjjRbdxgEbFAUD&#10;nqRgfgeamQg72C72jIRtzYJGNyjnp1Y+nIznimSOwXewLyEcbQCSRyFIPGPQ/rSi7tp6v/hhQi4U&#10;n/V7jGldZVZ2TBIAlI3rLyWwfXPPQngDODkB5XAXKmXaxZQMKXOGYg8Dqc88D8eqNG+EblcoHOMg&#10;kYJKn0wRjnimkFiC8xPlEqoQ7jJ2J/Qdu4pxvKSVu+xUeZPVaImby2kG1nEojw4b76qcEEZyCR2B&#10;9faomfCmNHwJBtDD5w4PBwTx26+pPpUgAQu3lsGCoVdSVYDA6jrk5Qg57n2pQ77I1AUIJA2D90H7&#10;o4PGBk4ycgN1OTSlor7kQjVnJtNWa/yImkVEYlsPwAqL+8BB+Y+x5z6dqkjZo2aTCFiPNcHLBlJJ&#10;C5BAUEHsMc4A70oQLIVJ3CRQcllBAxhQM8nODn145HFHybowNyNtVCAN2AeAc++B1pNxbvFaDtLR&#10;Q9L+en3jXOwjzVU7QRKyFmIHUcY6sM9B2Ppy5GQgbkJ3NjlRnGD/AEA6frSOVU5IWVHTY5X5CNpZ&#10;fx6npSBmHmbAyxR4jBLb3U4GBuA545I45YnjpUtJaR0FaSvZ6/8ADf8ABHxgNGN2AQwIkDHch2qT&#10;kEc/MZAfXavqKaqlQeQUST5JIznzF54Izxg5GB2wec05vmiVC5PluVLcsPU5+gPb06dqeURI/n8u&#10;Qbt4UfNnPT5s85x7dSPqTS0tv2KppOL8l/kiKJiAWLhT80hJyGHTC7ehHDc9ck8nin/8sQgwD5ik&#10;KqHOTlQcDp1zn/a4zjiELK0ioFfaUw0gICufmwAR6Dg9jmpSGy0QAy0CzMuck7gD949eozjpu71a&#10;vHls9PyG5VLKy6D5AoZEi3IxDeZkAKQrYHAPBICnHPXtTYi20Oy7E371wxcIxIwQexB2fz7ijDCJ&#10;2UbhyMngjLKvycc9znngk9BTsAjCsMoGAfYVIJzkd/QAYHp9Ki3vb6f8MKKmnzLa+33CTNJtZkIl&#10;2D5jtwAcqQFwc9B2z9RnNKANskacqI8DYNx7DPTnvSKYyCmxh8w5HABwDgHp0GakywjO7Dg4VwcB&#10;oiAQNo7j9OnSrjNJWS22FKTlTXNpfbyHKHUAP8mPuMynbw3zEep6A8enTJy6Vi3lqodVBZ2ABIO5&#10;TlTkHpnOevANMUhkdtpB3fKMbBxg8qSeDnjPOEyeozIHK/vC3mIFUMzcbPlwFBPcZI56AcY4ojHn&#10;TlfX/OxaulGDd/XqGVYMV3ScD5mUhABgZHboF2nHb3obGGWRUyrABerdsZHXPofb3pwMvmLuAbcz&#10;IWQ+YVA4UBT6EAc88Usg2mRFB+X7iyKfNlwP4mHHORnGM54HBwoS5alramcY1ZO7eoKGEkm4lQvP&#10;ytnOMcA9jjIx04+lNQFkLI6RkpgYc7WA65x6c9cDnvQMxjywU/e5kBZt0aBhgEhScMu4jHbGOKTP&#10;lgCNWwVby1EYCp8rMM+pJOMAk+1THmlPTqV7SyUI9d/wsOGxirMxQKrBQpKl1XLHH0A4A9DjsKmK&#10;sGdU+ZvOZmRflww3A8Z6/M2M9z7mkkxIvlEKwRSCSMI6tkZJ+jNj03n1NOZmJRyQw67l+YE8ZAHG&#10;eMEH2PtSspVEp6bk/A+ZLbX8AcLvMZLEKoG1j8jjAyCRgkjDcdsqeaRJCGdCM8F42YgAgggKenUc&#10;DJxnHvUpWQbs70LEENgFME4+oGFBx6KelRyqN6hMHyydoBY7uDgEjuPlP4+hNa+7zK+zt+Gpomla&#10;ot2R4aTYGwVlkxuG47CpzjnoevXuDxTg2EIijwCgZRnIXG3dgf7obk9/oalR8ujRNKvKt8oEZG1e&#10;QefXoMd6UsMs6mUKMIVkPA4zn06nOMEfkKzd20ktP6sJcrhbm1d/0f4EedrQxlTmKPbG+cbRktnn&#10;6k+nPfjLfLw+3bG2Sq4QbScL1IOD2H4sKeyuVUMxOWLHAJAXjOM+gA+uOpprrGCpjCqoUH95ICR2&#10;+bj2APJPYVMlK1n02Hqptq3TT8vXYjlLKCNrMTtIG3hsc5Gcdwfy4pMFRJlN0RbClxny8+qnoc49&#10;RnGDUqn5XUkhliYoSu0sAOgx3PAwOMn0GaiDu74kV2QFgRgruJHGcHrjJ9sjGO1pPRSWzQqkuWTk&#10;uu3rsPMZ37gqhJEAdVONzJwBj1OSSePeniNQvm4JCgMi7PlHZSB154yeevFNRGj4wpLDaCM4B6Dn&#10;oAcH8/wEqzCOILnJQkM0YI2HOMYx0+br74+qc9dv67BTmlG7Wquh0R8xZCmGcqo+4dpKlsYGeh3c&#10;8duSeKY5PmA7FK9N7dzjHX279MYqMgxhNpOExKApJHQjAHvhwM9Ceh7yyucPuBV0B3CRCpYqxVl/&#10;EgkHpgCknyyl6f1/XmVGcuRJ9BqYkDsSHLM37wp5YJyM7fbhgMdRg96lxHgrjJUhhG5wX6Dj6bs9&#10;eg7nAqEggQxhm3k/6xvuqS3BJGfVs8dF71LnGFmw0eNsi7Qrq3J25zkjkHAI+83QnNJqMttOw58q&#10;tdL7x+AowgCMx81XfLBvlHv1OBj8DzVXLbCXEj9Cf3fAzhSCDx2De9TvmLB+8Ix8+3G5htJJ9dw+&#10;nX8KQOWAywk6YIcbcA5Y5x+n174oheKbjLcy5bScX6L5jwQcK6ZjPRsYBIAwc8f7WfekWSX5XCAB&#10;wFyQFZTjAB9yB1zURC+apG3y5AdqEAYJHBP+yCM9c8Y9KdlCZP8AWDALMrk5Jx6Hof1oatU5nrdD&#10;jbl5Y6Djl1BHEsR3mMuMkEMORjP908elPjJDPGFBYHcwZSCAxHDegHJ6Z+fuMU0ALIGGRK021mAD&#10;dTg8Z9Rxjk06MK2xx821ic872JHr16kDr2/Cr1ULLr+ZXs23KXXVjMs7RDcoBPmNj5kXBP5cFR+B&#10;5p8Y8wMr4JYZYEvG6E42/dI4z6ntyDTUMkci7jnawMfPQnPXvkA4znqM46YPMkjAwZBtQMWbBUlc&#10;/eOP/r/KTmplFp+X9X/MhR54XlPS/wCGn5AiZkJYuYuEJK5yeOox+RPtTyoZkdo3l8ogZ3KCVJK8&#10;nGOhznBxx14pittD7ckZLMXj7AnDYxwQPTocigRtGy7G2b9zkAjoed2PUk5JwecmrmkkoR6/8Pqb&#10;xcVC/wDXkISpZC0a43E5MZeM4H3W+uce/saa7KQMRr0KopbaqMQAnvgYXpwMr+LdikbXLsxI4B28&#10;AfKMdBwo+vGOtKVKKR5bM0THBDdRnI4zn+IAYyMLg84yW5lzdTKUmpXkk9PnrYRwFDkxqHLK28ZL&#10;7WGR+QIHvjrTVZpMkou0DhGB2A4xk+3I/wD1GnRLIJEVtpA/jJ/dqAC2DjpjJ5AP60rqxQsMkrzI&#10;m0iUAZ9M9yevOB3HSVeLWhnUspPl2EjWMiXdkbF3OVGM5+UAY46lOOBwfWkB8uSLDMhkPylEzlvv&#10;AN7cHGO6+5xKThsFj8yg7UXKyNwMHPPOM5/lSYMhJ2KyqM7GPy4DAEH3HJ4/umqjKMbNa/1qO0fZ&#10;Wuub+v6Y4COOPCfKogAkbOEUgnBU8DIGeD6nrkYRnKgM7FChAjAjO0nBPfjJ/oKlG0EhXQDdl9qB&#10;BxjBx7d/UjvTDmUsCimMMWaMsGZNpBb3OBgZHr9aStJXlp/X6FShz0bc13+hMUKMCi7FK5JwduQS&#10;Mj06AYPGR700MUJByGLbgNu5kOCCSOm3kdeflHSmKfMCruO3bhgVJK5bnHbPJx/k07y2Uo+9CHYR&#10;owIO0fKu09u+d3JG0n1ojtZGsXyQ54a2/wCAPdldYwqyM+d5HzFiBncOTgnacYH90YqQYQEKC7su&#10;2Q7cYbjeME465/DB61VyVbLFY+fL+6ysOcnbwTty2cc/jinrLIfmcKqeWrYJJ25GAOf4c5P4cVb1&#10;hdaLT8CW2oPl7/n+hOm7AjLcFgQyEHy1PXb+H8qRW2qTkkmTYpH8IIPJGe4/D6io8FHV1l2nkIy8&#10;ovK9fXjH51MYyFfOSRHtBHyKwIxu9Tn5uCeMDGeaxmm5cxEFNO63f4DkCIphcAoiqVKKNqY6KSOg&#10;OD1/OnH5AVVwoRckP8jqBlccHHuScHIP4wxsu7JQySFTEFA3EYA5I9QTkfQUpPlgMSrPuA35xxhh&#10;tY4yBnkj/a70lCXNeN9yn7RT0s+n4jQyAF2HAI2SNn5sDB+vJOPr9KV1dSu7DMo2qQSQRhSO/PQ4&#10;HseepqUIoQ/vGAjzIisp8sFiAWxnAJwATycKo6AYSMuxUsQxOfLXeFDHIxnj1A9OpofNOo5R7lNq&#10;dJWWnl0KBVg0jP1BIUbSIguf4fXkdfp1qMxgoWEcinaBhVL7flALHr1IB+hP1rSYqQpDOrHcGUEj&#10;BI5JOPfPSoN5Xb0DFVUJkknaXK5GcAkN1/8A1DSPO4csn5/5hyezjyxdvP5/1czGjYgoDsD8FSMI&#10;e3Q47gn8TVMRRnfK3ykEncBwOo7fify+o1ZFQIwVgGKbkBy4DYwA34/y4qk8TMrAKFVznZ5gVj04&#10;JJx7fhUpJLbRk7zXK/dt+Rmy2sQkBAVWlXBKYLE4OCfwBHfpWXLbqBHMjFmRSXJyJAcuQexAx5fy&#10;+qN1zit2aFgH3Z5AVUB2HAUBSOmccdTz681TEckJcbWAEZVlHGXBxg598fmeOwau7J9P6QRtC1+v&#10;4XMGaJ33uqbHJ2sqKQxBC/N2AwTgeuDntnNms9se6VG5y6bI8FCQUfBA47Zz9fQjq47Y7HyigKGi&#10;IB2qeCFBA7rjP1A4qrJahQ7q7YQknJJjxj5lAPTGM4H976CtLpK/damMIJtRT11/PyOLNk7bzDIu&#10;7yVWI5wsZC5JXgADLE4Of1qjdafI7svlrtYg42krwNw2gnpj5eeSTjJPNdwbdvlBQ8HCMTjB3KWb&#10;Hc/KVIPb6YqBrIYLFSSFYKkhZV2AkEnPUgY5zzgH3puTT5oPy/ISi3L2dun9M4Iacgd3cOFbLxhU&#10;4KDJUMCMAkHG0thScbgATVSbSwqo3lqjkEszRsz89V3fQoRx1JORXoUti7IhOw7huTaAirlsgjAB&#10;wcr+IPHJrPmtA5fyk2uDubJ2RgjHyox59PxzwTVztNPTT9SpQSapz3OAl0ttzoY1i3Ez/vVAUgDO&#10;eeMYIbPuDyOuY2nIcuUQIJNxZUYhGLsNoAySCHAyATwDjAzXpMtgQyqsa+W5Zyq8YPAHHTA/u8fp&#10;WbLZIXKgt5m7YEwQ5O1cYGcEEk4A54POcZXMtLdDCVOcpWgvd/y/r7zz2exIWVCpMkKnzHjIYAjA&#10;JyD3CuT9Ac46Z0llI0rxMqOsbFXmGd5G5w3bgABee+5hxjnv57PYGypZXjVHY/LIhVQhIAG7JAGO&#10;OgNZM1rllVgvlq6bUMf93DIMjpjAJPYoT05rXR+9EztN2VR+8cPNasTvjSMqjFWVgC7hQGG08Z69&#10;c9+vFU2tWUNlOCgZhLwnTgk5GRjaex5rsWtZPKEe0oWVSVDZKgrkcZ7HHtkH61nzw+W7BiBLHIEZ&#10;yeVPIO0Z5wNucE46njBpxbXNG3u2FJe9ep0/yOXkiwI/M4DcknI3HnJ6YOfmPHdhVeS3klVvnCsC&#10;QoKbJH7AHjsABz+nWt+S23SKImCgYVwMAJtBxgenygcZwMcAc1meUIy6ozp5jH5igCsHzx6njC5H&#10;Tj1qnKPLZMcak1BRl/X9XM4QEyssSlzldkeCqSsCv7sgc4OW5HPK47kQIGYIXjYp5O5XkAYPlCNx&#10;HXPvgAEjHoNWSLbjashDIFG0DLFVYDcDhW5IB45545qLySoU7ACCGV2YbHCBS/zMcs5BOc5JJ7mk&#10;m6krS2WiBU5STct3/n+BEqqqBowSxZU3bSGB+UAY59NowBjAPSrUMJjUhwJM5URsOjHIBA9MADdj&#10;+I0yOMeZJIwfDHJJYkMSCd23J6AHkDHI9atwJKmHAOzKrvbkcrnCnGMjjj1Pfvpdc/K+n/ADlTlz&#10;zW2iLcSRtnYQWMZZQFBCMcDnOeckdep7Hvr2yFlUkMMMGOFdgvPDDHf1B+vQjOXEG8wLJIEWMiPe&#10;GxEFAwoUk4CjGM9MD0rWjkDqEETAh8KpAGSVxx34xkdumeoFZNOzfXf/AIA9JNt7/wDBNCFlDllj&#10;VWPyM0hyQMFQccHjdnHqo9q3UVyF3BowhBLgFiQvzHPcEgFcY6jvmsa3YtgIctGQ6GP76neh4IOc&#10;YLNkZwQB6427SOOLYisV3KyqnmAxGPDIO2cjLY5z8uQMjNZpWSckaQkotpbP+v0NiEFYg+Ax2gBy&#10;qnaRnyxkD24z04ycCugtkkGEDFEcAlQjbdxAEgHQ7cB23DBznjk4wrbcEWInhlICSMSOSoZgM4J5&#10;AOOm4ng7TW1aormOPBEbSFSULfLgHvkYyCwB56j1oSlNrmZs7TklGdk/6eptRQqyxzFclCJnyuQg&#10;43cdRhc8kADPcjI2bdp1XG0sWwFR1IwQiZ9vvPjjdg4IJBFY6yKzBwxMSDzGDEkltyH6dNxwexP0&#10;rVgwGYMQScvHlySRwpwO2B17ZbpUqL5lCW3/AAwRVKPvyeivcvBVOATgjDTDByO2QeehI49x1q7E&#10;zgMY2CoIhGAScYAwBg9wWPfOCTVNCxEQYNslPL+crlRnaD1yvOOvP5g1dVt2yUeZkDLqSPlJIbPB&#10;6jIB7fLxmpnJJuXb8Sm4yo+0S/ry/MsqvzxgGTcApJwRldy5H6enGQatRfKHfCEndGRnYPlweOO2&#10;f5Cq+UDYjDYVQy7yfMj+X0HTcfTpwPU1IAzHaSVO4MCzbVBOeS3Tnn0qYw51d7v9C4WVS9N+bf3D&#10;tz5ZVCnIwcAsSPugk4yc56j1FRs3mssKhy5BV1ChsDHQfQcflTlG2UNgcfM0oUsuMEnIHfgEDBOe&#10;x5prM4BaRSccfKowv3g3X72So6f3z0GabtKPNYV7xVx8qAqYwSXckkFfmAyevPfB+vt1pCrY8rB4&#10;JEfPzDgKWwcfdBYEjuG+tKJoh8g6RxEAohQKAQSox16j7vPPXqDGGKklDhAdykkNg9s+3r60OOnP&#10;PY11T9x7oaf9UvKvuZXlJAEm3axVT1yOh/A9eMOJxneqKPJwc5O0HgA+hxz+IpPuxpGrbVMgCqSM&#10;DhunvyfwFTPMPKQ7WXI3Akn5hk4BHtyR65WlG7jtp5nM+Ztu2t1v6FfAMuVk3liGbccbwQACB0PP&#10;p1GDSAoGZZMISSwEZwWBAyDz2Jxz6imiNRwhIcHLEfJk4+YjkccenXHvSiVtuRyS/LIT82cYGOnG&#10;eD/9eqc7U+Z6suTdOEUlb8gKOYyAV3L8sYYZG1s8g49ccdCCfbIsbEeZ8oKxFcowYNyTgr2BIwc+&#10;v1qX5o4h5SPkkskjfKm3I6ZIyASeemQeeDiJYtocBSxeMggn7hypBU56g847Y/Ghxknyp6lXjOCj&#10;DprcftzsZC+WJXylGUJUH8snA7etRbGj+VkBZ15H31XIx0xwCQRnnkD3Idu2zBGeQR7tnClhDhgM&#10;k9wM59TtpjTuArEbkY4YklQ42HLEe+Bx9Kuzgnf4vv00Jc37rkSsW2MglkOQIRJwd3GWc5/3gePU&#10;g1EUVt5WZiGXD+b82Tghg3U8Z/Hcaj3OogXaSQC20NwTwR79SPb8ac0jqzlosuV28xgZIV+M+hPH&#10;OcdcHGKiSlZKOmv+Qude7zK6XX5A2Sxc8sVDsMfvB8xBJPvtbIOOQKl2qkmcR4ziQM2EbABP6kjO&#10;cHFQq0WGXorMr7cZjYFiPXPIOMZ9PTFA4O5SG+Q7BIwwFAJx7nrjqSTVOElBSWtrf5jlJQfKtR6k&#10;NlwA42IjrIMMpJfoM9OnJ7/XiGVgr7vlK7CqoAW9MnqD26k9BRKOo+dyDvz5hjDHBA3d8D5T3/wU&#10;lldQAEUgD+8u05z155yOvp3HVpqMbx3b+4TaUHbdsiZSSWWQAAbWBUrsPHbp+GRx3pY1zuR1VB5W&#10;1kPEaHA2/wAwfwHFMj2GVwrMjZLkk5cnplsnB5xnv7GkSRvub0I3MD8+7+6OPf1+gyeKp1G5yglb&#10;T+vyI9yVlN+o0l9q7ju+cIqhcAfMVIIwOMknnPU02RULks20KS0kW7hgVIAzxzyADx1/ETNkLuQ5&#10;Q/LjvgFunQA89+OPeoZiJBFlSxLmNGL+WhBAAy3Xv1zxgY61MW3K9wnyOCUfLTuNkDLEEYN8sQLs&#10;wIXA4LHkntnqeDT1LKIi+4/L8wAMjpnDDA98kfh3okCYJ3FlXcMlcBycAYGenGCRnGc84wY/nAdm&#10;d3dYAEERznB6Zz/tH8SPXNTDlSceq1+b6GnNdOolqtf68hJJAruroBvUjc6llQ8N0BHPX8j3xT0z&#10;5e0Fcu20BVw7kFiDj6cdecDNMCRlgzu4cD5EVWjQcNk449AACO/Y80q7UdEA2ZALAEABsEEj6spA&#10;9l9udpJSjeL238xSbdm/n5A0WHkIdCvmEIi5XG0hQfYkgE/XoOaXaHk2H5oioeQEZXuPrzg8e1Md&#10;9pbzF37G3yZUggEA4xxjNLIWjOFduSccmNDyo44+rc8/MBgHNJRfNq9O/wDkYNu3PHur/oNkwrSG&#10;OTbuwiPINp5zjPJ7Bj36ce9YyEruJ3EryiAEtjsB268njr2xVkHdlZT+8DcEEFI+eeMdcAYyecVW&#10;YJkGIRiOMbVJ+by8DBK++McH8uKfupKyu9zR/C7ACGZcgZMZUFVLMCucZHY/MOfTOOhNKZdpDFQx&#10;GPlIBkyARnP0OO3+AqqDlVJ2j7u0BckgZYE8jp+X0pGJCBwY3LMA7s+WA3Abt3rgMM/XgU3G3vy2&#10;Gl8k/wCrkkSxhlYAxo8YV8bpgVU7iT1J4K8ew+tROH3AunmIcBySSig55GOvc/h7VDM7GJXhH7xG&#10;VlYEny2BZBkdyMA5x/EO/QZlWPeZN7KN6o3zBARjBPQAHJz6se1awtGdn179AfI5qN1aP9f8EbM6&#10;zLIskLiDbtLBdw6bSuMYIOWHUdR1yCEbzAwLF3UhQWjk43fdY7uPbH40u4PGOA8BGFKjzGBCqAee&#10;COpye5qoxYRgl8uAq+XkYQEkZYEcgnI+p7GiUVdKXX/gGSbjaVPpqTSyRlEVvmMK+WQjkiQFOACD&#10;u43bsE8lRnPNUJXC+XGSFkdVEoHBKtgluhPO0EAEk5HpSy3MYeOQlkC8lmURxL8x654GAV53D72M&#10;YFZ89wkbKNv3nBwHCyMoKsB2OSueD2HXjNNXg1KP49xXvpUemn3Lr8xXfBxMGLrlWPcnk7mVeucY&#10;z7DJ6VnXVwN2FRdrIyDb0kJO4DPTIzjHHAx0qndXQaNWP7vPG3zCwQjcqjHpjBI6ZP0NZ8s5OP3b&#10;MSSxJk+XOCWJ7Z+TqeCBg9atRtNLu/0uOnNqFl1/z/pliW5dfmLDadwMvCrg4Xb/ALXVgc8HOe1Y&#10;zzqpkQqihVwwL7pQNww4PHOCvHOQTnjpFcTAIwaUruyuJMcBSOwGBjKj1578msKW6c+Yu0x7iTkD&#10;aAqf3c845J47Y68VrKLta2v5ak1HCduV/L8/yNUXIGd02xySXj2b/LYnLLnPO05GTycd6K5kXEhL&#10;EJkb2GXO5jgkdcUVl7LEfzIFGilZzX3HrqyFmyOskRMjSDL5O5ed3TOG6dQOuCco4KttOQcqx2y7&#10;sq2SVAwMnkDp64I3EUIXDL5aeaFdw67doUgkM2eoX90CPfoMk09Y3VlOP3nmtIqPIHAXaG655/iP&#10;GNo246VxOLdTl/p/11KUUpupG2/3X1Gr+9RsEPE5KKQC5Zn2IDgH+6pwSf7vpTpDKzIN5RQMkycb&#10;8MU257ksGPoeexGWMULMXYs8aEyDaCELryRzgfxY9PTNSTRuivLtVlZmIkO5Wi2hBwRgdXHtk/eO&#10;Kq2mqTW9/u2/AUov3XF9mPLuAWYgI5VRJgM0O1WGOuOvJxgnCjI7Hl78kO5jaNHkKj13R5AJBIyH&#10;I69MdzUancZFaQtEIg2I3EZyAd2SD65AJPQD3FOjBIDEhN7eZ56kkDhsdfuqMsSAMggcjGGmTTk+&#10;Zaf8MXNRjLTtf77FhQNriQukzu6yfuyp3MHYKOm0ZBwBwB6bTSqhDgAt+9cj5SRHsUqwbBPQbu/o&#10;enWmxPsbyovlMpeJ4YzlSS2xg3Y8ZAGeCxweeXH98jSKqBQ5jKBSXl+/gdc4O5AemcjjGcQ37ySZ&#10;ShGylzar7vmKQGRMnbGVY7SpQNkjOD/slvqOOR0qZ1lMkrySsSzl3fGW3HBOPck5z1PtUMjj5pFC&#10;EmMOrfMVJIyA2PdjyOSDmiTnbKjbo2bzcuhKEA45wSASMjrj69y754rv+WhceZa9Vca6gvvEZRJT&#10;u+ZANmDkKwPBHy8c8lT7YnWQSAKkYDEKzRN0KlsE+mME9MZyBnjIixtTCqu8YVmC7X5BLLxgc+YD&#10;/wAC7ACnyKVchVb7rZ3vggKT8oxnrkYGOqjsOZ5lK8X0M3FtKaenVAB5aDMnmeW2cOflXGCDjGOC&#10;Oh4x1z1Mh83YC7gFVRkiVQx3Kr7PbHzMoweN/OehgAAiWIYVxlAGwI1AQDIO7nlmA9fL98U5gkTt&#10;84JiAjIK7WBVsbQM8kYX5epyeeTRNc8VTvZ6GseVJu1n183/AFYicgQyoGby2R2CNGUkY5XIIx6s&#10;OvXnA9bEiyRPtcbZUlEEiMg4kBYnDA4OGCDudynk5GEyqgbZQgEgmjDZYkYDAnGenr1/OlGxmA2D&#10;LZWFVBzEpIwpx2yRnrySatNu3RmbcJK8nurMVm2p5hG2JXBMjDIwBy3Geg5xwcEU9tyOil32/L22&#10;GQEnIQgnjBJOc8kZFMRFYMhZNoX5hFg5VjuJUnAxkDv7c84dHEjBzyrCQMzRnG8Mqn73TI5B6nOO&#10;uKOZqTa+EvZc0Vf/AIce7iYuMKjGVkbKKqsQVb5R2OTggAcAVEoAjV2VFZ8ArtCNIR1xn0HPbqKR&#10;Qz7HVQwCkhd5VyVJBUAdSxAHJA75xjLyy5QNGX2qZEcRBvLAIwGzjIJxgdNqnJ9ZXvrmXzJUZzle&#10;S01X5EqRFn8lUGShbeG2bAFXoSTyWJI6AcjnkhyDYXkYfKTvJKK6kDduPTAAB6+x65piP86lHVow&#10;AqHOWYMRwpIyTlSxx2+tSZ2yAsIzvfbLMTwCAeScd8cke1FtU35/p+gklCPLBen9fIcBumBQLGTh&#10;VfbuOWGfXGCARkd161IIZIx5SBwABy8hU5AyCD65CjPckkHvSkfu3VcI+UY7nDhONpfHPqMnpliR&#10;gcU+P74KjEkhw5CBY1yTgEliPl5z24/CiS5Vf+thqDUUpq7fUc8khYcAvENrFcMD1zkjHfPAz9KR&#10;Un3AyjcCwChTjhVYjAGeVG704JIJ+YUhbEJRXYjJk3lfKmbJGSBnHJ2nngFT74VS5DFgUxH85yGj&#10;kY7CQT0xhSMey1mpTkrfZ2f+ZT0dlpb/ADSJArIzICxOVXGzCxg5BIB5AGCOTkknnkkSDe6JG7kR&#10;O2yUhRhw5GVcdMn5jjnqDjikVxKAIyARlQr5O3I3EsT+H/fIocLAqR5jdnlUvu+YIygljz/DlVBA&#10;zzKvTPFuTg1F7JK3r/WpL1ipRe1vvHPGMFxIV3HLKDhcAIT6dcdfwpmWbYUk8vOBkkusRLAHIHzD&#10;gg9Mnb2yDSgMH2DBikkxlmZUYbM5I3YyDnBGMDPB604hi6OG5aZVBYnY+FzgA8DOGOD6E0KTc03s&#10;/wAPX/MiVJybk9l9/qET71ZnGD96RCnUYzgH169ux4p6EupjBjDKnnDIwcjI+ce4AA6n6daZs3TL&#10;jzFAc7gFG8HC8579ODnvUkvl7MmIBo4l4AK7lz1yOvfj1HWrajKS5tyozbiuVa/nsRoSFJDZXHHy&#10;/OnzDOeuCRu6D+LNIhZwm193lqZZSU2qSSd+DjOA25QDnAXHGKthgoaIKVjyUAYEFmJUccc5GQeu&#10;cDFVcS4YudzKvmFigdznPzdR0CgbcAc9Rms170+Zv/hxpJRvFarQsKomQCQfuQyoXTDhMghD15JC&#10;Ngf7JBzio0WabyyiKWRCoEhMiu24emcAHd05zT2VZBGd3l78YCN5bEgHPBGc4B9hz61JFgFRnzE5&#10;cZ+UNzlgB2zx7kfSs43SvduzuPkcql4q36jGzLGTCAEkIZZoovldm+YdsFdu7OMY496tpud3UCNQ&#10;G2F5Bnfggds46E+vPvVVnYsSygYLEMB5gyv3WBxnGGYYx2B7CnJE48uMnACiMumcgc43ZJBOSDk8&#10;8e1XBuoveXmXGpFOSXTz3sWXVmZTuYs3yEGMOWBXK7scEfdGP9r06vkAGdz8PjJwJHJCnOAcAtwe&#10;f61EQdzllESg+UYlQlfvjIUk5HAOCTxSGWKPIQrkjy9vILYIKgsc4wMfL04HHqkm3ZbIblTTcl/V&#10;7Ct5ayKqRkhH3Hy+VILEAjHPzc4z2Bzg0PthJMhbcqgqSC7MG4IwByB8vIAySe3RpjVRHGSWIXaS&#10;FA2kDgkgjrlTg+hqVW5/56HaqoVGdw+v1wOPWr5lNJRVtiIvkvKfT8GCLPGyqSVYJ3OBIwBOSPx4&#10;91FOZpGxGF+XaFIDlhHkDI5x15wcdvpTEP8AqmccxSAqQBv5AyTnvz19/SpEWNQiFVZkjBJDNkMx&#10;zjP0yPq3pUuPvc038/ItqKaqX6fp/kCq23I2uXRkjYpkr0AGRzzgcDHvnimqCEBOVxGQVkI3gHaQ&#10;fc4DDJ9B1zkLncZAjhkXbwP3ZUEMAcduoPGQO9GwoV82QOxY7c8MxXA3bR/vdh9M0R9pypNaLX8h&#10;KEZNyj0HZjAG4EoGDRluJMA4xjHpz/wM/SkjVtrKhIVwWZVk+Y5B6fy/GjAZFBAQyvhN5PJDlSAe&#10;mc54z247ZkXCuxQsSqDIOCVwAM+wOBx79s1GrV/+HZE1azht/wAAaiys+4HDu28lQACDg4/PH4dh&#10;TyrM5U7lCoHZiNqjI6dyfr3z070359+3IjLxquJG+duPm5Prhe+OmBTVJ2K7KoCjcVDb5HCYByPX&#10;HzZOM7Tznk3a75ti0or3J6+W2w6NTujKgMCw3BhvKk5XIA+p6e1PlXDBiuxsEyLFw4JyVY8d8DGf&#10;Xp3DG5ZUUqzbAG4OFy2O/fv+XNKAoygwxZc+Wg29MehHAx34JPPXNK6bSWlynK8OVb3/AK/MaCQx&#10;RGxMyKPvD51YMflzn+LnJ647U4RynIflic5OFJzyFGB+pyenPAppCySRopICgcKNgYKFG5iPUnn1&#10;JA74qSQbg4yMsdqyE+W4BODyT9OaFdzUY7af5Eqlo9LPX9CHDjG8fOJQoAXdv552jPsMdOTSDfkT&#10;I0ihjhpCMemCRxgHPHTpTzDjjchAJVdh+8dqMATzwNpHTufYmPaTtT5ju+UxjJC7fQdAAMUJcjSv&#10;o/1sKnTbXJN/1/wwoADsS0px8pBYbTyBg8cDoT0PA96lIwxETL8o3bIwCrDB4x0xgLgADGD7YjkJ&#10;JATBcR7VOMbgNzkjHJOCQfQKOnFAcgM+EUkFhGULryS3A5B4J/AdKJpzlyomM3e0L6P7ywrkKsYB&#10;wCZCR8xQkZ4OMYOABnpyetMZ3O4HBVlUktgbiCV+7k9un1HpUZVnUkRKdxzklgwzggEZzwDn/gPO&#10;eaFZyMI3CsAyZDAZPUcdufzpJrVPcL+9yx0f5kxYKrQlyiYbCMrbweAST25x15zihVfAJC4By8h+&#10;XGQRjPqQgIHrTBiKVsKHkddySFsqeSP/AK3PoOnQskSZgFLANIoCkvgxjru4zyO3oRjGeanmlo2r&#10;9yoSbi3Ldf1Yso86gOxjdnJX5EXzR8zE7mxuOd569+R3ywljuXeUdV2hOcsTznPIBGMgnPbPSmJO&#10;olA2rlWJZl5QHC4+Xt/EB9TwKeyrvLMcSMN2S2VP/AensO1XJSS94n3XDd2iyRXXYHWQBnbaoVB6&#10;ZIx129RzycdzTHhkYKGfeFXLPGMDaOMD8x6fpQ6hS0gVAxyqckEDGeR+OevUjA704hpPMBLACRWK&#10;7MIDnGR3JJPGfU05StFRXQbcJzfN/X9ajQu1UZWZ/n3AHl1+bPXnoQTx0G0dqnEYHALqDjYGAXee&#10;4B6dgQOeQahUKwLK6bxKfMLDa7NhjljjJx8x6fxd+0uCUZSuDtUuA/DFQwDnPcAsvGBgfXMJxUfa&#10;R0ZSlBWc+i/PoPAZuEDsd22VmUs8i4C5xj/6+SOw4ViVBdXO0g4d127VAIYYx8owxyPSq45UDMZL&#10;YljZxnbkjlhyQOvzDkHA6EgynzccxZXdkMcDPy7Tx7eh9fenrKamtgi3JxT2bJEYBXLSNkt8p7fw&#10;4JJ4zyPzFPJ4Eoby2QhFwCMHnBIxnHXpnp3qEq0LF5EV9yt5YC8YyDuH456etTIowymRU3FWY7t+&#10;3k4x6nAA554z3puUYxSvt+YozVRqw+MnbhuWEfy4Q7G+bIB457E49Ka5U5ijcFQ+0Mx+UZBw5XGR&#10;3x9KUxlAQzLliPLYNllUY4I6D75GByefSkMQImZ/LC7lwGXHzqAOD+A4pL4lJ7f8EJOMmlFP1HxN&#10;JuJ3BRj52ZAWIUgAtx0I+Ut16DpyJCjEn5VXKPIxKZCqq7znGSchc/r2qOFEcE4XcjblDLhXwTjp&#10;wOx445GT2pypIIwAyjK7goUqBjAbA6dcnpnk+1LndOSclf8Aq5S5bJS1Q3bIWflWZVzlfmwRz/IY&#10;59qUbjIRuJbawkUL1JXPUDtx1609I037sjaoCtg7txwBu9TnB49c4HYuLrgkbQ2MKpBV1wRx65GR&#10;7Z4qm4XbStcXxK+0f+GQkz7cEbWdzgKowgzjtjGSCenpTJECpCcEFQy4ZSqrkdevUkjjGOh6GnE7&#10;nRH+VCBsJOAvzFeDzgAgHsORQ0YLtIVP7xPL4OEAyOBzwx4OPTPOBiptLl5V0HOPNZvp+exCsbLL&#10;H8rkDBiYgRZUh+f5jPI+XtzUmGD9CVLBi0aGQpkg46Yzz0Gc598B37sBfKLOyHD8F4+SMAY69yR0&#10;44z0qJnGSAiHMm5ycMGOTjGW9SQc5/QVVp83N3+9kOLSX9f1sPdF+XKcE/M2/CHod34ZA9s++Kek&#10;YA4b5Q/zblw7Z78D8MfWoWEoJYxHOOJANwBOcMwJxk49Dxz6mrBKxkoEO2UGJ0yQE4zuPt1HOfv9&#10;M4qakOZXi9/0NkoSlzp+X3kbQs4ZnDBX2tHkEkbXjVzgLg/KjDrknrnrTHDMACxA27GjVSCRuIGD&#10;9MdfU+9PYHzJJAiSOXAIOWyWKgHqD1xk853c4pdoXdJ80TMo2lxtWINtJGRyCOcYz97tipbu1zvU&#10;VRL4On6aCKyqix4DMqsepwhY4BHr97JB4P5ChX3qm1iIssWGCEckqV56Yyp479xxzHsjAZdoBjl3&#10;5XIkU7s8DjaSSCMY+8OKQklWUuAcbI0KszKcfKuOv93p/jVr3IrkXzt6GMU5Ple6RN5bsylpiAFM&#10;Tqx4HXk/TgcdNtNJCqcn+MptUYLDByM/hjn170FQEaIthwMqScFQuACDxweDxn72QOuGoR5p/hCH&#10;dImd33WAOWz0GTxxnFHIop1L7msvZ8zt0S/D/IckLbCwwHKjCHlVI65PfrnjgYobaFCeY/myPk7Q&#10;oUAAZAzyegY89znjFORncPuBZlGFJblf7pGO+APxqIS/vFDP+9DbjgZQAZ4wQenTt0HXNVzPRfP5&#10;Ey5ErrRMmEZUbnHmK0iohYZEW0jcRgcE5Ge2cU2QFWVVLBB8799wJYADsScZ459qYHLDP3fnONvR&#10;x2yetOzjaBEoIAYMzEABcjH54PFTHmT5Xu3/AJCvN+7Z37jkWX5A8pYAbMABMsoH3sDGPmA+v4ZA&#10;VDSJud2b5FVgFGOdpb2HsD1PNP4LA7IsiNQQ2AB975ix+Ylu+eMntzSRqQrlJDvZy21j8qgquAFP&#10;Ix1H+8aHOycf66ahUXK1GLVrfP5j4zMRhzumDYjUERk5PLMenB78H9ai2llRhzJIDvPVgDwcge5P&#10;ocH2NSgLukjwHyCv7xcxnaQu8k4+V8+mRuGRzilRZfPO7JJIYheWbJ4GOmMkfKo78ccBJpOze4lR&#10;skr6dRjCWNt7AsvO5QAck4yc9eB2/wAKQLK4RtgbKuVcf6vjbkge/v78cUoaJsEoCUYOqglkyCCD&#10;nHGeB7/SpFdWZUkTBBDZ8w/VcKecg5OT6AVonGMbJ6lvWSjLqt/uIHU4fhiueHEYdyuQAeep6H3y&#10;KWMHYJUcooGWYjbng7yBxjBB6gde1KXVmCb1CqdjFg2xCByAMdcHueAw5oR4/Lfe2fLyO2EIABxz&#10;3x9MnPtUVJOMbLf9AbUU4yWy7bkYdmfynCI25m5woCqQRgnA5/mwFTgqAfMwv7za7smwnLkEkduv&#10;5mmOBtYCQMSclhkZbAI2ZGfmUryfypWKs5YkKGwzMzY4JyTgHqOc9+T1p3SWq/rQIRUm5NK7Wn3b&#10;CGIskqyMIWUBGJbaCDyG56H5sk4zxjsMIsbIS2zG45JICLJnIJGODgsRjtjtijcEyimT92h2SBuV&#10;KnB75yPQgZz3xSoNwYgH5jl2Aw3BxnBOD06E96aXKlbb+rglDSUlrZLt6i7cvksRghgT8pbnJOOp&#10;x3x60+SIlwwIZgSHRFyVBJI4/EAA+/cYLWUxhWwQwHSTIZQzEsPXn5T/AMBpUZC7SH52YqEQBhjB&#10;zk98547c80486jd7NBK0L0/u+8RZGfaVKFSA5dWDRncAASRjjHPbNSKmCHbBEg2/PgkZUfTg8Yx6&#10;HrUeyMhdzAggbVVgCwAwQQOvP054604hnWIBdoBBRQxzncd2Tx2LDmlB3jy32HGTXNz623/r7tCd&#10;jLtR4xtDP5e4KAXZU3H9JFI570hDomzLEtKQD944AAPU4I569QcU0ZY7kQI0Y2gqQVKqMD2K4Awv&#10;I4xTnbh1VFjaRTtfOAAxGecY5CjjgjB98w0nPligSvBRfXdsUjeI3KgAEMSpGHbOTz1JyDwcdM5G&#10;aUqqvI4J2gthFJ2tjIDAEeyn8QOCDUbQ+aoYBGjQbV3MTI3Y4PbJyPotOVsZ4G5SWK5JHJGVb27D&#10;HPHU1anJvR6bEx5ozV1/Vtx6hhH5X3UJ2xskfIGWxx04yMA9xznmlWJUEYRy58ovmVC4HydOMgZI&#10;2+oznApoYsAZAASuAn+r4BP8jnB/XgUgJBLK4OV3bSx+YENlvryCD0IPbjM8zabW/wDX4DUUk1HV&#10;eQkkikkNIfkkIHmp5OxAoY4PdQOdw46jscDoRKTwQoKONu0ccg+vQ49PlqTbGTHg4fblCRtUfKVP&#10;4nJ/+vyKRFQI8gRVIxkdAQWABxjuefw6VlB3kmr2137sU0nJPv0Kjw+YqgNhh90IPmIUMeSOcDLH&#10;B64BPTiN4iHXcwGzcSpHyZzjg9P/ANVXJkjDKwIdlGMyN5iHBBwT6Dn268cmm+WVVQUO54t58x2O&#10;4EHYAcZ5545BxjtW0G+SydkVBSUdtzLZA672bPIbIG1FB+VRgDp7+4qrJAJI2MR2qDtQMAVwCQRk&#10;98YP8q1jCoOVVZosBgzqMuMggcHtnJHXntg1EiPGSxG4MFVFI+VuBke/QHr6U+WS26Daivde/wDw&#10;xlPazfcDHjDMwTO89WCjqc/rSIkT7i7na6liqxgKuFUEkf8AABk/XPOQdIQSsWVSHMgypJLqBz1/&#10;z37Dq5LTzOANu0gKzMMMByGwBgZz69u3fRuTV9r/AJERTdRTirIy2gLM/wDEWO2Qkbsd8/qMY/ri&#10;q0lkyElZGwWOSTgHcNqgfXb7VveSpwpUfMCVfgLwSdwBz2wMZ6dznmJoSpjVmQkKyELliCR79+Ae&#10;OOKXMrc3YTap1Lx0ehgPa5G4CSZ2bONwQcYII46cMOPfrnig9qwQRoMNIWJDArtPL85B5ztHbr9a&#10;6eSAhMhkZhEdgVgHBHGCR8pycnI/vdeuaMigsdxG1OAyDDY6Hk/UcHnjvTTlK1lYTtK0t/M5uaGS&#10;NymMoufLYDa2RgY469M4GfwOM0JbYsrSSOCypuIb93IoXJyPwJ5YdBjtXVSQMm/AVizFV3EqoG0g&#10;nHJBHyn8BzxWRLGxZlkAUwuCgIBdGI3cgHjt+X1pcsW9NluOa0fN5aeehzhtRvZ3ciIhWkdmKxqe&#10;I8kdh8mPmB5IOKxJbfa+x08x3UO0u3CAgPu3DB6H0zjHTnNdXPagkRNtfABhUttBYYXgDPUbc9jx&#10;07ZssYdhGGCo3BaMlPmGScYOdqhnBzg8duDSTSbu9P8AhrfMlON/ejqctcwOC8MoyUcKUfLtHtUI&#10;M5JOSHI+gPTFZMttsiVyQwdgxcRYdSu7YBuHQ7VzjI55rrLtEZ2Xy9sh5MhO9W6Y4wOeDnOTk54r&#10;GuLdo0ByrLuSM7nL8bWO5QR97OAPqTwMA6xmoONtG9f0MZKVm5HJXMQxEsUalsIxbaxJVipOfUqG&#10;wR2OeeMGnLaYV5FCsvB3SEAj0zzjH3cdzxiuhliVm2xqFVMnaCCCAuSpU9TyTj6DIOKoyRAmVWJa&#10;YNtIIOJGwQuWPbBDbh1BBzjmnKcea9tzCTcvet6eWxzrxrGWBLjzFIiZV+WQMcYIPIB5HXnp61XW&#10;FgjbwyiNgq4JGFysgDjjjhD19CcgAVoM4liWNCGXzPmI3HC/fXJz0+RSM924GQTVcHCOOBhQWUtu&#10;jXA556A5JPPJDD61o4OMmm9XY1jKE3JNv0KsaMduHUhWCRuArxOcAd8qQSep44JGMcyRqyAHMhWQ&#10;q21lAMhXtzn04Bz1pylNzRkouMbXCNI8Z2NgHB4wQpOM/KWwCRTSEjGd7bWJKuFDEqANx7ccdTxk&#10;j1pSgvaRhN3T/rUlz/ee7t5/eW0Qqi/vHOXXcrsWQAbM7RnI6Mfl/EZJFa1uv3kD7VH7xXyNwQcD&#10;GcZ5BGM4wDz8uDkQgq4XaXJ7OxZZDhlB5Hbd2PUjNakDomBGsjlWEjy73X5QDkZ4K9Sc9cBeBg5U&#10;rxbal947NSTS3Xrr/kjWt8EAOWjAhA3MxHJX5yCBjBKtgEY47kAnfjIkk84ne8jlgGQMxMpdgeoH&#10;32Y4PZuo61ztuwBTAaRnYR5yoVwoGSxzk915GSTnOSa3rdFZbbOJNqMASdwHDcL78uPwalVioJ9U&#10;ilOKtpo/vT/pm7ErIjF96SQzC3cqDGzbCN6uRjax2jqAcZOeRWxbxyAxt5km8upZvlIJ3M2fbIA4&#10;+9hWzwGrFgAMR2sN7sNpViicmTqPTKHHsvGeBW5FISIGCKzIShKMMlccbvfPBGPUDGMVHM3qjSmo&#10;aJPVO6/r1NSOMh3kgJkYxmTG3eCRnAAA7HI+h6Vu2xJ3fvA5DCKVTgqD09OwJ9jWNaMFATfEzgD5&#10;QmxVVT6jhu5B/HitSJ/lVNzFUCP8rK/zBVxggZ45xyQMYIBBoTlLST1Kio8rg46L9bGipCZQZ3Ow&#10;VQoAJGcHnGOx6enerYba8jkphDkDGM/19eO3NVIm8pTuGcxpJ8j7kGcNuPrjk/UVYw7OwMcoZHIL&#10;KdrknhgQfbcBnuc9hUtOWv3/AIGjspRppeiNBI3Zst8u3HmFRnBxlc4z6g4Pt6mnqAJBCXZlA3gA&#10;sNxxkn0zznnvnFVoXlizxmVwCquONoAGSSPf7p9Par4Uxsse7ImAEIxygALc8emc9BxjjIrOck3K&#10;y08hJc7Xe/6jmUAM8YckEbBGCzyEDAIUD1JGP9qq3lspwcImc7w+0sT0JA/2doI9zxwKmV0UmMqc&#10;byqhvmCZBI5x3O3n2qJk7CUBXYZ+by2YnkkfTH1Hpzy48yV29Sm/aPktp2+SHKcKXA2tMuFB45Us&#10;M/kfqKagEbSlgoQ5j4bIJUFQGHOOoGOP50uzZgfOAqYjLfePJ5HPbpSMS6Iu5dpbB5/eEM3AA56k&#10;/wD66fLePM3oJcy0j0/DbUYyuipuADl9wIwTk4AO3qeo446DrnhwGGCjIQDMnyKB1XJOfXr0420F&#10;ndo/lkQxuGxjywORtbj65z9OpIFMYNIr4LB94+cglt2Bzn2GM9eAaqEea6v/AFuV7qabWqe3kLKX&#10;jZQ5iLhiQoU7zuJxuOOB8pAyMc57VGkjpgEKArNGTsDBi5Kqd3I6Ej2OO9JtDFHAOCxD5w4KjG04&#10;zzwcZ/TrTYxgbih3KqspXPloVztzz3zg46gDilLlmo0off0M5yVndNrbUnBYngbiMqwxmMMTw2fc&#10;DpikCBn3K3lqQxjLDcGCfvPl+ucfV+2TUatGQsi5Q7i0bPlQMkBsH34Hfjp0pV/giO3LMFjUJkFR&#10;kF+oP8SjHt19E21O7Y0+acVtHR/gDFQy+WzFnO1t/wDrCcdA2MdwfoT9aiZg5lkZgrNGHBMWI1O4&#10;ArgA9FDceoPvTyUG0HzJPLAQEOCu0tkFQFJ+8zeo+bt3YVYCUtIm9Y2Z1LbREuT3AyMc43Hgn0xi&#10;1LmXMu/zE/eqq2zuOaEqWDYL4yQeYx0BwcfMMnkng7eBUQJk3hi7AuuAoJGOck+59BmnyOckktnc&#10;S5UnDA843dMcgdOq4680isNsqvjIKqFMZaUYOd3HJxkjPTK5wcUrybv6Dk0/cht+f/BIztkzErbs&#10;x/wxBDyAeo75yAfYdDxT/nQncTsBBjwCzcBcjjt8wyTjr3pYwA0juSeGLYXKqDgDBHJJJwOODjnm&#10;meUfNVWkDb0CNKicg7/lJGeeWOByORyOKqUnGSSdk7B+6X7xRu/6s/vBvLdJWHKsoWLc+5id2AT9&#10;MD8BSrmNWYMCVXeGCg+xGP0x160kO3JBO7eT5hfMiqzDBPX6+nX25QoxWJ8KSp3Fw5wB7D1HzfXN&#10;OHK42030+/8A4Ao6q7Vrde46SPaWRAwLDDEqFJyFO3P8hVdVVQfO3BlJVAqgls9sZz3Ax0qy6sCG&#10;bAkDEED5WXjGSO+cYwPx4qBt0SglxjPzDA39unTp/u0laT5ae/8AX6FNw5WoLr+aAhUAAdiPl2gY&#10;CL1yM54z/T8aYSSGYopwoygwhO3gYxwOOD6YJo258tmAcSKxKxktgHjOB1OTnjvSP+7k8yRV3AbS&#10;55ZiAQQMe+eKI03GXJfXp94mkvfS8v8AgjXwrg7EEecMFGGYbiCACOeSoGeOR17JIjGMLEQm48Ax&#10;5AAbJH16flUu5tyPGyglSgDAquG7E59h/kYph2qdsm0HaH+UshOSRkH2AHT1oinyqXUmUeZvke9v&#10;00IwWlZvKCOUPyl1K54IPJ498eopTgkMrNtT5m34LDOfpn8OtNMTISSWCuTIFwSQCpUc569cjr0o&#10;wFRH+aMkbmVlEgjLBSAwz3GOnHJ5NNqbh7oR5tKVRdn6/wBIa8SbHWYsZGIVduASx5JI56gEfUj3&#10;pzl0CxbVJCH5uoznYGA64z1yegOOcAm4ZZndGTICFFO4kkA59OCenoPXNR7GMUgVto2nYykBgTkc&#10;dhg4x/nJC7l722xOlOnr/wAOgVJGBHmfMXxknMZwRhuO38/xoKR4jUKSM7WYA8nkYz64UtjrSKiD&#10;zXdc4ZWCseFYYAwMDODzimysrOWDEJDHvYKgMp4z065IK8DmqTjs9f8Ah/8AgmjpylrDTqRN5vmF&#10;oyfkBjZWbKD0AGPlzjkjkjGegpZRtRyXXdAwkaKJcbyy7uCPr0AOTkcGmsWAI+ZY2+cu3VBwV2+u&#10;CAcEYPcdqhlcswRslhKAwb5w3y8Acc8kc/XJ4GLqJVHFR0/XzM1GaSle7HYZScM6wjKkxopLseTu&#10;BHbrjPfnqahG6YqicbpXLFkLHYMLk9COoBGOq9DTTIcLGZWKuMAuMMMsOPUcEgccbfrVGeTDSMiu&#10;7AnILhmVSwBwCfVjwAe47UkpSqWjrt+ANxpW5d9reb/plpm27lUspY/L5YJdd2BgYGSQSAO3J+tZ&#10;7ThldkJVwxwQMBctznqcDcQOfzGDVaeV0jJDfIQflbCE4wcZzgAn1z0A9azbm4QRyOSqyH5mVmAL&#10;hgDjn2AIx1zWtRuSV2S+aUkrWf6F2aT5yBuGCYnDDzVIYEv1bkHjjpycngCsa5nLZOXAlbzH3SM0&#10;sh2ghucnDE5O455wPWq014zo4KKrKSV6lipLbhyeOx6/UisqS+AZzvBByq8EnPByeh4JyMHnb6cV&#10;EdJWnt/X6hKEZzTirIkmu5kZypJMoxgA5AVm+UjBAU/KR17ZzyKzri5UyyyxyMUOFCeWFHBxk4HT&#10;t35NULqd/m2ZkCKpLCQEqBkEk9BxxjvxWRPchBKGMo/ebWDIuw4Gfc4yB02n69+qKjUpX2szKKhS&#10;bjfT/IsyyksY2ZkY5DRqygngk5zlR/EeeBjNZMkqkSJHtYbQQSoUy5PRQeSeeoJ79hULzuFJUoWD&#10;ho1Zi4wCSVIHrg9u3Xms2Ztx3RZSVQPNc4BPzH5R36HrjufarUZSfKtzP2ig+ZK/+Qrzxbv9a/Qd&#10;COeB156+vvRWVJAjSSF7dnbeVZmGDkHBH4Yx+FFP2tFOztf1ON0cY5Xjt6H0szOCzRAKXBClyC0a&#10;oytuOB1wOi9dxpPnCxKHTOwEuGP7tSdrk8cdz042469GnasqBgG2sDhv3QRmwp+XGSOF6Z7Dkmn5&#10;Yq6vKVaJgqxpgSD2cDkcN6c7j715S5FNdv6senUgk7X1f+QzJTP3mPVXBITLKhUkjOACWyR0yp74&#10;qO3RGZgnlvvJDMrCCQgZ5wc+2SOu0gEHBFrzZQhEabGj+diQq7g2AAVzjI545yfyMbyY8whiHaPz&#10;EfbvU5JC/NyD2yTz83NQ3JO78hOmo1NNEv8AgfoJtkcFQ5BjZWU70fIYsMAjIwfmBx9eSak2ruRC&#10;ArNH5bnkbgcZIORgblB4xz3HYAkO0spd9wSN2X5VAKYPqcBs4wOnHJqwxZlZNqRvEn3iV7EnBbnB&#10;G4dODgnOeTpzuUXTT/qxtBqTvbRLT5LS4i4yVKMFyBLIVDyHO0MePvcvnuRkdMUrNKodT5vmSKFl&#10;bziOG2u3f2AyR2+tLtfKhXVC20EMjL/eCjrkDaVXB7Ivc4pOQUKMqyGLgGMLIgBc7B6/wnJ53DA6&#10;c5pN1OZLQi89Zbcu/wA/+CWJT5hZjIxPmeaZJSdz5zlj6/N15HXryTUasSHKYjw4MuApD/IDwOM/&#10;dwDz06DilWWQZVcKIyHVUTJOeQQc+o9xx3yTSF9qgqFOC3kKyYzgAYJGdoB5KnHC+9OLqJOMreRp&#10;ypK/bf5krbmdSmGkUgykyB1H3VXnqeCO54FIGlEkXGVILqRguCDkkk5HPuDjBBHPLGOSqYKyhA0T&#10;bAokwqhg2OvDxcdmVTkZYVIXGcKQqoA3zEkEkgnPcZzy3TmsbSjJOPUUZRndP+tSrFG6qgAJIlOX&#10;3MrKuGwoU9MYLfLxhsHJBqUETBkKbU3b2DAbQu0E7Wz8o5HUADOeKmhVg7yt8wuIUaNTFggFSCzE&#10;dd3BOOCeg5wHlGQySR4Khim5VUt1XIBxzzHngkc47mtJNyXvWurfPb8io0JSi3e/X0K+XYwucKfL&#10;VFMeWLYYE9QQDjHXjAP4yKAGQCRXMZ8oqQXORjd7ZITHXv7DBGFVWf5y4AjUriR4yCBnAHHOTjnk&#10;H6VIpRGiRmCOjFnVl8uTcuVKkde2Mnvzz1pe8t+pUXamouzETeUy00YZSu3dgK3G9s8dcvu9CSc+&#10;pkjDFti7iHjLOyuqckKSCuOuGXr2HUZxUKiRiQCoRim3cwEZBK5OQDnqOmTx6ZxMFwm7JJZBHsfB&#10;HByM5HXBHP8As800m9HsvuIp+4rJbblfeSGLrFK+fIV9mGKiQBVA5yFbfwTjc5Pc09JUiddzgKGL&#10;uTgge5zxg5HB9Kl2oY+TuDMwTeuxwMhx2HQOB6nBJPcsIUgszkFAEZlI3jOAcDGBnBPP9w88A1ct&#10;LVIlP2msUt9U/khyxeTIByqpGU8yUggZ5IB6jGFOPXHHFTRrHGFG6UkMwI6D5UJz0wO568kj3wxX&#10;LN5YLAyHzdzY3DcAu44xxyBz2PfipRkbsnLktK6gHc4PGe4xyBgZyM5I6GXKSjy76f195no3ror/&#10;AKkhcnahzllQ7/K27jkY499uD9exxgQhC0YRXLJjIyWyqsPlUH6HHpu9TSCXLAMQcN5AC442vgNu&#10;+g54PXvgU8jhuSdylgpC53DcxGeRyO3PoM94k7PfsdCcrNJ6a2/AcV3M2HC+U7KqsOZEPPMgAztB&#10;AP1z3BpyNmJFWQtgKvzZJfJAHBHXp25welRhcnLnlS22PIJKsFyeme/bHOfSnxMiyRqxMZUZjbaA&#10;BjBwD1P3iTkHqOmDRGMHu9V9xgmoyTn1SJI1CgiQtg/w9WI65I54HAJH9aS2kxKWeNSDy25mQSY2&#10;kZU4xnI4HPt3LmXKq7MgddqyhOMlCQRn3IP4YFIzJEiEMS0xLbQuEjYKhweCPu5HHoSaabd42vf+&#10;rjmofCnoh4LyMSC2cbQ5Uoh4B3JzzgkHcDxz3zS7SD5hk+dpCIzvIjTgkDGOvKDn65702Qspi8x1&#10;lCyB1WIZQcA59D0ZvofqacY3UEMFSNwJGZCTJnOc8ccgDJ469amUXFaO47zcLQVls+7/AK/QWMCL&#10;aiqsL+WSRGcEMSDgnGOhOOn3uKJneN5BsQAKqgS8u4wcgjrwc8Hnkk9KZAcsclwCxK7U+YgY2kDH&#10;T5iMcHjoOKk8xmBIO18dHGMqQSpJ68leg5HtznR8qknLYbh+6XNoug7oWWEABQWJ52yDO5skeuQe&#10;MYx19Io3LDMiudk2GDjgYG1sYGcgkg56EHtUroSgBI2BC3lKuGXOOC3vk9ecg9OcuPmbjvJDliQy&#10;qCYxw2DnnGNwz7HqeKmO/KwV52T2QRxkt+7JQ7duXlJ5ySx2nj07ngnj1BJ/rAuZAHCbiCQ+MYIw&#10;AecYz61M0Yb5AyfKQSyDbM2Dg4Odp3ZXPB6fXIHKuwC5EO5cxMPLwcjb9ccjPPzkEnpU35ZKL+Zc&#10;XyyV3ppr9wCUvEhZTuwWYnI28AMTj1IPbHzY9ML+4SNdzsCE8twxyRwACevIwcjpyeCcYWB3XcEV&#10;UkILJFklyGOeGH3cYHBOcnjODRsU7iQWKInls/z7cgA+nQlhgE4GOfm5aVlJ3Jkm5WpW0e3yASea&#10;d4YbJAFGGAQfeBOcjGNwHtyc9qcI0AZ9odpASC+N+4Y7DpyRwKYIyjsY/lKBRtAx243MTk89Pb8M&#10;yxjzFjwrM/mMxwSu7C7TgD0AJP50mk7On8OhVOVPTTXr94FfM+YvuLW2W3AKhcYxgkZ4wRwccjnr&#10;hZJCrryAuS+Cu4FsjnPJHqRRLgH5Xc7/AJWYAPGgIJxz27ZHfHSkkAbCySDCNtJyQueuc/j+oqoN&#10;KSjT6308v61Icee6f9dRzklMEFw4AZycRop6MR0ByHJwc47cChDty27JyBh2YEcDBAH/AAHnqOKR&#10;U3ASOQHbJAkJzhvmJx1yfX0H1pzSTFjGFMmxQWdQSxBHYk4J7Y6DH0rOcebb+tRqXM1NbbflqMRi&#10;E+/hkQDLsNjY68D2zgZ9Dnphzqe3zEJkbiAuQSw3ehzjkc4A64pER/3jOQ+2POAdsjFiBkgd9pqR&#10;Vk+fYFdGQsQ4DE4JG0nB45J4/un0rWMk1YyUZKNm9b3GjzZHZiygBcqzElFwO+PUDnjJC8DpTwjF&#10;yyBVDx5UOfnXBB7fTGAefcYxGjOrxbkVYnOWKYUe+R2GeMeoPvUqs7O3mbV2kZKcsxPU468lifXg&#10;VDVo3bN4KNVNJ7D1Z2ZBtO7ocrkRg8gsev8AF154pqs4nDfvWEfzCUZiPdsg9cgKTx02mmhsDL+Y&#10;CGy6kAEhiuM5zxyTz14xnvIFEjTPufYgZWAXcM4ycA44wx5z1HSq5rqy2Ig7x5nfS/y03GpmCPK8&#10;o4yqr8rKARgcDsAPUZPbpUrAb2aMc9CCwznPA49ScfWh5GIZmQrlsApyoUnPUjgduc9T9aQDBcBY&#10;yC29yeWTgEkA8ZyTwOeOwqW1NtzXz+4tShGya1t9xGq8vzwH2B0QhSSSPlB5wcr19DTSjbfLYkqx&#10;EkZkw8j/AMXPT03Y6jbnsamkxIEaJDtPyqx3LzkjJHTnBwO+KcVziNiVJwW3HAUHoMHnsKpR2cdx&#10;Rcpx0WzI252bmAaPcoUNtkOR1A6dwOpGDSAybd6soRFJYA5dvrxyeMfgKmbEeSoR3aMuACDywIXn&#10;HAwMn3z3FNVCpcDcQp25LBXCEgjvz90HGeT36VlTkrrmVl/wxcLONo7/ANfiVwMtwipkFnB3KYw2&#10;efxH6ZxSkrMwJOyNUYZXaW3Ek8ADt2+o+lSOeEdlZy3RlG4ZxnB6YB2j046+oYCcM8YKjLLtAxHH&#10;k44Oc4GcYPJ96bfO48v9f0zKnLkm9L2f/DAoLNGRukKR5HAVmOWAC8YOMDkdSD25qEPKVLkCJWZY&#10;sL8pG5kUDk4JLMFyf74HUjNkBsFQ6qN2XDfOFOTwD0Bwduf9o9M1B5DLjy9okYFCsm0+bgMV56Dr&#10;+uccmrirLmSv/X+Q5pctr6O7HxsA6JIx2kNEevcgkFug5xjOe3BxkorPhdgyfK+6TtVjk8Dvxj0x&#10;xSALhDycjBQlcMD3BPU57Djj8pQhBcK+8AdDgSbiM5QHkdVGTwSDnNTCDjFx6/5jo2lecPhtYYRu&#10;cbmXdGSOG+WPJ+YHH9c9qlHyPGHwhXO5gMLk54IyM5GBz+tMCSKdiYLvhjlvljBIOB6YwOeOAfar&#10;AQlVzksRmMDkREDByT6gDH0pOUW05NbaCUZTTT2/yX6sjc5SVhtIjiZ9kkmzaoLHIxn0zg8np3yU&#10;Mb7WG44IBVQ+WBwCQcH1ycccHB9Sjb5HYIUwoG4qMeYVAyd2PQfjntmnBVdIxhVdjtDxgBANxP3c&#10;8/eOevbtxVKXLDm6/iRSSnOTkrqwKNpQYHzsGwwMmwbArZzjnJz7Z6nHKSJhlKkyOrFUO8s7KNwC&#10;gjoAD0/SnkRRFSoAO4B5AAy4JJwQeR0xx6GpR8+ShHBGWxsKkYbI/r9anWOst7bClGV247aP8hGQ&#10;r1LBuVZQR0z03c8HBx/WnBS0Yxjh9qqeQOcknn2B4PaomWcDcA7EEJknqCSD1POTtGcY9+KmKsr7&#10;UKxLuJYseV7Y9R79+/em4ctr/wBbFxlVUXdWtb8iRGwvmKwbaMqyZDMFxnn2IJ54AwTjsIAyyyh4&#10;5BnCpgsythgTxwSA4wTyN3HU4jdnG5k/doxEYCrndgqwwceo5wfTNSIAzHeyoUUgsFCqASQuSOxI&#10;PHt9KjktG/8AXQIuNR8iTSX/AAxKV+RRlQZCSJNxfZ85x7gYxweeKQOyFHVQrAmbcQX2nPfr0BHP&#10;rSg48k5YMOHDHkjapDZHba5B+mcnOFY0mJN3lEjALFfnVOmMD1HX8abi7qKen5ajanZX9NO2gka7&#10;XaOUszHDod3Lc7uDgegNSNJ8jRMGU/K/DYSUgHgnHBz0+tNQtvUBWQg4Oc9gRuyM5IP4nn3prNuB&#10;bc+Nm7MoHygYzgdjwxzjndnty5py69iqEP3Tcejt+pKrkZOAdjLEFO5o+Tngn1B6j/GnF5CzbHyx&#10;y0TK+18kn5unbDDnpj8ajWQfMP3KvG3DEcrzgqCcHHAbHf3xTxxIMsjkBz0AUknBJ9eAR9fpSbbn&#10;d6qw2pyUY01b/gkj/exgFOAec72weM/Q5z3OPakLkJBId4HmKxyOSofleO/y9fc++A/KTEAE+few&#10;VQQvYE54znj1AyelRCWRApdc4VQyFQgI3A4GehOcZ7ZyQcAVql+8TW417zSl1JAVjUOFEjFCHfyy&#10;APu4JI99v5/SklGwCRmVgFGX3eWFbBwdwP1wO/vzSHcYyiySeYXMu3AePGAWKqR32+mcDnJxglPk&#10;4jZDKyOFYqpwuMgcHnPBznHP51i7tqUZaX/JERg1dyXvLbrpewsHLBVlZMDersctknIHbH3h9Mmk&#10;Mm4kNIpfcGZiTt4ADdR35OOcE8U1yqhi2fLRggDp8pOQygHPJ+QnHXANJIVKpkAFyGj8s8sOoycZ&#10;79/QU+ZJpQK9nFUneWu7/L9CRnGFiikIJ3EksTgZUKBxxn5jkf4Uhl2mTeGCgmSRgQYlxu3ZGMnJ&#10;2knjp3qo86BiNzMHH3seWeBkc8AdvfJpv2g7nMmAzZYEjcmQGUKADwCQufTB+hJX500tLlN2knfX&#10;t9xYDHDLIQszZVQ25gcfd4HQYwOBwAevFIpJ3iMKDuLOcleAB3weTwMNg+x61ny3KqULKdwPlDZJ&#10;ym1iwbr6yFc8HgdduKb53lykIxWRXDOMbPLyQe2Oec49iMYqlKSlojHmn7Tk2/pF6WX96VCIgEQ2&#10;73JErAc8+2wnjHLGgTOGViXUxncjxv5Tx88YIOdwIzkf0FU5Jgy7XdQpIaNVRSUA6EHI5GTxkZqN&#10;roNGGUzYYcoYzwc55U9R/T8MkJXVktC2kq3va3+/5mp5qtLGyttDgL5hk+eUBjyDgcdhyTnPsKrS&#10;TFlKRB2bBZmPzEIApOc9vk3ZGM47jOc6WYLgnDs7htpwEJ9R6dzxxg44xzG9221SUC5zJI+MsAFx&#10;+mcdOc9eac1z9d/0Kgvd5Zb7m8zSZdXcYVWjG1PnPHzDPqCQMe+KRifkDMpZjw3PlgHpgHJyOB/W&#10;sOS5Ysm4EqCDKEcGRB+8UnoQSGVSV44bOegMiXKsIioCqxVRtwhBGRyDwBnjOfw71c563gtXvf5b&#10;Cc7O99NvvsbRkkURs43YVM/KXLHBJHTpjJz/ALvrTkbZlkOTuZGZpC4bgnIJ564Hpx1rHN3glsjc&#10;V3FUXjGMA59/bPSp/tTEqAdqx5B2g7iuCwIHfkk988elS5PnbaMXflT6u3rqay/NIGIdY3XezP1U&#10;AHII9TxS+dKXxuQvIuMSL5gk6sR25wc554B454z/ALZI4JQxqC+AXbbtUAbjjB6BuMdSCOOMyx3G&#10;IkKozEtufcQBxuAz2x1OO2az5r2dr32/r0NKdRSipR6ouIxYZaQs7L/q2+4RjHAPbB/n1qQCSRxI&#10;riRWymWBIBznA4znjrwMHtVNZ5C6eUAC6kKoAI7qQMjp8xwP/rU9WWU7UOTMRC3G9mPTOOeeR7k/&#10;lVKEbWlpcmC55qKdv8/0JpEkjcjG+N1yNhAwOpLcZG0A8Zx1pwAAVSpIkjVgygjOeRjpzjnp3qLe&#10;fMMhb5Ag3bfkYkIBjPGT0GcdQKcFC7lQfPGSjqWUgEgEfluA57g9sUoqT95dV+prBSc5KO9xrA4B&#10;2l4xICWTLlsDBGT9B+nXFT5UnKMqvwq4B+Ve4A7EDjjjAFNWUPEqJ5g3MwYgZ44BGck5OCT2H54i&#10;aUKG2KdynaxChSob2HI6ceoHXihqU0r7rT7hRcI0227Dt4VFbaWPmZVWXJTaGfOBgnOOc+g6c0Mx&#10;RsFVCqAqyKDmTnG4L74PI45pwzs5Qkuo2xS8rtAU5Ix356HPSkGSyFlUqeCnCscHDZ79x1HY1opS&#10;lJqVkiI81RKOwoVxvZJQBvIORtCc7jn8Wyf96hSSwKcuRnG8D3zn14x+J9zQ23eUAEYCBwdmEAyC&#10;B24+lP2iMxNgEeWcBgWLEyFByRjIweueMH0rO8lo9iZNLSO9wbY4XYSjGRN6scHBBBwMdRg7c88n&#10;nHQO4MVLo2VMZYg7jw3TBznBPT0NCfLCN5xHsWJGYhiOZPUE9Aeckkscng0qlyA2PuOcKF2oWDZw&#10;e2cEgemPWpSST8jRQiouc92MRi33SQXVt2BuU7V9uOOv4nntT2jVdwDFiQCiE7TuIJwB37de+3gj&#10;NI5VMBD84BKMOU5IHP4dRz9KUySsAuVQugZSVLFm/u9ODxye2a2Tkkmu3+RDleylskvz/wCANZdo&#10;eL5yJASzo2cbwxz1z3JyO57087kdsbMyfMgyzI2WPzA9gykEcD7vvw5XYKrR5LKxlJYknHzA4GPm&#10;xkjkgcA9gajyQA7KDEsW7LKPmG3+9j19OfeslonFdylKU1z01rt99v0JU3sUjYQh/vA53oOhK59c&#10;g++SOTimTZQM3HmO/BKnODuB2gehAOOpDZ4wQbBUKqqSSSAXYodzHA+Uj06g59DUC4VlfbvlRAWB&#10;AwSRknHA59zzjtVqUovXQdSUafNy7Eu9pCSwyWHAztxxmTJ9yR79fwjcA/NndGhB2t1PQ4/+v71I&#10;37vyzLubYgBIJJ55+7nnnH86kUqwHl4QuSCUYNnOMEjjpkHqcgHjOM5xanZx3YrRdoSetv6/EqYB&#10;DHlQMyBRJhSQEUEdcjIzgYGR7mkZWlVVO1s5U72Vhx0J/A/kSO+KlfaEVxjH3FTP3uMbQM9PlJ+v&#10;4CkDOGYbCA4ZSp4cKq9AoIzyy/N04PocWmpq70KcX9t66f15EbglVlTtkMG+VW7ZI456D8RzyaYQ&#10;RhfnIJDA5BOQShwDgchVJ/Ic8VOSU37PLBCDmMEl++0ZGe2Cfw5zxFKwZkQhggO3ceSpySBnoc7s&#10;ZonBJWe39fgKUVJpxlrf8P8AMbtO7aGXz2O0Fn3qFB5IIyD2xzgbh2qcsg2lmcscxuuzCkZwSQR0&#10;zxnpwaYoQFXLlpACiEdFHU4B7cgkD1qZ9oO9QBuceYAmcKAQvOcdT69x35pVLtcqY6Cs+duy/qyI&#10;ljLrHgjaAFjUnOwZ29OuB/njFRGJizO5dCJAz5fc+eg5PqB16H9KmUkrtAVlGWB9QTkbR6jIHHv0&#10;5wPIrR+Su4hgFfcvIYMTgk9uBkj6DnNW1NRvJXTsVVjF6y26kLQqiktudWwrPyBjA6H0+UHnP6Vm&#10;lQmGYtIpZhhlLnqCwLD2ZcZHQr6VqyI7AcrtZydmM5Bztzjngr164J4qnLy4Z4+d4ztJ8tuoQ4Oc&#10;AnIz7d6UdlczUFBO+jVmZkqqfN2HcqqcPg5w3oOvTj2z2rPmVHLjcdxbEYOeQBkgE9+uQBnHpmtk&#10;BHYBQuXV9xEQU5CnPA7tgLtA6t6c1m3EbrgKyosZBlYJvDjBB5HPULz6cYqpN81u24r1P4kVotf+&#10;GMO4RZFUuwQlM/I2FwWOOOuBuY++CMVkXJ3LFtkIZIvnWMjA3KVddoHRhvXAHOcc5weinmDD5UBQ&#10;KoHmr0OAX4HQbt469AOhNYsjLhVKh5NxJLoN0hX5OB3JAZhx/CeO1KnBygm9Lav7yed8t4dbGNOC&#10;pV1bKhAxyHYuR0X2xgg5OQG46g1izEMqgkbWIbLKOPmZC3cY749AOOoG3KkiZl/1fl4Adoxg4Jzu&#10;ODnHBznnOT1rKnAJDnDDYqNE+0Evt27cDqAT+OOcdtYyhqkS5OSUOrMC5Ro08xpMxq2FWMbynyNk&#10;Aeo38njgcdBWVMiBzGd2A580EEmRSwEhA+hJwcdunFdFcIssjl+BnbGUj3SEkgqCCBjI3MWxyRjH&#10;dcmT5I5Dt+ZVZEDKZPM4blT25zgDPK4wAOb5uVtkunBwlF3OdnPloAFC5wQHBBB5QgdjjoORjGfa&#10;s99ztKcqIyrPIV+RQy5PTqBnGcdvWte4w0cbByq+UM4H7vqSCO3b68jjnFZ7BY4mUA88Z3FhIwOM&#10;DIHXP45PFU5O176v8CYQk53ktEtCjtYozHjEbQqud4Zd27noc5HXgdexpqONsbrtxuOU2bTwmMEY&#10;yQcHkk8BelSEk71BK7Ic7CWYtkFzkYwCcbR2yffIWONljDptLuDECVIPzNnIOeRgqe3pxjcxdqKs&#10;7JNGCTlUul0HwRsrAExqGA4LZQA4AIPPZu/pk47bNsxVCqSMy7VMsa4UOFDBXwB2DNx6HnNZx4YK&#10;sThnbYzKpcqD0I4xjLKueg2ZParkBJUxgEq8gKlWAKjaFxx1BJPUDp17VtU5Z2lDX/M2UZ02046R&#10;6/NG1b7mKYDEAYaZWJ8vPPBxgDkkDPUj1rZto0AVpWZi0oZXALbAOeR3xwe2N3ftg2jB9xCtuz5n&#10;ysWThUVV9O2OnU9ea3LclUJVMyKx2nGVBBbA2984B+nArCtea5ej/q4qDS5m1ZM2Y3IjZSoAdi0b&#10;Y44HzKR/Fj93wTxk9N1dBbGVjG7szM64Hztu+YsuN5xg4CjkgDf14NYVtLmFGBVkMgUouGD4VR+B&#10;98D1rZjbeAVAAZ/LV2QbUztO3jq20FivXEZ544jm1UOXR/8ADFKLVNyb06mpB8iRGNeiEgsdwGGK&#10;gAbc4yMHI4A68VrxNlYwCVUjYgzuZWGQfUEYH69e1ZMRjkCGQeWm9ZCVbALFUzjHdcnoOrnPYjXh&#10;eFgqhGU7lYuJBheWAOeMKdy5HsPelJJ2jJWtodCior33ppp9xdVpo0Ruyvt2sG+YjGTg85yVPTt+&#10;WnFI4GzzWbd93KlTtByAAM8nPr2GBVGAKY48bsMdgU4JI6noOvOOcY59saALAmRUXbGDtG0FnA9D&#10;jjHqeorNtuWq1/zInzKe1tUr+v8AkT25uCGZgyoygpuB44HBGOuCPpUkDSbywIQJhFyflQbjk8jj&#10;gdfQ1GuFCmJd28t8pYhHAAwdx6ck9x0HBFWkI2N+7yJFDZ+6DzwTj0BIGem7im/hfL1t95TTu1Pd&#10;Wt5iu7yMMKHGDgl9uSDlQfyH+ejdzR8dQZF+ZTgohyGOQeCOeOPvDmnMcOC2VONvygqewJUE42gk&#10;4Oee/PFNLxgSbxlNvIVsBQDtIPrk54zyQaFzJq6s0VDnlL39E2JGT8hzhFySsvLJg9iB2AI99wOe&#10;OYZAWKBCqrny1JI25PU4/P6cVYRwVwWRSvzRbVzJjjIOO/X8hUKjKJDGqCMOBjqR6DPvj2zSVS8e&#10;WaslqOXNzNJ/1/w4p80TbEc4CFhlism4GPHAII4L/nTZRIZH3TMMDI65jYEe/sc+nv0qQSqF8tS2&#10;WBTfg4fGOnrnkZ9iKR3LMEJxGcAqG3HlQzdck8c4J7Hpiri7Sd97CS54uK37/cNmYsiZIMigkHOU&#10;jwhVQoA6Alhn6dKhEhcyI7rvddxRCW6NweM4wGUE8dMkdBUoVNrSEKQx2pGhznG3gY69v++utR7Y&#10;12JGAo3YwB8wJ+8cdeSSfrRfdJdS6kGocsLeY4bpCsSMGQEsxLBSx3HGBz2zj64z3pis0fllVZd/&#10;zoWA46dQRjoFH49OpDziGI+UCvzkhQMKSM99uR26Z/lVYzbSpDAh1O1dvXZtDnIHO0yR9eQHUdwa&#10;UKdR3/L+vT8TFxjz2lppr+RKyuCBwx3F3JcIVyAD15OCcY+nvSbQuH2YjjIWRmXy2LBkA5HBxuYY&#10;46deMFRGxI81fMyMk9N2ScYXocgge+3POThN5ZA/zdcAeWCx5Gc5PP0OM88ns+acXyJatDnaKcOn&#10;RFdi7MHBC43L5qZUjAB4AwP4gc9iPanI7RMQyuWO1jsYtuxx1A9T09/rTi7Mj7N29pDu3AEpuBIJ&#10;PAAPp7mgiM5lJ8oB1iQBWUZYnhSO2VI+hXqeaOVWalsuv5DclCPnv87W/ArlnwuSjL8yKC2VHzHC&#10;56jLHP8Aj0qRWLoiNhtmAFGHCsQensSeT7du75FVMsSisXCncpwv3jt/Pdz7E89pGBUrGD8wRpd2&#10;N4BDID14/gHA546HmqjflSn5/wCYo3jdtb/r/VxwaXGwq0gDEyc4VVIAGB26dsnJ/GmpmNYg5ZVl&#10;KnaTuchcrz+h98j8Xl2fYYpCpyN7YCoCfTPQjsRjGMjmmbgG2mMYjwV2vuZ/nAAK+3JGeBjp2pOK&#10;fvR2v+Y5X/hvpa1u2hUJCGV2IPmFuC20nBxjHfPbPtz6yMvKRSBnxDvcD5VZQyZDMO+GOCf1OAV3&#10;7MRqhBfnb0YHoxB9T2/H3oJRsbpAFb51bGACGOVI5PUHjtn0NNuXN7yFyr2XJFafjciBZUAVSCWB&#10;dUJzt6MR6n7mMjuOlNOzGA8fB2ZU7doABG0AYHUED0+lK6ksHVRsdAfL6lmB2ttGRnGPpge1Rssi&#10;BXclWWMKdzlgxC8nPBzk5POQMdsColyuzk9WE3y33skCtg4Y5Cr5uCMAfMinr7/1OKneQlWfG+Pb&#10;xyd6gEkHHuNp6dGqN3RsM4IbIwRnAABBGPc5PJ7enVqhYztVgFVfmVRvDgtjKnAyPrjgdq0a195k&#10;uUrWtotSLLlSrElfMwxBLrl/uZwOOc554zTkfO2QspaMEA4OXycAge2Ce3HfpSqiAqFAyVbcThg7&#10;DOBn6DrUaNJuKJhN0eZMc+WAVIbbjuN35dKU5XT06/5IlOp7TmT0X4aXFEhRBKHO4KZpCQQEOSCP&#10;xyD1I5P0pM43GQgrIpIQHbkYBOOOnI9zmom3qN+AQinbgZVxkj5l79Rk/T1pGY/O0Yyw/wBWvAJH&#10;ykgcZx8vvxWrSsnH+uxq56+0fpYZG+0FSVSRgGYbSYyTnkHGCRtPXB47gEUrFc5VFG4gMeAVAJ24&#10;I+Y4GFAPPHr1j8/fHuBZ8n5icIw25PHbjpk9l5qvJKmUONjRkeYHX7p+Xluv3uh6daqmlLVpW6/q&#10;S/ZxuteYe74Vg8g8hm3GDzcqxAJA+uM9Qep/GrJcGLmNg4J2jd+8ZNqg4fHzdznB5yPwjnnXd5hZ&#10;EEbfKHUEgEY4A6EAsRWfLOYmnzG5kV1X7u4bcHJHOepGV+vPTMw0tGWy/wAxKpOCVtHrYlmbaI8y&#10;byH3jcx2RMRyOBjIDdBnG8A8rhcye52l3D/KoCMEC4YHO47gOTlsdOhPaoJb5AFkJQzN12rkgD5S&#10;D7E9+evTtWdNdFWwwQqYWfALKMFmAAwSwJ2tnBGdoyB20s0rtbbfgKUIycpLra5YuLj5lBdJJI4g&#10;DI2F8wHIJ6EjOAe2B1z1OPc3PyCNYzvbl5AAdxA3HLdQRhR9T15bNSe9dQSfKaQAIyR4LDGc8jjt&#10;1xnPJznNZM10BOEUqhPzLKBuGCfvHptIGDj2HetIuUXa3b/gmPtGmnF6v+vkXLq7YIHZ4wCSU8sk&#10;uFIyM5wCMnHqMt6DGNPdZQEkJmQFVAAZQcFcZGG5GQGOATjocVA1yiJtEivgFFwfMYsrLjJxkFSC&#10;uBkE5IJ61k3FyyscNgnqy5XauDjB6dz165pw95cr22/Ucqseay01enne35liadtsm44ygbD5kVCC&#10;CcqTgZ2gDrx3ByRlvPlQOcvG4AUbt4wRyMY7j8qSSV2VSE3ZjMkmUCufm289crl17fxEdxVYkKAs&#10;TRufMLbsKBtPHGB29Dx+ea0govRaRVjneqaf9dRX2BCollkKxgRsSVkbGDhUyDzjHHHJ6ZGYRKwV&#10;izAqjMpcIPKchkG0HHQZXH0NK6lsOHIYhS5JHluSwGQPY+3G40qwhdxjClTMWKuCSTw27p0IYdzj&#10;nG3it1Tbg4RenX8SXzQjzRW3Xy/4JTYGQh3GSVCjK+ZhQAFAOegAAHsKKs/Znf5/Lc7huzlc8+uS&#10;DRU8kOkn9w+aL1ctT6HjyxTaVZgXSN1IQt5g2jIHB/iPOTzjnApJRIZcbVyrecw3eWuWQbmA6Zy0&#10;YHoFPTOKhRNknmxNtWSMYbd5kZyOuOcMdw6DA2LnOKssIxLHGSzQY2SxsfliVtqs2DkZPJAxngV4&#10;6i1JQW6Om0Grve+tv0I22xgYaPexxjILMoctgnnqCw/4Fx3p7B12bguZsKyk4fIU5PTJAII54O4U&#10;52AXc7HAVUDKpVRznG7d0IIHQfrilVmby2DLCFHnSRoQZHxxnnBOSduRzg9uKUbtq3S9/PyFDlUd&#10;V6DgSrysgZUI2gH5Rk7SRkAcjKYOMjAOc4y5VLYwxZm4YthwhyNxJPPIwO/TNClYXTYYWkVlWBwP&#10;NYOXAGG5PBwQR3yccDCRvEFRt5XEaKBIQihVXAYcD5cY55ycHp0VRuWsVt+tjoSSlKNtGvuFAwMb&#10;ljEblCHbBc5zkgHng5/D24cCpxI2N7sBOpPzhemeD256/T2oLvH5oLEqkm4kHCKcOBt7E57+g+mJ&#10;uWUHYoUuzMYWG1jxnfnrkZAGQeF6/dpJSVoryIqVIVPchs9/kNjMeCxAZuV+YAKxBLA8seMkYwBj&#10;jHQ0+I71ZZNq5X55A21MqDn5McA7c5HUHrUQQAYE+yT7SVwrKUYhfLLAdD9VPJA6lsFX5c5HBXcG&#10;+UIi5IIPzE5BzgH3OBmiS9+/mNtqldvVbfMCz5lXaJHLFo2Qk5wVXOOB03EcD19BTcbWw5MhiCy7&#10;lG0Ag4GeScYPAHUg5AIFW8hSShGMBVO0lmJ2LkAAAEF0IYAEcY6VX3OjFXlWIKmEgJ5cAgBfTAOf&#10;QYHfIFOHPzpJCUOaTjff9QRm80eUoZN250IwRgKTjJHYnA/n3mTHVfJ2q0cr5GY2KBchR2G5MnPc&#10;c5OTTQvm72iZfNL7RtcMxypZSF6EgrjHPXv0p0pKRyBgy/JtZ4WIB+UjgEZBA/kffJLZLl31HKai&#10;k5f1sRwsRuKeWP3ZICDnoeecjjtz6AjGCV5dFAUbVlJdZCBj7wQEfN0GP7vT0ApitsyQ0YZ5l2M4&#10;Mcezam8k7Qobdvz0G3A9cyPtQbSHAYF2Jckc42HIGGyHyB3x04NRJSu5zvv09AptOXNLZbjlRUGz&#10;MG+TagAi2qisOBnBHA7fXgZp4IaPPyLDkSI4AgJKsudwHAOSo5xnPOeaV4wUEkSgsVJVnYI27cg2&#10;b+PQAFjj5jkgUu2M5chyjJsjwCCQQFO72O8HoD7803FySjEuUffdRaJ6Iazxsw3K7I7ldkrE+XlB&#10;uJycDJVckHp+C0q7S7LGuwIuA8gYMDlSQFJH3sHHHT3OaaHUqYmBYFj5qh8octkE8+h4x0HYGpHV&#10;TuDyMFBSVZEbDs2WYn64YYAwcoMc8F8qcdHZ7Exkqiu/iv8A0vyFiXy5iOYwFzjgyEDCgZOCWIOM&#10;54yp9KkR5HJDvEGQvIQAd3H3QAeck8Bicd8jGahGC8YLjzSWJBCkux2LkDqOw79BzkiroJ8rbLJu&#10;QswG6Zika9B+eMk+objoaXNJTXKrrT8gTTmlZXTv/wAP6DYtixsW3dWGVXKPguCRjqp2nBycjrkj&#10;JaoXEYyQgXADk/PnGOpyOCefXb+MxVS5VFQgqDGc7eQCcZ64yT/SomAJP7sMQGfc+FYgqMZI44wT&#10;wBgL7UJOT36lQqKNSK7afl/kSHeP3hVgdxAdUGQoXKZ+gxnnr3NMZSu2V8eWSVCHIHD7kOcZznnj&#10;+8fWneZITJEeE2NtxjeSQUPI57BsdARx1NPVZMsQNsbksREwREIAVcAg4BxnjP3Sabhdauzf6EuU&#10;ZvlSswQngupL7AhIULGCc4OBj2PvtOe1Lsz80kgAOwRMoO1ypBGR0x154GBg9hUgk2ktG+7LbWxI&#10;dy8Nw3fsBz3A6GliljdSMgs4O0K+FI55U4x1Gfb2zznFuLXl+Ow1JKCjL/hxFCsWG5miYbwCNrDB&#10;yM8Z6AZzxjOBTjuRCHQMW6sqkSein9M4I7U1CI2KBwVVwxbaQysTwmTx0APfjjIwRTmJ/d+aXcOm&#10;QCBs2j5uDj69RVSbla22gRcneb+y/wCv1EfZGVCpuQHJIy7ndwRk9QcE49fpUkrNGCohjL+cSUIO&#10;1l35OORw2TwCOD2OCHKFWQ7yUCSYY7RwCMrkluvXnBGQRxxTWeMB5Vj+YviOQHDk4+bg4PADDjjA&#10;OM8UJRT9429m4Ue9tbX1t/w5IFaGKSRF3tKvmFyoJYAZwSDgk9iexA9cIHwgZghHCl2JdlzgjnsC&#10;CD7EjODmgYCgK4VQWctsKq5Jxkrn3J/P603CBl+fEaMB5bZG9WKlx+KgKSMHocAgUcrTa9fuMnJR&#10;95vW49F3oCWxI8mRk7c9x+oHHbd3xSsWcqYzgIVLlHJUlec/pnPv71GkW4KCPMRF5kJ53AEMS2eG&#10;OTgjrj1qXcSwCFIyAWkc/OgznjAwfQZ9zkjNCSk7t38vmO3LBpLXR+t/+HY5ZZWKRk7vl86NlIVC&#10;RhDnPY4BA6Ddx1bLwXVmUASjZ5YdydpYg4PykfMDjHbOOCODCMS+YVlWIJGSynJUDJBGOxBUnv8A&#10;hVmUKozEHUoN+1pPMYEBjtxgYPykAdyMcUneMkntb/IzauuWGttbi4BaXd80iKd2DsVmztBPrxk1&#10;ME3bDJGpIdfkwMKRkggngHnd0yDt9DUIVQTsdn8sMwIcAnkKCCP97HH17GlZhGz4ViZIsY3bdpAB&#10;JPGc4Jyff6VCiuV8r0/Q0hFQagnorMeC20DaWPCtsGVU84GByOMfn7ilEYVznYYY2zI6Ehslu/bq&#10;3fr+OQg+WVSXGSipuH3mA+YED26Z9FFNLZLsjKA4IbAzleQc5zzg5z2PQDsl9mbfT8zTlip8zWuy&#10;HS7Y8yKTIVkLRsAVCqeVB4xnnGBxkdTTjIQskZ2SMMJzgJGc8n07cnPY1DK+4lVdZULsSN20R8jG&#10;QARjkAcEYB5PNJg5aSSUSEZVeSoAA4wTjkgYx7gVfLGUb823QwcpvWWliVA/3gyjYMt/BsCkklcd&#10;T+ZyOc1LGxAUrEoj8wL878YXuAOAMcH0z25y2JmRyzYkQOoZSdqnqcEDkggHjgZGMjIoUBpIC26M&#10;Khj65xuJJ6/QDt93pWjaSvv2NJW5VPz16a6EoZpI0k27lc7nR/kCITkjB55JbHuT9aN24AI52qcY&#10;DfuwWBHPc4wT/hUCMV2sJHYGTfJuI3EDhV9ADknjoR78T/KkhzIVWQbSwB3AtkcjAwADnjPpWfLJ&#10;ytbbb8BuaT9x6a3+Yxdu8bdwV8jHlcqA7EEZ5BO/B5I+UdOSZiVkfc+149xzhed2SCMdOCrA9846&#10;VEpjRuY2ik8rcihldkUEnBHJ4LHOcnvnpThK8TAbh5e1sK7B3Y5BXIHHUkenIq0uaTViOZtKMtn/&#10;AF+g6RlMbRhnRVBZ9rF9/wB0rgnIyfThfmP3cURCHZsJZSH8tQXAAPQHJwB36kDBOegphdnQAJtb&#10;nCtkLuXIUk8A8449MnnOAhYEL8yko2/AUNk5wcg4JyFX/vnqMDObg1dDjN+053poiQESbXyGUIV2&#10;g4AB2n5s4IzjIHXjB60qyBVDsIyApXewLZyxAwOBk5H5+uMNDxs42Z4XbtPI3HJyR1IIxgnjg9QR&#10;hXcOpAcDICZKZkUjnIz36nGBxj14tc6hY1Uo83Ol1Guy+YqlZGXIEeDnoc49f/1E0pRhiMHk4Xjl&#10;Tg43dcg9sD06VGzMheRWb5iCxR9kYfOFK5GM4Y/eB6HHFDEKqABd4JGwE5YkgAnB6ZyfYZ70km5K&#10;yI91zUovfX0Y0CV2CN5akpvIc55ySvPfGc574qVV8xBLvQJgBAI2DtuBO4jt1HHX+YXeGVg3ylvk&#10;Jc+YyFnBAUgcnHGPYnpnELMux04VSA6s0mM9AQTnvg8eoNTyuUk4/wBaGVVxjyu2iJDI5Lg8iQLt&#10;Ur8hLccfhxj3696gSMIMglS0jAqHYkFmLMfXksT75Oc1ZIXerklcS7thXAwh2/Kc9irr9V9qaNiu&#10;gygLkhEzyV54BxyBkHPoO9Nxafuu3n/XqazcZK8Xrfb7thjxyKJJRsO5tsu37q56fkAefapeSVlV&#10;Tkv5ioxJKE8HvnGOgJ7DPJJKQuyyPgY4AUMSsadPlJz3GfwzUnmmHDEfcwAcAgBlwD9Pf3NaNpKz&#10;+ImL5Y6fNEJYgOSF8wD5k69APXPYmpI227sR7lkQAYYnaV9RyTwR3BGee2EUxygZjKqxOFYKpUg+&#10;uOnPX0HWnN8i/KQrBh0BDEcgDrntyfYVhe7vNaroTBqN3F7fm/63FKqZC4wHYfM+5ncc5dRngZK4&#10;z6U+NsnCurKE2/KWBO5AWGfu4JPXOBuPTGKRiCiKWzkLuGTlxxwMdfw9G9DSBQhKAoWyV2hwpAXO&#10;7kcHn068/jrdOm9N/wAi5RjCXMtbL87CZZNwSNQFcjhgGYAJz+PXn1qZkaRVw2MfMMKQWztJA5/u&#10;qM567e1KA29pANyFmCEMVOAVznJOMjt2xTFZlbAK7VGwbST1KjkdcZOeMZ5OalRi3GN/n9woy5YK&#10;+0vyJUSUR5eQlQ4JXOcZAVRkdsjvwd1M2MVMgxsL4VM7SD3OPbH6U/aZIkCmNWIC/MpLtuOTxn2b&#10;8hUZJB2EOSDgDIYn1BAGPp9evelHnbv11+7QU04vyt9zJmDqu8KCGIbYgDKwUnnA69SPpmpCpVSQ&#10;ql0XbuxxjB59s5PbuMdKi3sse04zEfLADDaU5IC+nJJ4PSnyyRtGzDAwoBIJLn5lP4Y+8fYfQEU7&#10;e693YuM1Gd49vzsO3KInEYHlgEfuwGJDBuOR6Kev90n3pCZFYDOWVV2bZAjZPTjHUgH5jnGV4pgj&#10;KxsxYggDCkZI4bJzx/sjtyfc0JEA7IzLlh8pXgxkZ9Oo6/l+bcU0r7v8wpwm/dtp/wADYeN4RnkA&#10;3SsApYYCnIwT+J6HoOPekmLISqbPLxnY5wTzg5JPYH+tRK7AqAzCPhVG4lOgAO4n0AHpwKkLKAJH&#10;LM5be6uMgknO7dk9iox/hUuDUeZvX+tAU1CSltqPj2kBSFAUb5AATycED1x75yD0yeilgyuoDIpY&#10;BnZc/wAQA598Ac4xnvihv3wfcHAMm4ODjIYEEY6k4xznjj2NPMm1TIyCQGU7kDBUGScDtg9OOPSq&#10;k7x5eugQbak2972+ViLIVQTswspAUZQjB+U8HnIxkdP50hLMr7d524BwmWUZ78Y5FO3ASENhjGpU&#10;ui87cAexOcr09qbhlWHYXLOcFYz3weg78o30wKiLqNxc1fewpzfO1HZdUSB05bcwVFKKuMswOSOe&#10;o/i5GOppsm/HMikqQ0ZjGHxzkt7AkDp34zxmLEYUK5MiMmGkwGcqfmPHTgsB6cde9MeZtjFNqg4j&#10;JGWDeoxk5zsznAAJH0ptOKbjuNSlzLl/q5LNMJAVEbKXIHU/Kx4JJPqSBn19OMVFuA6orZMbL+8K&#10;tjcQSVP05GcehPfFRPIzDJ3Hc5PQNv4YYzz0yD2wV4xiqks0ThR5as/L8MSzjOQCCcdQQCMEZOSe&#10;AFHezVupc3KUlbr/AJkpmQblO1djDgFc/MqqQecdQOmRx71We5MbBlkwE+UxlQSSCTxk885OfU8c&#10;nNRSTFSVZVkIkUoSQFAUgY3Y6ZznPuOvNUvtTHbyd0KqyvtERP8AEnXoV+XuG5FPmla1tRWs2k9W&#10;/wDhzRNz5jZCI5ILFc7I2xgLyMds8DoBxiqfnbFaLOAiqwVXCHAYoNw9MAflismW6dA0gleRVXyi&#10;xTdgk/NkDAHTI9MYqjHeNvU5RQWE21UIY7WDFSP9r7p9PMqnFxTS1vsZNxpy5ktf87G9NdP90Nh9&#10;u2PyyFbGBgqT798djVdrnPnFiWd0Cq6OoIYHdjI6dGBHox4yARhTXit5gKmZUAJEciqwIbcPnwc5&#10;yV6gjI5woWoJL0iN/Kdf3X+sMZKls534HGFBKrnGASAQCQKbi1C6XUpxSb9NPw6+puG5RgPNC7WJ&#10;kjZnG3OWxgBu24jAPaka7jG9XPlhfnZzJliURsnce4G/HbniudGoLLK/UbQ4JcfOCUdQ2BwNpIOP&#10;bHFDX7lgkU0bJORKk2HcINzq2MDIK7n4xyRwcfflxlNXe47xtZt20+46BroSuQPLlSVyGdgrBBnd&#10;3xnjGMkfN3zSx3rvlCxY+d8iM21BnaMZz9Pz+tc3HfuAnmODujTa4fIThmwewOWJ78YIpqX6mGMk&#10;IrjKGNZiFICKR93jkoM55GCcHvpTfNaK1tqv6+QrRej2/U7GCUxOoO1gBh9w2swZd5xwPcgHnA+p&#10;qaCdjLHvZdgj3NztSQsOSo7Dn3ADLjOK42K93ghZHVixUxwpuP3jnAwSSdyjgNnJ61Zj1DaXZGbz&#10;CwUYkDBABlc4HBwwJPpn8Jm5P3H1/r+vUqTS5eV7HYi8RRlHjUON2GbCsvG489cZHA/XIrQS6MZU&#10;uwjVImcozZA3A/xegx2znknAHPFpdsvlAsZQE2B2kwyBFBK4HYsoAzz8uMnBNXotQAKklwSQY2Ep&#10;ZTwQ25du4/wgbcAHdwSchtbR6WM5NdG7b37HWRShSHfDOiqpfgkPtIBOMYIyfbc3Iq9HPvDl2VTJ&#10;ly7HLJuPB3evP6niuOivjI3mAvsY4kLkMxfDO2QeOC5/BunNaK3W7fgkhZBtXPz8djkY7nI9/wAK&#10;fxbvU0gkrNPVo6KO43b9vLCIrHuY5YDd0PoMfqKvK4f5lRDgNu87hghOQC3HsDjGTz2rnYZNpQlg&#10;zhtoRMt8r4PX+E8Z5IwB9KtCVn2hXDMkeY2wTtAxgEZ/ziklKMtXpv8A5hRTTi3urmrltqiPaQpA&#10;Us372TjkDqMZOeBn3HILlkjiiSSRmkGB5hALLzhQcDJ65PfAI5zzVLzh91nDHuQ/yg5JyrfgD3qf&#10;zAGYq/y/eeRicNkHjH4+9ZRjKUYrp/mS4Rbajv8Al/SRY3FHHI5KiHfwWUIvOcYOev58USsWIZAg&#10;yu4bgy54wctnPYDFM3CUbi7JGdoDSOCQQpyAp7YBx7Dim5QFcl8biAuRvHTaCPcmtOV81rajbU6e&#10;j10LEob51JXGMEg7wB24HqCvrSAl8kFAq7ii4ypwflwCeOBtAJJweTxSgAIm58JtEhYPgk42kYHH&#10;bGKEfahBVEwxUoVCgqduCCO/X8B74GavLR7r8jRqPKpta9fzAl1Eodt7ZD/KWGBldoPbj8znrwAE&#10;R5FCorbR5pZwiBQCuBjH9T1yepJNMcgOEV2AOTsZi3pkDnk8foKaoZkTBICkyA8KXxzkj6Eg8dvp&#10;WqVndnNKEvaKd9ddfXoWCOTtClizsOqkfL3AOOCD+ApwSQN5jMTnEaEMGBHbrxk5P/180pdpEU5G&#10;4qFEYUMCMFQABzzjPf8ApTWlCnCkKQ2WzgFD+nTI7d8YqXFyUmmbQV5c83ppYd0VAAAUJJBX5dvG&#10;V9D6/h2pWVSA+AyyORGCNi7V24JXPqSOmM9zziMSEjHT5Gbc4IVjgMecgjG5e38XtUzsGLSYUHcN&#10;ylNuDkDkD1J6dqnW39eRTSS5afZESxqWim37liQsN4LkkkfKR69P15p37xCokZpCww0m4bigGdhH&#10;JAGMg/8A16RZI9jZdSvHB+ZD1I6jIHU8+n4U7zPKDKAQNw3O+ZcjkgDrnnpnAx04q1zXu+xi1aTc&#10;l3HKWQS5KMSdq7nKkYwMk8nn0xyDinuuSA6lOQwMb52EjHPPt+tRws5LEhJCFxGGJG0DqC3fGD+O&#10;KF2yfMQX+6kmG4zggk89ycjjjgZPNCs3a9nqXpB3er/qw5tgXh0VomDDYM5OCW49eeg5z9aV3JTL&#10;Bd5ypK5UEEc4bqOuPx61CcHchZpGAxt4O3CkdfpgD0+UDGKeWijeRTvCR8IGGC5AwDnoOxHHQ9qh&#10;xtFw1vr+gRmov3hX3BMAE7nDJngM2CQCOoPzdPbjOKhB3sqIu5EGCigqxbIwMkZ7rjHTI9aVG/fC&#10;QI42rl9p3gAjA3/n1NEhJK4ydwyCewORjJ4x8pzzVQilJ22GowaUUMwXJ5jj3ZKsH4IA4ORj36eo&#10;57CQzZYLIEkDJ90MFyDxknPUY9O9INqx7YwQuAGGQzAZ6YxznOOOlIn71htCscAowH3V5PrjnH6C&#10;nCMU/ImS5U0tFsSBmJkaRPMwqq4ck7AoAVgQeTgDseMnrShlG4MDIPVRtRVJGSpB69evHP5IpDAb&#10;cMNykYIZmCkED25B5qYDy90TMFTdks4KyDcfYg45zg+uPQUpTV+V7/8ADDlK/wC7W3/DESKfJjjb&#10;aTvGCoOAWBGGz0H196oMWMZd1DFSZGTB+bPIKjoATg8DHPrzV9Ap2uQUaV+hcnaRkEsAD7dOlVGw&#10;h2KXyDtLY4YY3MDn8KpKXJdvrcG07T8jPnL53YCGOXaXDh49hDMWJ6Hkjr0BIx2rPlDhShkaVIsL&#10;hoy/mgbc7jxnI3Y/ya13jR43wASR85z5m5iBkYJ9h7fgTVJkKRsfMj3mMLs4Uk9zjr0/mBSTcbzE&#10;1JNShtbUwbppCJUDeUhiYKxHnBSRkHGe2AcDrzWWSxLOiqkkj8OX3ZVBxluMH5mUEc1szA7XH7tS&#10;sgUqy/LIrL8zcDnkg5xzt96o3aq5Mecv5qs4kwN7BgCeBg88kdDz0oi2ly/0+w3yptqOlvmYUyPJ&#10;y0anC7QrDA67XAOBnO0gZ9B+GFNhkDNGqZO5A2A0X3sc8c/O3HrnOeBW1M77pMMSSVeVySEQ9SrY&#10;I+ViUGT3UHB2ismd4ju3FyuA6iNSCpxvbbx/eJP49OAKqnG8XNfcRJtPmW/+f+RjSM+FIGWVTIhJ&#10;IAZhyQAfRUB6Dg8Z5rDuZCWZmjeMSvs8pwU2gsz5w3UEu2SR0Y1suW3ZKxAJIR5wZSj8FTyDgr/u&#10;9Q3cEVj3amZpFdfLLACPylGPu8twePT1xz7VpFxlNvb/AIcxq1nPlUPx/r5fMyZpFYuCfnRABgcq&#10;ODtyO/I644xnkjOSQU+RgqJs3li42kErgkn1BXrjlhzWtPGzEbyfP37QWdjH13Hjk9Ocj0PAOaz5&#10;ZiVlbcCSx3RuSC2WGADjn+Fjn0/GtYayV3oSm3Hml/w6KLRgCVjuOx1YsAG3De3II4AGFIA4O/rx&#10;mkXY+7eCsSBWMkS5B2qOCR/slgOM4XpmpmLKyszvEGQtEskgYsVMYbkcg7SBnAB8s+gFRiDdInlr&#10;tRJQXIcOBtcgkL1+8MH0xjnPEqTjaEtV/wAEy50oS9mv87bFuMHITakhOXWNgdjMrEBXJIIGNhzx&#10;gtjI6nRhKk8oS6MiMxQ4TaoyRnDdAOGxyOnOay4jFwoQlyRmQgMp+UHGewHy9PxFakRClmDBU8zC&#10;PIFkbHUsccckfTOeO1XKSUlG2hrSlGcF72r7fL9Tas413rKioSkg2je6hSpYvu5yCCoHHHPUHg69&#10;sVVREWI3KrsMbuTnHIGOSrZA6YB7YrEg2rtHyPI6Ah9ucnGNy88Z+9g88DIHIrUt/llUiRcM4jQS&#10;LgK3AzuB+XBLcnoGznFJxbfNF6dvKxpTtpFPubMHypgGQOGyqgq2WUgk7ewB556YXpW3Bu++jyIT&#10;0+baRnPzLnr0HXvj6jEhkjViwL5cNJvcbHXad6gjJJAIyVHHPUVtRyKgjk85ljRRtVjgEHHyrjOP&#10;73HXcTzzS0j7sd2JWSklq/6/I2FIeQMy4ics7QxplmxkbQxzjB75PA7gnOkhZ2kWJmRXkBZiCHA3&#10;gsPTnnAycBgOCKzLcBYzjCsqAb48MI16DjPXA7HkgnvitiOZFwfvb49hBXcucbuCMc9PXAx35POo&#10;yS965rZKKT8v6+8twO+59jqwIK4VtwYFgAAP4cgk9O49a0gysCoOEQlGLHocjvnnhQvP90c55rPt&#10;2OVkBdVDBCgkwoUsAWZfoPxOB6kX0CqqoVUSZwzAh9xGRke2eM9wOeKc4qbTatt+FiUk0nLv/wAE&#10;0EILBRtG4bcBD8/AHX7pGMkexHQjAmfBHzNHkuI9gbYehOAfYITjP4d6gjVYkc5w4X5ivyhSQec9&#10;AcfXoTyOKnDOFYwsoCS4k3AFlIwMEdxjj88dSSOMbvm+H9SuWEbU5LViTMSmCyhQSGBYAENkgZ5O&#10;Rt6dOaeSSFGFYLgAHAaRgpIGccdQc4JHPB4p8gSQ+XsAZlUjcuFIZcg+vQL/AN9ZqNf3bPwZArFn&#10;k6MhB5AIHTkZznkDoMCp0UfeL5m4uN9f6/QbtbcqylMrIUDAA8jqeBjAJ6juPcU8OpXqNxUbdiFW&#10;XJ4BbHBA9jjoelRrtyQTJtdj5QcgK3BLEH/e3ce1JtdxIVEih2Yhs7ipBJyB17k59B7UJOektXpo&#10;CmnFa6dxBIsTgxqjqAFZAcFWBY9Tx3bnOcE89KVXSQIMoOdwwv3Mt1OeQMZPPXFDNgqGKnfHhGQB&#10;lx0DYznPX3qA5ODIiFmwik9x2Jb1x+I46ZzW01GTvbXv6Dk3DmW8en4ExeIuSr7fnKhWyWJ/2jxz&#10;hQc9Oe3SoV8wEqu1JW53dFhY5O4scdDj9fSl8xULNtypViWlG4DGAeTwOnBoWbCAFWVpJvuKdyKc&#10;9OeeAFHzEk55zWdm4/cQnJv33uSFydrKp8iZA3zIRKpDNt3DtgYPXP8AKq5ZUjw21S+Qzsd5+7yO&#10;vHUHv0I7U/5884HlnYE++7Ek8DH4UPvU4V0OIyxdRlR/EpOTzxjj6HPrpGU7uC3G5czt6/8ADFdQ&#10;w2bdi7gTGH4CtjGcEY7g8H3NMGGIY/KpiYcKSGbLcr0OeQOP7nQnrI0iSR5JAwTtKAqAW4JJznuf&#10;Y8ZFOWB/LDKQIeDgABmwQQSffAOT9OlVytN8zKXM5e6+z+6ysN3lJJFyHQnays3UoeB1+oH4deRU&#10;4SJ1+ZZAZE2EE/L1PGf1B9PSoItzKA6oxO5QBgKNoORkcjG3HAz7YyacArgkkLG4zGrH7gU4PI4y&#10;Md/Wo0vGHndsJOMorXW23n0Eb5YiAp2oPLUlslQCSQR+PHpmp/lLYJVdhLjCEKuBklsZJOMn8O+D&#10;TAJWkjViCrOqq5ZWQAMSMdT1yNvU4PFCg7ZFjUfeYgLtZdow2CcdsDnjGO9DeiUXuKnKUlte4wLE&#10;6lCWxKo+RsMeV2svsRuwcHkbepxSvGTg/KrrkKQ5ODgqSfYgk8n8uKDE3zur7F28bRwACAcZ47jB&#10;I9e1G75tpCsPLUtzyFbLEEjnqWxk5C4PdcjvJKa2FHk+Dl16eokis4KrGQqKzKMlgOehHXgf57Ug&#10;GC5QBuAY8qEZsA4DDOAT6f8A66BIvyLEeQSgYjDAlAAFPXuCR3/OkRl3BshG3qvd1zuYYYEZz3OM&#10;4FVFSVnbRf19w4pc2svn8ribgWJdS3lgqg6dV5XHoSR16Anr0qFllaV3ZwUxvXABIBHUHOT8pQf8&#10;A55zU5IcvG25RsV2y2Ack/MO+ccentnpGVGxD5Rw2FcjAOSCrHHIwTjHTFQ1Fz7MJyhdxjr/AMAh&#10;kUtsYOGc4bJPzSHbhcdPU9c0yPeWYNGCuNsq+2D8oOASPrk8n0AEjbvkESleSGG0MWC8rwePmycY&#10;5+UjpjLFcbpAzOxHzAlcE7sdex6E0o35fefr8mZXSv8AcMnZxGduCyFlRsAs2B0BPcAjocjII5AN&#10;NMjBmwAzNiXzGG5iOozz36568j8WySPu3uxMYJAAcZwVxleMnnAPsR6ZNSV5C6KEZFVSFU8AnJzn&#10;0OfX2+g1UJKPL16voEpezk33/wAlYm8rzMsC53oVIOGUARhWA9ASuTjnAY96pyXLBo2PlebMNis6&#10;qwcgFuhPzDIx3wOx5FNadkOSpjaMHcoJweM554xz16HkVSeTyvmLO7NJv+Rm5VSMgHPO7aCOhySQ&#10;elEYzVmnr+hrNRUeeTt/X6FieZZQUBCHb5e8nbJyrDrwOQTn6kdhinLIEB27XdsKoyUY5YYBOCOw&#10;ySMcAk9ag+0BQUJO3cBK5QgAZXI2dz3A6fJ24rNllKogBaR3j3Om8OAwK7gPxOOgGFOOmK0hGdue&#10;D0uc93U/eTet9SaS6KH5ujsN0m0kSHKr06j5cYx1wBnvWNNchclGK7hsy8hjWMD5tuenBxzwOueK&#10;SS4ZmQyZ4wAxk+Yg4IJ6n+NTx1A71iNcuEXPK4y4fDHjG4qOMngkLn+IDsCJlDkn7z6CbjKdm9P6&#10;/wAyeW8Ibc2EDtuP7rnPLAkZB+UleMd+mRWZNebGBDAPtDK4cqc8EnJxkHbuIA6Megzivcz5KhI0&#10;II3JKX80Pu43HgjAI5B9G9KypZlQ7xvi8wMMbz8uexbOfXpz6962Sk7rfp9zMIVly88n7ul/6+RJ&#10;O7bJN0jspYkvkFdxVgOhOAC3B5GMHPUDOnuJHSZw4JByoCeY7kEgHA7kc4OCd3boGPNHIgbLK0so&#10;kbD7gEOFAwxOPuZwT/GevNZskjSF0UqAZPLZ8bEjA3c8DGB/kVbhKU+bb+tV+BLtyKXRbed+5IZR&#10;HJjYHRgAgLny8kkbvpnae+dx6VUkkaRSxRWVmyACU3AdcjOAPuY445P0lVZJMApllOxtmSwyMEnP&#10;HHGTkYxn6MdXViQ5G7JLRFQI8ADC+uS2QBn7prRKVOTcVcGoyqav/hxpcEhghYDa5DuWjbsw4Oeh&#10;GCCPwqJEXzCJAqqMr1XOMDjPtwTjklh161Y2gNlQCGYMGDGPyQM5zzjp2z1+lWjEXcoQWxk5I2kZ&#10;Ugkfzz36571cUk9vd/4YcWouKbv/AJFEWr8qixtJuCjORJy3zD1+UAnK5zkcZqT7OqM+P3YQ7lLc&#10;M4GCFB5AJ2qMH1GcjmtFIgPKOERxH5TgofmICZO05xllyQDnK1Kbfa0Zc7oWUJww/eKF3AAg8Ag8&#10;Z5xjpjlNxaUU7dfxQpe9dWM17Zi74DLhypXHmbSDgjPfkGit6KDEaAugIXBDzbWH1GKK53Orzafn&#10;6GfNJbxR6kiKUU+XtQLzuYOz4cLgduMjjrxn1xIrCBliVQzs6uoLKx5J4I6rxjBzj5MYFNkVJREo&#10;UKqOwIWQkyAhScY9C2cdeBz1w8BZZdhdWWSTy/nk2iDf1AOchRuIUjBzzXJG7tKZ0yahPkiu2ork&#10;EoUYZQEKgVUx1GB/e46H09KRVaRJGBdPLm8xVQBUOQVbK5BzxzgfxcAAUqo/JRsbgw2HIKnkN83X&#10;kkjHp04NK24h2BAOWZGzzjbnnqecYPqR2zwqbk9eqKjHmShFW6/19xLtcx7mCgSEgsykSofu7l9u&#10;p4PJXmkjiYK5O1BHEQuPnLENGqkEHIARHwMjtzxzJIA4YbkklUENtG1YwCQ3OOmSSD3BpqTFyhj2&#10;MFTymTqxJIbAI4A6Ak4+vWiPM4uS6FuztzK9tfN7DkYKu6GQh0kE8g2j58Oqrwef4j056noKc582&#10;MRpJh0OBkBcAgMoJPJwQFJPQLnrUWNsrLuRQ5BkXeGAIG7ayf7QA577j6ZqR8ENyWIURBySRkKAD&#10;u5/HH+NVzKckkmuVX/LQqMnT3S1dvTW4m4TRs8ZfyydoAVwMlCe4G3BZMj0/NXsu9gArklwQ2Qqg&#10;gYAIHHcZx1z0HdeGMhUKcHCFX85WDBix/u8jdwORuzT4zhGJLHYcqkjYZiFHJbP8RHB45x0HNYt8&#10;rWl12FH3Um1oU43V9yhiqKCNpUDZw20gHpgNuxxz9Ks4Ubt8wQqvneYAGDKPu5Bz74z154pBu+Zi&#10;pbnCMW2o25NoGOM/KCM4zgcnJzTWMcQEhjzIDsGFBB4A4APIO7knkFTyOa0baScXuS/aOSqJ/L0J&#10;EB3bowBlVimWRceSdsgIGTnOCSOP4uMYFI5xHmIBSEPlnyyEj+UqGC88Y3emMfjSL5ZZwkez93kq&#10;xIU7QTswMcEZGePmP0xKFY5cOoYcFnTEo4Y52ng9G9eepOcVmp3ai9UaexjOS76fIDDHtywbIJZt&#10;4BDYJLZPfGQM+oPORikcEssjL825hwgRQeTjaMAdDwABzwAKGiZmEuww733EopZkUHsT14GM5OMd&#10;adw2RIoD7uJGy2eDwf7qnJPJGcVcJSTcp+YrSjF3Wn56iIwkjAYZMhAlxCqbyCVCqcEhTliCDg8H&#10;HSpVRmYbWALkF8Abvu5YDIGCSDgjnjoecDKEVioYEsGgUIVU7hgAFR1J6Edzgc4pmFYFlVyRJvQt&#10;EyuxwQTndjGGGDx0PHUATlN80NhtqcbdVsLJIm5NrTqZmUgFCZCMjoDkg7Scc/w9gcVImUYF5JGR&#10;ECBRIVMe4EljkZ7AEjpkdeDUZfEjMVXKKW+cNwDtLcd9uAe3f5u1Sku7J8qkxqpbcCHiGOmMenGe&#10;vUdcCpk4u1v6/pWKfM1zw3/rcNuFIDKHCblKncjsMxnljwQSVIBwDwcU8rGynIZXYlmVSACSDyB3&#10;Ht/hmoi5EaNl0jK4Ku2S4baRjpn7o4Pv06VZJXBZW+ZEcHAJQ5OcgDj3x1+Y55OA+WSdosUFGKd9&#10;WAQ+ZIVRmcho0RAoHICgnk5GWXHcgHpzT0AbLsZAZACPlDAA4UjO4bR8xJI3HPG3qQlvtCKmzLsw&#10;KiJCXbn5QVx3Gzpn86aiHorr5QwSfmVyRhNxHpjkDqefQEq1/v8A+GFKMoptaPX/AC/K452Qk7wu&#10;9R5IchFcgsD6Y5+Xk55xjGBUkaM2WcImcoGQFlXkZxxwRhuhxz15qLGNpkTMm3++VPQ4AHoNvP1N&#10;OChWidMOCNzqxB+YZBXG7oB+GQPSlyuPnawk/eblv/X3FosGLECNcfMm7bjPznJUrzkkDvkcc8Uz&#10;c+RJuBZH8p8qq7mV9m0YGMnB9hkfjE22VlIGI2UFGZi3fpkcH7wHP4ezvlOQrBwIgQUfzVfGDkH0&#10;+5nk4Jx25hWU7PqaOEuV9tLfmPcAAO5baJgGXcAZQCDlOR8uQThgMZ5xnFKuXaXaZDhGixGjLgcg&#10;heMDGW6dCp75FMILROXVghPyESAKu0ylgc8AAHrj7sYJydxp5DiRyY9kUzbWRVw6hcucgnGd25c5&#10;PDDJBJwrbLs3/wAMP3eVynon2JCNoAKsUdAoyuXTIBAJODjHU9toqS3EKM/mONqgnYYg0xyMdOpB&#10;VR9McdTUcaneRtUbELEKWVflzwWwOOABgf4U/KPKrLh0kbBdpNzhcHGDznnsOOc59XLmTWv3f1ua&#10;8yjZt6r/ACFkDgRqApZ0MmUIZANxHXAz0PPqpyOwZHEy7ursGOQFy2MDqep56/7pJp0hiBVVA2iM&#10;xZwY2JbdwD3xsPAywyT6Uu2NZBJmNojhsbMsQPmJYAjucg+x61d3tYxv73M7OPb5/wCYQZZVYxgy&#10;FdqncGXbndlVPbIXkdaklaPaQyF8AyHZGT5PbGSM54bknPPXtT3w212ZUHMwIckcKSMducFfoegx&#10;ilGdoJVTklXw3zcjgHqOTxjuTUucacoyK5ny8sbt31EiBfhtzFCWBKhmzyGycYI5I9wfTq+3IeFS&#10;MLwGDbT93BI46dzihy25mKAxsmFKgl1YEkyHnAJBH5fgWJvRQ2wBtobKE4bnPU44wQcdiRTajKLU&#10;f69BKdtXa25MH2ZmWPILnZhR8/Ayeo559uuc09QiSkDYrTMWDhNobeqY56HjH1/CmDJk2smxs8GT&#10;AcYGCDg9OcdehokAYhAh3MQWZhwuOW6Hk4IznuOKyUXzPuxcydnbXXXuSSOm1XkAVd+/cRg5GSBx&#10;+Ax9PSkkCrHGuS5wHA6O4JAy3Qep49fpTjnAeQFWcgjzmO4DAySeDmntEsce1ULllwcHDrgntn/Z&#10;I9MHpgVq4QVlL+uxTU2011t/wSFdolLxoscZVmkG0EEkknB+ufzNTrygckMcE5bLM4B29Dx0cA44&#10;yKr7cKwCI8kb7UchmLZLHO48nOGOO+fYYCAoBV2HIKkHKYbKgEevAz35pOErabbXCUmo3gtXuPbf&#10;8qIWWMDkKpj53E9PUnJ/E0543Ep2AlSdy+VlS3GNxAAxznGOQAPrS7t3mFkSSRyqqVGUI6nHPXII&#10;x7/iVSRXKk5jZmwhB4THXPc8Z/Gqi+Vcy2t/kyJR5o8i1u9+2zJFidWkCeWfu5ZuFjLucAjHTA65&#10;zyeOKaYW3IJdw3oXUKgLnjBOTwcEnpjpSM++R9y7mwEkK4Ug8YDDjnBU/wDAvpmzFu2sVJVmbcxZ&#10;ivmMB8oY98YGSc9Op5rJqSkpN+6JpTUZS28vzIGR3eSMlMcOAVVdpbIIGOMcjA7ZGDTzGgRcKm09&#10;MKFjHz9OByDgcD/GleHaCW+dXwAEwo7bsrnj8D2pDLguTyFf/Vjcqx8hunXjIGSeeOTzW0Wpre7R&#10;dN8rvPp/wGRso8sfPtAiIQbAQDg4z0yfqc8AegoWMISQjsDgCRiCQNiggYA9DjjqafJAcEgFV8wo&#10;8bZL9cD2J5OOnT64jJZyVQsQzFIwTuAJwFGD7Ec++SBWTh7SKTdi0o8vLNaDVMcmBEFJIYgHLIOO&#10;OfUnj057UvHlsiqu7+LAAfLEjPXOeD9KaHeEbmIVgwOHVQAThQCSec8H65GOMUm0r5jKpDkhixbC&#10;tnKqAeCRyfzqneT9nPZX1X+YRlDl9P8Ah/vHmNYRj52OQMjPIUK3Tr0DA5PP50yJGkZFJYu6j94f&#10;l2nlgDgEdOKfvZVJ+URl8c8lcA4y30OMe3vw7lt7LGUOw+Yi8k4BYn1wF2nP+z05NEXJel/6/Mhq&#10;D5Z7dB7DbuX5d5hzhgMgEjI6c5+tNA3hCxZMuoztG7GDk+p6DAPYnkd3OgwzFmwvyli204PY54+n&#10;So/NDIhTeQfkU4zGcjB3EH/ZHJx/OoUub3Y7thUhGUVJb6fh/wAAmZZHzlQVWcJ5gjygDElV6+oP&#10;XrlqjigC425DOSGkILKpyTtXqOgXqc57DGKaOHQN1XCdNxkLZ6jryAfxIFESAsoLMrOQd8nU4Y45&#10;6E57ZPQelUouML3uv6/yFzJy5o2TRZKsqDyw4ZCULE+WMjB2r6feH45psq5LER5XzF3OdoUEA9EA&#10;4+8Mfj9KYkbplGEZVD90E4AXBwB6jAIHt0qRgSm0CN3fJUHK85AAx24/keamGj2Eoza5ev8AwVYg&#10;ICkIpLBQWJX70YZ+PXkAgnOc/SrA2KYRJHuKvhkdThmBIOO4yQRx09sVGgYCRAqtvIjTb+7D5AII&#10;Xdx1AGc53YHrSptlijkQkxsu9RLCUIyuQSpGQcHoRkc5pz5ZTUpbjjGXKpKW9/8AMeIwyxKZCZCQ&#10;MRDnDADGOxyOcDuRzin+UokbMgYr+7JJw+GG1vfkOee4NNXbtjkQiNVwZCG4ba2V+mOnHoPSnEMI&#10;yzkbmbexOduF+UEN14x06fpVN6JX1BJSlzLyv8hwjc7lGN3mCNUyG3DpnPYgYHvzSFDuUqcneNy4&#10;GflAzjn0xTUjcNIABlzvWU8Z4wcfTj8qkVZS28liC+4kDIzg9R27dO7VEVaT7L/K44SjKSlfRfgC&#10;hQAoCFSQGUjMbkbiCcevAz2LZHepEXZ+7+88agKQm04PJyT1+v8AkMKHKAM8aLlFMmNqDpkjGcZH&#10;b1GKC2VXnayxNkyAEA54wOnHA4JGacVZqEf66lQlZODd2Ok2b5N8ZcPhBGRtVSAW446jknB9M54p&#10;wBAkVUSPcQ0kgByx2jcw49EwPw7c0xpAA0ZcGMyZkCjIAI+ZM+q5Kkn09qlYMp+RQUAy2V+Y54TO&#10;Dwp3Lxn8fUipKya7fgF6fNzLbYRo4PkDZAAAQbsOpwxzkkc5x1/AHs0gRqVydqKHIx8r4z045GQc&#10;EDjP404RKMMp2sUK7Vfc3GSDnoMkkD/JEDMsaHy0ClRhywBKMARkD33Nn3PBNVFr5BK6i5t6P+v6&#10;7Dgod2QlduBtKYCjkbsD6/SpFZiGVk27x1CghvmByScnsT+OaQkPIjDccRbEBUxhQ24BSTnpnOKc&#10;u+Tb5Z+QBUeMgERIpI4wTgcY79OuKUkuVeXQj3Y0047okj5QspjjOdqxtmUoST1xwMYAPfgdcCmo&#10;o3Sbv3hQqWRUHOFbOCeRjJOD3x7VGzBE+XCt5xYAv8gb5TtI/iPB6kjkU5ZW3fMqKjEhDkmRc7sc&#10;dcEAe/Sjmgm5vb/Ib5koqT62f4CGIblMrEiUCOTJ8tVySFIPXrt6459eKSWVmIUNKWCYZGXy3ReT&#10;8qnHTjORwc96bI2DIoAJUcmQZI3b8fMAOvzD6qevFVWmK4CxjcAWVljZRGMEkdcKDuzxzyeelEfc&#10;hdf0u5cU5R9ml13HPtYCQl0QIRgn5erEj8m5+n1qGUsh2qdqBsfKQRnrge/H6niq00h24yOMl2Lb&#10;SdnJ6AY/iyQAOSOnFZ7SFlk8x8LKREFcD5lJYZPJ9I/lz1J5OBmnFzhzp6NkPkimk9epamlQgOHD&#10;ZkZ8ouDsJAOFz2wo5zypOM4NZt3NKFVPklbyS7KQVDfKpJIweOWI/Hk92TzRsg4eJ9jRu/3Vizhg&#10;xJ57DJ46dayhNNuLkKSXChI1y5AJ2LzySFUDjBJ9M4MxS1b0t+N+w+ePnqy1LcOV35CKXBBw24gK&#10;WyCSBkEls+3GO+S900bmQl3V4ymBiOQNwN3J6cDHYgnim3FwYgSkm9mZXBwSFAbcroe3ARh0xj6k&#10;4V1PKUkQyBQZGePg5UlSSrY4PXH/AAE9DzWijH7W36GVR+8pRfvf0jSluwTn5FEaqXhClCgJ3EAD&#10;vjcBkHBI7c1nSybSEXkxKXYH5zjBYnGOeOeM9uQRxnzysFJcsQxAjX7xjICBOoP/AD064HfHtRuL&#10;tsSAMSzDIEoDE5J/ebsH3/MCrSbknB7/APACVrJLr/X/AAC6bjeY8b/NaUblACEFWKEEcnqTjPXb&#10;25NMF8QoV1RWhQbZQAcZYAjPGdxC4wMZTnpg48lwMKFcR5LBI13HYSxORyRu7HnPGc1QEzKXUFQz&#10;DDkZCgqcg4z3IDcZzx0ok1bs/wDhhKcow5WttPn3Nqa53HADqNwXzFyrY2dGPBwMAfXpTvtbkrFt&#10;bFuvBC7SQzIwbbjJB3MM5znNc99oYnYGTL7giqMbuNo+Y9OQfpgdact0qsQ0uDjIJJAA/wBpcjuf&#10;TP5CiaTT8tjOEqvtI3/4c3FvA2UXcyCRlicgAsyEk59yG4654x0NSC5ztWR/lVMAuu/LHH3TyeoX&#10;kdjz3rmGvCp2lWCmIPkKXkiPTIyDyASOfY9qcLyNXDFtyM4AbB3nnBwucc5HXpnrjJpuKSjyqzfQ&#10;qUk42nozqRdhlEQbzCV8twFUAbs4yeBngZ7AAexqX7S/yEv/ABsjZBZQX5BYlcDhlJxn7g5555eO&#10;8kVNvmRxMyxiSdCFEjY5wDzg7VHc8Z65IljnBzF8qjGFLOQ4LMcA54PY5B/iPSpcXH4l6+hFS0v3&#10;cV2d/wAjso7l2VUi4RmdQmBI5Y4HUepAG3nnjrWx9tclVCxxoz7dwk+8you3P0Gwdz8nQ8VwTXbH&#10;BEquhBVyr5AG0ApjOSMHaB6ZHary3QdQJCVL74j5cxTzD0yFODgcHJI5II56LRtWRvz88WrNXt/w&#10;TtLe9ZD1XcHOwkH94SSM47AjHP06VpxyYkDbwEIXKcAqVIQkKeeAFHA4CZ4xmuPgvASc5ZQhP7sZ&#10;UkclenfpgYHuOBWmJHdGycFUICs5ONxI/UYyeMNnpk5zcWpJ9r/MhL3WlLb+tDsBcKxSUlg2Tnag&#10;3oBjOfQZA+uAOwq1Hc5KncCjKFxGAioMKMY/8e+h9q5dblhyY2DtcySFm25OedobOSQoYjr0bLcj&#10;N2G4YMhRS245ijYgiQqcjCDJwMp1yOv4003G0tbmt5qd11tc6q2kcKqkEEMOCN/mEYGcnj+IYz7+&#10;nNyJyCrltw+4ELYLqDnbnr2x+HWuZSZnjVVKkuFbeNoZM424A47L/wB9dM1rwuqoGClCo+YJI7gH&#10;qNzbiSfxPTnNJLkSUXp2+RTk4ttr087HRRMFUIGdhMdhC/u4gWAXrnjABx269Mk0qhfmk2ugO0qp&#10;jKyKoONw744IOfQ5z2y4WGAG8vJYgs5zt+XIOOwJC9OgGKuKyqwXLGPowXLBh0JKjPbIwOx46mmp&#10;PdkuKd5RVo6eq8zSO2P/AFcTbUXduYiRuhJCg/7rcj8+RUchMwZiF2q4iUEYUnb1I+ueQT9cU1Sc&#10;sijkkhyQVKFTg8/7wPPv7VMxwiwockoFBIIUnJ5HJyT+HLVMORJT3TX4A1FP3nvv+hCWRmUI0hdh&#10;lyy9NoIU98j1IwetTh0wWfgx7VHUqCxkLDGOM5B+gb1GIBukaQMHYmPCyZ4O0EHHGSOBz9fXiYvh&#10;AZEyjISWAH3eD+eQPTPH1oVpR5r6af0i4pyqWXqCHkHcy7ZMKwGI+5z9eCcDrjoakCvguixNuIf5&#10;lLSDcSAc9CSF/AYqJAARGgdFz80TOcE8gnqBjk9eOnNTlmGU3A93yGZhjsD6dMcdqmTtHm7hLlUV&#10;OK0+/UiKBCI8M6MQrErjlhnC8fXP5Zp6upcqhRgFIXCFeATlm/Adu4pY8OigZODwQQCnG4k8kEDk&#10;d+lIFeORVcgd8rlmjIwMDJ4yADwe7dKanFJ3Wtv6+4puS1a91MNpLPgRsgfJZ1DBzkE5BHQ7AeeM&#10;E8cmgIQxYqgJk43JhxyST2AGO4xx69KRn8x/uopLgFFfdH65xxnHHzL046ZNJIoUnpvVcEAcYwQx&#10;A747c8bec0LpFhKM43/rS4KGVVOwgMSGI5XAOMDPHO0fl61Mo+XeSsTsNmAgxtXn+Zz17Y7VGzhC&#10;JnjXC7soHO1eCcE4J64BHUc1MyqNqMyssTksTkednoSccDBGfpxmlJ2i2lp0+4HT5YyVu1vmRvtZ&#10;g0ZQJKR5rbQnQe45+9zjnjJ7YUydSQpQvkndkYOBg+y9Oc4z1ppR0LICApBUKflyMjb+gUZ5/Wg7&#10;TI0aqAME/I2QoAOR0zn5gfwppTk+VOz6Gd5XlBfL7/8AIMLvKrkyyYKxxsP3mOgGDzjI9uPpSmUR&#10;scbURjj7u8q3OTkZ+mfb0pWbcsWHLKoLhnOCg2g5bI9MHnnAFGI2CsVYMJGDnsAVJ4wcg5B6DHGM&#10;jIwcsY3018i5cymopdPuIo1HlnDAF2Lo20qdmQR2wV/HtQqsR5cbjJHC7gpXIznB6ZyakELEkuDl&#10;JP3YRSobPfOO+OvuKRNpnIZRIDiUhSDxnOPXufxJqZylBvl67ExUopJ6rrfsCoQG3KwSI7S6JuY8&#10;FwM/r9VPbrIVGVTkmI+XsJwAFyuCDnHCKfxpjoWCneGBXEoIC8ngZJPIA2DB657cYQbVkkQFF2rw&#10;zLhjtVR/Nj17qex5qFvitrp/X3icXSs1rcVn3583DBoyG8sZIwcjb+Z/L3qCSBlQjOCCVIA3DjoO&#10;O/QfhTyIwUwoXc+1gUKkHow/D5j75556RSL84MZYNFjcGLFQc4xgcdM5pyv8n/X4mkWnZvb/AIax&#10;BIuUAwY1ALgsu0seB19T0564x9M6fEyNIcsof5A4ByhyOR6fKOCTnfjpnGhNwFyrM4U/OGYBSNpB&#10;/EE856/jWdOGEjl1V2zu3Kdr57dM9CAcH0FJc3MnHb/IiTlyOVt9fyZnXA8oApuTaRtYkLk4BwzA&#10;d8Hj3NZV0WbO4HJTzGVgEUkKRxwePlbkdkJxmtqcGQLJtKbCWUPICH2jj0xxkj6dOaxp1DoyQlfn&#10;Qyu7KSp5AOG7dwemPeqio6WKSTTlrdr+vzMSZZckoGCupcHaIgRnAH1Izjvwaw7mGMgI0hBQZVdo&#10;2sCwyPckbmHYhSDg4xuzJM6ytHHsHnszq6E+agDBTgE4YDHHI3MeT1OJcpgnlA5BCtGcoQVCEcdj&#10;82QBz75xQnPm9xq17/hsZOztZfPv8jFnRJC+9QrKjOygbRwvUj0yVz3AI6ZyciUliXHC5LeY5xtY&#10;8N1zxjdjpzzkYOdi5DrI8jE7t7RqNoYqGzhgScAD5snoOM7cisO5ThHRlO0+WvykDA+fBHTPygjP&#10;PX0rqslC7+J/1YzdXmaUlqnZmbIh2mbBcY3u2zAClmUcjnGVIz1OB2xWY53jcwZQbgEeapMJOdxy&#10;cdADnj061qMCpjkRDGwbICuAGO4ktntkbSQrA8dzyaDlmMexVJjTbk4Em4YXgDjJPBAHpgY6ROya&#10;cWZS5lNU3pb9SjJblmCqpiZSI9zfw8kHb37+x68ccxNuD7jGFYFl8oL5OeG25XjkMvIGD7VO6jKr&#10;howrbtqHl9+cjHXks2euR3GCKanyr9xFKu5kRUxkeYfmP1YhvQ9cjABdSDkua+n9fhsVOOri3o3+&#10;S2+Y9UaEnhs4CsGUhQSB0OenUj2Hr10oVVkdRhgB9xhgEEdz06njPf3rNj3yeZ5YU5Vn8vJwvUDI&#10;zuz069QO4BxrWjBpiQXVBg/vAA4A3EAjOBxuzjPBHpVS1h5/8MEY01PR2u/1X5GlE0oGCSxkIJLL&#10;jd937xH1OT/tDHPXVhTBhQrKCZkffu8vcOWYsoJOSYxkHt06islC0iExrna5fKjzGB55wcgcMeMB&#10;QPxrWt1dghzmSJTMHGXZm5OBzknknnj6mohzKPu7lWUFLl3Na3d4wywSfecK+WBYg7l4wQcHJ56e&#10;h9Nm3B2xuWKJIp3qh5YL1B9R8uRkDOR3xjMtxGZF2lJHaIRBlyHcqXIIz1+UgZP0961bUIF8oFd7&#10;8LI+fmOOdykjIzjJycc+ppXdlLq9b/hb8DWmnKNtFbRf5GzbBWRWdXEgYICwAKqFJBOf9kgE+pGe&#10;ACNKAqTGwDFfMKlcjeCu3rxyBuA6cfgSMqEiAby2FVSEjJySWI2EkdAMrxkY5HrjTtyWjC4IdBuJ&#10;wMAKCRkjAOeeV/Pim7259G7/APDktpqKtd/5q/4GqrOMA/LtjBKvhFUnqCMHJyf1NaEZcMihSZET&#10;zHdwBuO1QO3UYPBzgfTnMiZXLblHmFNrvtAyAeACOc/M5yR0z2wK1lyGRIgsqJkluqnBwc9x0J4G&#10;OlZy1lZrTX9C1a0nJ9vvLoJBkePdj5sF1KkYUY/M5BHsOTnAkgjkAIJZQOZFHZScZ29B1A9qZGxc&#10;fIGhkYb8OmGwMDp+nf8AkasDy0J+RpMkliSSVyc5Pv1/PsMVmtE3IJQ9q1d/P9CP5yGVNjPG+VbO&#10;T6hcHnOP88UjO26SQpkMysoJOXGdpJ79ecVIEBVFLoVaRiybWQYBBBGe+OOepzxTXQBmOxfKWRnU&#10;qdp3HA4H0CjPb8BSU03abu7f5fkChFR5uv8AkEkbphnIUg+cigsBj54ywIOP4W657GnsqMDImc4+&#10;WKTKOWABwCTjqNvbnGcdRGu8QL1ZGkG/IzwCWA5/DAx2FI7uVMKFdhQtHu6xlWI4PXIA6g5yTnmp&#10;S5LTi9UVJpu0vu77WGkEl8HzJixWV3XeAGByM46+5FMjAlkWRCUwm4bkwrEDIwTxjAB79/wejneV&#10;BRU3q+MZJG4BxgYPCjpnrx6mnCE7AXO1C25mBwclQ2F6n7xxyDxn3raLbSi/67itKavHVaf8MNf5&#10;/NUsPM25UKMIRuIOV/EVG0aK4GWGwcFuqkAdD+XNJuaMgBQyu21mJG/sc9fY/Xt6VFI2WJVhtwMj&#10;duLHcMDAwOpXp0zUqMpq7YVd+aSs9F+Y0QP5gcZO8bWjJPzfMcnP1z165+lStEXKq7lFB2A4wDhe&#10;QM84C9D7HrTI5JWjDyOxY4bDdwSTyc574H061K7/AHztXYoMsYX5ixJwxH0BIx23DFClNSdpa7+h&#10;DXutbf0mQKoYxnaCVYxyEDZkg4GR17dfbimxeZl0CuyhWDlckDkfgMkAAj3681aO0BiN8g3bypIL&#10;IoUYA68nLc/T1prKsWChEjMuM8nzAQpyD68rkHGAPzuM5NNs1alCClH4rb9UvTuRYMqNk/u3O5F3&#10;YaPhtpz6ElcjnAXp1BekJZijN5a7NikDLyFuRjBPPOM+3rkUK0jqZHGHL4AfLBepAx2IGfpin/M2&#10;0hGRXXcQCQsgI+Y8nrkDg9M1PK7aP/gkKCVN1W7jpEXzGCDOUPKLtGDzsI9iqEjplB7Gon8spK0i&#10;mQTPgCQnfuV9+7sMnDDtwx6U8u4iMmN0m/cBgEk9M49BzUYdyzIsSjzB5LLgkZ4IPrk8dOfwNVBR&#10;slLdXEpcj5tnsNcNkDiOJmJAVcryAOc9Og/zim7fKVsjaUYu+0ctxnr+HX2p6hinzx7mdfmXduIA&#10;yQPTI3fjtPpRnADHALDbsLEBhnpjPfcx9PlbuQC01F8t7pGnJL2ia27iMEjV15UglCq88cE59MYH&#10;T05qNflyyR5QFVKrHlYxnhuAMdTx+vOBNhgCV4YklQDlicjOM9zz15HFV2fzDktsYkYRhtxyR9AO&#10;O3r6Gq5Zu7Wi82KpVjCm5tf1/wAEJcsjkbUQAH5UwSMlsAHnGc/pT5t8ZBCht0bLgthwcL1/zyce&#10;lNYkK4Em4t8gd1yF454A4AwScj+HiqrTPtJCHDDeoYEbFYA45HJAZcH2/KHdx53rH/gma5LOSV9B&#10;QwICgkM4KgmMF0AJ+XPU8sTjsMCoHmbJLZMjICqK3lKi8EFhyTyTn6gYGDl8jHyw23JfbsdOQQSV&#10;HJ6dTk//AK6z5Lld23aT8u4MVAUqPlIPOcg49K15UlzR8rr8yZRap+bHSybSSQWkUKgDIUZ9oOPY&#10;4yRnvk1Wdh+6AXeVcMwZVKMwAIOT3yMjHHFV5pkLAl1/vxrI2XwQARjORnbwfWs17pCgXadsUJBG&#10;QsinB3KFz2AGO4565UC4xvTU+nX8LFOXPBNrt/wxZmmdHVCrFZASXDESc7+AMc9QOvQn1FZkt20c&#10;ZKlWaTLpGB87/LndjuMMeP8ADipdlogxSVlA3MJOCowAGJIyOOOc+hrMLY3iRWAt/nSI5wSofcGx&#10;wCNoGMckn5RwDTS5OYyU5SglJdPxJ5rsmEBXWNjGNuXwrZYgdfouBxgJ05FZNzdLCrNkEo4ICssj&#10;pmSNQwIIJ+8mcdOe1QSXWyObeVVWYBAxLZxjIJ445Pfv9c5ktzncMKJJSoUbMY3sVwCOQSVXlicE&#10;nHyg1UKcZWSfn+Qpyi42S6bEs115UkCI5lTzzKEQq0TZI5bHBOOOnOR04qlNf/MrBipAVChG4Z2H&#10;d3OCM9OnXtWe9wSI3kkRizBw4ADJnPXp0wnP90D0rNuJlAKoGO4q7iRCHQADKY6cEjJ5/WrVF7S1&#10;d/wMXWW8dFpp6ItGZhkbXDJIWibcZAOo6epyRhh/Gc9eaUxcjksyhg6RqdwXJBwABwDnPr859TUj&#10;sgjLICI3BQKWIUnAbpknoQuM/wAJ465hCh2cKWkj3rtjeRsPjIHydyFIGOclsYwCK1hywk3/AFqZ&#10;OLqxUYP+n+g1TIsiYJBVdiKFG1c/Nlug2jaeDx8oquN7KpVict+8AjKkgkdcjJ+9256+lWBECmCW&#10;VN+QysSzgHBRgT8xOTyc5APoKdDbktJkhEAyBny2UkggNyOCSOMnh+MgZog0kmu5esk6Wy/4BCqe&#10;WVwFkK4lVWjBfaNp4YjODjGM85PFPjijYI6xSFkU7mcckcN7kdeOOh68VZMSl1O5lIGze+Np6MOM&#10;56snB4+apjCHIdUy7kAgMI+MncQBxyvTPIwMe9wbikk9O7B2TVltp9+pGkGAjQBlO0lSMMWHPyD9&#10;Rx1Az1JAmSBWUxqQ4iBx8u5X2ryDngknt0PoDV8WUyPI2xgAxVvLbzFUhwQoZeCCOPTBPsDYgtic&#10;O52ZYwMuDIM/OCwIYdSpxnjJGAc5rNNzk3fS5Tp88U72fX/hzN8gna2XXA3ZXb5iNgg8jtypDjuw&#10;I7VfjRAVYgIC4VxncrH1YAZwCxB9gCT2FxYERJkAJLkBU2ZCs2QoOBgZ2tgHk88+lj7LtjiypVWL&#10;Owd9qtknJLZ7AqCF5+XuTySamv69S6aa93dv/gFL7FC/zSpN5h+/sjbaT0JHTr6Y4oq3Mk3mMf3Y&#10;Bww8wgsQQCDk8nIwcn1orldV32/A53Wqp6PQ7MsgDLJEwkDbQR+925yCNoHc9z6euKRYsbHRUjMa&#10;bCDJuZmC8Bs9Dj3+vSnuMzGVyhLESMCm0Pk78hQcDOc4CgHHINPIyUUoAxcSMUzvjAA5BI+bbvJH&#10;BJ3c+2M23HkjujqklKdpPTT777j4jE5AcO4T5V+cEoSWBVGI3DO8qMeuDSHKqpkdJBwZTwFZmZmY&#10;L0AJ5A9MDOaCSgMiKyxGYSoFOw7gNyjrwD5a55IJUdDnMoG0OYiFhCF5txLNIf4RgkDC7tvPrUxl&#10;KKsi1CU5uC6fl/TG8bERnCzbWRSDlXG3O5T6k8jGMdajiWFcFAI2VtxJzHv3HAXHU/KQd/qhHUjL&#10;ljdSGLKkkcpCGMZZfvHJOP8AfJA6cfWpfKRo4gAWKYjckqg2qQAVPTI2klmGPlPc5pJy0EoVZTfL&#10;uv6sNKkkyMCS25ZY1AYfJ5jMxIzj+Hj0XtnIewzI7lySSI5ZJCC7bh82MgNxkDHXcv0JjjGGkD7A&#10;0gLuiLuUeZyVxgDjcBxwMdamHMm+GMkPwQI8gndySOmBtH4r7Um5PVf1qhxso3W2mg+OWNCoYNJl&#10;WYhn8tjlcMeewxg4xyw5weER49gCKryqSAXUkk7guMYGTk4GAASV9xUILooeQNGoHLN1BO1jnpnA&#10;dhnpw3GasRs6tLKrxRCQ72EYO1TgvnJGSCRz2579lGVtH13KglflQGMSsEYEoVZiqlgfu44P3uRj&#10;P+8QR1AVkjDYII8tW8mVyXkRVRQSFHBOWxnjHHIB4agkWRQ24yM43ktwYztA7ctlyMZ7AgHFDbIc&#10;DcGJcrDwG2jkkHvyByvTjGTil7yer0BR91NO2oikbpEJQmeQB0Mm1xiIOCRk4BBcZ4JPpgU9mMiq&#10;khGx1GEJYueArKT948k8+h54Gaa7O2crIp4OQf8AV8g7TjuSpyTxyeelSKvz5G4Jk/MrB0O4ZIOO&#10;gJLcHP8AEegFWkn7sVp2GrzmmlZ9wZ0U5KLG0jAhhlgucYA5xjIztwBlee1O4RNzhfM5ESN82Dgb&#10;t2M9NzD6g/KMg08AgKgkyskaxFnYKMkk8HBCnJbB5PPUdaGfoMKGQq7Mny4KkMCp4+6SeMfw85XI&#10;qKmkVBbmiagmua7tp8txozHIwQfM0rEtuZ2UbijAHodxU8HPHqDSQopUnaNqRkx7cOQFDcehO0Pk&#10;nqfXNOiXIAKYdSu8RMXjLEc4PYKTgHnIAPGSAw4YoZI5EwxWSMMMcKSwz3wR3HTucVafI7xRLjGF&#10;NTa9Pv1uOEajG1CyxApkPnqCMDpjLEHvw/Q9akYbnDjYwbYF5UO20Nxk9B82CcHOR0pqId4K5GR5&#10;JWUCLzGCknHdTgEkY4Cn0pwDZR2kd3VkjLBODuGeB3wVAyCPvAkCp1je70/zsKHM25Lq/wDgCJNl&#10;VctuBxn5iHBAGMqQcZyD35WrCshE8ivuHBRiwCHcT3wfy9hkDcDQI5ZWZvLcfL8qqF43DPy/XPGf&#10;1OaUPtBCKgDhXCwgIuCGwQMdDu689B7Ur8t5NaaF03Dn917XFX5gSzqBHneWwTIDJxjjJBZTkH/n&#10;mB3OEJJyAxDAZxuCqSTu5AGCMndx09TS+YikMxVn3JMI2UxICY2Y7gCW6rIC+TkA9CdtBzHh3UuQ&#10;nyuxC7yFwOQTnnnPvx61UrW13dvwM5WSUvn8h5EeCTsVi4C/vchQvYt7biefXmpdiCVWaJAJDlg2&#10;Mtk7juGOTj8CABVdSzB0IbYA2XQDczE7WYjpkEk8Z6HPfDyCxRSv+qcRI4Q/Iw68deOeT0AGetLk&#10;aUWtnubQ5ajlKGjf/AB237pstKpULnq7KA38X4r9SPXrIMyM4CBFALhQAoHK5BxxjAIz14HoKYiu&#10;QR5e5Du2l1DhhnGAOo6jj0BpwZlJHSRWbzCzZdmBJ+Yk4zxgqcc8egqnTlKTUOmn5WMfZzcfy/L8&#10;hxxHEpbYNiKTli+CNxDgHOT8wHQdRU4DLgkusgLgmTkHBwBntnOOMjgZxUQUvtYrKgCqG34357kN&#10;yBkbjk/3sHkYMpYESAQjbEcNmMsrAbCSo68jJBH9zpk0r8kkpLXqbcslFuT1S0+e4kbFsBT0XEkb&#10;vhXJGHORjgADj3HJ5qQCM4UNIduJGACgylSSoDE87WY9Sc54IxzGrhUaR0/dtwAULMBwegwT16EZ&#10;69c1KFIYld6b8wo2zBRgec/98n8xSlJN2fQmlUSnaeq/4bUeyyyRspTdHFyyKy/OoDE5H0aM8Hv0&#10;xk1GCAmcqytgRDcu8jAONwGSMBuD355FOVFUhlkbzADC67CFHzZJZe2N2M+gA7DCrvWdw6szMGds&#10;HaAoyARg5IK7QAOQFJI9JlNqXNPYqLi5SjFW6fqRuuQVDlCf3bDzPmwVCnA29ev5nABAJnj2DMob&#10;aJJOd0okQBtoG3jrkN1yck8nrTEUMN8Zf5UAVmztfkZ3e+eMkcFu3SiOJQxI3BXyXZmJKfKi/Ljn&#10;sTkHGQCOSTUp88FJ/DoZydnaPWzJFLLkeWreY2I8NvDEqQVPBxyM8ChBKpDqCCW2sGcsQrfLnHIO&#10;NvQ8jjjnhmwfMJkUBkbfIfkWRScscYGCcsCcngj6GzuwH8x5NxPy7yzAqBnABxtAJzgccDOStNrl&#10;vbr1RSSjNJrZfra34jWBO4K6FW+YSIGUscMG4PH8Q59RkU5ZACSflkOVyr7WK56EehKj8hTMt5bM&#10;FQ7PuljjdyoHcdcgY7D6VYZQNwlRCQAzYUBlJG0DHXPyr26n1NJT5Vt21FGSvyw6v7kDEGTgDepb&#10;KHJ2HJBBB6kMeg9RnBBp2S6jYoQ7sn5yFwcDkj3I5Pc96Ym9eDDIWEgVwVAZRnAC9jkgkd8YpZHQ&#10;bomcAowVCoDg8Ar2zyGB98jPQURk1FO2/wDkW0k1KW/4+Q5ZVCGPbIONqh5DtJ9T2JBJxnoGPJzS&#10;OsKriRS6kKrh8bmGPmGOh6/SmblLhkjIyxwoG4bAzbRkdOCPXp7U9mLI0axKGTbh35UYUHBI/MjP&#10;P4DExc4xSYozaV2/T/giEIzNMATLy53PuTIbBPPUYI5zzz7mnhgGTlAVUsOBxyc85xyCOPY+uaRJ&#10;FaTauNhQ7QMOyDcRtHHsfm9R7HDyybPMO9SuWkLIMAE7V5znOCfToD15pvZKOz/4C/Q05U3a+n/D&#10;AM7iqIcy4woYsST246/TrzUqqjxtl0ZH3bDnDDBLHr/uMPxA7jMESxqm52cxh9x3Lwq8lunHv+PP&#10;SnR7tigx5YEGNedpzwMH6jtzjBNVLpbYyjVbXP0/4YmRgpck7xvBwOF5zjOevsffFRoQ4JxvfYq4&#10;2hfMU8YPtnccdBz7mpAQN7IzBtxRSSAXAyQCOf73r3/75QMAoUxv5m0FCoAKD5ixZs9Qdox1IJ44&#10;NDk3eTVu/wAn/mUlG6s/dav+X4jZSMK5IYOWcEMzbwzE5YkZJOW579Mng1GzDaCFYFWDArlWbCjJ&#10;9BnjPQcmplRGAAjdNgwV2ZLE+x6EHiml9p+RTIMfM2MMhAC5APQkgnH5YGKj2tr6FPkknOXdP5aF&#10;WZZH2MrFoclN25CJmbJOfQ5Oee5yetPypZm2tsILB3f5RxxtGevHTpkDnplXJjYghsMAwO7HBZcd&#10;sduo7EjPJFDEr5bGNiQRjCkDOQOB07/qa1jVcpKKWpzq7lNv+r/mDyBQ+35dxDAuSyhe+PTqfxpF&#10;Eb5dNreYqxh3APILNtAI4yBnIPG7r6K20iRkdjgkFwqvtIHTHbOOw/DpVhJFChkJCtEMkgPE4K78&#10;59RxwQKlOaUbrc6nyJ3T+RC6kuMFMbvnaSQtsznJPrwScH0pwVULjzNxVOfLcKrk9WKkYx16Y578&#10;YKuCvmF0O+I7SAmCCDyBjpzxxjqOTTDsKs2CCMbw2SgyD1+mCPT29KcUpSaehEnFyUrWa/4BIFWQ&#10;I6FV2cMGcKMsn0z3B78gcnoWOrYRQ6bVOw5AZlzjge/JOPftUgcYUoSwdAyCFiQ3sR9AG/Ed6Vgw&#10;jjbarqj7zk7Qdo/ix75wOcY7VLk4z5I/eRGpBq0uq+dxUALq5aQCNfN27sn5to3EYwBxj6+tI7KJ&#10;A5CKgKriPOcE5PHr+vPamF324O4hwMIDwgXGDn1zj8QKkBcyIAhLEK2NodndgVwMdvmHbqOvYK0o&#10;Ru3qvxHGrCDcmuu39eQ+QhHVY2UoVAZ0baJBuByMjd1A4OPujNM2ASFndyASQY+Sucfyz09TSkrP&#10;EjgBPkAB2Y6jGADx7+/60Muc8kbT85MS4PHHPrjIzyeSfWnzJr3rtomdNc8prbRjyvlq4ypVvnUM&#10;wKvncTnvj5hn8frRHlIxCoUBVSJFkYs7HG1R65Y4P1psSTMQUcRkHejbxKXBwVI57g4yMg7uc0pR&#10;dzoznZsUlUXbGF3BsE9xlB1JBCsOgFHvc1k/6VilLRznomSJEgVWABMny7dxXJyMke3zLn8KVWCq&#10;xGA+PmjLFASpHAPrgAYHXn2qIttUKd2GnQncSxAHZscDI4GMnL+ualDMCpkCFPLyIipLBichsggc&#10;47nozd8VLU4qy7fkOmlFOm91/l/mQyAEsvLKzs+d4bAUepB6ZGfbtwankULICynf/C546DO3264/&#10;P0pgaPPmFQDyihiSYxgNu4PuRj9emQySKrmQhIhGDuI2jtkn0+6M9uapxTl7tnbS/wChN4L3prZ/&#10;kShio8xRHyf7xKseScg+np049zTggSP5CHPAHLLypDq2evGAe33eKGUBXDooUN8zOQBGRgZ2E57n&#10;jPrzxS/vFVFHAAAYFflxt4+n14zzSU204NdS7wunf8PNf5DUVXcMU5EecyAAjAYBgMdRk89eetKy&#10;YcsyI0bsRHHtzHICxJOAfc5//XUZdkJUnkgqeoO4ncQe3Oc8c1LPM8oJJd9oAbzWzkE8jgdTuNJX&#10;lHTb/glKWvLL/gf1cYIpHOJN2+QnbGWC7eBld2OxU+v5dFV2fcC2MDamxSd4GTxwOuT2yM45p7Nv&#10;2NEJG8sGQu4IGSpzg8+p6fpSuXk2okbb942qoLOxPbj1LKce/pVwn71/6tuZpL5N6evYZIC5j3MW&#10;Kncrs29pgq4VST1PGDk9TUcjOiyEEnkAFc5AOMYH1I+mfyjIMswBZEUSBsyfIqjJJ49snHsBn1qv&#10;LM0ifOSG5d95Hy9MDAJzjkZHGcdMipd72gv66hSmryhLdDjMCVMkoBI5UsVIwGIIABP8XU9OBzkZ&#10;zZZ/kb5BvdNjuxzjcQOg+qknsD+NIbg5XcqCPOwow/1owDtDE8cl+PU8GqEyFyWYSBwqxsN2FyD8&#10;rdhgnA5GV3Yyepbikrr+vL8DOUp8vuKyEZ8qqyBiGYLC3ynLEqVKjrlffByoPFVJ7iIxszBcu287&#10;8OGwwIbHXg7fTOOg6Uk04EcaOVSRUYABxGyrlj97AJLAZOew61nzzsoMrHLkOeYdyxhhIVUDcNw2&#10;uvVu2TnnJzpRVtrlpxjTa3X46j2lYQuDHtUAxO0QCpEfuqpx0542nBH6VnT3Xl+U8hAPmiQxAbxA&#10;TICcLngAOo9yPSqsk/7z5lbYzON2/aSBtB4JIDYzhuT85ALDNZ8sybVDRupkTYzBSxXKnOOD7Hrg&#10;ZPNavkkklolqKcrVOS9nsK02VLh1jfO1EJyue+ehwD09ucYxnLa4BU7cBlYh+VCkA4YluuQWJycD&#10;jr3qW6mUxqqLkoqrjYGBVQxBzz1IxnPGPRiFwbqYSNyjqBIdjKpQNlCPmAOMMXGQfXqduaOWDd3r&#10;f+kZznTdOTtuy5c3LRHy8CPY0iguGbLbpFOUOSMcH2K5GMVjmVY8SMMb1LNh92ATgAjnBBw2Djgc&#10;4zzFJKwlVy6hWLhzGoBVsKxPAxzkHHo455FZ8k4yY1IMay8IF3ZIAAUnrj7vB9BjirgnCKqQFFqS&#10;bktOn9eo+6uXVGnRPNdePLeQEyDA2Ddnbz09Mc9KgafDmVCwJOYwW8sTBQQNx79RlTxyD6VQaVzG&#10;AB5QD5J2hiA33eMjgHrj1GTyKq+YWWNY4fmbkAkzOyl2xtYjJCnjA2njjvmpxUtUrGd5cyT6q/zR&#10;prOxyxyfJzkhtp4GAe/8QJI7g44qGO5jALSK0bJIA4O3KsRxhRkYwjHjA4XAGazjNlAVVJHRsREy&#10;7XQnADq2ecAEdf4sDtiq08gaRAC+5Dl1H2faeCxBAIAyGUfKcDnaOlV7yTS2a+Zc2lODi9kvy/4c&#10;2I7oo/ljChHVgBgoAoxtx93g8cdeDURu/LZ8tlTJsVuvzjIBHbA81wG7Bj04rGE5wyoTGm4Hcz+Y&#10;DsHfngY3YJ9+mKljn3uVGCfMJkdVDfKVU9egAGCeQcewpyjKKldeRm7VUlF6q36bf8E6FLp2LZdY&#10;1UmJcgMysGcEjjHIC49vXPEiyskirgHygV+WT7rICud3IHBZSeRgk9+Od81VLOMgKC8alGYxgglg&#10;ozjJCtgZ6t1GeLccyqzKCyo0vmTFSu5lJYkBuATliFHH3j0PXOcbe8k02VzXkoJ6r9DeWYtt3dSQ&#10;rjje/wB7ksM7eNvB5O49ua3befChTJsXapbdJuMoCnaMAActgfh0Nchbyux/eExhwIx0IgJ+U/Mc&#10;Dj5AOMZB9q0InlDIgO92UNGMlgwwD165Gdv1Xg80rKKu3ZmtKTtzS+bOlt7rb5bKzJEsiZDHzgcf&#10;LkgDcBllwMcZJz0A3PtJgBU/vJHjDEoSVDAkAHA54JyOCdvJHBrj4JA5O4lowx3YwSjZHJGT1Ckd&#10;+Qe/TTguHBaNg0jH5yGwWO/AY85yfT/fJHODQk+blf8AWgcyjFq/a3y/zOxidEZyzPtTMYQr8wK4&#10;CgkDr0JYcHJ960Eu2jYfOY96kSr5gEfHGAO+SFGOhB/GuPt5myELu7sGWYu48vG4hQT3GCOeCWXs&#10;MZ3bebznlQFWd84BdXEYAV04B5DZKk8r+7JwelRySi1z72v+glUas+rOnjcdAxD5wCg8wZ+TpyTg&#10;Mi4x6dic1oxyojiRSwaRiEXB3FV3BW/EDIPOeOSMVzFncfMhJckNhQHDKpy3J65YfL9NpPHFaMEq&#10;qmCV2hmEix4B2ZcYI9AowRznJPY4lwl7rv8A0x80pfFtf/NnYmZY1DM7qzJ5cSgbyTjvxwSA3uTj&#10;FaEbqyocp86btpJAKgZOR7DPp3+g5iKYGaOMZOVZmyoYyFVL8jOB0J3dyRn22Irg9ZCFU4zt+bAw&#10;Oh7dQfbGKzlF8tulzbmUYSS6/nuzYWTMYCMeCQAhUEDO3nvgkDj8e/N7fnMZyCx/dyB8KMBR908Z&#10;+97jd0rJidRG+1nTJ3PiPJfLE9O/QN16/TJs+ZJyFP7zBw+wIGz6DPPA/U+tNpKWnw/8MJSVrW66&#10;FxVRkTDEKHxgkgPgDJx6dKlO0ooZ1yOCFyqNjgkEHPPPHv3zUEBkIUbnEixKqCRORnIHOeny5yaI&#10;iyS7HaT5AElJQsr5JO0EH2yDxyB+KVKUmrdHcq7UuWS3/wAieA8kYw6SFQQcntjrx/Lr3p/mB+F4&#10;bAuAW+cy/eQLgZHUkgHH5GmMdkeZAu5juJA8oN90jgnucnHPH50iq25RtkOWySAQeAuMtjnIPXjG&#10;zOTngla6TXoJuz5fQe4fC7VXy/L2MhOdx4BUDPX6+lPR1DBnd3BcmRiu5jwcMc89/YcmmoiKQxBK&#10;LkqH5JbAJw3foD3+716U5AWVwrcNlwEySMcHoOhI7/3qqPM7wew41JOo4taocAHO1ZFQZLK2fuEA&#10;cdOh+b8hQyBXG3LxhQTknj29c8KOv8sUpGGKriRdwYELsJxkc474C5GPXPWo8SFcJkkyKEJYfNkn&#10;IycY6jj3NTGUvdfRilOnKF2TN+++YbioUL8z5EhBYYx6EFcnnkEgjvGjr8odgMDaxwAz5K8ZGOu3&#10;BI9TjHQCkFD5cbIhZwxVAolB+Qgk+np15HPAFJGzEKgjyowNy8BhgENk5HQ57D9M09YuH9WG5KaY&#10;7HzRKE4EZHBVA45JO71PPPriowkgZl3F2DuNgOFIO1Qo74OG69j2zimh5AA25d2djbIxlcAZJ5yc&#10;EnkdM9MAmrUbSMYmBJk2n5WXAIIGBnHPTHP+FRC/Ldrp/wAMNRvrB3ehXzuMYkb7xPyBt7AqBzwB&#10;6jjOeDyBipCrAq6kFXiZ+G2k/MV47joevY56c01V3ZMgPmMhG4NllCcDn0xtP/AgO1PBUYL4ODuY&#10;4LKAcZPTHY/lVOVRuMIod237/r/kNRDIw3A5fIyrbju+Yk4wOx6nnn3pY4mUZmby1iykbYJLAklT&#10;1xjLMO1KoICBQch2Z8uEICbmbnoBhWGDznAHpUx/egSIuGidXMe7IkAYfL9MZzj3INEnLRdRPkb5&#10;X0K4UeZyVO1R82cs+cAH8+fQVEsbFy7NKSc5LnDffwcjoc4P+eatt5i7WVV3rjac7Vk2gDd04O0H&#10;nqc03fGxQYLhiSDkoDt5BIORn5Qeo7UkouPkKShGSi9v62KzkiOPzQke1eEA2sAnQ9+cDJJz1zjr&#10;TAQWZiCCCAwY7GVjxtb6evbjPerUgVeSC5BQKZFIwC2MY44w3TGDuPbiq88oLPlUVpRh1GN7Fy2T&#10;j1PLYHGCPwqTm1yw3tqQ4q3PF6LT8CKQY3DJIbCLs+ThuMe/Iz2qhIx4SIYGNoJYFflwDx3PUHrx&#10;VpyAApM23cFZSoYkj72cHI4PHXlenIFZ8k8nzgbcYCgg4RPlIcLn69+uTk04tJWsEanLFX1/pFGY&#10;t9wKrbvldiMheMjOOOflGcGseWVD1dkkT5ZF27VDFcn5ufVT78dK2bpW2mFCSQCSVOA5DHLA+gB6&#10;HstYk6uY1VWZMDcRt8tYjyFyQejc44ONx4NTF80+WK90uc73qR62X9feZk6urYaVVYYZByd+Q7Nx&#10;nHy/u/8AvnvWROIFkQtkNgRxxp94uCw4/vZyuB0OSPTGo+1WBZWG4YRxIgbqwB4z1Xfx3+grHunZ&#10;SRPH58hw8cgj3GMqxZMKTgYJz/8AXqoqV+VIwjFRgm/+CYcxd9mYxJtkBEhmDYIB2kLnsecg5Bx6&#10;VjTxoSMqFdQGwoWVFdCAMnG085JHqTkAGt6UIIiyMWYsFJKlWUlsZAOevAx/t9PTIljTYWUN8zCN&#10;fMGNhQgM3T2IyB3reKjT0XT87CtFz51/Wlv0ObMbASMhAKn55FXKjPZuxGcjj8OMVHIsiyLsdjIi&#10;HkPkt8mD09Rlef07WpPllO4S4xvySyjAJLZJ7YPpnj1qq8e0u0m5nRQFBDPuVNzAhTwQTuzt7tk5&#10;GKuWt09tDnhKLUorVruZUzs5UDcoKb2UDcUboB0ByB0De/XklAq7pEZAqhDlY1CiQA7MHgjoWYA7&#10;W4UnnIq6yR5dgwCsdw3LtcksQVC9NoVepPJPoOWtDG42qN22Pjg4bg4ZVIBByT789aOeKqR5lZFR&#10;gqtbnfwr8tNxibjjeAA42vIuQ2ArFeCPqPrgDnroWcoJjJEm3oW8zKBshSAeh3KoJ9Mj6VWAZnUM&#10;+6Mo2Mp5gUk9B78enY/jahIlSQKGLLu+YpuYBGYltmSQNgznkkH1waHdu39epXJCTi4bq/pr/wAA&#10;17dzgxx7tzqSykfKVyM9ueMnPovJ7HTtosEbk5yWU7z0HKkANyOM+5HHQ5yoWRfMVXVwWLs/mACT&#10;GGZt2OOp7nitS3m4LyglA5/fTFXj2kH5ixJIxnPHUjNZ80owcKejuvuCTsnGTNi1WQRxlIwAZSvm&#10;ufmTAdiAOc5wBkcZXnGRXQ25K/Mx2YLFCxBZOc9ucnjrycD61z9qEIy0YAZSdwUMGLA5BGMchTnP&#10;p3rVV3VELuxVkEZRXGwnGDgnOdvbAJ6c05+/NW36lUk+Vtbfp/WxuQ5CBZdsiqJEYZyysGHzHtwA&#10;3GT+GK045H2rCHjUsRGqnBZhuUEA9yABycY3HB7VmowdVHmeXGpOSTj5Vwcn3wOhHU5J7VpwoZY4&#10;yAJCNrSEL5TjGGP7tT1+bBGfrnkVL1ScujsWpWuum+u5oQpwGwPLWIYk3BAWBZSCOgHytk+vGO41&#10;Ej+YSMCyu20xk7RHyGAPORkjGeMDBzjOMy1Y+Ts8uQSgfMOFIIZh9MnOePetcJG2XaUKqSbZC7fe&#10;IK5xk852AHIqaitLfQ3jH2iutVv9xOD5wDhwgXagJJY9eSPqB+R/AWROx3LGFBydjMSqyjJP4kZA&#10;/D2FV9kQAYKSSuVUZUA/eUse+cjGfSrBbrLs+YAHA+YcDgD3PSlanJKLVkyKfNa70WnzJY8AbA0j&#10;GPJZ8YUFg46+o2vgdflJx6V23uiB/mB+YnO1iT0yT1IyRTmYKiuCkhZuMoI8sQOCMnBzzjPHHXmn&#10;uY0ZMqoxjfG7vsIOCe/Xr0/vH8HaEZJuOopqMUubXRWIy7IAFB3YCopXer5KknPXofpxjPJpGDIY&#10;TkllCsQ4ABA7EYycjp24H4vQK20BwI2jyHBBADbc5YH3J56AGolJLeYq70iQsZT828kAjA59jnpy&#10;c1mpXjzWKVlKUlq7X/EifPykONjMEbBG0dlOehPUc+vXmkkkmUFiikj54QXGQNwGDxgDIx171I23&#10;YIVTeS27c42HoAQcZ6Y6emfXiJl+6wJLAFEUDP8AFjJ7dQPz961jG7SX/DCTaXKthRHiPyFRnVI1&#10;WN2YKhA4Kk4zz6+p9+JGG5VjB2whlkcF9zqxQA5wPUEADtjnIzUaqxySWjYEx7fLDEkKR09cjrSo&#10;JDINrFizh87Nqtntjp7fSiSm5XVtC1F8ln02/ryIyMIRsLgSAGPeRgEZzjPfJHQcBfpUzYZQ4YBc&#10;Fcbc4Prx17+nU+nI7jyPlBbLHaCvPAG36AZB+X+91qM71aUAZRRuG/5SM4PHPv8AXr1xSV272Ijy&#10;yp8t9V3+/oS43RDfiRXYAbTvb5AVBBzxjDD8+lDx+YuWYskZ3Rpw/wDFnnHQYc/XA7k1GkWcv5wC&#10;BsD5MsOhxnoehyPpUylcGNio3qBuIO7nJBPc4P147U580It9v8xpaK270/BEahSUAwqFs7CN0aLj&#10;DKAeDkMfY5IzzzMGU7Nzu3m8spB3Djkk4x/CBz71CP3KSNhw23aNzBpE4XOeewPbPSkLgbBwrcZL&#10;JuAbnk/XGMEGoqLmknDb/hrgnGEVCK/4NidgQittBCFkZGOMj5R19Ocd8kdqgST5m4PlrlVcNtD9&#10;i3THGM5HrzQGGwsqSszAxhlQvnA3HcBzg7FP1AxzSoGMSjdJsGQW27pCNvPXoOQKTS5r7/gTzuUk&#10;0tH9/oNkKhVKgMMr8+zyyOOeOg5JGO+T7CoCZH2mSQsuGLFSAFzjacc8HBA47jsOZJJVwsIQlW5J&#10;yDjHr7/d9OBimqrCBd0hdzJhgw3nqcdfU5zjqfcU058qv1f6oq7jLV/1p/wbCSEg7iyq5+fG3GT6&#10;emecYHpTSpZF3EIyOzxr2YuMMQenGxQc8/MmM84YZCWbep+b7uRxgBsHg9+QR3qsz5ZkyVIG4qhG&#10;4rng4/Ajn0qudvla0/Unk5oWhs3t+CHNIfKBLb2QcyK5yD/e68euD19aqPccF9qRqG4VJS8hVtvy&#10;cnGAMnnHcc8YZLdxSIRJGImVA7DbhgvsOnG3n/eOBxWXLdRBETa5HmBVcIP3eBubBzwoO7kdcDNa&#10;0vdil/X9XJrcya1020+S/At/aPK8skBdkeZUVhgBnRyM4zk+UuQD0b2rLkmZGK+YZN48vY772Ukp&#10;y/OANw49AAOgxUL3hVjEcOdpzIhCBjg4Gd3zdlz1znIxWXJdRoWBCu0aBQZlO75e4UnryenHHHbE&#10;3d7/AIDnZpcr9PkWZpgHyzZVjtfbuKqpI+ds45GTjgc/XFZM12N+ZJ+MbC5AbsSOc8YJyBkd6p3F&#10;0o+YvMxPzk4GCcsQQuO3zYzzj06Vjy3KjeXyMx7p1dSNgHA56cBQSTjkDjPNaxvJXb+LT+vQzc4S&#10;vGPq2Sy3qkAyNuVG2+YDkndlsZH3hk9TycZFUnu1zIjKC7OQUUksM8A9M+wye1UZrksdhRy7ldqO&#10;ME7SAQOoIxjH8s8VQmnwdyIFQqdnmNuZVO7JduOcgenXtW1uZ8kdbfiZNOjJNa23JJpQJZSxUSFy&#10;HRl3FQQc5yO2WHt3560rltzYcgIJARtbIGdwORzntn6monmO5CQq7o3QRJtwQxU53DtvzyfXjGAB&#10;A0wbcgLkOpb93n5hgsQcH2Ax3qpU0nfrfYmcoz93a/4Ekk/nrn503gyyuQWk3YXPOCeioPqWz1JN&#10;cO4cKF81FB2FmGx0yec/Q+nP1ySqrl2YpvbDCJAcs4YFFY+oDcj/AHSARyaVUm86TLylEQncPmIJ&#10;KZQZyPUA+jdySaaV3aOi3Zk7wqc0r7biqgLM0aOUAHmrlYySTknHf608RoAVcKpXaCUZdrEneuVP&#10;oApBGBwD6EOEUqHcI2O4llVmMSgN0DKORt7kZOAOODVyOBD5r7pQrfu2BAT7o3Yxn3HIHtnINSlJ&#10;R95/1oNzj7sobrd/15FVUVDvRvNKqFUxuWX7pBz75BORjnpmrManhfMDLOgPmMTuVhhh8vDe4IAz&#10;gYLZzVhE53ovzQoEfcAGZchcYz2yv0qdbZyWefIQ/Ou5D5kg3Y4znpzz0+U+op8yd1f/ADE5ym/N&#10;a/5FaK3UuCyliHyynnO4YGcc53YFW4IGUKFHmIu1DghxIuQwZcDPykAYz/GK0YYNyodz/uthiZMB&#10;NwHHIPBP3i3qPqKsbFG/CvhYVJUKwYIQDggjOVHQEZBXjBAp893y9dDaMJQi3H7ivBbuzuVaT5ly&#10;ok5Y5CkY49CT+A684srbnYB5TSOJDvkJG8Z4UHp1JBJ5PGPWrgi8s+XuTKtt3qDh1BOM89TuPboB&#10;1+YDRliidVQknbIAquAu4nkrnv07+nuKale7e7t/kTCNWM1TX9a/oZCwFJiG8tjEhby2cSHDt8p3&#10;DjJIJyB0zjgcX4bUBhH8+JFQGKSXegG0Yx6nPGAB82845FWTGzyOhYIgUuwZvNZQFLnnPyqFHQAb&#10;RjGMDE8SF2cbJYwkaxxsoaMMSq88erHAPpngZIqYO62/rqOmpwfnfT5GMtthVD+eXxl2Kqxcnqx5&#10;6nrjtnFFbawIw3PdQxMxLFGlRSuST03j+VFQ4Su/e/AzVCpJc3M/vHI283BKR7pGLksMIgO7GFJ4&#10;ALA4GTx25NSg/vAMkEuqSEg7VJY4KjjnGw5xn61Fu4eIy+WDKfnAEjBtjBDj13MB2HLAEHkTFTGs&#10;ZX5mG5gS4KygqFb7rYYNnBz2PeuKUYqF+v8AVjb2cnPlb2X6KwyNWOwEqSM4aPEYXaRkAnrkHOee&#10;h9M1KqlmDEs6x75WkI4xvBLHJGSCQc9c46dKEOGYMEDcKQWXcSQCTzzj5cZPHbOXxTtoVVzslaST&#10;bLGjiNmi3FXHTjquQM8yHrim9Ex01Up/H3007jsrghVUxghykmS0gUKzYxzjqO2OcYIzSsHUoGkI&#10;8wrGWcbmQAhQxAOcBc/mcdOWJna5ZgdzNFG0g2oG25GDg8AYJGOjVKVUnCnk4BdF2yBS2W+Yr0yq&#10;4zwWUcUpJJ2avZfqdNFKzjDfz+4j+dGjkeMLscqx3B/Lwdv3hwRhQSRnPPUAU4Twkx7Fbc7BWbB5&#10;5YDjPfJ5GCTjI71KwkkYvKpMiuyAFDt4IZ8D3Mgb8selQSuyFQzhg33UXaHQEBsErzk7e9NxUrWV&#10;kZSvFvzsOVsoZCHlyvmFRGzSbACXGcEE5B57FcVa+U7BIFWTcZUZdyo75jYoGGMgbo+cggP0wc1W&#10;8lXZZS2QZGIZZAyNhWK5A7Drke3IpxlHzTLiN1lDlB91uhIPJJyBjjtjk4OIimopPf8AIVKnGSbe&#10;4qq7kNG7RiRQycDcCpKjCkndg7uORS/IFYuqyfIzDMZByWUbuOck5PGAcjAxinJiTZHuEJxyQ4G0&#10;hQFw2QRwDnnPJyM5FNPkzKCT5kitvfykB2kYBG3GRwG4Xkk9cdGpc6s1oLkc1GMVsPjZTG6grhfm&#10;SN02DJXJ9Rn5T07KBgnq5tpEboqggmRyodFG0AHcWzjIZScHGXbAxgVGyqeY38zlUkYjbEBuzjJy&#10;OfmGD3k/GlAUsAyB3KmRAygbjhmH+yPnUADjbweeBTg+VOT3Y250nGMn3sTMQX5O5QchjJsZgGHU&#10;HrjjIHPBP8JpEBIjLQg+Zh2BZlMZIXCkFQeOcg4zxx0ppV1aRUCupJKlmLiUY4JGBzwQAB/F25w5&#10;fkEjqqjYpikw2SzsWLEr9CAMc/LjIqVpFxnuPSMrT+8csmFXAXuzRhdw3Z+XI69Axz7jOOtBcI67&#10;TI2zALsv3csxVTyMcZ79GNMjZJCuRv2qAfnzlcYLdOnfK8+wp7RAuG3FiuMFsEgF2QD2ztKYGD07&#10;GjVTv1KjDmVo6x7/AJ/8MQu4dY9pDlZPKibaGaRXyVO3dkAKucgj7zdanjWUs2wMz43ooBUcknjH&#10;vxx3YDgcU1pGYSqxCmMbwwG0RsBISM7egIyQP72Pl4pZC7KFDDIcuPMUMRk42nA4ABP3cnCnvmhT&#10;5vdVl5mlKXNzzvotP8/zJFDiI7dmd2T8zFG3Ege3cdcYJ9QCH52E7cbmIzvwTEwVQSPbGBkgcEE+&#10;yRPIoUll2lmOWYOeduDkc45JPqfyqXaGOFkJEY5VflkJB3FevPdccfhTgrT5X6hTa0lFXa/zHq+W&#10;DMkZwwLBhgIAuG9PccnqTwMCqZUoGEiqqKoWPHzYClWwT1xlQMk9ie9aJwHUNuIVAF3MJCOgAx/w&#10;Jfz6VAE37nYlGkARV8wlCC7bSOp/iCnrnJ7dMtUmpak1FCUlSiv6QbmQyuqJjAXaw3pgZJAOBk5w&#10;fQ88erxIyAhkVQ0H7z5flVmJkY57Hkn8cZqElmiCtJMA7ttjIJOxlXBUHpu2v90kjYOmFpzNJIN+&#10;1ov3flY8wFgSM5Gc+3UgYJq6bk/iV1/lawRlytxX9akm3Y4O4qqphwV2OxAwRyP4ScEdsZ5A5eVI&#10;DfOoDktyWRUYA/efB6gjk91ApFcgrKXjkkbaBllZdpPy7RnodygZ9QDUqSNGBIH34KRMoJUgnbnH&#10;YAhmIzj/AFZ47kU25XtuEaii9f6v/kSSKxZNhbGfmbIUIAMHAPJJJ7d88Y4pSAzuSSxBzCcB0jBA&#10;yeB+OTznv1qNtwdRG6YCB1ZtzKDtyT0+bGQCTxwemKmDIpdUIABy0jHzFK7TtO7PB+YjA61F7Qcr&#10;+fmC1af2ugu9WkYfwqpY7xjC4Y5BPqEY84zjv0oPLwOhyVBSVQCTIQRliT7ryAOp7dmq5EQeZx8u&#10;UDEBiVyTtzjnaWHXA+bnFN+aQqwUKAgbKzB4/lAIwMYxwmMf3gT7tXjJOS0X5mlkrS63LEZYOQqR&#10;gtw7BAXGBnGMc85OPUmm8LKqrJiRjtBdcjjGMkHoepz3Gc1GARJ91xlMMWfhumeAc89c+3WnfvMA&#10;OUQMVEaqx6EMWIPf+AZA/ipytK11v+hgm0lz6yu/0sSfMFUYDsYwW2g5GWKBwemRk9iPlHsKFXqj&#10;OQY4g7ZXd5anORgnBPysAM8HB6cUmDE21HVcjdEB9xFAUDIHGTjk9fXpTipCKIz5rOhUs52hj2AO&#10;M9QOvY0p3cEnt/wxq1ZRi9WvyGMQJNkhj2Jvzvb/AFWQQCo7/eI565B9qsoI9xkdS+4qxCjacY4G&#10;c+px7ZHoagYeYMhWAD+UzORvVjyA2egGGPtkeop6F1hA7AfLvfAfI5GD34wc/pzVNtxUo7jjKXNJ&#10;f1/Vxw6YZWLRISGMZJONgAGMAcg8+9SeWRHJsx8/DdTxgA54/CnB5wpCztK0nMjTHzCuACCM9+pP&#10;QjaPrTXASILv3bMFpCxVjuJ4B7kE8A8fL71PNzQ93r/wB0oQg9eu4CP5gQXLghV2jcoDE8H3Abp1&#10;wOhyTT1jZ3DN5aokBdyinaATj5vQFj1GOSM8ZFNPmvFJndneSzKf9UFG7IBBJGMkjrzSKpDFAU2j&#10;EUaRbViQbcDpgHlcjHr+JUIcsLSdn/wAV+ZWXbX8CQMuQcyANnaETCbRtBPHHYDHFMZVLkKRIxwC&#10;qrkJjsD07Egn8jSF4Sdm6TaqBBgja44JPA46DPOPapFKmNZFcELjzGHX1IIHPcDpkYOcU+ZRjGVu&#10;/wDwwpSUU0l7u1xCGZ1RvkEoy5xmXau0jk9OgH0PXqKURtgAlGTOVzuZs/KcAYIP6dTzSfxxlSS0&#10;gDM4f54wMjI4I/P1qZskuT0A8wYGPNxk9T7ANjgY75zgjGScXey/r+vkTCmopp/0hqqFBdRGcqvy&#10;n+Hrg8nPT379anLRED7iEAAqoI+Y4/xI+XoGPIzUXmyA+eBuaRdo7iEFl65Oc/KeSeA1NSNQHUhf&#10;MQF8dQzD5jjHqP1PtRV5Xy31KqSi2+XurfciwZCkcm5Q0iONuxc4yMcjHo36VEHEbfPlGk6EDJjb&#10;JXPbGCO/p606Ncff5DL5aEHCAghjweScFQT2wD9ZSyxphmGcBiwlC5OS248DGMk568A9aJKpay7L&#10;8Qg1K8Laf8N+hDHtX75kZQDtJO535OcDuOMDPtxyKUsAMho1wBGGJJ2Aj5vTjrz3B96Vf3mZGZ/l&#10;zgJnMZHB/D2680wHaCq4JjlzE6vuZvlA5yMcEcdenPpUysmoR3/4YfRShaz/AOBuNkAAIO0yBQyn&#10;Z8mfmG0c8dvbripNiiQPgFwSGDSEoBzwR65xz6gjnNIBvkkKp8pfYqhhGCVAJ9OBkAHsNtSN/Fsb&#10;jszZyM4O3p7g49hTTj8V9l/kChKUHKT9562/IjJGSEGSGJbJ2LnGT259sinxPGI2jZVKsqxhgPlU&#10;cZA9yOg9BStlshF4ZymZHBY5yQN3U8dcdx0HavHhgXUnZ/CSu0knbyFIBznPI7j8avlUrKOxPLaS&#10;UdO79fyJ5G3O7B02hshWQFpAR647kLn8aYoBDeYVBOFxgg/gPTr6d+tTL5bqEOY0KgAowBYAEnJI&#10;IA+Tp1H1qBRvTduHmK7A7FVHY4HzN1OOg65468VnKyuun9M2drK6u9ibDBc7wI2IRjtGTk7cYznH&#10;A60bgVUSRhi0jRhclHh2gYfPHGewPOwggADLVUyYXdiXKuMjJGBgnPTn5D+Dd6cEC7Hcu+8EFW4H&#10;ODg45+opWd7yfxW/JFKEdL79/uGNsVgWZ2BLIhZOAQGwQSeR2z608TEmKNOHO1xj5vXByDnu2Pc8&#10;dTUe1EUsIztLFsN951ySMngDqTgZGSaMMrbUK7d6iOIEMkSggD5hgbeSc9smrjCMVZvVL7jncXzL&#10;mej/AM3/AMMTsrYjIKlC3y7cqw7jjgf3hjnFIwXaTCVZ2ORGWKgqzYIYfRupwO/XrCQ7gNuHzgEZ&#10;k8tR2BOOc4H6fXL93mR5LMvmH5CuS6japx7AgqQR/d74IoSslK+/5heKq8stunoSMQUO4gFpBt3f&#10;MxycckHqOp9fzNNjaV3KklXaArgY5yAuCec4+UjvkkkZwQqltwRmwGbziTKShBxt4HrgcjnipFDe&#10;YwB+SEb9gbEftn14kHHJwTxgHCjKKu+po6avvvp+o1QGjG/cySLn5m255IBPOAc5GckdfxijAKqW&#10;ViODJuYuwJGVOBwcKW59cevCkBkCk8cP8pyCSSMnvngjn+XFWWDR4Y7QuNrHcN7jgflyMd+v4j0f&#10;vbv/AIBkuvORx/OhUS7CiFQoBO4LyBxx6nPH8qcAWO5PmKEvkNmRWAVslR1yMnPFIiMOHChEbYQG&#10;5VQCn1B+XHPpz2pUKhcRhEV8DJYEkHJxxxnp19PaiCSltq/6ub80YxTauv6/UkO9OS6yYTj5ThlL&#10;fd3Z7beexP5Uwu3O4EkKVLMCyEjAOOQR97OB/dPHGKeyIiSKUwHIQbsusSgFmJA6YxnnBHHSk3O2&#10;9ZA2FHmJgl3bAJCjBzxgDI9fTmrUWveX9bGSSa5loIGIBVizHJXYU2kNwRgd+x/HrxyjEuWQg7lX&#10;gqu5EOAM9fm//XQoXzFdUKkoAMjG/OST0xnPP50kknJ25w/zoobDtgcjPTjrjt34pOy0vrv+QudO&#10;N3uv6/IQSGNyJEAKR+XuIO1lAKgZHbKk+oyMEZp0n7sGR12g8PG+UIxyM+gAI9P8I5pQVCuS0pzI&#10;SFLxqPvjgYHXoBz1qKS4Z5I5CSMqys0cnHJbAxwOAR0H8f1oT91NKxSjb+Ht/na46Z1Dsoc7gMRj&#10;d5ayZTI5OQc4B9cA4x1GTcyxujhiIy8nlFm6rhc8e45Hb8xU8kkZkLFtrudxIwhJwRkn6Ae9ZFxc&#10;LJcPjBEcpidem2X75LH/AL4Xp/H75GcfifIr33/Ul3dN8qtL/gjmuCNsIaJ3QsCycKi5BAK9T0OO&#10;OKpylZfNw4l2uu4NncoAIOSeowT+NEs/l+buI8sKctwGII7gc4O0emc9azppVQxr5gaMhwXyI87S&#10;ApPPfPpg4HvV8qfwrXT8bNsT91Wbt/wSCd0yzRuoCqxGwZjAUMTz6Hao467j9Kyrm5RMpGrEgqkP&#10;zhlUnfyxxzu2qQfY89c2TIyExlipLFFQOTIWZiEOPTK544BxnArKaRWJO6T5hjcT5RTruKtgjv0I&#10;6kdetUlF+7vbZ/cZpwnDli7PT56jZ52LrgkAx+YxAKklcndntyOBwcN75GXLKcMWlXEjk7sbDuzu&#10;JK4wMngjg8noc0/zBPPGjJlpFMdsR8x2ruJGCOg+ZvTrWdcM6soOS6nOC5Uttbjd6csF5HGBxnk6&#10;cvO9NFv/AF5FyvfTVjpJiWdpBGwwFeVSyO5zkgHOMnIBwMDIz6nHvJVJbBAMr42lCRjqDkZBGVP4&#10;rTp54fNlBYN+9wAuELDkAEDIAwcke3XnnNbdM5jjBeV5PLUAM4cv0RVGThh90KMkngNnnbDwnUcW&#10;k279Ou35GVSooU+ZtJXu/TqJKwj+XaAsbnKqCU2sqg5BPzEYGC3THUnkU2zM4ijTe7ENIGXBPAOC&#10;B94tyMmvWYfhodJMUnxF1238BqYHu49PvrGXU/EdxgAr/okXMRbkKZimRtJAGSeM8WT+GbC4jh8I&#10;anealYBfnvL/AEVdGvQyjG3aLifcrZJJDLnqUUnA6atFQVqjV77Le/8AwDONf2zjTpRfI18VtLLt&#10;/mcsbC4VEa4kSBZF3u8i4mmAPPyA5OSCMHuPxqk6wIMs7yGONBsVRGBlwOnJOS+S3qeAM4Nd57h/&#10;MLSNvO/JIyHPLHA9ewz3HXFVnkZJixbKxjJZAWkUMDlcE5OQFPHOC3bOMZuTqcq0XYSScYubfX7u&#10;33FmW5QRnybMR/eZHYGTKnAba2cHHOBgHPU9MZTy53B2BUJtVArbxkY+XHQ559MAnPQFzyMN2Cqo&#10;+ZF8tskcvxj73zbWwR+YyKqhtygo6xlsmUIASVG4/Nlf4j82B2JBPDCpglfll1S19AbglyrZELcq&#10;mwrgyEBeJWQkDAYHnBz36njrxUqzGM+Z5Z8xUKKXYs3zb9x6k8g4yB0J45psYkRugwI/NGFKuoO5&#10;Su0sdwG6NifZiVAHLFQ+ZHsdYwJSTIxzGcrtOeh4ycd847VqrRac9U7/APDGSSlG0G73aXpoXFld&#10;zIHeNWZchQGCYzjaFBznBHft2qwkpGdgKbjsWUA7XwCDkDJAGSfwxVEBo3kcOJDk8EsBHuJLHHuR&#10;j06c462YH3gOjBXiVoXSLCygN2zwMMCOv96pcpSj8y4QkkpOWt/1/A1En+Tygw3HLoqx5MmVHDL1&#10;yQOfQseDV6CVkZNrEqdoG3BK7u4BB64xxnqKxo5SB1UOuYw7n5AGUhjntyByf8KvwGSWRFVXZ2k6&#10;om4yhsBQB+AwMk+x4qZr3uW2o4JxjdS1T3NaBzG7lCqeVj51eQ7XIILY9VIHPowxn5hWzA+0K5bA&#10;O4FMFUQZDEBtvOcj3p2safpekWljYiSe716Ri2pp5vl22n5YJFAIxncx8wFy2CCwUDOSc2KSMgFc&#10;FWkKlU9MsC4HoSM8/wB8etYyfLJyW5FKMqmr0en/AADeglWNRhmcoWkWMphwwLDyycglTg+h5GOl&#10;bULK5YLKrBEw/DQ7mJIO0H+8AeM8cc5xXMiRWDOjIRGpLMpC7CGKkseADxnJ7/jWrBKQIiWbcUBY&#10;sgypYDcDnGCMknPdT+BOLlOM/Q6aklGnyR+X3nTpO8yBRh2k3OVA3bgcEqB24A6D+EegFaMLqVEc&#10;jGXEjyBmJUyMTkbCc4J+Xg5yeoNc/bsyoweco6xCExKSF3MUkIY9DgBupPJGBya2Ipn3LMURwJc7&#10;kO0KAATkj2XAHoMjnIqHdpOL6fiaSSdNSWmrv9yOhSaR0icNGrNny48F9hZVO7LdcgAdckDtxnT3&#10;twvmRoU3MQ0IbcoUsRjjgEdfYHnjODHKRt8jYhYCeaMnDbmAHccKFQDBGeG5Oa1oXDEMr43OFYSE&#10;iPAPOQemQe3Xae/NJ3SXMv8AhikudN+ljftiAVLOG3tuMLbkwjcg85ON2Rz0961FZV4+UkZ+bblQ&#10;RkEZ9vrXP2srKBIG/eRuQxMmWHQrg9cEdGP1xwa1ov44t8YABYh3+VRycHPHIB6VmknK72/4b8i3&#10;UUqala8jTV8NhwVLYZWIwy7sfNxyQAc8k8KfarBDllYSbxCA3mNkZHCngkZzlemMgH0NUJHLMrEh&#10;Nq4+/lSPlwOcDvj86sF3KtuYsSCAwO7cwIxgAYPVs+/pRTUrpr7hX9q/ZvT/AIJbdhMPmbazcfIh&#10;KAjOTx7+g5ySOwM0ZMDyDeeQQsr9UAGMuM4/hOR7+nNQhchY3bbtYlfKwDnODnGSeffvU0mSWwGK&#10;5KYYhWBwCecdhnp6Hp0qWk427E2lC7lv/X/DDBsRWLFfmYM/JKOGyQTz/ucdvm9ORgCzKMKyr8sk&#10;RO5hkg4P93JB9xjrTVDgxiQgxkbApJbC4AVScYwBtA5421bYgLtV8sTuQ7ME4zkY6cDjPvRBNSvL&#10;ZmsJXi1IhDj5nI8wx5J+Uo5G1QNxzk8Lx9OnXIrkuX3MWUDIOGVT1BIPr3yDnIzT3RVQbhnzHCkJ&#10;8u48Zy3oOcD1Puac4dQweQKocyB8Fmc4G05z0wOuMnPtiiUpt8qWuiuDUnFKem7t/XyIwSqkOCjG&#10;NgDk7VAIGAc5z0+Y+hPHFNRWBIkP7tVIDMdqjgnII5ycd/QevJNIyMAWDhow5RScdQpwP9nPT6gd&#10;eWAkeXCZSTkvgAkbsdMfRQM+3T1pJJWZm6ktI2+f3f1ckBLW4EJUbcpv8skxbg2WYjsMDk98elKX&#10;YOAmW27m+X5sheSTntlfSkDM6BWYM0T/ADKRubJAyDjHBBXjOeDxUkbjcQ4jWRTuUeZiI9Rz6cHB&#10;PHyk884pfA+Xlv3NXpdddLWIF8xvLOMMv7tCW3AghQck/h1/v0EM5fcSiNH7MNpPPHr254ye1TFQ&#10;icqCcrHsILEDPJz079SOAo+lKgVygYBfNYsqHAAAZsoPQFmLds5zT5lz8zelrfkRGKdNQctur+Q8&#10;KRtaOXy2wxQ5GI3JMh28567iR6VEFbagBWJi21JHJMfAyRj3z3Hc0sKfuSrKfL35UkknkJ0PU9Y+&#10;vA5NPcwpExKDYVBIwNo5JLE/TP5Gpu4Nxer3CMVZpvWy+4rszODhgdgLSMrk+YQTk8npjHTqQTk8&#10;VIIxMpxjyxlXXJAI9M+vbA6Z+tKFiVSE2j5dqop4UknPPXHbGcAr74LvMYlkyMEl1KlSWU55PU84&#10;A5x+FOT5nZ6JCceWFm76/pcjbe6OFIlZ2242bUwQF49DxgY6E59KgIiIdplAKRCQGNcyH5kzhv8A&#10;dz1781YkKNmOOQAybQFAAL8ggjI/2gd/oBUJ5IBO5lISMhwFUHaRk9MjI68jPPQ01eNm2VJ3jaGr&#10;X6MpS9JGQKrLGGLZLEleTjJPHXt0PWq0kivGhWMED5hlAquTtySevpirYA2EqQdpBG0hTFhgC24c&#10;9Djgj73p1yZgXMhEgDA/cwGwuSMD6YB49/SpqLnqKK0X/DES5WlyFSeRYyzsdoaQcjGeSOVORz1G&#10;Rnk9qy7mXAE75V3Gy4UDMYDLvYJgA4B46ckHjGM3JNsYZCSCW81WHyuTkBeen8IHrwPoaEhXKhWR&#10;ysQDGNikL7m3D5QON23PTv2xVUtGodUZyjJP3l5erMuZXQiRiGbHk4z5vmYBwFPHAy5yOufQYONK&#10;4ZX85gDjc7YULHtUgkkdxhOPmAJIxxzsXKtGyk53LgSMF2oB935h0yNvGemfc5ybieQFSmWIYOI3&#10;c/MMMI9gOc4aMgdhtx2rWLm7qK10G4U4v3l8/kYt1Jh1AZGeSdkSMId4PLKuM8qAVAznp1rHuJFV&#10;cwE4PIC/NIjZU5547YOfX6GtSaaC3LrhpI0kEKuJGRWG8ZdQw4G0P15GemeKxZC3J3KWV0iOxguc&#10;OSuE5yN0QJJBA6ckc9FOCjH3uv8AVw9pTtKENylNiNgAodYSsalIg20c7lYg7W+YkgjoDg+tZ8zZ&#10;K8KWhw8jEj5tu5sMRjPC8+u7jvi3PKD5fmE+Z8oCMgLHAAXgfLtwg6nOT71mjCtIokIAUIgUEvHj&#10;IGCBwMADHcE89qGteXr+hjGS5WnpfW/5kMhiTChDIPLzLhdrN8zDdnP+2RnkcnrmolOGO51YIgQS&#10;FG7nIYt0AICkngHI45JE88pIcsGAmZ2wrEM7KVbK4PUKqqMDOAck55bIAixKTghRh2LICcYBxn3Y&#10;5wMED8CLbh/eX/AB1b2vov6/AWNzskdmPmABHUKcBmAIb69B1/iOO4Eyy4beAUCjyQTiQerDrtGM&#10;9cH69TVQPFksRjYghQhhkEbVIPHGFBA24GOMHPNuEr5kRBXaq7wI3ZjISEIQHGQwPmLuBwGI61pT&#10;lGLcn1/yI1dqcXotTWikjaMRll4j2rJy0ZJJIzjrzggYOODz22LbciKFRTsy6rEhaM8gYB5OPvf9&#10;8gkiubjkMboxZiZFDbnbAHJUvknPLZXPqprVhZiCuEQgZBdikrfMhII6nGwnPUlhzxWfs1ZxT0Zp&#10;FQUrRV5f8DT7jpY5EZFaMqWOCySJ5u/nIVhnqSfwBA68Vp20seViZcAp5aEvsYNlSRjoQwEh9sfQ&#10;Vz8ePNJzJ5RKqHXhjknc2RxuXKsB3CnkcGtgTNHJGzYKeWysxw6hSseARj7vOOeDgjkdXyRhqS41&#10;YPXX+v0OhglI8tFI2bDEqqO64bJyMY2lh9Qc9q1IJYzLlc5AOd7A87c9FyeSU54xn05rn4JMGI+Y&#10;CzN5kXmMBGRhhycZ7jkngHHHNa9rNsA8sh2ZAiFCz7flVTnI65LEk8KeM8jPO5PkclrY6Y2pXja6&#10;ub8BkkALPsy42qDv245BxjB5JxwT9K04QweN8DLA4JzEFG3JJHPHXGPQ8VhwXG8yGOTBXETKCPLQ&#10;Hkjp14XGDxlup6bMBkgKltwKONpVtuNo42+3THvjFZyas+b5Exaa62/yNNOIXiGE6M+zK8sWwcA8&#10;55Jx09DnJtiT7sOCTsBLYKhgmVGOOegPY81Ri2soZQMbN3y8rwcd+OO2MH65qzvkUxhGyCFSJ+F2&#10;YJ4J6djzmrmnZ22/UuWkVOO+n3dEKGRmwY0yZN4AwI/bJyMjkE544HOcUuVXc2cucHEwG3sSR2yc&#10;AccDB7mhm35G75nBGVUx4HGDu6DqO/eoyy7gSy7CcuudhyRuwV/8e49e3WpUnz26dCr8jXV/0hC5&#10;cNG7RsmDGeCrKp446Y4z83b1zjLGDMxKITIGBVecSZycZGT/ADqy+V2qgiKmNcqTkspVQDu7f/XP&#10;NRqWWJckozIyplhknbgsCeTgHPTjjB9EpNSTtpv8iZw97kW//AIofMWLLsVDsCwUFkI7kHOSRzz/&#10;ALVOCxkeYxeNtvyYztbBAJHb7oGcjtk5OctjBnXBbiOY4UIMKQDgcY6sCec9T9KlVGK+ZM+zYBjn&#10;A6bcZHBJ3D6cDg5pxacrJ22FNyaUIrS3UH3F90eFzwVww+XIySc5J6evWmBxtfBGCQ26T7xwCc47&#10;Zz0z3phOcMN+EXYqsCd3se2e/wCI69nAbmfYFGBkBpd2AWIVS2ByO5wPp0xbUowTTvY0he8Yye+l&#10;hg2tvcBSXclQGZpS2MIpY5yOBx6Dp2qWMqZAR8qmMbQ4yXJDdumOeOfy4FRL8qkBXG45wRnG52IB&#10;PqBt5HHIqZflQKGLKSF3hS6HlSp9+QMe4GB6TpZK2rsYwTc+wxZGaNgQF8tSN24ZYYxxnueOD0xU&#10;alGIO5h8vmRhwQWB7n0GeMjjjrTtpDSKzMY4yq5C92AcjGMkjODnPQ0TJtYMjAROi5AXDISBkcjo&#10;Py4NX7ri0/62NnFWvfT+vyGohAZCzgKgVRjdGcqQehJz8q9ucjnqafIAWiTcqMmG2qCpz8ikHPPG&#10;cEDs/QHFOG9htDxkOoRhjIwcAEnk84JI569KTcxKZcskTkIgOQDgbmOR6Ec804ckYOz1t+iJ91cs&#10;LXS6/gMMjLIwIO0cMwOzJViCckgAcD6butMkIgJYPxIglcsxkYHap24yfUA9s46053faSu15FHzu&#10;Cyx87Qq59eXPX+771ReQAF5QYyuF2MSY1BKjJPTncfm6DDZIHNZxjFpcz1E9JK/S2hZLZZplaIEO&#10;FwpOGzxgA574/Kqklwm9kLgnBO0rkq2SMZ4zyCMdBUMkxQld/mRqwxGTgpuyp79euCf7vaqfmIAr&#10;IuxvKEisSzhmJLbmGc9wOMdOxq4xW616Gc+dNSS9b/mWHljSTzGcNz+7Yk7BkgHv0zj6Z9Kz5rln&#10;GdsgIYM/RmkUjO488H5sc8/nVJ5kCxKCisNu+IcKDtBAC56Fl/2hlgeBVKe53s8jPGyKAzGYeQI+&#10;mSo5x90HHfaOTjItRi5+/LT+kXTlOEW2XprmNNsY5y2YYwMgbcnJPpnaOOcuvHJrIe5L+YFdQAHI&#10;OSd7AfKM4zg8gZGCXzyOtK6uCEJmJaJINx3Kcs29+F2jceCDgc5UcdKzbm4bzZFUmT5jvAUFTjhl&#10;3DHGeQenOOeKKcVFNR3/AFtcjm5oqUr30J7m5KjcAu7Plh0BTOQARgn5sBeM+/T5sYt1OEkjKt5J&#10;l2IoVQMg9iccBs9cdqhmuCxdUlGGG5I2faVyeSB0x1zj0FZcsodgwVisYV1abKxofl7kDJ4Y8e+M&#10;9a2XMko22JkqcpSUt3a33/5E7zKXIYsUQkELkeXjBIHAzgk9OpHPUCsxrst85YsAQSVfax+YZVSD&#10;0xyTzy3vUMs+ZJoi0e0OY5CHO1mDlSVAHHBGQc8gEdxVbzhcECNmJDLISwAKgA9CBkcHnHpVvlaT&#10;drr/ACMXy8rdJ/1e4rTSGTJUnayo7MwBlVWPI9DjPXHTnvVRwqsQ6nZ5jK4kG0NkKpIGTjlgCfYd&#10;sUryqwV3J3ONjDJztGM7T68gjuMHIFRxsVUl2Yssm0cbSRyGXPrnjB5wfTgFOctb9dyp1Y8q031u&#10;I7OpBkxKZCZZVYKyEMEVuc88EghhznHGCaRYWwgKoGB8tcvvyGOdxz1UkdSOo/CphAsoMZeNJEUO&#10;p8ohZMqWQn5sgcDkHn8acsWGUtjy3YEnkOmSAo5PJOB3PQc8Gt4uU2u2pxp62S06MZGPmkZVIjj3&#10;A8fNxtYnd1AAz36n8aseSpkmjYOpzsVANxUnYSBgkEAYHH5VNGkRc4Z0KyEK7sYlUuQAWbHHqTnF&#10;XVVC4kjUBiCjMX2M5IBPOOmecD0rBLmdv68vnqbuKm1cqBUycKZEADJkkttB5weOuSeeBniraREg&#10;qRu/dlIwxw2Qc5OD2/kTUsdvErNG2chzIrMxBk3MOcAEKfm+62CR6D5jpR2rSLloy0jSBYnC4ZwW&#10;C4x35JGO+cZqrq3JLyt+H5iceaXJ9m+v9ehVjg+UgplpMRl2+YDnkfKe5C9fY8Yq8kIzIxKuNp3I&#10;YyQ2WHGQ3Jxg5H94DrzVow8Rgkr8gYqk3zsABlfTg8Z4+9xmrsduoQuNqiNgrbzvL/dcLu69COvq&#10;OoFKMnqmt1+vQqPLKK5V/Vv8ynHEFKuqq7qHMXmMMlZN4988MnzA/wAJ4x1nMZfYryrkv5QIbhSB&#10;kA+2T09z2wavwxI6p1WQQlTxkfeY9OMEA44GPl96spbpGx3KpyoJbqqcr2GDkAdSMfMOpGBKalJ2&#10;2iJSSlFrqtH57Fc20RG4KyyMgKkcqMHduCkdQSvQj7gz2xYESGWHJ3g5lSNt4i2k4yASSQNwwS2D&#10;jpjipQnlS5+YOsm9X3+WyfORg5PGSw5wThBjoQbjJtKoFGxX4RFRY41U5Ax0UYXp0wR2yC4WesXu&#10;U5Sb54vValcZBdCwWQgIsTZVouSW3Nn19OfpzkeDaZGyr8Ay7F+VGySSpJwOOO4yDx2qyit8yhiC&#10;CMLk/MMBs5PUA5/HP4MIPltIFJZ4thYzGM5J+XaeTwDyc9hzRGEubV/07FzlHnXP12+e5HJDHvbM&#10;ecnPEBbGecZA6iitCOVmXcXVSzFipWQEZJ/ziis2432E5RTtyv8AExSQuDllYRllAIHIA4HPtn6n&#10;FSqRCd5BEbMvl7l3LKCDgk8HDEZORngj3qOQGQkhTgIsgCDkglRggcHknp3yOetSIAvy4RgJCyx8&#10;s7HaOmRwOn5965Z8sfdlvoXJSnJcr23/AK8hhJKMs2yFQo+eMEKxCgD5c5OWBx65OBxxKxbILLtA&#10;TCl13nblWBBwOcqfTrjkZzGu1ljDtGXKsW2kEAAY3DPXLbADwRuBqYsgCSbi2wlkUnyxuUADqemS&#10;/twPaiMZc65t193QEua0XLRf8P8AkO8oSPGYUw0ZwVkXeokPG4YJz82FyuSQfwpzgFnyWHJZD90A&#10;HgcDgMMLketIimaJihLc/Ose4sHOT68cN/D7+9OLE7WOG/d5+RQWYEDIC5O7Jzgge1XKUZczW6Vv&#10;yJ1s/l/kMRH2RogYFWIjACxM4jJcDjg52DHpgY7YV9h2MjnDReYw+6j53FMnnnBK9c5U/dDEUjKC&#10;8kwMbqpMYRl2liG2r8uOnzE59KciKixFSAmScEBCCC5OCDkn72fYLj2zkuXTXXY1pJOm32Wn+ZEy&#10;oFEUed3zNkPjlQxAz3wNoyM/f9Qal8t5JE24iRCCwK5UknJwM55JP5k5GKVgA6ouxnPBCfLgNwxP&#10;TJz93jGAfqGcfvBjzPNdst90LnOB7n53OevpQ03ZX+YrKVmlZIfD+8YnPlv954ww8uXJxt+mFLAn&#10;upAxkgv3bCVCKXjcIoA3JxuYNt+7gDjHcMDn1EdVZcBcKpIjXOMDIKEDGF+9xw3AGDyQgQFE3MVU&#10;ZVlI8x3AwHBOccDjBAzg4BG01MpKCdy5ctObtr/w3/DihXxtOQjMQHj5kjXgnI65Az69QM54pnVp&#10;JBh2V1EXzEOoPXcT3yDk+npUqzEqoYxFonyp2bmyHADA4z1ZDgDOR17iNGRd+NixIpOXfLYU7Sc9&#10;CMrj1+uKuMpKHM9/y2HzxnBNK9+va41EXfI54EyHe8ZKSBSx2nOQO7Y9OeDjFXCAXQSHySJD+74V&#10;I/mDHbnoRyOOQp9KiLNGGO7c8imNPmUOCGjwd2D2jAyePnbgHDBcqA0W9Qqqiq3KdgVByPSMsM8D&#10;Z2waVXoo/wBbFJJ6SWzFDhUZfLKGKNcgDaAAVJAzzx06fw/SmEAlCVZEdC3mFt6MA54PYn5Tn0yO&#10;DmiKPK7GaNnZtsjMjEtuDEheSAckkFun4U/gMCqnZGc7FTGQOMx844Jzg+h/DPmsm+v9f8MJ+9Fp&#10;Oyv93qObY8gEpBicCPcF87fgEk9eeOc88IeccmdcABQ0gDsVVFfcGy52tkE5zu/8e446tKwvL98D&#10;yzhX3lypDKCCD079QCAwJzkYcWRGVFcDy/lXaCzLwVBJzljyOCe+O1Nu8LLQ1lanfZ38u9iJACA6&#10;Fd5AWNSciJVbOApJGcs2eBkk9ccOjl3DzUUCGRVkjIBVZFkAYHBA9RyT/hSxpGQSEUCIYXK4XkMS&#10;GHJ9wR157U5wrSbBHja29l3BSRtA4Oe2SBjg884q9Iq5zzlaKdN7/wCZKjn7jx7mLfI0TYLr91ST&#10;j5ckqcc4zjJpxQYLLkFWLKm7kAuCxYYPIAOAcZxjNRKTLvXKkkq29QCOGLElemQdvHBNSkEIgDkq&#10;Q0YRzkgk5G30I+Y5P95j7ifflK6339BwUZxctnbTvcXy/KVZEBQyFXOAHJI3ZDHls8gAHjGevZ6K&#10;7c7lVgoljVeXUAldueB0JGegPIHamHeVAeQxs0pUksThlGdy5GeFkGSARk8kAHCoU3PGGLIsYj2o&#10;cBsHC4wRnr0xwe57TFuML3HZuKcu1hYSGwC27a5UlWEmWVVccdskryR9OlOVC4AUsu0hNoQGNF+Y&#10;/Lz0wowODz1PZSuzGz/lom3bt2k7SAd3ORxnn2FI+4hNvkkkbSMgyffjDHJIPAzg9eO+Ri0+de6Z&#10;LlUbyWq0/wAhUhZo2LMilnB2yfe5JGSAB6n8AM9KnCqiHdGzDyNqMuFbB24APHXGc84/ClQFFLo6&#10;FURZd7plShBOGPfK7hnjjPvShlAJlKJvOCEj3MeSPmAPYDGSfwx1xck5Wn6G1vd5lo3bp+RAAgAR&#10;42AUkqfvhi7MSrHPJ+bGD249qkkK+YFG8IzKu4x58o/KvrlgMZJGODjtiljc7BJtQ+b8+NuJIwV5&#10;Axz0zntx70qMN/mfMCqhBEdvmOQcE5ySOBt6fw9ua2TbXL9/9eQL4Vd9vvFZmY8tKCwLqN5VxjD4&#10;xgf3T69hUflSOzrJ5uG5RHJ3qpByD3HO7PGck09XLMyKyErubzirxhcMc9QPlAAxyVIBzyOJAsiF&#10;ZQqsGGFcYcg4xhTwSPnGMHAyeDk4SaSs9C6lNPlvuuvqOwS6yN5hB2sNwKleChBU9sYOMY5J+jzu&#10;yDGpJRjvKFXK5AwMjpnrg8c9RSESBW2sCzx4MqsSA2SQATnH8XGMAL7gBQu5Sm1so+51fGMEE4zx&#10;8w46dAr/AITa0t7rsSlKLtul/wAAcrYBJTLH94xU8KwxhgPwA60gLKqLsVn+4EmO1AwODz7cHpx6&#10;c4pYnhVSEfcsrliWOcsmflBGe/YkDuSOokQRMwaNoyQixsEG1WCHtj6YJPJI55p2jBadg5bx51/w&#10;d1/kMHmEkAsxIYF9ilmC5H0HU8d/yocM3zYlQNh2IZUG5eFJB7/MD64BGCcU53Ds2AhYFcMeOpBA&#10;5PYnp2waWTzI13q45G5gW5LZ6AY6f45+kXbqK/8AwCZx9mrvXZkYMjl8o24hQshIYupCnI+o46dv&#10;enKHYK+CDjL7SPLZsLweh7MRgc5OT0oG4+WV+8zYZxkrgYIHrx6e1SIDGC24lXcBAE5IJUggdBwS&#10;PXjpzkkpe0jbtb8Ag5ynyJ9Ov9dwUk7gUBKnpnax4449Rhuep+lSho3GFLk53KpOM5+nPGe/9cVC&#10;EduQ211IVzjPmgcHj16H8/Sl8z5WRVMatlc45PuD+vTvT95yXYuErttR029UOTd84YA+auFKqCMZ&#10;3Bgw5/hx7YPSpHYc+ZtcMS7spHcEEgDjnB9uabt2N5aENuhBDJLkjPU4HrhuOMZ6UwAlg0jAYUKG&#10;JwqopCgDnIGMdu31zcrOHM3YJRdOfLDd/wBMf8yrtRwyjCpGqnqercHkjGB6bj17yg7xMSA5AwZA&#10;7NtAONxJxyM9GHXPeq5DMscaOFG5SrsNjyEBW+YgDr0OOvPqxNkoyBtrBN42Bwd+RwTjJ9s4/wAK&#10;ybT1vuVeKd4/0xV4++ARG/JVuHGQxBxyc4XsQf0KL+7dZJdqBGztxkSEKxAAyOfkbj0UkdKVBt3R&#10;ks6b8q6/6zvjGD6ADGQMj0PCjlgmQxlPcEY3EHAHbO4kDp7961XNFtPYVNNSsnpu/VjVysirtPls&#10;Ttxl36feJAySMnPHPtmp5G3KdylSMnzGwSxAHIGM9+w79OtQ54jUFWVl344c7dpHqcdMfl605XOX&#10;eRlVRHvRRw7jrgHIOepwPT6VPK5a9Vp9wXj7TlT737DEHBKBnjwFQdFX5VJII5wOeP8ACkff8yZM&#10;oHysgYbCSRg4xx6fWnJn78bBFU4+Y7QBjoSe3OfxpXjxFGc4Ziu4l9pGcDH5lf8A61T7qnpr/wAN&#10;+o1HlS5WMALMoEm1HcYUyqRC4K5555AJBPr34pVCJhSAxjUlVPylsjccY9OSRx07dagTDzF2OP4Q&#10;CpIDbWHGcdwpBGKsLGyTAZjVdgcPhjlSeCc9yGHPcNWzV5KEV6kU7X57aXASF1XJVTjDFQCyjOCO&#10;Pfuf/wBbBIQ+05w5UKFUgv0GSfchuPfsOA2MEGVT+7VtzBQdwI6g9xglV+vGM5qdJHYF1wZFIIUx&#10;HB5PzKBj7uQO3rnk5zcua7a0X+RT5W4q9m+v5AhVgqS4V2ITCueuSdufTHQjNMQyFVduSDhQy7Vc&#10;YI5z3HORz0p7Krz8rE0YAPzAlTkkAE98fLjHtxxQQCGKHdkFt2ScMchsc47gDPryTQ0pRV+wqimq&#10;nKn02+4GklVYoAHfPzOxkyRwMYPYErnHemqrK23cASPLZg2AOQ5ycY5yB1/g4zgGkXmNSGLb8Keu&#10;8KMggjOf4v5UjSMCFUqFLBflBOSDtyGzjjGT9D6imouatHtYGmpe/to1/kP+ch0fbgrgead3mfMR&#10;wO4IDfl1pUPlTEiPZhgqAN5ZTG7n257ds08KBIRlQzDlpPmGQSuCOx4Y8+/rQoKyMowElYAspP7w&#10;hSBzyePm470rSdO0fkRyNpQnpL+v0FJKorlo2Mh2oqfvDgfgOOeM8D3xmkZ3JWMIwiVSAocE49wO&#10;nTv1pQGwSqgFiQpP+rjxncDzjI5GR1PbtS5lWMjIZgwAKkjPYnbnAHI79h6molGPMlf1/r+tTWbT&#10;m4J6Ld/dYC0a7d6IR5oZvMX/AFe05O4jkYBPTpz6U58OiqRJnGzY2CX+Y5DexxyCDjGMUwsoc7m3&#10;so+9J8w5wWZfXp16/vDz0w8KGeRUw4GFiDYAHKnp17Afiad1UWitb/gCu3aSFlO9FZgWDsQFClS3&#10;IP3c+gPHT5h6YpT5bsUd0MaqqRqABu3ZORgY6fXr1qMB3dXJwoG2NGOBkYz3PHPBxgk+ucKAhORI&#10;GXZkzFhs24O7IGSRy2D1O3p6XF9txLdyS00+e+hI7SHcPKYohB2j7pYEdiM8k4+gPNCsweSRySvl&#10;bgxbcpPft7k574qqhiPnCCRJQgKt5TZMeB0OO+DnHXnjrmphI6DaX8ws2BJkBl3EseSemSScc8VK&#10;V0vMrm5JLmV9rfhcSRgJWjbcEUBGCnJBzjgg46jrnGBUPmxhZJY13KTwW+XgDp7nHH5U9SRMAcdc&#10;Y4O4fhwOgPpjJx6VGYHIfcuXwV3YAy2Md+nH6VLa9pGVtrbBKLUpOe7J45AEBwGZQvAUgfdwxXtj&#10;jJGTjPfkipcStuRIgpViGbYPvDJUkDvx09iDT1hubhJUgULLHA0rPna6AK3P4DBx3x2rBHnJGqy3&#10;CTcFGKo2XIVDg5zkZDc4H3hkqOR1SpzUY1H8L2Ip1IxbpX16/oW5JtiMXj3kcRkHaNuMl2PXHA4x&#10;1HpzXLaddx3TXsizM8M17LFHCw3KQhMYwevOPXsecYq5f3rQwXMjhWZIGkXdkRyMNxbjOcA5BA64&#10;PsKq+AvDGs3mleHrO1s726u9fu4LLTre0sJ9R1XU7u9k/dW9nZwq8080hbasMKM7FsKDwDrhsHVx&#10;EuTDRbbstPPcxxGKpUYOtWajGzd27bW/4BPJLueZyPmLFm7lwxA5HOTkMOn8R4GARVtrK+1XUtM0&#10;LS7S91jW/EF7HpGkaLotjLqet6zdS/LHbWNlCrzTzPtYrFErMxBAFfZk37L3g/4VRQar+1d8Up/h&#10;bqjwLfL+z58OtLsvGf7T2rRERSwnUbaaVdM8KxyLJ5gOuO1+yJOBpiSphuR8SftU6h4Xsr/wv+y/&#10;4WtP2YfB+o2cmm6xrXgXVrnV/jt42tSgQDXPiJcY1dlkEcLPaaU2nWO4ORbYYqfRlgsHgOV4+peo&#10;tPZw1a8pO9o/i/I86OMxWYNPL6dqfSpPSL7cu7lvulYwNW/Zq13wDbJe/tAeLvCPwPungjuD8NdV&#10;1JPF/wAepIneGRJJPB9mxfT1KTJKo12406R45UZY2+7Xg/i3U/AMNr/Zvg/SvEkkkF1vn8UeKNZt&#10;p7y6RAVMcenQWyRWuWUB0aW4Y9pORjz26ikmmnnl1DUGmnd55JWummmmdmkBeV2JLNuySWJZjjnJ&#10;Bqgxljj8trnzJS3lLLKQpjKjqQT0IxxntXJVxEZTXsYKEH03fTdnVhcL7OnbETlOa+0/dXyin+dy&#10;xPcsZCPMkBByyBwRgklgD+Q/D1FZMj5V8I2WTeGQNxwvO/A5BDHPXABxT5LhmaRyFd8gsxAU4BCL&#10;gdz0PvnOOuF03SdT1y5g0/SbWTUL2ZAkENkfNeYl8IdvbO09ex4PesKNOrWny04ty6JamlevTo05&#10;VL2as9Xtci03TtU1y+g0vSbK81a+1C5W1tNPs4heXV7I5EKxxhdwLE/KRjKnjAI4+nNS0zQP2cNH&#10;tVmFj4g+OGpwicsTFfaR8MImjYKseMpLqDZJaTO2E8KCwyuzpcvhL4HeFZGt7ix1/wCJGvFYdQ1j&#10;TmTUZfDwmUKNNsXVtpndjtlkUljkopADbuguf2Ifjbq3hUfGL41a54M/Zs+HmrKmpaP4g+P+pXlp&#10;438ZLIE2/wBh+EraI6ncpIm4rK4giAA/edK+lw+V4inh5+wtG3xVW7RX92L6u27XyPn8TmGGdeM8&#10;TeTfw0o6ybf2pJdOy27nwlresajrF9c6jqd5dajf3NwJby5u5TcTzs2AWc++OR33E59cO4lfdNIc&#10;kvmQhvnYEFh14z+ucA5x19lux8IfB1/JbJe+Ifip5T8XUmmxeAdFuioUOPsqzXN0qljj55Qdo9SS&#10;ubd/Ezw6tr5OjfB/4XWk0ybWvNR0y/1y7uA24L5jT3ZUkZVcoqAbWyp5J8irh8LRs3W5mn0V1uur&#10;tc9RVMZUblSpctl1dtLa6W0PJJPkViHYbsmMqgUqpPBwDxnPJPqOlUwzbCoLB41LCZflC4YMvzYy&#10;cY4x/eOO9dxb+LtKd5Jb7wb4Tv0ml8y5h+z3OnxnJZCN9vNFIAdrEYIJ3cng1Su9a8L38sWzw0uk&#10;R73jC6Nq9y4RSMAAXTTn5cLz32475rGVKjyNwlrft0OiPtnGLlFNWel/w27bHFk7CyFYwZFZ85A3&#10;MB0PbvjPpUYaOPcwCL8pZQCoJIHJBHHy85x3IPbNXtT/ALOEsP2GSeSJ8lzc24V0PICFlODx9PpW&#10;U48whY1zhwrfMY0+6wySOn3W/wDHufUnSUY8t/mRBvlcbe9f9BxR8sgVXQIA6s3mbuBgEE56Nn8g&#10;OOgi5RjEWYyOPmH3GBLFsHGeTtx06HNTEO4lQYdgx+ZlGdpDYxnr17cZHPANPj4VURQvIZWCjoRv&#10;BHJyccg/T8MlzOPO9f6RrC/Ooz/4Yi3bfM5YO/7vauUI+98pwckEL1Gc5GeoFTwyY5WN3PAPzfKu&#10;1uDz69Py5wAKrxqCQAyiQM2Cw+Vj95SGB7fMSWGcD6ka+laTqGs3UVjp1rPczTgKotYSWQ4LHdj7&#10;uFBYscDAPIwcWk3LktsYqpZXl0/MhIjURurDzCzJuy2FAzjGecdPcBhzXpWiQ2vhzTG8S6kANRvI&#10;2Hhu12NId+5913IT8u1CCFB3bnXOeBjsvC3w10XS9K1Xxd4suYbnw94ZZLfU0s7tVtbi8mLvbaVB&#10;PkebPLt3OsW4RqjsSQDny3xB4ln8Qag902yK2hIisLO3icJbQkNtWNeThQOTyTk5JOWN1ISjZbt6&#10;6dF/wfyKpSUtXotPn/wFdfkUp7m4nuGuJ3aWS5nZpHkXcynGWbqcHrz7jPSrluV2qvzxqGdXONxH&#10;y7mCgDp3x2DVhqdrsinESKGVmfIdztJxk8j5h+VaaELLtdlUbRnj5HUcEHg9cDpjOM5xXLNJOz/r&#10;Q0UkpXte5vRvt2PiVd4yCw+Y7WI3K3GByDx7elalu0jwKgAY5AdfMxvPUkZGDyDyawYmH752UD95&#10;8uVLqQqlcnsTzx7M30rYtnUqCGiDEh4lUHJBJ2jI9Bjr6EcdKmTTirG04xSvB3tdG5bs+YixjMJB&#10;MRyQZH2t1GdpUgqc/wCwcjABOykqqdyIFdXMcYb5QMgkMuRjJwDxzjt2HORyeUEZsyFU+byxglT9&#10;0EHBBJHBPt0rWidtpkYDLSBcIW3IoE5AJB6nCAKcnkdQeFKyXPYSmoU/Z27fpudDbFVZkZs4YEJj&#10;KOQo+6xI67eM9ePrWssrttby9zzt5yAZG3K71I4JBY4KnjqD6GsMM5MaRkgDcC2wsgAbqT9WHoAO&#10;enTTt3VgVJYbiGkHQ4AxhTn3wQp/hXB5OXZ+7Jq+n9f8AupJK9O1rP8AybN+EJFlUDMwjZyG+UkF&#10;gpJ+hKYP+1WlBKoXIkJVSDgLySuG6dcjt9elY9vgLEsrgxhl+QsWCsOM+xGSPUcdSTWvGfLG/Mew&#10;HhgDtVsDeBkkjJB9uawcYppJFWpv941a3/A/zNaJWkjLMdu4MVyu5kIySwHPQ5Jzx+AFWwgVwjk7&#10;xGGUnJ3kjgc9Dhc8fnWfBL5kS71IcH5SBulz1AwBkZAIHP8ADxVqOQENlWLgs+Tl2/hAO49Ow4xn&#10;HTNUpSVntIFNSjGC/wCC7f8ABLw8vdx5qlcKu3AGCw3Ack9M8n2/CxEgJCEZX7yyMu5uQEGcng/M&#10;3I579uKhJ80lApaRwrFWY4GDg47nJHI+pq2igPG+5XXABT15ycjpg+lTFJJ82/bz0Kad7300/Tce&#10;Y2kACFVYfKu/KL93OTgcdM9PwoI+Yqr7jhslht3dyTzxkgdPbr1pEbdtVW9QpIOw5GORnr15Gads&#10;LIx/d4DbWG3nI+XHXpketRGDTUebd7dyXeLbj0/rQk2tH8zESbjsJA2hQMfmeeR7D1xSbcSP5j+Y&#10;gXKkAKo5/wDrH8SKjACKyB/3hkz3VRgru2kdwDx9OtSSbwpYlvMwFO1QxQ5zyAcdB1B/iFVSTcnK&#10;b9PwNZONW7h00GKyYjD+YYz84cPlVJ28g9shV/L60wwkBmO35gEUBxGBlRgYHXGc9jnPGeanDFGI&#10;xtdgAoK4QHPHU8nHuScjuKjWUHbuIkwxKuI/9aFAIwp6DG3rg8025Obdt2PljtLsm/lbQcysQRJn&#10;KZhdQuxdysQTnocBkz7mlRSwPLhkQsuAW3dF45HZCDz/AIFuxpCqrsBkdUcsmM4+9k5J7EH2HuKc&#10;SAWaMlVQ7EBYq33VYnHIGMjrjPHAOQJd1+8WwU4qSTREcguZCjMSUaPkbCjYIPfHBzjt+qZXAVkZ&#10;MkJ65IOW3Z9e2f5ikYSEZTqP3qIG3ZJIJ2/oOx4zUo3GKIythmYEBdvzZYdSTx1/Ue9TJac3cdlq&#10;pf1sDqyuPkcBmbaEVBuOB+OcfzPTJp0nEZQqCFYkb2HzZAIBAGQRkkn3HTmm4QbZWkUjYWkYj5gA&#10;SO/TBJ68jOaSNCECSOhkLZOwA7/lO7Ge/Xp6cDk1KUl6XE3d3htaw5T8mdibm5zt3hsnr3Pf8Pen&#10;kfvSxd8EtgHGHz8oPsD0B9qZ5sY27SxUjAYYQjjqTnIGDj8/SomZt6tkwqxBGSVABwSfcHBxx2GO&#10;uTpFNvmbsuwSlGT1et76EcgG5iibz5mX2kZXJbn9MYFVpZNjquE+dzksclumQG/DBxk9u+KsrI6q&#10;cbQ2wqrANvYkjGB24IAP8uTUE/lIuQ6kKh3bQMhgc4yTjGC3PqB9apXXuy6IlKTpPX1/K3mVJQBy&#10;6SIxQq7HII6sMkdO3GfSsq4dSG3BsJgv3YKMYUHknIzyc8dz3uTOPMbbJlgmDtwQSCdoGDyDnJ+g&#10;69Kz5ZEKZY7mGHUMOM9cH064zyee/ArNyckmlr0CVO1N7WM65uMHcJcSR/Nlssw5DNnnJPI46ZI6&#10;8GsqR3ZRh2XaxZE3YKL/AHSOgHQ89M+oq1MZVUFEA5DoSQ2zjhnHXHA9sLjPIqhcFQZHWOMSMzTb&#10;VA3zFfMyD/uhgecgknvzW6h7q01Jk1Jcqeu339Slc3BBRM5SQ72LzbNhVs5bPRsjIPUZGc5FY90Q&#10;uYTu8wIfkTCNwQp3L1/vA9Dk+pAq7LIwATfG2ZcSybSyKuGDlVPbLZx/u5GQMYVyxjfMZk3LGWAC&#10;5ZAOVbGMDBBwexxjJNWkopRv1MrTdO8ne2rX3Iz5WZ92WfLRhsE5YBgGXAbI9Ao7hz7ms26kcOqg&#10;NIAyuWDBVw4LZ55BJPJJHJOT1q3JMIkTymQIuTGTlY4QSuQcnAwAoyewA4xzkzMqK208qpKoFCkj&#10;ocAZHOOPw561ondJNXX+WxFlyaL3luQTOqncrhgijbIMhlOOOoPIBzgdO9Ui6AAnhUcIy4+ZmBEi&#10;k56kHdj02nnrl0srFHjZ42b7vKlRk8ADHOT2/lVANuDMrozJliZMkjK7TgZxk89icdRjqtbKUv62&#10;M1ransnt36DFdiW+0RgKsygBRiNmzwST1Ge/frnBFKXyisr5G4Kz7dyLlQVOMHDYZuDk8d8VGZd6&#10;byyIrLyyZDNhiCCMjknb07H2quJd0jcNl852sTvJZiAMseBwvXGFH1ojzxTTdn/Wg5U0pXu2l/wx&#10;eaUMVkC4UOTsL/62MkDr1B5XOOmTzxgKkqiSIy5y4GGZQsZzyTjHGM5wB0FUndW2AYYB95LAuEXA&#10;GCB7gdOTt6dw4ZOAGDDeMrIeGOMZJB45JOMdver0kuXbTb7v0uLWT549/wAjVVk3Rk5fY2WCj5m+&#10;YsSRzn3OMdc8GtWDcSSAWaTOzaGVo8swzyTgDJIAz9TXPB4o0RlBILFlj2fecMUAPGcE456dM9M1&#10;oxzuETaoyoEP95m2gAtgOTzzwehA6jrNS7ipJbr/ACKk0pNxXvPt/XQ6aK5DLNKdpRZE5+4jKeWI&#10;56cgAe5z0xWvDPvOQhYhiQXzH5vDgrk5H3hjI5+Q9MkDmoWIkZH5VmYBARGxCleoI45GM9Bg1pwS&#10;FfNjKhogCI1IUBiwz/vclicEdycdamTk0obGilPmiluv6f4nU28jMRIgyyoEaUgAxgFgV3Hnq8hA&#10;zyWJHU52lYl0UmQu8joQ3zsXKryqjOOS7YAG3aoC46cpayMuwP5SKHIcq4LAkMqr9TkdOhragYNy&#10;ZIxGFKkYILMTuYhuCODwOeCvpWfKo9d/xWgcuiV97/J/8E6S1kLIXSImXaMAPzuAJ+b8Mc8c49s7&#10;ayKy/MwkUplwCO3O09x161ykDKHhjE58ssJgXOVlChwu0/XcD1yVx243LdjhSxD7lKYc5Cgbu/4t&#10;+NVVcFJR6L/M0vCKcFr0OjjmJUDdsIUBkA3bieRvB5z1Yf7x69rolBUxxglZBtD79hORyR6c5GOc&#10;EmsiKcYHmgYIVWKNnBHAwfUqFPtmrULRlyUZMHg/NkfNlsY7Hlvl9McHmpsmmkw5re/B6afgjWMp&#10;ySwyoUoAgBQAkcY9yB+XuKjlKuqMAS0jAPjO9TyWOcdCwzz6/WolZ1LBdgCqWfK7QCecjk88jvUn&#10;KKGDIFchAp+Xc2MnJ9uPz9qlT1TauzSU/dTn0GFSrfdJ+XacEfMCOPwO1QPXikJZiAUlEbEsrE7j&#10;HnaCR9dvT1J9TUkYjRHJP3j80incCOckA8f48DFGxyUfIJjJIJJj6hgMj2BPXpgUQs3d7W3IgnJS&#10;Unq1b7x9u21RuQFmIBYcDBDFs4GQMbQOexpNuSpSU7MbYlPzDJHzHOMD5hn/AICM04liXd9nzMqT&#10;SFTtQ5ZsAfmQvXimBSrkIRvkjKqGAaJeO/0bIx7e/Di4rVv+uhqoRai3r0FfYMv8zMowEQkAkkZy&#10;eT1H4UisvysyqDGQ0oAAVgAe5PfKk9sZ6U51lQou8HZHgsAcueNwWoY2G0cB2LBxG0YIwOSDkfxA&#10;Y4POaUEpaS+7zFON6t4q1kP3gASZ8suijEjAop2jdngcblLAfwggZOKazM7Dy4yiFirITtbbjgbh&#10;jsevbJwOTT225wXUOqjgNkxkZ4GenTk5HtUKkqWDOgYZ4UHK5wBxxkgEH8O9ZODceaG//A7fIiMn&#10;C3O/+HHvKrJI7bdm4u4AClcLywbr0FRxq0qFH2p+8KsOd3JZsYA64DdP7p9DToy4aY7CWjO8qAWa&#10;Mphvu9iMHJ6DGe1Iz7VDIxxv3Mdm0IAACowcZ4GQAen0rRPRKK0H7OSmmnZO9yOTckjNtcRLkNtX&#10;LknggjrjPFR+btJTdkI2VzwF4AGMdeCevFKZDgHeisQS427l+9nBPXJAPbPOKpSuiYc7W3tvBTDD&#10;/gXoQDx9MjIIJ1btC7JcHZ2YPO8WcsQrN+9x8xOMEDHr0P1J5wKqyXBCyBCoc4mZuhXdknHvn+dV&#10;JZQ6rcMWQiQCMsFJJyF6Z/hBbPPeqU1wrNKDIpbzvvsjRpjAIAA5J+6MnHU8GnKzUXbRX/pgrSnz&#10;W6P7izdXTSOgTCqybCCBuK52ggkYULhif5AVSluDJEWYsCYdgQYQnvzx8p56cZKnHSqUl3vLK0i7&#10;gT5+DguoUcADk8KfzxzwKyZ7grv3OWfDf6zluMhjwTk9yckccVUJtU+W2pEm+Vq930Lc07eZgtGB&#10;JGSA2RJIQrblGAQMnGOnLD6HNlvmL7nbbiQtHICPNkIzlR26E/L07cDOcy6vEYn5AJCoDjaJNwA3&#10;bSevDE9jWYJA/Bk3yzNudSckbfkHAJxkmMZPTPTnk9m48vcyvL2i5dn/AJfqXmuwQyhlRreQbnBB&#10;EakAFevXDAnpn8M1iS3Mm0OsLTGR8bFbdncSpAGDjO0ZxjIAORk5jkkf7i5CygKu4bw28cE5PQ9R&#10;jkge9Z0j7JMF2LKokJ5Pn/MOw4x8oz9T6mtVCHI5KWn9fmKr7TkXM/duWZZAoTIZnKDcUPyjGSP9&#10;4ZHb16VSe5ICs0aoUAUsCA33t5PYZy3U9j9CCUhCXwRkmNUyqnqQSwAyDknr/Q5ZhHG9mjV3CsGT&#10;CSPsjRDjOTkbc8d26YAFSlO2vzFyRTbun/wRkoXMMW1EjAMh3YJjUkqCCeW5WNevXnAJOYEMhAEY&#10;KtuMjjO4qCC3A9FCFif9nOanePzniZtiBI8IUPDsMnnpj5g2OcgcckZp32U5CGRdyOyOsZVwhzz0&#10;PYFSDwOOD1rdKLi47PQzlFRi5LTy89CvGhGxY1MaGIxkLGDgLhRsBPPRjjjBz6VIkQkYQs2dp3MD&#10;KGGcH754AUgdQOSM8c40UGWVjjDRhFADYQE44weGP3evqMDOS6NAAjcOhcsVLMI1ITp7Z6Zznk9K&#10;mKcZXlql+IVIuKUJfd29fUqRxTMsYVWWMYZV2gEKQoUH2PAIboR78Wkt2dxGGAKphVKkhV+YHjH+&#10;yB9cY5xV9beOMqFkjL5AEhXDHKvx15GCeOe2OnNpIowVwYiuVlUBt0YJ+cHZkjqfwBySaqE7WS3e&#10;xo6cKUk1qv8AJXKMVusoJLAMrtJ5bORnd8ufTqoGcAkA/N8oFWrezJkKMoQxsoZHYbVYcbc8D1Ge&#10;OmeO80VmT5RRiBuWRYRkDbg7ScdML83qS3fmtWKAxlRtVm5JKLiMbghBBJAyB5g6HkEDdlTUx6p/&#10;K3e5E1KaVtPPuVEt0LBkMjKWyhY5GTsYDkcfeHX9MGrMUORIzZH7zdlvlLbSpYqRnn5SQMdcdOov&#10;rAxBGxHZh1jYlVBxtGR6dwegzgHGDajt1XbwrqFzxHuRtwbqpGAFwpxjGGHTOBMFNtJva2ppTXJz&#10;aab/AKFNbbMaIoVsZZURdsanOAQMYCkZHGAMEZ6CpxAhVSNqo5C7wuWVs53Y78YGTj7vvV1UdmBj&#10;ysQ2b2aPbG67QG5A+b5ifwHTqDaSIKSqnJ2gFg25o/7o288Y6Y6Z78CtJ7J/1qTSfK5yb0IVDMq5&#10;DSSCRmBkB5ZiWAKjBABbgdMA896nQb2LCT5nwIipyMFgRgnnn5cADrwMDFTCNVYFDEzO53AnESkl&#10;BnI5zw554/E5Dk3RSjaUywJB3EFQANwCHgn5txyOoxld26s43cXy7v8AO5tZWSa2enp/TIEjXbg7&#10;lKtuIKKSgznGDzggdDzuc4NSorblRlbOCxwxWMqxUKRxu9eOQM9s4L1VHOxlUKAGOX2og4ySTzwD&#10;g55yeeaYwfcMMBLGxlj+cqHVWO0njpxwfYnrVr3fdto2c1NzcvxHMmVZRkSYHKDl8KFJ4PGCOevc&#10;8Y5jVjzGApHlbSxYuUJ3KzFj1yCQTkggj8AbkVVBV2JAMa8RLgg7eRjpgEnAHPrmqm4jA3ZdZHjW&#10;J0w+DhiTjvll5HbJyOlS7p2i9ErW8+5rNxmk4/Fr+RWbLszYkzuIJDzEMQcEjacYOMjHrRT1kRVC&#10;h4+OP9cI/wBNvFFZqMkuVJkKF1dzZWVY08pw6AXBLExknzd2Coz7A/XAQHpVkTGR/wC6UDKzMhU8&#10;lTg/99Y44BUfWm5/dKyJJGvzsyt+7RSUTeTvB24Krxwo5yp7LKyysQqyyDJAjT9ypHXAbkjPrzwS&#10;K5XKTlzSXQ0VWS9z7X9fmSBSEQM26MhXeNlIzgEEHgj7uMkEAHp0G5R8qKrK2zO3ZLwdoO3C8YHO&#10;QSOMg8c5okyzKR5Zj2yeYGAKszNJweAOh2ZHPA45BpyqWJYsDD0O2X7+1JJGYAcEMRgc8k981pOD&#10;qrlW2/qXKalvou/9eYoGyRSjFT1B8xvNjYMRyMYJBAb/AHeQSeKcV3RhTtVs4YhDFGWPO/aWOMhS&#10;MjPBGecZYqHMS4B3JtQgB9vzDDHjkDGM9cH1xRvWIKhDIXdpJC77Qv3mQbjgYJx17NnGBUuPOrxe&#10;qM7t3lfoOKzsAdzYEilJkOx1GAMrtYYwzAd/pxw0jzo/ILvwrFGLFZNoKsAB6fNJgL3x9CgkcAEk&#10;ONzM7ZzuXAweOSMjoRj5h7UOAAdwALHMiM26b7oA46/d2DjpuHJ4y1zJNeZUpRVnFe919LokIcsA&#10;+Q2SyyMQ6qQWONueuTnnPI6Uz7OdpjCsfNVlEjjaMF9sigggjocY6E+wy8yENCXEbosqbwAuQAfu&#10;/NkAZ3AfXPTFEchjKkyYEaclxkrgBiAOMZwRgA9AMEmonJuPMnt+mwoyhF66PTcdhnJKnc7DbhU+&#10;YZwM4HXtnr1HOc5ZgpkPzGsYkwSTJIzEHK4PoD68YOO1PkHlgtEp2qGEnlsN0uA3PofugBRgYxTg&#10;AwBdvLJZggaQMVLnactwc/JnHUbsjgimopNN9Eax96fI9uv5/wDDCNmLep3QuIwyg7trsAeFIbrj&#10;bz2D59qhCZeZYQ0HlS5LkhY02g5A+uztz+PBmDMrugKlXjUrIGDcL0UDoTxnJJGVGRkHMZjIib92&#10;Ssq7VB+4Btwqlh/u888gmqitLLfcV1KXNJ6J2JEjaIlGRGKphgUMhXkq27J56qBn0qbG6PqN3ODg&#10;MUHXJ5Jx0GCcZU4xyKjVkLglZELD5TI2UPzHox6nvnHGB04FSNCyszp5bfIMYG7bgkEjPp8o4xkB&#10;ugPMqcXJtbrv5Grm4q8bf8OMCopYMQRK+GQpuKEqRg4HIyAcHtmkbn5XlPmFVYQBgZGzhWwcnuAO&#10;3c5OeGFd0jRgkMECs+eDn5SWxjAA69fTgVKiyFoyFlLySMwJVSG+dmzu3ZI6gY/u5xzku0ZVJczu&#10;9zJu8JSUf66r7yUERq7DeduUCqudpUZzn/gQ57/nT1+chv3cpGNxC+YThQwwufoM9OM5xVYq43jK&#10;spjxI5OFTcNxY9eo+UqegPrg1Pv+aQSMoaZcYEoDxv8Ad+U+5AUn3HHrk0pyckvv+RmpNzUp7f1Y&#10;cjFYyWkOxF3sq4HzbSgYeo2ySYJBwHOCKcFDMyyNIoWRQdpLI5AYKM9yMAnpjOeN1NMbgu7EeYZN&#10;rhXwBu+9hc4BHIB9vTFTAFyEG7bkhUZwxjbav3emN2weuT6d3d8zgvh/4Y1vo1b4dh4UgrwSGjSI&#10;E5EvG/rgYP3V6Yzkn0yxdrAbcOApLu6eaG6ADOcEYJ5HXnr0pxCYRjIUdSvmsy7jkMnzAg4zhQQe&#10;Pw5qaMZynC4YbckuF28ttGORwRz6duMVCXMkk7X/AOANzS5Yeb+ZCAU8lWj3sWYbgQwK/Lk5zkDn&#10;6YBqcxqrJ8iMoUMySABcOrKVIyemJODwQBn0pior5OI1fO1QWJyAQQWwOAcDPHOOvzYp7AksAUMY&#10;YlCDluQQDg9Bk5/HtSezT2/4Ypw5Y8016elhNigr9yTdH5ZwSjSHOAOPzGffqOKNjBdmFVwAISoD&#10;nPXDenLL1zznj1lEUYYHa7KsbrtDbgnAyQTyOFAGOeTTJDGJJAAyxOr+ayMY1UHfnanAHIAH1HTF&#10;TFc0ny9BWjUoqT3/AA6C79rbo3VnBRFkjchlxkjO3ngtzk8cc8YqcFVTzTnAAUKXC/LuKjJPU5cD&#10;kgH5eh5qIAN5ThS+wDIX52jU4yfbr1PTIHUmho383a6MVkcOTIu5xjoDngcsef0otGUeSOoL92+b&#10;ft+BMiIcqMbi5YKXJU5J2gdgOcdOPc0sSpyPlZdmUJO1Bgq+F5JwPm6f3+2OUiUq+11Aj+ZYsAMU&#10;AHGTnJ524zn8aaXRVSMCPa0ZITd8z4AzjIweZB3H3hnPAq3a6u+wKTp6S2Tv/X3gW2xKgZTG5Mas&#10;uJFYjlPmPI3cdeeQMcmnxNIf9YExu2SEKAcgc4PbG3pnI3+/LXWTeZFEYQfdYSAv2y7AYwPk25b2&#10;65yJ3bACnIdTtk3R424xyR1yCCOffvSTaaUUJX5mr6329BzxOY1cbUCEiLAxt+bLDAI67mzg9z1y&#10;aUMowxLbNuco2eRgsM++Rx+naq7HaygPIolO5DIDmMsTk4P1GB9eKljk3bo1+bk7mLA7MYz9OVK8&#10;d2Gc0+Vzp3l5GkFL2cpS0fZ/IRMyK/lHZtYM7lTHjG4jHPu2SABwtPkVQS0ar5wX906t8wbK4I4y&#10;D2J5GG6DANBVkTcuUj2EfMNx6c8nk9j75oR9gKJEW8z5owR8wOTggfTB4rNShH95bsKCk33stf6+&#10;RJIqrHv3RlgV3qT/AKsMQT06EDH4Z7cVEwVnUyBmCxHAUhkwcjLfXk/hTwPLD7QMcg/NweevQgce&#10;/XAp2wOyLudVZseS6AMhz8wboOCQMHpzyKUZVFdPYz1hJQtqNVnXY2Tt3rEdwDbsABWxnAUqq4z0&#10;AGR1FSp829t6shjMkbod0R+YEEMOMY3Yx1wBz3PLCvnerkhT8p+V8jdx/wABBPI7cgU4RhQq7lDB&#10;QGj3gIAI1xgDH8RcZPHTHSqg4xfLbpp+Fy406ji5xSuv6/W5GpYysFYyeXLslLNmMZwW29DlgeD6&#10;FeDQDvRWIIYHKOAWYkliwHud2efTt0p0WAqNGmMxbSG6xkDAJPTjHUGmiVoyoJVG4CMzEgZ7vxjB&#10;yeO1JaJya7GnPUjG0t7g0bFTHhTG64bfhSwOCSPYbQCepJ6HtYj4VS7Kx5XgZJUbcgHOTxmoWM4G&#10;EaIkhQ3zgrEemCccjHp3PbmnMudhdF3F9z7hhlyM9+h781pa8fZy2eliOZRaUd/PzJjvLs0Um5m/&#10;eFtxMjBsjJPX+92BOTnOakdmQhlxsIwUQ4YgggjjgjtjpgA+wry3BBCFQVVVzt5fdlu/tnjpnA4H&#10;Wq8k67CXZFwql1LAhQMEhTg/LjPv6isuRp67aW/Iq6V+Tp+djTAQqHwQryuoABQgbUYDgdy65wcj&#10;g46ZYoCvImCRGwaJCRtc5BY8D2PvkfSs8XhLmNlMgeUkOAGUHnLHtjgjB6cVajvEkAMe7gZ5XaQT&#10;kdDxjGOvPNXyOC5Zb7/iTGq+WUprTRX8/wCupKgUs0hyzI211H8WABlcd+/4HrUcjhmMbxjDkEAc&#10;mTaBjB/D81708ElipGG2kt0TbyNxz6cH8CfU1JgbVMg3P5rKQIwkZB54AAHJYnIH4emet9dxwjdN&#10;Lo9SIOAkZSOTcE37C4QEEMNuSeucd/rnPCeXiN5CSfnyn/LQr0GNuemcgDP400YLg+WDlgN0ig7V&#10;5O78MD/IqQKSC7EbMNgAbpW5yBjOASQOvbPtVWirKK7BCUJO8lorar1CNck5MknIDOUCxjAGMc+5&#10;Ge+Dx2pqkAMAQvyruCqQdgZfuk8cdiD2+tDREHa7bQGOAAGMhYAN/ukYXoc+4qFAikug3rgthUJ3&#10;YyuAPU4HA9aTlFvfVdB3dtNl/mTny0XyzHIR5qpIqsNwzjOfXB7g89s5FNWNY1YruVXwSxJyu7J+&#10;vHP+TSgFRG7BQwP3S+6MsWJ5BB9Ogz688Zmk+eMoVcM7YwqDeAuQeM54z9Rg/hMVHmXLvd3/AAFN&#10;wulPV6NfcIUiY+aWTCtskIHzMOnAHX6+1NUGRAxLINxPPEgAG3Bx9efoalUuiKrKV3MpWRThMEAn&#10;HGcn68YqvOi7k2s5QMxfOGxwxHzY5ztGOmN3bpWsE0uS+i/pA5Qi4u1+/wCpII4wgJ3Mm8zMuNjS&#10;FFLbQCSORuxwT19Kc0Rz5hUqQVy0hYFCg7gHjBz9fekcu5VlYNj/AJ6KGD9D0ORwe3cMQcgkUz5h&#10;H94jbIqIyAYJwGO4jr/Fge9Tolyvq7/5EqmuZJ6xRIqkFhICoDAK4OJDx0PUjBGKl2fu1TADFzkp&#10;hW3HnI68FVHXge2TmCMGQhRnaB8qkgqoz06ZwRjr/ePHWpET9wwJPB5MhLZwVIbJHqd2PcYzUrm5&#10;W1o+vQ0fO/dXqvkAAaMZSPKkMjMgO5lJKH2Occ9QRnrg1IRvBDt0GJNp+8oPYg+oHXPTpTYmYoGc&#10;kqnC4bcMMV3Fj1HGAOuOcY5pigsAzFWWRiqbeARu4yOmOCPz7YNKNoe499P8zNRnKh7i30/MUsu8&#10;RoFdfLYqSPl9eOmOmfqe9KAkQ+Zkjd4yArK37pe/yjnJznkHODjkmnIdzAIvAZSrucoN2QMNjvgn&#10;jHWkkUhdzF9krtKjMhT5QcZC9jjBznGW+lVG3NLlWxXNbWPp5C/ME3O5Ykghz86xjkkdOnJHFACf&#10;N5gkXavCg7SwX5WHHHUjIHIAJ7GlceWAhIZigKufv4A5A/Q5HPFV3ifbvTcskTkqiMEcjrwew/xo&#10;SkttL/l2CycLS6/1+lzhvtkmleNDprBjYa9p0mprKX2OtzA8aOCcbjlWjLdhwP4mA7xnZDlWD7fn&#10;IRSUcqchgOuCcEDr0rzrx2otrjRtbihZl0m8LynbucRTJhuT/tJH0I6+hNdql00tslxGsiiRQFwP&#10;mkDYH4dx/wACrqqr/Z4VY9br7v8AhzDDzh7epSttZryvuT79z79zswyFKPsMfqPT6A+h6VnTMpcN&#10;FwIcuDuwRgYx6DGOQMj093SSK2xBFIgUkORkeXgjrj8c+mOlZm9FLlFZufKGeE74JbgevJzxnr25&#10;4xcXzpGjnUjT1+L8rf8ADnbeH9Tt9J03xFdlC93c2LaZp8mMlWlIMrKG6jyxJyBjnJ6VwYkkuZ1S&#10;3aNzIC+C26LBIzz7+lcNc+K/7R1w6CsJjt9AlL3Ehbl57oQeWT67VhKj3kYjvX0r4I0HwBomlDxz&#10;8ULye90ZH8rRfAGkagdK8S+OJ0ZcrcXYVjp+ngsfMuMefKAscCqWM8fu4jD83sYzko04xV362bt3&#10;/wCGPMo1KkHUUVzTlJLTW+1vRadTF0T4NeIfH/hXxHrdvqvhrwb4M0ZjZeK/it8RNQn0b4e+FJAp&#10;ZrSKaOOSfUtQ2Mhi0rTY5buUhVWP5lNe0f8ADQXg/wCCGiyeF/2W9O1zSvEt1Y/2b4g/aU8ZwRD4&#10;16oskPk3tt4YWKRrfwzpsiFoStiz6hOjzebeos3kRfMXx1+N/in4nah4S07WLiy0zwp4Uk+y+B/h&#10;34atV0fwh4Ns0HmGOwsUyQ0jBGmuZfMmncK0rsQgTyptUnljZIdPunwAA11J9nCgDaScjgAN3+nH&#10;Wsq+NrUKP1fLf3cHe72lLpv0V+i1tuOeX05y9rmXvzjqo/ZV/L7T230vsjo7/Vb3UJ7m7u7uae9v&#10;b2bULy61CZ7qa5uHkeaSWeSQs7tI1w2XYl5CZWJyTjAupkZk2FsFFLOzqzKAGwOMkDPt0yMc5Gfd&#10;al9keOK8iEDyEbWMzPEhYttXJGc4Azjn65qmLtJvMjQYRU3q8XzxgBsEc89W52n0JLYIHnQpyi/d&#10;Wj/M9J4h1U1PVN/dpoPllBLxGV8SFVyxLdhySck8jk55J471RmWQMIg0Rj3NISAUA3DYXAPHYdTg&#10;4AqO5nuJW8xUjKg/KFUxLuZdwJXngmNRgnAJB5Oc+ofCvwhba9LqPinxkw0vwH4UP2jXNQAJmvZS&#10;oaGxtUwQ00pD9MgLgkYBI78Jg6uNqctKyjHWT6JI4cTi6GFhzTV3KyXnJ7JFfwh8MbzxHZXHiXVN&#10;QtfDHgzT2zeeIdXPkQNtb544VP8ArZFA4RcnJ9iB9a+BfCd3qljH8Pfgt4Ul1fxd4ms3ljvdRC20&#10;Wm2HAl1jV7lgI7K2GCVV32jYpXJxjhfD3w71H9qrxXp0+pW+leBfhT4Asnu7W31QSTaN4dsY5FU3&#10;EtuCpkuH2gDozyPtUgNWR8cP2o9J+F+lXPwm+Cf27RvB2oah9i8XePLu4ZvGnxDvGbb597Mr4itk&#10;+5DZw/u4wACSfmP0Ua2EwGFcaUbSnol9qS7t/ZT8tbHi08NicXiuWpJWja8n8EX2ivtS/C/kfSD/&#10;ABj+Dv7DkyxfCDT9A+NP7Q1tDm6+N3i7w5HqPhT4eXjZFz/wiGl3G5WnBaVBqdwhdgWMYj+XH5wf&#10;FT4zfEL4zeKtT8X/ABK8Xax4u8R6vdPdahq2t38t9OzsScKXY7RgjCphRyABXnF7fS37PJeXDzTO&#10;RKLlpDMzdOjA4IOefm9iKyJCCVYQyB3kKsiAFwAvRV6DlSu7nG72FfOYqvi8dJfWZ3SvaK0jH0X6&#10;u7PboYfDYGVsJGzl8U3rKdrbvf5Ky8uo6RQ2xpGDLKmyT5Sm7BHOCO3B55GV6VFIWiMRCoGUlVjy&#10;27cAT8xIwM4BAGeMGte30nWLqLfb6bMke3KXMtt9nt5GK7CDK+FOTkA7uAv4U1NEuo2cz6hplowy&#10;21tQ84sQQAFaIPkYVt3UDbg96dPDzdRKW2/6C9vCFS8fX9DDYP8AefMYUGPGFjdccrkEYI46Y6eh&#10;zUWwhfODFN2SSEPzYbr1xjIwTkc9K99+H/7OvxS+K7zR+CdDm1i2RGuZdavVfSdGiRSSZZL2ZBGi&#10;4IO/nG7n0r6U8J/sR+BdJkVvjH8bpdHeC2M97pfwp8Hx+NDAUcRNDJrN5c22noVYk53nAxlR0rvh&#10;kWMrwVSdqcdLOTto123/AAPKqZ1QnUdKhebS2iuv5dj86nU+XFGVb7o6DcxIHQ88HAHX16nkCWNT&#10;GhZok2krgEKwOdxP5EE89PTkV+iEvg39hzw/Iwg1vVdf+x3TLHceJPFt7f6hMsfD+do+jWCwDd+7&#10;KsuosDhhjBDV5xrHj39mfw5HcWOgeCofFNtJKyJrmseEjpuqWkshGyNml1G4BUCM7ZNm9gp3EVdT&#10;AYGnBRqYlaX2TfX0NYYvHzTksM9/tNL9T4vVHcNlS3luy4CsMgnLZyeMt+HC0uPMDof+WSqxXa2A&#10;Oc898cZ+vtx9FXHj74QxyzPH8K9LvVmhd4zfRyJsJGN6vDKjAjIOTwMcjnjj0sPDnieG/Ok6FPYQ&#10;aUHuBcR3yCGBAzsUczJIzH7vJccFxjbgjkqYWhyt0al3bXRo6I1cXCd6kEl5Na/8E5Dw94bm1qWS&#10;SeZLLSrGASX2o3H7qCJDzhe7uTwFXk5Peu40Vk1G4vtF8LK+j+HLK2kuvE3iC4Ki7a2jB/eySDop&#10;8oBIhnczxgZOK5O71U+J9S03wp4ZttVt7V5xDbWU1msSxkjDyzXCSMp+WPczSbcYbC4BJs674i0q&#10;zs/+EF8LX8N/p1vKz6zqGnyKW129RjEzEYB8qIlljVuoG7+PdWX1edOk3a6e2u/m/JF05xlVSfxb&#10;37X/AFJ/FnjW71+HS9A07fa+E/DayW+iaVDyzPNtFxcyLnD3FwVjLvknCqoICiuIjhjSIkSyI7DE&#10;bONjHL8cY4GxgfUHjGeRWUIwlMcYZFyY5CAA4GckrycH5unTmtXTbDUdUu7bTbO0uLy9ucLb2tmj&#10;yyjqdyqoO3ooJwoyMZ6EqNOcpJpXd9/uv9x0KunTfPp0Wn9eRFGikIrKChbanzEEn3x3zjHXgkdq&#10;3LWABSMsybgZJZHCRqe4PXp0GOu4HAzgaeo6ImgSfYdQaO41iGQrfaZCBLBp52MSk8hwS+cAqgwO&#10;7Z4rPWZriNTLtByQRGoZEUEsG25APJwB7VyW5m5S1V9fy/yLopSvePb1saKeRsI8yZgM8sSSVPAI&#10;HsqAY54PHJrRtyApIV8FthABkb5VDMM5xxvXOegJPrWPDs8xGkRhvJj2As6fdIPf1PHb3HWtaCMK&#10;rk4RpFIPI57n8OQCf9r3rNRclapsXBJq1rM2YijRh4/mSPmRJFZjuON5C4zgHj3wD3xWrBFuJ2rK&#10;UXBt0C7GUsEB6ZY/d6e/1zkWqnJD7PMUjzJASGk7/QngnPcjp668RdonU/3RICCAcAh9vr15x649&#10;qWtrL/htjSNSMm5S/rsasAz823hvnTyuSqnp9R8pA+mfXGurZMcytiIjztqDaWVwW5IGSP3hOOOv&#10;qM1k28ZQMH3BlCRQM7A7drAZxjIxzwM8gcAZxr20ChowokAiYHBhdWjyignpyeMgdcqAD2rKCnFX&#10;vt+TMk1V96/uvp9xoxh16BnzFuYg4ZcZOccj+EnqT8tbMDMrJFOv8WQU434BHQe+emfp3rKt3DbT&#10;II1fd+9ZCNq7mJz6Zzj07AVooshKvvLBZFHCeW0XYA98e/oOnNN807RfXc3nzOLkl2ZowlFYJ85D&#10;rt3tlXyDxnqOh5xx830zejDhiA3R+ZSuc7yvJ7EZAOT6e9Z9tHMo8wlmPCquzyywGSfmPHt/wE81&#10;ownd9oUhjuiKoUPLHYMLwOhIzn1HJzUcslJrovMVN+7yparT8C5GsibAckLsUBgzbSxGMg85BbnP&#10;NWgR5o/csPm+aQt8hznp+v589KrbIwJAMpkFQ+wBuXJDtzzy2c8kgAdAMWkjUnymfY4kIbdHh9w3&#10;bznPUMAOnB3Z56D5nPm338i6cXs33+4nKktIqEMFj3sCCqkZGTtU8dhj/wCtTVi3/cZlycEbwpAb&#10;gkAj/a5yMcHA9RkPlIAVDBcOyqctu5AIHU8Lz7nsadGXkLCRNiuCv3CAuM43HPT6D8+Kz9nJLnm9&#10;mXOzvGaDDiQhVXCEKCvJ5G45B+mOOnH4tLqHDBpFIUEBRj5QzLkd+0fI/vGnchZkTOGHmSljhs5x&#10;gnsTg/kaakZBSQoQkTEyDYFI4O314OCe33T072pWbk/68yZOUF7r7fi7CmLaNpVQSC8bK28NknBJ&#10;IzxlRjJ+6SSc01N8bSDluBtZiHG3OQD9SBnjHymplADKqx7nZTlXOQobpyeo5zn64qF/mJbAeUoH&#10;UBwu9SBjJXqRvOQehyO1OMebmUev9Ic0nJST1Wj+9aA37uJN5+UxgNgAKrN1A4+7xnB7mnOg3MHK&#10;GHLMuWwAo6kjPbrj6YGeKBtxh1dkdSdv3tvI+U+gGf5ZPJqSRW3Alo1LxBcMFYhWJdk4OeCxAPJP&#10;6Uoz5W23p/wxolZSktnZf8EiIKSRqzkFS2za2RnOGZQexGzPHp7U2OPhcN5n8JCguoO8Ele+cZwP&#10;btUrREgqEjKxjeCWyr5AYE9RnGOAAOPcgHQRspeNNwQCTLyE8DJJ6E56dc5692nzN8mwo06cY+9r&#10;a4IHBkVl/dt0ZnXCFSTgc8nj1xkj1qROHO0/NIcyBAFKkFgCR1yQFpEdNzhE8xcFXLrgtjrx054p&#10;jABV8tMYcB33gGPOTyTgYGW644zzxSundfeCjKymtv8AhhqI2XQEAMhba52+Xkgjjp7j6+vSvlwR&#10;G6gokRcoTlY1UjjIzwM9verxDKWH7qTzMmJFIYtzgtntgbfTGeepzUdWQk4wu/8AehkAYZG7pnkZ&#10;wBn2qoN8r5/X+vkQ+WGlL5kMpBfchCKznA27wh4bAHQ4GPbPvnGeoIDkMfMMxfngrk+megOSOvU1&#10;YlZwzSAEKW2tubjPpjHYHP5cc1SnZVXe4Zyq+YQp2n+8R0P8jj0qOVOG+ml2UpqU7NX0af4MouY4&#10;45EdwqshV/MOI4gRhvn44O5gc8YX86MrRxriXc5a4b5CejFiQNvQjBbp02Z9jaldFk3hpP3MLNli&#10;VTGcsrenyhhyCQccYJrJmMpV/OfYinBOSQwAVifoMED1BPGSKmooyipJ6aXMruS91+6ULiPzU2b/&#10;ACkkLI7SEZO4gAn5u+cksRjJyeKz5nD4ZcIShbcXC5AA3NyOcbgOvciprk7VZCybw29UkHyZK8Aj&#10;qBuKnOD949Kzp22Ku5ZAVjO50B3KCrgoBjHBWM/NjPPHcbwg20/MIR5rqW7KMylPKClNoGzBw+xW&#10;KnaxB6ZUYHYnJ7A4cgGxXUPMWJfoyhsuSFLHOTgqTjuema0psrCdoYuj+ZEc7VRiSVY8EnDduRwM&#10;jrnLmGUyh2+WzqAoJiXcpJDZGcjMWPTb+JqcYxnpsYKaUm+V/wBIzXdGZjCowuchyRsIyx24IPqc&#10;89fYGsO5/eH5t4aXgt5g3FXG0he44PTrn07adwzLKzYZhJKsilG4Viu4Zw3JwNo6HgE+hzJXlVw7&#10;IrNFl45AoIBzkHHQ8nocH65rRONJv8CZNxblNddfvM2eQrIkXmNxJskycBAAckN/+og45IqpKW3s&#10;vK7wRIgUpjo4DLwc4UnHHvzUk6PLxgiTcXA2ZKDK5z9DgY64brVSRirOCxbAMvDAyTLyvy+nPB+p&#10;6nNaRvO/fqHPaq4NX7eX9XIWYiRWJSMEiN5FJzKd/BBXPQM5x7HpmoxLgsYzJKPMVWONqjBGTnOF&#10;yykAehFNeUtvZjGdyYZVIBXOQAxI5yQB/wDX6VVBAwQI8OVOQCN2Twe4PUkds/Sqgo/Z9SW237ra&#10;W/32/AuB1ZfJRzMwTIKHy0cjnLYGScd/X0FWYwzBEDmPJP7xnBIGc8kYXPOQAO5GTWW7FQzdCqjI&#10;JxyActyMEYDA4OeRwM4q8srShUjYORN5EYiPmrI2TlVYfKfmAC7dxJJ56ZJKUpK25nzc6sviX6/8&#10;MaMW15Q8Z3NuaNnOIVYHCggDIAJK8ezdMA1ahkDBWT91vkbLbyX6rt55HAy3vu79sqMNI6AhYwfn&#10;t2ODx3xhR0BB565x2JrTjjEjO4ZVl8tkkDjfGECowPY5OZjznBPIGc1ClK3LfRfqaR5pvXbdLzVj&#10;dt2cyLIdoDhUfedqlixZcN94csuSx53de1ayTKwjJ3S/LuiyxdueRjHQHO7HTkcHJBwIOBGmGMjo&#10;WMm5kBcqeQOAW44PODjHI41UPIBDRKHZWMm5dxAUcsOMfNnvjcetTCSlK/XY0fKk9LX1/r8zobNo&#10;kaPJLOzh5Aw8nJZST3x1zn3GeK1LTKjDsD5OGkTBaNyu0e3bqfYdaw7Nsr8ymWRITK7JGGVdqlsY&#10;PHIXIwTn3IrXjO8DEb7s/MjE7c4BAVhn0zx6nAx0ybnUXLJW/pbBT5uWMZLVI6GKQJlwy+YUypJC&#10;k4G4cnnGFPT+JifXOrbzBd/PJ3RbmUOQCCVJUYxzkduFFc/b5O0kmRImw8uS0agLgFgPUgp77h6k&#10;VtWMbYgwu4hGlZRtCOchGyc9sjAPYA0JRp6pf0gj+8qXi+v/AA50EckJJYF9ikIxxgjoSDzjpnkf&#10;lVuIlQGyHCtvVF/1eAT8pPbn37nvWZahnMiRMdwWSUwxp84XGWduc8IpJPQbDnGKvRlsrFlhG6rg&#10;L8m49R1z0yDgcHn04ThytW3ZtFxTu9jUJlCht4jLdFYF8YI7fQH1/OnlXDMN4aNMKWJDRl349Rxg&#10;EjB/DGaqszFGRldXbcyBl2sucgE9wM44PJ7VOpjyWjcEkkMCMht2Dk5PJJ7H/wDUpRtK0ehUo897&#10;sslFIaNnZht/uAjqQP0z7gj2qXALh9zcod2QQWPPX24JzxwDzVaJWcb2VpVxgkLtYYIB59MZ65Oe&#10;uanQE8ndIqNkyAZbcEIUYz1JyCevJ60rWXKnqS4NO0V2/wCHYkgBYDaApO9ASfLJGQckc8Anv1Ps&#10;RTwnO5juLxbVUnA6kE8dO3p/KpCoZsbgjFieflJwuSMf17k1CYgAHVjy2NzqMdQoHU9Rz/kUlq16&#10;fkac/K0t0thHVkERMoLSZVQgyVG0Z5IxyxbnjqOMjJXAZj5boAPk28s6kAE/N6dSc9zxSNtC7GJC&#10;s24soBz7HnPYZx+B9I2OCoUbSmZWJ+Vnyp6j04zj60OXKn1DRKUo9/8AIk3IzAnfIyMTjO3IAPIH&#10;fqPy61Wf5XbLEESZPRpcklSCOw6jHGCPrTZZI4iWG1gyKm1znlxhsnkEHLHPsPxgeQM29gVbefm2&#10;kK2AOORggZB49etNJ7x6i9yVTS3n89i3JPGQwVWdiSZAG2hOBgH3yM47H8SaMrlgI0kDLLuwxOx4&#10;yDx7kDPXnp3qJ5S68sWZ5UGdwCFSRnJPHCluvqOfXLnlJk3ABFXJRw2GyFAJxkcDdyORjJ5x8uvs&#10;5Ru0tunkW5Sg7yWpbkkQQFZFaSVoyg3H9420HHPVsAH64z7VXkljCZTahIG4EjeMgLnaeMttJ49A&#10;D0Gc77VkquSzDJkKrkg7Tkn68cH+tZ0t06gbFH8MYycuvB25HQnpkduOlTUlZWSv/n/kY/WPdbva&#10;60Lc0yyglWk2R/OcKVJUMAG3YwM5HAIwRyMEGsqUp5rIDHGOQHAAXgA4wD3IA78854qq9xKQrsys&#10;NoJwysdhwPQHk5OVPRlBOeay5rxmO0kb9zFY/KyqjIIJJJHbt0wM9RRaKUuqJVlFLZv8dEWJpw6s&#10;WHmMwIQZwGIcD7uSSADyxxknp3rKnuixkkk3qfLkiBXA8sTbmKqCCMZdyemdx4FVTcMrEGfBLIUk&#10;dGdYzvJBG3049OncnjMmncIWP/LaUAAf6wDauc8fUYPdWwMAE9MIKUU5bdBSleKjJf1/mXprkAiS&#10;N1WTlw+QN3JzuHHByR/wKsRidxDDcQp2ZIKnaMHc3Ykng4PQ8VYkYozYJkTA+ctyRvG7GTkj5SRn&#10;HbpyRnyl45SrAgxyYYhdiLwVOR68kdhwOBzUw0naO6M5e0Ukvk/u2HNIQx3ncCuwps2qcZH3Tk9j&#10;3wcVE2yRlBZkEilCeGCgkZwM9hn6Y9slCM+WyBmRVVsrzk5LAe/T25z1p6r5jbGUtGANipgCPAGC&#10;V7YHA9M04xSTSXoYO8G4Lq7+hAhV2EgGdp2KCCImZt5yxPrwcfWp4EBcK2XmZThx/CS4bdz0PHGf&#10;7zAe0nlkiEKYwjHYqbMS524HIx6MTxn5sDFXkjUrEyht3zELgKuPmyRwCR90gY45HI5O1F8q5t4v&#10;/IcI07O/z+ZS2DbjKsyrllXhWBBznJI49gMgZ65y+CAJFudJDsAbMkjMG9QVGBjB/M1bit2kdn8s&#10;NGGAKAZYg5H5HI45OMH2N6O3LsxUFi8SnZtDspDHk4yMEbef0HFJXjeMnogbXxW1RTFsFxvBJI3A&#10;5HynZujGPQn5T/usf7ubixb5JEBbYS5wcN5YO5uPwyTxnrnmrkcYJYeUQ23YVcSRIgGxj83rt2kg&#10;A4wOM1oQ2hO1VGTE/JL7goI5I54ycHJ4OMZ6mjaLbVmn/wAMJKpUUusd/nt/kZyWzo/mjAYQBEAB&#10;SMkt97PXkY6cfM2RwM6C2iwkO+0hG8uUzRo7s3yMrOSSuAA+ew2HOKtQRqjRsymTCqoUxls8gjI5&#10;4z65GcfjoRxNuCHkKqIJCxaTlxFhlY9SSrE8ctjOcZzbnNJx3NnTly8qe6/yKQtyigPGyXKKYFDg&#10;5UICgGCOArblI5+5jjmrLQeYkRUyIM52By2z5VIJOMADKH3AJ5NWI4JJgW8oESF5JDjY0hbvge56&#10;ccjrwM2zBgqykAoQxMuI0QbkKkEA9Qcj/eGM9rvyNx6+fRj9xXi1pp9+jIkjOUaMAMJS77R8qMOe&#10;Mc4ye3ofQ1b8kPCq4YNvYwtIcMQORwcYBVIznnOzg45MiJlfLMnLAKEA27mABO4j16gjHGM4poiQ&#10;7gNzljhiWCtlRlf/AGUkjPTBPU1neTmtbWCpOLtG2+v+QmxWAUKq8FSXONhCAjg91VuScfxcjNNe&#10;EqHiZlLxyb2O8AuXKk4PXqGHHHyjkg1cEbSHDRs4ZmKAjYoAPy7trY/iHGew680LGVVeBJM8Oxdp&#10;2kYwTnOcdBzjkE+tW6s4vVpmVSmoxbp66Wa9bX/EjVBhI8uC6Z/eKvy5UFgXHTAPUnqCB7inO5FV&#10;t5Plh33biwDnG7k87T69D2pCkiNvLSnaCrb34ONoJz/F90HOOOcelIyKT5rOzBHDvGVKgDcpzu69&#10;AuRn1A44pKN72+7oawXLQVt/0/zG7SpddzPHklFcjLj5T35ILFx0xlRzwajzuKlgoG/y/l+fdtDA&#10;qTnPylhjtwe9OkDhHJ2JI4EBCSBZmyMq5xj73znAOTtYjoTVWafiQRFfmJKunzmRSAOuME7g7Hnv&#10;9BTjJz1n1/4CDmcYOSWjZKztGD8ruJmAZSxwQuSMHPYM3pjeOaz3kiSI8hgqgmVsjY/dgQOSdx4O&#10;RgH2IinnKsm4g5Y4JVVIKgZBOM/wle33h/dqhKxkdnOWWLOSZCd/IO0lup5z6fe/C5Tco87jp+i/&#10;4cxhzVFzR2/4BakkV5HYzHcWO75lIJ6EjnoTkj60VjbuhYXUhIBL21u0kLcdVOOff3zRT5MV0mrF&#10;RnRsrvX09Dog24IjMoVQ0kZlTyVGQ4Qbsn72wEkc8EZ4OXMGwsm92aTksC5PIzznn5uOevX1zUSK&#10;sZJKiMbGVJCOSvBAPPB3L2HTHXBp8cojUSRs4UIcZYqyE5IOPxH51xyVrSXw7fgaqMpVOXv18v8A&#10;hgUeZukJzsyhBAVeiDhgCc9uhwEPpxKxQHaQ4DyMsjn55Hy3ynjvyVHTvj0poKxEsiZwc7gNwQE8&#10;AknHyndx/s+oqONgp3rkFp9ofeGYOrAr5mAM7S2R6c9M8zGy5mtbdCFCUXzX8/n0LUO+Rx5KjzCV&#10;VFjJ2hsKhI3E4BLZ54BfjFI5jzH5rF8ASfKNqhjyMkAcgHr0/OmPHEgcSYDJKUZkcYAUY4AHP8I7&#10;fkMUKN6sSv7uTagLxl2Jyx/LjOOv1ohGPNeOhTalNqy6fgOGD9/KPGcJySGGwYwMjHOPbGPSnxko&#10;z+ZhhuEcgGN/zcRgcdcNGVxyQQeeaEL5RXeMvtIjYgo2T8pU9eDnjPT8OVnMjM2+RgqjK4O+NQBy&#10;mM4XBIONuTknIrLnjOSi32/AFCSjeO1/ztoNDKrITgnZ5hKRsc/KcsuDkjqe/vnFPiXO0xAuUdVc&#10;MNmzBJyMjg85wcc7eOpKMqKcEERt/wAsUwBGhQKwPJ+Y5Bzzk7j7Fqq3mu7uOZCJgQRgtG7ZDE4A&#10;yjKCOc9jzV2u3O9329TSSXxrVL/gXHGNzNH+8wqHa3zKT0ztxx7HIzggAnpSuFVTMCD5o2IUYo20&#10;kLkEcg5UcjngDmnlQ58qUbVlOF+YxruLKx3KcDBwBjplD17uRmyUVgwYbpI3OWx82OFGMbgvTA4z&#10;jioTbe+y/MuUeb3Wrbf8EjRvkBRAQEK4LgKwxwOcY/XoOMmhJA8jHJ3O5fbgCJSAV4/u8M4z05pV&#10;XGWAMjEB0VXKFtwAIPBBYAyEHBwSg+XOQkciYbCHzgoRgdpIYjBB/wDHTgHlSemcU1zS1SM+VaKD&#10;2HsUcoGYKEUM7kMNxVhwwwAdoLHjsD7imojMVXALSKC8Z/dNGWVSc85ON7AgE8xdOeFiLRglQX3q&#10;euSqo4CjIHzc4YkdgCSecBoLAEEbtjiNnXOUDHOM4wQCST2yD70mmnfdf1cG4tJv+uzHqh+9sIYZ&#10;iHmEKFBUkHjOccD6k5FPKuhO8sjMcvtBMgIOGHBySApBHAzu460hWNMqEDN5argP5indyTjjkAAf&#10;jmiJ0AKqoZyAqvuDlMn59oHBHBHXqT+ETlZ3itf+GLsoLV7679XoOZdhk3qCHk27BIVLtsAfBxjA&#10;+TJ55jODgkl0ciqyymSLy7c73wA/ygAZJyQf4s7u685PNNJLkHJ2sVfcX37xgkKGwMD5Sd3oQD1F&#10;CsWVpNwLLkrGCFJK4YKVPQ8r97P1640Tbf7zSP8AwC4wcZJrVXv+BMuEdSTxHFyN+3bg8dM8kAfM&#10;ePnGehFSmSQiRFbcOpbBQFTnADDq2A55/MDkRzfIGCy4aSQ5kMm8ygyNj0PARzzjgYxnkpFIm4b8&#10;rIUwURiyuSASAOuFO4Z9ugzTcZWan0Kl71lJW/ra/wArkxG0FgWCunkqRnbGQrjg+2AMkHoBT2Mb&#10;MGYEBWwMMM5QglW69QBzz17EcRK8TEblwOcIXDAdAw6ezcZ9fWnKWDMygoBFhkU8x5BVsEcEEMR+&#10;OKlbpx6GcG4xa3S/z1LDSDpL1DEswQEtknbwRjjH5ikVCoyyMVQ54PDDaR90DgDj8skH5iYt6Mse&#10;7cpz5hLHCg4DgBu3Xp9aJDuMSqyqRgRxkbXcEgKEHByTtPGeehojaUWr6sFXTu2v6/yJXkQOhR2J&#10;kdtzfKWXAO4fTqMfy4zWluCQfkKhX+zkbNxI+Xp6Dj6fMeOBhjuwiDKvzBcu4OdhGePToCMdTx70&#10;8PuIX50JJZzs2bB0U524POeOv3uaIwkmpS0Ww7qT8rX+4lWUKpBASTARFDYVSRjb9DgE9ev0qWJt&#10;wEIcBfNBwv3mIHmAA+uI379M9hVTaG3hT7Qs67h0BO05weD1PPpk4p6YWUIu8M2djTFVYEupOF64&#10;O0EgnBwvQipcWtiWpSXK3ZNf1+v4GjmRlKgEmOY4LcKC2N2OP7oPUjk9Mc1OksbPLuBBjO45k3tu&#10;IUANg4wAM47ECoIZ96KUkBiLCURyDc8THnaW6HAIyRtzz06Cbb5gKERrxmViu4sh9DwP73r1HTpS&#10;k0mpSRrFS5ed/c/uE3nq4Csy4bY+Qc9M4GD1X9KbEZAz7s70OwqSUSMDPbswJPHtyR2ljKL5ZZVd&#10;tm5QDwAfU5+pz9PwYzOr7ovKDOcosmQpO4DkA5ySRxnPzdR1ok3KHvLyIjzRb5t9NLD0aLBdmwWQ&#10;mN0YKhU7Wxx3+Uc9c9qYSyrGpBISPG8nLjHZ8dztyO2DmldASjvIvmCQxqyvnAJA5PPcD8M9jmns&#10;WWQyxTGJy4kUbvmUZ+6AOnAJ+uKuP8NJL+tDRNKN6i0I3Bl8oEkRsxLuzZVFEZbcBjj7oHc4AwOc&#10;Va3lUEaMAy4UOy4J6dD2+7z+uetVycpLJGrJgFOmwYxnp6nJGRxkgcZpzJHui2SBcAseDuXKlQQO&#10;6k5wSMZbr1NKXK4xi+hnFxTfK9/63+YqvukRDtjiKniQk/PjAzweuBkgE4FBG0pwAAxQiFjjb3O7&#10;+f09KaxUMWIIKPtYqnQHPbB4xj+vsoMfzLvcYcnZGuQhGOoAzxkjipbs1fcUlLl5bXf5LQehZpcp&#10;t8sr5mHcnnbgEA9BjPGfXjmlco8hDl2lKbhuURkYbrxxwWXGRjB+pp7xbmjy7ZVgS6ru2jhT0zzy&#10;T6YBzVZVl8yRywHygJlt5OSeCOMkAfjzTaTTk9glKcfhV43/AKROr7V8lkPoXk4k6EDOAMqT1H+y&#10;OnNOBUyqu/YrbQrZwD2bBI455P8AOojI4ZWIcsrCPHmHav8AFtUkfMORzgZznjpT5CqLmTYSrBlz&#10;0xt3dBzkZxxnpTlzTSlJaESjNNRS82TFi6fIzlgNmCM4x0UEjnAB4J9M5xTJZGRo5JSIo1TeVKbj&#10;jpkcHdjntnGKcs+YWQo2UkbnBHPQn1xwMDjHseKoyuFLyO3ytFydpGBtHucDHvngc1DvJ2tsNTfP&#10;tdt2/IpvdIFlRyVJBHIxGchsAn1yD9M+9QpI67QdwjOVL53FQRxn0UgdR+meI33Z3kllk2uHLfNE&#10;wPQsPQYJ/wCBDk1FFsZScu6nBI8wKi5AwMgkHJY4HYofUY0ajq0tdGyrNNSfxdiRWcZzK6b2aMOq&#10;sHBC7QeDz0Xnp+7xxg1NBM6/uACr7mCsQPMyWGFKjnBDgggHjGTnGYPtEcgDrgbTlwRhCU3Zbr0I&#10;xgk5wo5zzTSiQuHVxuwHYRkMvzZBC44zuxk5xwap932Mo3krLRf1/kdHbXYLHzGVtp2SBMEZJ2j+&#10;efwq2cgE8szHdkthQMcA+3XFc7aTIpjyjuA4JU4AHLHaAc424UZ44PbFbsMu9Qqts2nfiViVOF9f&#10;w/zxUSglUUonTFxdJK+/4Dg4jZWc+YjgRZAyI9uccdsnH8/QGTOwiRCqRhvkJYAHJUY5/iJZeMde&#10;1I7iV0EarhkwN2WO7kYAH1/Hp7UwF3Uq8m8sN0jYbcd2RweuSM56HJxiiKcle/bT7jOPuy5VK9/+&#10;H1+ZKTsIAaN8/dBJXAA44H+e3rSFtkyMSDGjbgCSrt0YYx34IyMfhTDuEGCis6IGXD+ZGrDsOMnq&#10;fy7VKz/KDyHEm5QTg4BDDHpjqcZzkcDuSheSaWjX9MuUpOXs18/kMV8HymwmVDkhiVwQcZPTjJyA&#10;eN1S4YBsksdqyfvBhDkkYx6YIHOeQeueISAxZgxYqQsrf3cEMvsOOvrzTWAK4RSMg5zzGPzPftn0&#10;/OLJWcPn+v4Eu7g4rdW/4I8ZCGMuAIgSW53JuI5BzkdWX/gQGABgBfzd2QgVj91BtA56DnPtg/4U&#10;xpGCuqhG3MMjIkQMTnoORgFfX7vSoIUxliMuX2LGxzsBBwQPYj7o747UfFf1KlWUYRTW3+RYUZIk&#10;ZQSzlSsbbweASB+S9RnB6U+MOJF5CruJDOxdejADPXtnGONwFMO0hRwFwHVhyWJA647ckjsM+tKC&#10;IxLkmQkAYkAG0gHIPf0/IjnrVu8tvLQzpttp9FYekaoQI3HzYZn2+YHHPTnOfunOPX14niL7SNpd&#10;S2SMYYYxxxjoCvTJweAelQ+Ujs3lERuMmQH5nOM9sd+fbk1YVY9plI3fOBhhsIx3z0xnPp16d6U4&#10;J07X3NVFqpyy+HoOIwpUM+HGMlssuQCM447KPz9aYWkCqoAQgZBjyrAZI5zwM9e59T1FIjYKsrJ5&#10;qtvPOA5YZUc8jGRye6ikyWjViwxsBCu29wFGcj1zyeeeR+CgtORr5jupWWyHBYwmwFzIH3F5G4wS&#10;FAJHPynceAewA70jMdih0VlfaUk27ehwGDEDKk8dzkEcdaVnBKbyvyndtKCNuQpPP0U8Hgbj71Xk&#10;naOJzGwCgEbBKSDuByRz3/p3p8rjZKV2DpPmUW9CdnypQKhMeFZmyq8cZVjyc9eSe/Woi+HZsBQo&#10;6MCV3ckDueQOv17CvHrDxX4l0zWzBra/a7DUZnFmsEKwy2bpkiNz0YNkdNuMHOeo97+GHhXW/id8&#10;QvD/AIIjSDQrLVpri41XxJf/AOlad4Y0yytJ77VtWuuQfKtLS1urg4ZciMIGBbNb0sPXrTp0oqzf&#10;9P8ADc56+Mw1Kn7ScrqH9L730OP1rw6njXw74m0C2lZNVvtAuU0WFlDC6u0RmjhZuCpJACtyNzRj&#10;nBxx3gzUZdR8Macs8ki39jH9hvoZcxzrLBIUkQg8g5U5yMg59a7fWbq10+XUxYXpltbGSUW2orD5&#10;Es0IJMcxiBZlYoA2wkkNkcjBPn/gi8sfEuhah4ykFxp97FrsOj64CHjttbE8byadqW1lADTrHNA8&#10;sZw8kAzklmHo4XDvEYCpThHWLTv0d9LHn4up7LG05J2c7prtZLX/ADOrMysxUqRu3ZIOeM7SO4IB&#10;x36sear+Re3FvM1tZXk626mYtBaPMm1OpOAcEZPU9ulZui6/NdW7X0Vl5MTMZre+QHULKePna8d0&#10;UWPJ2sQCVYhTlcAVz0uv6h4l8W6T4bae4kGuCe00q9v9ThsdMe5ht2eJLied1jji+QLvZgiBc5AF&#10;Y08BVqYt4dRd2/8AgHQ8Zy03Xclyq/m+nbzOb0azWwN/4l1G0aG+vdVe/s0urhDbLAqCOHzUByc5&#10;dgGwMlCQVxnI1n4jxXRP2nxBpfhxHizeXuuXkVrLcFV2slsJOQD83IAyrAjqteka98NLnwd8L/CO&#10;v6v4s8PeIdY8Y+LtQ8NeFLLQdQl1exnh0qBLvWNZ+1lFWe1spb2ytBJGCHlWUqCq7m8v1mx8BaTo&#10;9xf+ILyS4kn1OUy2dzpsdwDEigwPBIHMzTy/vAY1TZGoyXG4IfdzTLOTEctZ3atZLbRI8PLcfKpS&#10;dShG92229Or/AAui/pdrot1cWuoadd22qQJCwbUYblb7zC+cYkVmP8L/AC5wCSAAK23ukQK7Exss&#10;RdSzEyMUYkJtzuyw3DGDwxPHWvGNEMFnp+qal4W8LPYHVtTWSC2+0GGQmKPyyzxlxGDIDHySBhAB&#10;jla6KLxgPDumPqfxBLeFoLt1trOw1ERwX8pMgAZUWR1Eb4JV3YfeHAPFcv8AZmIrSShry797vpY9&#10;JYzDwcpSdpP7nayvf8TU1Fb7V7mJ5t26W+VkhYEyjIDOzMDy3ByeT19cjqptIure0uL6RI7eNFdo&#10;IZSzzSjDbURcFm6nB5O5sn1rzLUPjmnhax+0ReAIV3t/o2q3HimJ9avozvMkv2IRiML94gRsoz8r&#10;N0FXPhp8RNY+NevQaYlyPC2nvbrPqGpxWhkuNDs1k8uS5uVRsTO5Vo4IQyCU7doKqTXrYHIXVpqN&#10;eLcuvSMdt++x5WKzl4e84297bq38jrfC2lat4pmlcWF3ommW0jLf6nrFukCWwiUzSzBCQFCxgsDI&#10;VzuHy44PrXjTx94e1nxj8Pfgp4M1bTvAfgyLUV0P/hMfEISy8J6LcSZfUde1eaRC88ihS3mASAyY&#10;SNWPLfKvxPfwNDrksHgDSNQ1Cy0ZI1sJvE16usXdzcxvGZbmRo2NqZC0qM8Vsggi2KiPKQsj834y&#10;+MnwsT4P6b4E0f4MeH/F3xW1PxHPqXjP4n+LLca/ay2sZkSx0XTIJDtihiWUSziMbpJsZbaqKPfh&#10;hKNKnGhTVqV09F8b6J+SPKji6taU5Yh/vEu6XIurW/vPZb/mfaH7VP7RPgrwd4Q0j4PfBnX/ABXp&#10;Hh6ZPn8S3OlLc+J/G6xgLLreqc7YTeO0nkQu223twoHzszt+Yvij4i3NzZXOn3Oq2GswsmA1vaz3&#10;l3HJEVZHeSINHvDrG5x0DdB94cL4X+Hfi/4prda1qWoWVpoug6k1hO12zWmj6UVCyNbxWwBBwjRh&#10;U5ODwlegWfw/t9burHwx4NtfFnie/a7S0tRY2UkdrdySYjj8mAqChJYjlWfEnzBMEAjksKld1K7v&#10;Ue6S9Nu2hn/bcoYRUcPG1Jaa7Pu/NnpPgH4leD7uxtP+EmvdRtrmK2C3SQ2LMZ3jwMb3K7N2Mljn&#10;HHy8V6pbfELwxJhtFl8O6ZbWpaO71W+nXW9QVW3sGYbZJCwG/m2iUBlUttLBql0n9lP4bfDWytdT&#10;+K0ml/Er4h2ts+r6t8MLvxVqR8F+ALBAF/4qyezmhklmclVjsLWaIvKSpYbZAPke9t/DHizx3rFx&#10;4Q8JQ6N4V+2BZbH4feGLbwx4ftnjjVCkZlkbYi7VGC9xJuLFxvZicJ8O4KrVtRqNtavTT0v1NIZ9&#10;jIU/a4ujZbJ31e32e+nU+htQ+KWhy3siaRYa/wDEAq2/7VqmpXPh7RB+8AOQhe4EbIQAPMR8sQwG&#10;Pnrr8R/iP9vhuPCOh/DnwdcWRE0d/wD8I9LrUjOu3r9rNxkK64EmM9OMHFeETabeaHY6rqNv4D+M&#10;3/COxStCfGs3gySTwTbCNJQRaajcxWlpOGCMAyzE5QhQTjPP+DtH0j4k+I7Hw4PG9xeazf3Kww2d&#10;hcnw/q1issilp7uytmn3xJvfBhlkfCHKjIB6lktRe7RprdatXW1vuOd55RlGVOrPvot15X2vtY+2&#10;te/bo/bdl8O6V4N1nxlDrmh6f5sljojaJpWn6UhVywIMVpE/DDcqSZTnG3GFqP8A4WL+1F44sLLx&#10;T4t8Vvotnex7F1T4k2ehQeGhGqrtFjaXVm93eKgJwmn25ACkK3BWvt3wj+zB4Y+DXg7SLXwtdT/E&#10;Txzdx/aX1/xBbGa4SObAjk07TLoiaCMkvtmnRpvu/JCQM5nxC+DPin4XWlv40+NHj/wl8ENK8TzC&#10;+tI/FOqSeKfjl4ntlHn79J8NRRGSPzCtx5Vxey29qZHTdc5dAOl4DB0l7WtaTVtXt5JJ3v10FTzP&#10;HVpqlQvBNWso3lr1dtj5U1Oe20bQ7PVvFY1fxs0jukmteF/hXB8KPDMJjClAt5c3jPOMKfnW0iJY&#10;MArYBritL1fwp41uLmz8I+EPiXqVrbSK9zdaVZxa1omkkEBzNrUiw2KlUPO+UfQZzXv+o/FL/gnP&#10;Z29t/ZPh/wDaz+J3iGyvGS+8ReI9G8EaPdXExYPFLpFjd3WtW1m0bx7xcS2N4GDlTGcfL4h46+KP&#10;wc8ffYtO13Rf2rI0hvjp9jc+N/jFD4wjitg58q2sNLsPB9jZ2PlAojJHby7yBgICq0f2bl1VuqtZ&#10;LZKLt+VzF5hmFOq41ab5e7km31va9lrtc5PxNFqq3aReEYdEh0/yo5bWHxT4kt7rWZU6mVo9MS5g&#10;VIwXzvuFIx82eceeaj8f9P8ADFj/AMI9f+Jg1zHfBZW8LeELq6sLogbS32i5kjMrfOByqYycDpn0&#10;ePwX+yxf3EEmp+Pfi/4Rjd44JD4kt7X4gP5hJJeSdLCzu7RWIRNjWUuxuXlxyPoH4O/C3wZqbahf&#10;eAfh98LdQm8MQb9P8Y/EHxgniFYJVVVOpXM9zDDGkETZmWK1tmkkKqihyh28scsyuNL34qzfRPX5&#10;vRJHUsyzadFfV17zta7WnnZe9qeBT/F7wP8AD3w3PoF94jmtviJ4qs/t2ttPoXk33g7TLhC9tYSW&#10;4k3C7mTypJ1DloowiDJbI840rxP4K8Wapa2Oh+NfCeoaneXAitLOWy1HSdZvJXbakUIkgAZ2JBCo&#10;SeTnB4r3f4i/s5fAPWIvE/8Abfji6+InxKu7ua5luPhl4LvJ9Anu5WZ2NzqGpPHfExtu+e2sUZiM&#10;h2QrXp/7MnwB1H7BrGi+C/2V9P8AECJp32LU/jt8S/GN38M9D0a2cCW5E+qW01vGGEQkU20bmZ0L&#10;Iw3vtqHlWWTT9nU1t02S067W80EcyzCjS/eULNvRt+9Lvpq79keWad4KbSHuE1nWNI1fUbWNWfwb&#10;o+vadc660jklY5pDPthPzISHUuoBOzg12a/ELxPZ6O3hTR9Lb4e6VexltU03T4/sGra8MjP9oXuf&#10;PuQpPCPIY03MUjXJz7HN8Kf2dI9LksPDvwv07xRdaLpzJqt/8NLzWfhN8Mp7oF4w66jqF1eazqim&#10;QgtN5dokojDJtGa45NRWwZNKttM+Afw30G0ljMT67dXOtwWieZ5haW+1I3N07A4wsfG7kRkk54sV&#10;k2EmlGjVaWm2i879z0MJmmIh+8rUbNNfE1J+qSWh4qIpGk3tKks7Pl1E4crj5RkBs4IUAZxwpwMV&#10;NGVXYoBBLAeWjAkncQOM9BgH8Tweh7j4g6z8P5jFBo3xvtvEN+1qWvf+EK+Gdtc+H/M3ElbW6a1W&#10;4lX92FHmiLHP3FzXA3Tr4h0zR4NC1aPxGE8w+T4m8Ax/Dy9kQAKVS7sbtrqVtytteSNFUKAG+Zgf&#10;GfDjjJxdTTp6norNuVfA7Pfun08zdgB3IfllCjgh+MEvhcgjpgZA/ucnHFakBMJVlcMHIKMQTgYy&#10;wyQCCTt56/Jjoa8BurtbDxFJotnZfFDwxcrMUGo23ijR/il4eYDgs6zypcxpkJhJCCqkna6lQfUN&#10;Oi8RWN5BaN44+G3iCOaAyF59Vi8G3doWKjy5hPIVLqe6kq2B83OK5qvDWLg/3LUk9d9R0c4pNyp2&#10;aWm+u9up6NbQKGyREIS+9wWOfYnuDkYwM4yK1YCHfcwBi3rK6k+YXz99VJOeRkADH3jjnkRx6ayW&#10;MFwL3SLkvIsKppWt2etrvyeRJDK4Yg7hgE4JGcgGtFbWa2YC4triLLboTLC/lsQVbaGIwcbsnHqM&#10;nJOPLq5bjaN1KLTVvM9WnXwySfNdPX+vUtW4WRBlWaSNTEXKl8fw8dRwXY8HIY575rVt4Sp3Ocgk&#10;ZBJVcdsnqfz/ACqhDGCQcbQsgiDBkBIf5hnnjAV255OzG2tmCHdsZNxJ4ZMhgoBVyM7e4OQTzggc&#10;4rhnTnzKMd/6ZupU1LkWmhYCjIVgU3D/AJZuxVznO7JH8QyMHPDEehrXgBeE7X/dxgoVCkLHj5ec&#10;e+QfTI5rOigkUIRIgidBvcAgONoJH4fL8x+lakCoWWOMqxUhfLXL4I4+UZ546A+nfGaidOduXlZU&#10;XF3UXexcjTCohKMhjAVCQQpDA56ZyNuB256+mlD94Har4jC4RyA3A9c9T+prOXbtWNmAZeCMAnqM&#10;KRnrwRn1x71oQMW2jf8AO6FI5Dwwznf+JG446/XocHTunPr+WpvT1XvRRYQKyyKAACoVCRuYjAYk&#10;kcjkjt3q3vAKybkZYyshOScMp+7nP+6T+Z4zVJSYoiqAO/nFuTmXBIB98d+P7x5rQTe0bwh08vzQ&#10;+DwxIA+8Ond8H681V0/el933A201F/C/mIHkJAG0uFMnmI5AlHTGcAkcjn9PWWTErIqYjK/u3JOA&#10;zcEgdBzxx/tUsinzFRCXaXahIkwuMgFRxg/eUg9MHqeQAllyFcICh2/LkMOVI/8AQue4/CojyyvG&#10;K+Y5csd3ddPu/QnEfmqSZESNyEXe4yjFfmyMcAEnjviohwHw2XYD5onw7Ee354/3hUW+JMsfMcyH&#10;AYjcQcjkDHqy8HPbj0eY1MKsAjgxgBuTj5lJA5HOSOueh74I06pLr/VhpU3H3Vql/X5kLOSFRSS0&#10;nzBmUMUPON3rxkH+o5LW2F2VDjZnJUFVbK7gevH3Tz784xwoZVk3KQQFJypwhzjoMd1HXsffqHau&#10;0jkBirBxkZwrKcjjB6c88HgjqtEvdRCc5Savt2/rzEGXTOxiwfehc7QvABwPUgnnvjr0pxeQ4cqu&#10;SNgiIbaMsNoPByMke/A4pkgJ3JzjAIyxUYwc55PJJOcetPKqVbe8Spyd+7IUY5B9sbuvUE/SofLK&#10;HJ1KUnzNPf8ArUlcr5JSRGdn++27AAO0gbfqMD6nnmnb2k3M8ZaR1yMBlEhJbLYbkk4wPp0GaYpL&#10;qWMjFcAc4VzjnjjGMjqf5UMqPGHZCsisFDllAIYvgk9v4Rk+lawdtthNPd7f1qSNwu+FgGkjLsry&#10;AxnqBu7nqDzzwDTWUq4ByQ6bWbcV6k4GSOwx/wB9dSOSKwXDMrrEE3BWO1gRjI+nbsSfxqMggHfn&#10;IlHlAEFpQCOvPb0rJRlJtxG1Jcqj1/4A1eEkDgqNpAKgDeATkEjB4z9ccdKgLhvMBwSpcABtwZcZ&#10;yBn2bjvkexqVwQRvUbUPUDfkdmA/WqzCNV8zG1CzRhN5XzA0aA4z/d8wDpz3J5rVWScUtf8Ahgi+&#10;XlS0sVZ5zsC5DiRcxxElfLYt1B78cdvp0xTkUL8wTaCuDwWUEZ7dueox2q1IN7bSSPmLncNpGCDt&#10;wfx/E9apSkbBJlyfLLESfKwPofXv/nNRblfu7/8ADCi+VN28yjLGxIdWVSOoUnAyTgjgnocc9gOe&#10;tY10kgMmQrITsIEmEb5l+YAjnGSSM4IB6HitWZ5pSCY0QIpJJYjJX3/ugY68c+1ZEzEjzJHZQT8o&#10;UDDcAElTxnqADn+I4NbO6ScUtf6REktrWW5mXYPzYCI21seaGdVfa2GI+pPHIJyOM1kvIrOVEhJL&#10;78sGQR7icZY4Byh7bh+PTYuEOGG9Y26YLBsEblAGOOT5TA5GB2ORWRI4dyDzuTaxkI6YJXKlQRxt&#10;JUjoxzg8UlePN1/zCpG9oxeitczbmQ7HVsMVAKNncCPTB45AwfTB4rAaYpG+0K5OHUnJD7RtVVTn&#10;qAv1xW+Sm0kMzqHAdGcohOGXOD/unIHQDkngnEnVXZ5CrDy4yu1V3KSTxt56gDt/dHXJxvCUEuWc&#10;fO/zIm39jv8A5amNPlVXaFL5IG1mVVwepIPrjoPT6nJcoQ7DK+Z8zYy+STtzjOOxOfYfjtS4QShB&#10;ysfznJJYsNpJAHGTj3HGeQaxrjIaQN8gXLNHJsYIRn5d3BJIZVPQZaiOqctn+JlVbjFx6P8AP/gm&#10;YxkjDOuVaKXaIUwxkIBOCQRkYAUEHv75rOfeWAjZ8RMJAnPmHoNxA7gE+3t0rUl24cqoMY/dyK21&#10;03fJwwIwS3yZAwRkdc4OZJGuQTje8hJmVisQUA8DnkncOSccZ54xTXvtdH/TIkly6eX/AACpKwV/&#10;nDNF5QVAq43KSGD+uen0yah3uWEq7iQqqzMeXOSoIA6+uT6+gGHy4ChNxRigXcyg+WuSQoHOQPTg&#10;DJ9cGKRQsgXOFlxsXGQuS2CR1AGFPuCDmhJ21NHJxtOet162/r9RQMl2chmyrIOUOGxtAJOB1H9c&#10;YqxbnapTzAp+ZZEBJD5VlIXg5J3FfTkcjmoEUuoZjtj2KFcuXZGVQQpAHGMqOflXAzgDh6KVQSYG&#10;PmZRjaVADHk44/iJHfA9RVJu9/tf1+hjLSLm/T5XTLqSuFH75gpQZxwU4yQfYkDA68DrgVoQyKok&#10;LcsxchEPEgYghefbcOSOKzbcpGywne++NGyx3HcuCrYLe3pj5vYVoQhSq7Q4O7hVf5WBYBVC9iCw&#10;7nIIwOM1EouKURwU+e+l/wCmjXgkZQBxuYiRWRMHG7rg4OB97n+8c1oQs6r8zE78nhcnA6FlB9uv&#10;0rMt3jwVQsGiAZuhVtqgEkgYALOrckE5IyODWpDDtYmWQpI8YjDbcsCSQQRjryVPbAyMjmpi4Qbc&#10;lqa2dSnduz7fibdtlGlZn/5ZYgVRmQEs2QRngEbBnrxxWxbSAsFxlmkKg7QFT7irhScburcE8D35&#10;w7TDgGJsuw3bmYSsTjOOCe2SQewPatqCRCwU/MvmCdkiTG8FVOAM4A+Uc4yNwOTzgceVJx1NeZOM&#10;Yxlv/X4m1ZspZmTYsgCvIquRtI24wvIXOxTt4ztz1rct55WEY3lSqDIQBEPypuJU55yH4J6Ec88c&#10;/DhUHzYUKq/uyWkBB3kbSOcBjzjBBPPQjbtSgZXLDGweVJvEkiNubOeMn768jpggkdsZwbk311/4&#10;YINRfs3o9vyNeFlWaSRFxs+Z1ZQIwTjarAg4YDPTsc44BrVLxOpkCJI28bNxztbIAxx1HP3scA4O&#10;eDlxmNEVQMFUUO33l4GOeCCcMDzg/Pnjvow+UyKWU71wuGJYggfLx2xvA/GjlfNqmo66jV5P3Gkn&#10;1NIsEd3DEkuo5wAgJGB7/wA6lZmIzHGFHlhRHsKrjAAYDA4GDgDpx7E58SRcMTmQxCNi/wAo+Vm4&#10;bHJ7n8a0g25wI1I8uRlKby4AySBz3AyenfpxTipcqfcuo1Je8tPIuQ5Cj7pUR5mPb14H1PT6+lTR&#10;hw6gdAcscYUEkED8fXrwaqRRlleMMEUEFQ7EfKSQfrnDdfU9qmUsxeQN+8Cs0cZ5Lnn7x6ZbPtkk&#10;ds0owVnJa3/r8za7jHm/ruPdRLIzN8gRQhVgVDnjJGT15PtTU4UkKiKHDH94V2gYAxxnLE5OOgzT&#10;SxMnm+YDvOQrOAC3IyBj69+47VDLKj4AdI8AgqcgHGMgn8P0FKfNdW2MnHmqJx0W/qOk2IGKhiCO&#10;Ff5kweuD06mq7yABjuQkhQoBw6biQM9fQ/TA9arySgZOJQIwAm1Cf4sEcZBYAg9hlT3xVR3yFOV5&#10;k6t1XIyTjoMEcH6dKunyWs1dijOd7xX9dSd50iDPIw/dxF9pfg9Tn3A9KpzTkIxUJn7yjPzbsszJ&#10;g/hnP+0MdKpzXXy5dtwjAUBx8ylmZ1Uc8YU8j13fSst7lGMgCKxkQkjeXLA7jkEYyTgjPTkH3otJ&#10;abNWKfK3aKTvt+G5dkucRsqyKMkEbAVddqtkdeevbHTnnBGXdXMsQVmcKrt5ssakkZBG4DI4P3lB&#10;7AHPvDczQqxQOwVNrKx+QyHHyg9MkDd26MfWsi4udu45Yo8YMeVGBtYpknPUhTkdeRntVKpK14f0&#10;jJSekau7v/w5dS5lC4Mkbs0aq4gHyNnYDjn2Yj0DAdqxJLtiqLuXcshikzh1XIJbBx6gjByeDkYF&#10;QXMpLEZyZCS7mUK6HPzDk85yCOCcn0yRVnnDSNhtpeYOpuG4LBW+XJGcfOScYBPUer5JNvu/wM5J&#10;JJy+GK/Nks0/DIjKwXGWKbdoH3QB27/Xjr3zXfc0kcpbacygZCB3Kcn1wTxn8Mc1UMoBQtvYrGsj&#10;gOTsUAEqQR0BJAxxx9KgeTKvGRl1cqpZ2Vidqjd/vHAHOeuT3xabhFpu60+RPPKdSLnt/WxI5dZB&#10;sZpvNcoBhiwbGW6DJOG9+tUTuHlqhVDKxyGYkcjG7jJyAxzj+8aleIy7X3LuJ24dDuCnr6DnI5GT&#10;8vWmNH5arGQzCMMzyhixwGTCcZ7rjkdHb0FXHW0XsvyJqSm04r4f8hr7HR5MO21d7ZBw2SVYE/kQ&#10;fTHTpT0jWQ5OxljfPyqzuVAcbufbAAOBgJwpFPRXDMpJXauVckuyDHHOAMltzHAGM+tOjwAqK5Mq&#10;8k7QuR0Cn8BjgZHmNjGapRjUjZL+uhnKUnHmv/w+hBGNhRX4yhTaCSONvysBnsDzjH4dJYYwpOSW&#10;Aba+YiWJZSoBHTJbj23DgZFWmt44+FRiSAqLnhgDtI555wcdM7h71Zggl2RiMDcqrDl2VxIT1Khh&#10;6kseP4uDVQaUbP0RUoJVU5f1sVvKWQOxUFyv7tXUqQBwBjkYyMZ7eoBIqU2hUlmIJzwdzLsZSCWK&#10;9+AD74wauQwo6RDKuyJs8pgQwBB4XJwVOQeB8pI55q+tvlZC6gq6iTCMAw43EKMHGATg+uecClzW&#10;hydTVwvZw2SKaQqixkl3hRFVioYyyEEDAyeCcIdwznoRyM3IEdf3WMRgJ5gwCHcKPmBJyASDx0BA&#10;4OM1ZjgkLICm4lWwoKsj/MVxwOmB+AOc4HFyCJy+5slwuV2IHbnHB65/LjGeecrkkpcz+Fi9k+Tm&#10;Wr7FZbYMBvyXEhAcNmTL5I2kdCrAYwM8da1IokiEcaoCMNH5TAq1uVBXLZGOoJOD0U9ODVmK0V95&#10;IGQwiQuNhUsVKsRjtg5HofWpo4IvLOI1GIyio7LiJVA44GCMbRjpipTUlefmEFJNcq009b9SGOMu&#10;GIUtlMCIgIysAAyj1G4enKnoCRViPDGNsEbgsaYAQBtwz64xls4x91cnpi4YwFThSgVQQE253ZBB&#10;x7Mx6DsTipPKj8qHZ5cSghyAiBMHaWAxwMZHBB5UDGCDTg4yTtszSLtHln8S/HzK1vvZioD7EjCs&#10;VG8BWAbCdzgkDnjL9eCBajj3OQScsFA3AZRSjBwTjJznnPoMjOKkiiTDlW3Jv3BmGGkA2sobuMFc&#10;n1LEcg8IgQy8BmTG1ixPznHy8nnt26iok3KUoW0tciTcKaU9W3+iHKSrvJuXaFIwWKg5Bxn8Dzwe&#10;SORikSMNjD7QWZk7liR8vOCeVHAB/vcekkaDKlx8sSkM3l7YyAQTkcnAPT3ccnBqLzCAZWbb5eGl&#10;lIGyI4C8ZI46Zz26c1VNLmU5/eKlUbcpxXuvSwkvmRiH95sJbaCrrgbRzu/DJznPHTkEtaR32ncA&#10;UUASAkxgYxg8ZJ4689/wc0gaRnywbYY8P/AVxuPI6gMM/RetMch95BUhn3sHLDJCkgsARngAZOe/&#10;tWkbRfvrbX/MuUeb3k9dn/wRkm9S7BFWRwYnP+sMnHyMcg5289c9eRxgwtLEYQZVSQs4ZFdmTB3k&#10;nHI7BQR2y3GQCElk27SjjzFBcMSGUYDn8RkEckrwOxzVGWZDHIkqkRLMZOdrJh2JXnnO0AjdxnAJ&#10;GTWfvSfLJaXT/Azk3Ztuwskzb+HkUsoljkKbl+bawHsACmMZ7ZOSKqvcAdCQhGWjICgbhxkHpngj&#10;jjd3qN5vKYhZERy+zGwkqM4bkdsMTis2ViFZxINyqX+c+YMhtp3DGAcBjjkYHHJxVSjGMbtFTi4U&#10;+VapsbPdIU2hkkiDkg7jI/8AGAzAc84XA54OfaqFxdlIhJuBYRlC0rkbeo9umMfgenSoRPGsn72Z&#10;HHlEjay7kIKkljz12jjuFHJK8Y93cb97MzEtghS4LOBs49sowwx6bQPppbnVor+tjmqT5YWW/wDS&#10;JXllZmZAoUngNuBGOMdP580VhtdozMzfIWYttXYQATkdeemOtFJe2WnKZc8Op60rbYQHYKzDaquu&#10;C3yFsEDvgBlwCSuTwMZdC6kCQCSEEMdm1VliOwhcAEZAOcZzjYCc8iogOBJnbsc7iCSE3gAh1PIz&#10;yv0PTIxSll3AeXg91B/1mTuXr3KlCAODux1rzpc7TS3PQrSV09kv10JldEUlAcFzJkIQpwozg/xA&#10;AAjAIJ7dakk8vzMKU2lTkKQ3lMTv578hl6/TsRSkQuC7oBwVZlAXywVj6fwg7t/PoB0yRUUgbagf&#10;ALrsfGcyAkoy8nnAWQYYDIYHAp3u7x0MnbktF7dBZQRFkKFDMWbMm9QpyC+Bz2BAwSAD1wakKrmN&#10;l2AqpjaPaQ7KSeCwxz8wySf4e1RcDYHO1yodMKNuSAGPQ9GyMMSfyNTHKtuyqBuS4YFQQcn2PTqe&#10;vHSqSasupcUk07XCSUSMyghizMcMoVdoZiRwMcHdwOx9MZZ8peMKUcowC5BLMS7jjjrgJ1/vHjrT&#10;0CuB8yxggiM+WWLbcnaeD1ztzjGMd8kq3lqFLOvlpJ5jMBwPmO5cAk9cjg8Y9qiyctY6lxcpxtLS&#10;KXX5CyI5WUucpICoTIKuc5PVe4HUHjC9e7S5BICozOoJ2OSGwW3AqDkjjr9MZJ4BIiKq465DEMPM&#10;ZAT8xwRzuwvHOGx0JBrhVBCkO0m53AAIBOQQpP0JGBgcZ71Si4r3nr/SMm3G0W3ddvzLQjzs5XON&#10;7yu+1gACoZuCMgbm/AcjmpwM5EhCSvErNGzgbQpJI475fBPTkc5yah3ko6N0LHDKT+8RlwemeSH9&#10;MYJ5FBMfmlnRnwQUL5MoBcK+cZ5JUjGOpBHY1mla8JN3X/AN+aLbdN6re/kun4DyxBKqShA2h+I2&#10;wQSQFxnON/T6Ac8sUMzlvMG8TFCyIFKhycAgjtuIzk9B+AwXFuAd+5RGCxZUOFVNoz7qBuOPu5OO&#10;cRJGHiVgWVpCgKxyMAMLI5IGfvHdFj1DMc9quDlGLb2ehmnefuvt8tCdlUpJGQVRGERBbceg2/gA&#10;MnHXafXNSlZGjYq8gikJjJdcp95S2Mj/AGF6ZxnnuA1pkA8whFBVjGoB3Kdyqcg5AwoABzyIwfTD&#10;kjO0FMMFkYjeSUf5ExkYPI7jpgjOKlxWjjt/wdzSyjUavrbX0HqjMrZj2uwwm8ASoSVbG09DwoOQ&#10;Onvio8xhTyvmpvZ8ERBt2FA65xjkMR36DsGWNkcoHGW+TaGPmEyEjHPUkscZ6d6GAEaohJkQ7sqB&#10;kbQNx44y2Iwxxx5YGeDSpx5ZWtohStJvr1XyJQQjpGi5YEggqEMecEkE4PADEKOcZx0py/I7f8s1&#10;WNDEgO8kZwGAGOg3EY6kEdKgdwxLryAxZtshDkZC4OOB3Iz/AHTyQBiQKBhzGC5cRoA7DO8jgEkg&#10;HgAng8455NXJtNc/X8QpVJJ6en5W/MfDJtCIjJLsKq65ARiCTyfcq3P59cVJgfe+VW2ySbEBQ/KA&#10;Fyx6jpySTg5qAKwxuIVpIzuwrLnH7vaSOvDKc5wwwQc5qzhvnZXABA3sysqqBwwyRjpk846c4xwq&#10;k3zXvb+v6sJ8yilN9fw7iq4R2CPyz8OyjnqRtz1JyMDrxgkdaelvuZVBZMyNjJVd5dlZckYBHLdf&#10;x7YghUq6sfLbawDliAWcYY56HB3AjB42mlDBU8t3LbMDhScgYJI6AHkk8Y68UWfPdPQuCUabct3t&#10;9/8AXyLHnqRGwKgFPITMfHKuwPt8o7+mO+Khn6OQzGRmA2+YQF3BsM8ZJBHABPOC+Aeamj3upIG1&#10;Cvls4eTaGGHO89CBlOCO4OMkCq0qgbCRHJHJGGd+rDJbOe2eeMfrxQvds7WsNyi229EKRAhZs4Ky&#10;iQMqklmCDngnjBxgdCGxjmnSsGTdtKs5VTJGpZuDhCM9wQccdWBzxy2NTh3Yqq7vmTBjXC4Q57lv&#10;vA+yr70rumQqqf3akku2AMEDGfXDHjrwe/FZyVRz9olp09P+HJSSbT62t+CHnA2OFDRsVLowG4EB&#10;R8xzyN4zx257U0xEbVmcBWQsGZijMMEFiAQcncvPtTJ1j3Bo3BQyZIbCRv8AdDHd3OGPA9MHHFPZ&#10;yWAjfDlSwUgh+cE9j1IHB4JGeMU4czldsdSpGP7pL3dPzJbV1JkCZISVVAGAXyGXcc9FwqfxdzxV&#10;8uqtiUMdu1dxA85txz8ueg+Ug++Dz0Na3TM5kYksPljPRl2jjtu6gjPv+FObYJFZnjY7ljZXkw3X&#10;GMnocEYJHcHHqWjLzHCT9koz0fT0JUjWUQM7sJVVBuGI0duAeOm38ep6mpyBJlg/Ql0Y/NvxuyR9&#10;WA2/nkjpAzKAxUqJJRlyzB1ViCuOvbBx7jPUcTbWIdgAYxwpZyHIzw/PU5YLxwB6U6t42T30/Ec+&#10;ZJqL/rSwBmDBgX2lS7yRoG4x0QZ6nPHPbPrT1RFKyly7GPdtU878YC9OhwBu7dc+sbSKhjDOsZZR&#10;5j4DIoXBO49doLEgZ/u+uKsSTLGECgEuPmBJVmHIOfpgHI9ablzJKIc3uq767eYwl1BWPeGX90A7&#10;/M442gk5PC8ZJOcnvmkVMhB8wURsBNu3SA7gML6kZZuT/CvHQ03fkYLF4wR8wHb5ySOM5OUGOnHB&#10;pSyGNtsgG8qNhA3kArvx3zjge56dTT96Xwrp+g4yivda6X9CyIy7ZkfYryM2xsyBQAMjac4+8owc&#10;g88nGDXK4QKhIDgucjdIBtGRj646HvUgMbF3LsoXBkIChH7EFs7gRtzjA4PU84Zv3sFYsuCSd33g&#10;OOn8ucVjKDab6r/gE8j5W43/AOALhtihRtYABnI2sDyNwOO+emO3ekMjBC6F2c4UbiGeQZGATwD0&#10;J47jFK5RSzfKScFip5AbntnkZz6cU8Mp2qXUAqNwbjaM5GDgZODnueOpq4O7fP0KjeEXOL2/4YlR&#10;lCNI247W3DaoDcjH1zhT+dRmQNGcIWjUKVONi5YDOMH1PH5+1N3eWsuASxl+YBiQuFBIYdepU4Pb&#10;Bzzinu3VfNUsNskYZWWPlcqnfpyueemQBkCiUvc5Y7t9SU1yqpzar8hyFBGwyw2KHVWPzleWYZz6&#10;ljn9PTOuwRuIIZCiuFVgXCk5x1wR8hOTyc45yK0gyCTaVx8zBSxHlsqgsQQe4AAxznPQ9DWuY5CC&#10;dqFCu4TnKqEzgDgBuSGHpxg98Om3Czb02HPmla3Zu9vwMAOAXO53k4/eRPsDbSSDkHPqOmOlOQuC&#10;zuyn5S5AIZEXnhsHj1HfgEetPnRQmWJCzfu3dXyTuJGGIIHVgOB+XWocgq2GRkfH3W2LkEbgoxjk&#10;jaMDHPtTle/MvQzj7SM4yqPTv/XcaszOJS5UOW53BWxu3hCCQDgBM+5ckHjJcxQJG7YAYs7EqVUD&#10;ceOT0y6DHTp6CnySLkrlTIAIlUnakmScA5PTJfA6UtvHE85SVwqMWiOSUHzDjIbHYt+QPpVRcZSU&#10;iIO0o8m7f3epNbITGwJUbHExGOE3cOGJOAMg4GeAfXNblupEgQlywwHOzCbiAFK49QCf84rOgRSd&#10;5CsZ5CwKMGVztDHrzj1zg/IeoHOmockRcRorBVKvgnPJGc9ODkcAjjIzUNNx956dTaEej17eXmWB&#10;5iLITGciHMm0gMpLDIxnHUgZJwSR61ESpY4DlM7TGy7dxyeQcHp8p98H14RiSrKse2Mx5VW+8Ojc&#10;cAjt1HoKnEiqm7J9DJ13dc/XuOMUOUUmofE9jWnF893002E3j5QM+ZgsmxduD347/wD1qMoY/L3M&#10;3ABk8wgsOgI4HBwTgZ44pHTy2fZIFwWQBRkSZPzYHcZ2kE8iiOQOyeY0RZYcu4Q8ZPIXPfCj0Bx+&#10;NSnz97mabhVvU3/QcQdr7ggBXIywOCCMDqMdcc8YJHuGnGJGLyOY8qkZGABkZGOp+9068jqeaGMD&#10;IrlQztgmTcd2SeVPHfAHHr2qVpPLyqsoBJVOnodqn+o5696FBRqNX8/mTFzfM4LcruC21lz5aPuV&#10;Y1yTnGc5/Hp69qY6opIyq/uwVjyFZQ+Op7ZwBx12ipvtL7FVooSFYKuIskgcAAgfnnnirENzZlis&#10;1t87MM3EUgUw8lRgHg4HOCPYd60SgtbidTnSjFf5lPcVLuWJV/mkdcEDHy4KgevPphhjinFQzSLl&#10;8AgHdlQAG4APfPI9MZ61ZksxMXFpMs3zkmGUiGUqp6gZwR/uk5AwM8Zg5ijHmMwl3cqDz9Pw56+t&#10;JwcYtp/1oaxspuPboMibygXkMQIUnegZyyhi2SOOemRj+JuvFT7nDpwzKwA5yhdixBBAPKnOMY/P&#10;IpCsRLFgsUjgnapyCAGbJH4Eg+gJp8eBiPKfKu1N4G5izYI45wcryff8I96UeWK3/LQnkc53b1X/&#10;AA48Dbs3KN7psUOdoXb1GPbKZPbcB6VEuBuySMx5kxy2F4AHGP4QM+mO3FNTbIQS7Biu0AttfJ3d&#10;c88llHf7mKjkcs+541G5SQSQCCcbWHHcnHY59eCbsouVtlrY0lCPLfsOZwpYs2GJ+X5txViTubdn&#10;nOQCuR098Vl61fx6fZvcBBI6MyQ7TsMZcBemDngkHHbNXfMDE73yw2ohUKMDncGA68gEHj6enLeJ&#10;5ohDaedJDHEdViRi8hhjwWdmBPYAFV4P8ajvSpQ9pUUev/DGCrKEZPdpaLz/AKZU8SadJdaBcLbC&#10;Nb6GJbqJkUGWN0+f5cnHYDnqM5r6G+HWuS+GvgB4p+IEV2tnrfxdV/hXoDRMsV5BpFv5d34tdWJy&#10;qzzDS9NDJkMkuooWXbg+RxCW9lWwhhN1PeQpbW8EKOzSSyOiLg+rltu05/1gxyKl+Imo29hrc/wu&#10;8OyIugfBPT0+HbNGyuuvarDuuNevHlBYBX1S51QKYx80ccXDMor1cOrYKtiJbv3V8/it/wBu6f8A&#10;bxwYiMHiqNKKuvil/wBu25b+stfkeaX17t8M+LbkzcJbXt4zuRDtKWybQx652oreow2Aele+33w5&#10;voviroHwMtbiHT2uf2fPBOiaZLe3P2OzTVtP8M2fiO2csCUSSe+EgUNgs9x8zBGL18w+MbmPR/h/&#10;41kmZsLpM+CGaV/MliVBsGOGAfK5DBmI45rtP2hviz4lb4yaN8RPDmpRCTw1pPhi11TUrGLYhn0H&#10;T7AXsFq7KQdmyaN5E6YZQxZW2/ScO8ssHNqG9SGj2sotfqeHnMajxNOo5NNQnrfXVxX5K/oee/DC&#10;6sovEPi3wxf+L7vT/B6X8trqml+HJk1DW9egRzNbQW3mAwW8W5olkupgdhTakbt9zV+KfwwsNQ0z&#10;S9O8CaRrHib4m654g0rS/Bnhn7Wt5rEVxqN/a2Gm6ZbybY0L3U1zDEybQcyAsB8tdH4B8CW+heL/&#10;AImadpujmKw8G/E3W9Agv5Ytq6osN5I2mKxwo8tLedHJYAKgTGOc/Ufwo0+D4Xp8U/2rtVnGsXn7&#10;Lnwx1T40eE7byWHhvXPHQNn4e+H+jSTNku8uva1ptzsDKGXRpiu3aM+xhsDiVmsacklGLcpd3GOr&#10;t62slsvmeXiMZRlgJ1aLblL3Yq7tzSfLG/TR6v8A4B8t/tF+K/Ddv8avEHws8MahFeeAP2SPA9v+&#10;zD4U1gXLJa+I9U8L3kq+M9WhOSHk1LxLda9NuUsGga3VGaNIgPgPxr401pte/taXSJLyOGbZa29x&#10;dfYLWCMY3EEq3BwWJOM59OvvEHgDVdM/4RD4JWqvfeIbbwtH8XPij4iv0NzqrwsoaztJpH586ee7&#10;F9OV3FjJBuZT5iDP8baZo1jaLA1mdZ1qYiG1WWH7U0UcfmM0ojwQqqoLE9gvpzVY10JZiqcqbnUm&#10;5JW9fefpe/yRpgpung3UptRpQSTb2ta0b97pXfe5reB/E2s+J9P0zTNF8OGXxVrF39l0fwlpM4vL&#10;m6uJXUWdtGcbm+USyyMV+SOIsxADV9CfF7wJ4b/Zx8Fz+I/iRbaZ44+M+qGKJPD2pSrP4U8FzzEy&#10;xC4tvvXUu1HxuAT5VUrtCoPdfgZf6X+yP+z34R+JGgeH/DniL9pb4yeLriz8IWnifTjfnwf4atHW&#10;HUNRjjI2ebPOYVXI+7byZIwM/LVv4dl+L3jDXvHvxD1KPVbI+JJJbbU9dBuX1nUAr7BDGATM7TNH&#10;HHEgOOnQmvSmsNhKywWBg1Vuuee9trxXmtm/I86nWxGNisbjpL2bT5Id7X957Wi7aLrufJml/CYe&#10;JNTMmqa9a3PirxFH9s1pAfJ0Dw7Zyqsm3HCRRxxiRnVflVUXBBBA978XeO/h3onw5XwH8IPDkdr4&#10;R0aygHiHx7qsL6XrnjDVG2F5444juYOokiijmP7u38zaFzI7fQHgP4J+FpPilc/CrTLq0u/HGuEa&#10;l4/hvLmO6uNBQr9pj0y/u3fy459jpNPbREi2h+/8wcDxf4geFNO+LfxCuvhj8LodJsPhJ4I1N4fE&#10;PxDG/SbLVp9+281CN8oSruDbWlvEN0iQK+1RI8i7Ro1IL2Tm1z7LZcq6t72X4sccRSqWxdSN1Bav&#10;f3pbJeb6dkcX4FPgnwz4T1jxZqEfiD4geMNe8LXWnWdhoqp4R8P+DLO7QxXVz/aV3HLvuGAngQ2t&#10;s5ErylJGMfPW/Bb9j628fwS+P/FH2zwV8JNG1Jyl5NMoutbZcyjTdIkkyGEZYI9zICIwpzvYsU+p&#10;NF+AGgfEe707Tb3RjpXwA+GOnWEWreIzqIstL157PyraW5nkhAIDtuysYYlixQuzZXgPjX8ctW+M&#10;Pi1fC3gPQYfD/g3w3bxaP4C0uytzaeG9K0pXSBtYukbCqPMZQplOS7LlhnJ6nVjTUaNHWTXuJ/ZS&#10;2k/W+l/NnBGhOopYms7QXxtNtyk/sx22Vr9raHlGt2GheLvFJ+HfgzTr9NFW5+y2dn4cELx6aiyG&#10;N7i6ldNgUsU864JVnKqqEMVVuw1v4p+Gv2a/C8nwu+D2n23iz48a3/oWu+NLKzAk8FW07NHDaacg&#10;Z/Ilc43y7t4ORvJV62TPpPg+1tvhR+zw918Qfit46upbQa/a6bNFYWAt0c6hqs2pzosMiQAXbGeN&#10;jb26RPj94VU8n8CvAXxG03w9qPxZsPCXw68V+E/hzrrjVNSt/Gcya98QdZmE3m3tq0lm6XSQBGYZ&#10;CRD7NHErfOwBDDVZSaqS9xfE72crPVL+7sr38iKmKowjFxivaXtCL1UL7Nrbm62PH/G/w+8X38Xh&#10;f4W6c2pvruqXsF941a23rca/qE/HkSS7i5ETStGigEqQzBt7Ep9EwfCrTvhbo+l6Fp+keG/Enjmy&#10;RFvb3XwG8PfDskqEFroVsymR0VG3XOqSRw+aDiN2WN66+z+Jngvxneara/Cm38b+DG0qeO0+LnjH&#10;xfpltpfxHtLiZXeewsFt554baKYQ3UUcsM7yTQwSsXXzHgj7/wAL/DXUvj1rmgfCj4R+Fp9M0S8u&#10;QZI4i0mreI5dzh73VLsMFK8O7F2CKiuWZiXYicZ1FQowtzfJW9ekV+JtKlU5HUxM9Ek09H5vTrJ9&#10;unU+SvDegeAfF/im4sPitFcfFOe2dPK8R+MNYvYIXgwfNi0DwxayRWVqsn7xBdXDSeWrLtRhgV+j&#10;vgv9kHwdaeEdN8YaraeG/wBmr4Y+DbNdQ1TVbhLyy8Y+KJJYojDb2OnadarLKJyYR9ovDbxEtEd8&#10;4lda6jWfG/7JX7HNtY3mk+F7z44+NJPEg8Nt4s+Hd7p2j+HJ7y2PlyWWh6reRSx3V0JE2Talp+n3&#10;sUOGW3dZEZoqHj74tSfEfSbTxF8f7jX/AIZeCxpF14h8NfAHwX46vfG3jb4g3F0nkNc3uoyQW4hj&#10;faFN1cwKFW5kWCKQO2/eGKlTpvDYaTnLbmt7idunWXkurOKrhHXqLE14KC33vUa0V9dIrTfojh/F&#10;nxX8D+EdJtPDX7Gmn3/iXX9atYrvxF4j17wLrWm+PPNigkkmm06zS4jEEEZM3+lajI58q1t5Fgtj&#10;58bfAHiv9k2w8SXv/CXfFvx3c+FvE+t2k/jDXLu9u7jx5exwRx3WyJy86pI8jWpgaaSZlh2EAzNE&#10;Y3+mNS8fR/DWzuY9U0WHwEdWVh4R/Z38LQ6jYeHtIihTfb6n4x1GYLNrGoYMlz5UzG1g855GRA8N&#10;vJ+XPxj+I2v/ABCvbyz1fU4VsbefeuoarbS6gu+MBQllo0ZEZLZ2LJcPvPOdzMTXO7qaSalV7vZe&#10;SSulbS9jshCU4NKTp4eyvZvmlfq5aX/I4LxRB4E8P3Y1D4b/ABS0a81CAyRzW15b3pm00qq4WJ4o&#10;xGr5ZwH85SHQkFRtLV/A/wAcvEXhXxBJ/Zlz8Ptf1fxG8mkzX1vBf3evQvdbIla1luzfRQXTbgI5&#10;LYRyrghHTcc9h8M/2SPEvi3T7Pxr4sVfBHgCedrRPGvxCnmN9rbqVKW2i+HbOKW6uriYyrFHBBEz&#10;7mG8ois4/YH4Vfsk6j8F/D0GuPrQ/Zx0rxDpapo/iLxN4Hi+JH7ZvjOKRFKzeGPChQ6f4ZgkWQKN&#10;SvpUm23LEeYqFU9KGGdOl7XGyUYta9PlfoeXPGwUoUMEnJp2SfvXS623f5eZ8Fv4l8f/AA+EupfF&#10;/RdI8O6ZqrSXf/CW/FHWYRd3bFCq29vYXUpuJCGRgJUWQZwvO0IfN9e0y/8AjNr974m+E3w/1vxN&#10;dTRxrda5L4HtfhL8PNJkDCBriy1PUb2CLyzvVXup/KDPI+VzuY/bni+LRPD2oa7qH7OPgE698RrJ&#10;rmfxz8Z/i79j+OXi5dxRTGut3iuLS8nkMgC6OIvIMymOYuSU+OdA+DnjD9oGw1zxd4l8UeMtdtdM&#10;8zS/Dmm6Nqd39t0/XE+U6eNNuVeORrYs5nCEBAzMsmSA/n0qWGrU+aEfc89vl1d+56bqYzDSSrPl&#10;qaaxSbXV32S9LuxyWufAn9qv4TQWEXivXfDPgCXxNcQrpmn+HviHc/ErWJEuseUzR6Zayx5k+Qqi&#10;XDF8YTeFBr1/41/BT9tn4WeH/D+meL/GXxWuPDLWKLDpOo+Kr22sbeW5YSrDZ+HZL6Xb55LSlPs8&#10;DszgyAMxDfbP7Mlwf2etSsvHX7UXiq98Y3/gOFvEnw6t4JdRun1fUVMKadpuuaPJIJJmhKKwlEbh&#10;PJVM4OR7no/x21Xxd4stvixb/DTxX4z1az1KXVGuvinbaRYeDUupY5EbUppp7iS5NxFv3RxFYI48&#10;KMOPu1COCnBU54eLbd5W1slpZPq3a/3FQlmSk6tDFy5EkoqVlzSau3bovQ/GW3+IH7SHgn/QPin4&#10;Z8fappGoM6mxm1uLRPEd25TCyTEpPJCp4+WaFSQmMjINe8fBHUfhP+0TrU3hWyh1aT4yQq6Wvh0e&#10;EP8AhJ4bJ1YKFis7PBRizJ+8QSMSScADA/S3XfC/hL4j38HxQsNB8GeC5YUS++IPjP4vX8fjbwN4&#10;6vDIzfZ9F06Ozt/3KLujZpJ7j/UybZCrhG9s8KeIfiV4x0HWPEPwk1pn8A6QgfXvFvgf4ZeFv2dv&#10;2f8AwwiGJ7hdS8Q65dWeiwrgqClu8j5DNhlDkXHL8PKaqUfdfa6t6fImpjcW6TWJs9lzu9790lo1&#10;5Hyb4Q/ZY+JFzcNpPxLuNK8D6H4eumitPDWtzWyeOtZ4lkWS10kbFtC3yOJL1JJCpcGPI2jzbxn+&#10;ypqGpXt5JZfDHWvF9o8Rj0rSJPE0Fi8AVCm+4nVbeM/MjHy1idjliHzjPsfir9szwj4E0O9tG/a5&#10;0Xx7aWxks9V0X4M6y/xN06ykkCPLaXWuWVjpvh2RixBItr+9DsSWP3TXxvqHxd8PeP8AUYfFGl+J&#10;/FmpjULww21nP4i0KGNXDSsyxQWxM8xkGz7ryDhRlfmpyhBzXJT06rV67b+ZSTmpVK9a2z1stNOl&#10;0eUa5+yv4n0+31W10jwBc3mqpfo1u+nfEL7IdIYBftFtd6LAJJp9zOFSaWSHBJAB+YHAf9hX49eI&#10;7u207/hTXh3Tri4QiCXVbvTI/tLKFJEUtzrIk8wbwSUjIXflioxX1P8AGfwLr+meG/Dviv4Y6r4g&#10;8ZxXVhGdS8Sap4O1Tw98M7S+YCU6adQvo7aW5aNWAdmQnO4r8oryCD4k/FXQtOtI7XwH4FbWtNuR&#10;p2teK/AvjK48My3YAMb+RJo8+nXXl4lKFxI6yDjPrnVlSo81R0E5aWts+gqVGeJinTxLjF7uSWi7&#10;3v17Hy144/ZZm+EusXWl+NfiZommeKbWFbi78JfDG7TxxrumhmIKX1xa3n2W2m5bETSu/Q7QSK2/&#10;hr4K+PHjT7bpvwU8Q/EXVrbQk363qXxFurPwz4F8PKH2mW/v52+ypG2AAC7NkBVVj1/Y39nnwv8A&#10;E74naPJeST6t8S9bjiL6X8HfD/wu1341eIbWKRQ8t5f/ANqrM1pZqTtlvpZlRDJyzs0av9AeMP2W&#10;/HnxkOj/AA58S3/gjwLFJpM+pW/hLwVrxjvdNjtcqy3uneHXv7aO6dnEYM4jBJYsU2HMSjha94On&#10;HmdtHZJP13LlPGYafNGvLkS3s3Jruleyvsuh+P1j46X4Xw2cOsrc/tJeLreFDcQ/BpofBHw/0cBM&#10;s93q+oM9xcrG+/cbayiRssyyHKlu2i/a1+Elnd2ml+LtJs/CviLUIAbbw14DsZ/FMtrJlFeKS5Pm&#10;3LAlWIlPlqWO5chsV9B+Bvh7+zR+zH8Rdf8ACPxW+E3iDx1Gs8v9n65a+NLfXvC2vPsZknljgVJL&#10;lQPKbymeMpmQAB8NH7h4r+Jvwo1nSLWw+FXgL4m6E1kPOj0b4HeJfhv8Dr6eMx+WFaaPSl1qUbSw&#10;Ky3k7sQ2FxjHiYzCZbRvGV/aX+zHTps36aM9jD4nMpJYinCLpaW5pe987bPyPm/RNF1H4l6RLq+i&#10;eF/EcekysPMu/Exl0U225j8zPctEoBz0Xk+ma6GH4RaNZ3EdvqfiTQbeUIjSi18QJdxwA4O2WeMt&#10;HvzuBALYI5HQV80eNviVFo2uiLxZ8JP2mfEdmkzXiWfjH4rW/h7UYNwXYYbmTw20lyfldd/nZYHr&#10;n5m9S+GeoeAPFdidXtPDX7TGmQXjDY7/ANj65oWlM7DDT/b7KzuJEVl4MFw+cn5DgCvnqmU1oRdW&#10;k3b+9d/puezRzDCuX7z4tNItf5/M9YPwx8N2JuZ7X4h6OrQyqfsEt9eazbzKBlxGRZgAHaq7fMAH&#10;mfKBgV2cej/CdtIgjl1fUtK8RRoI2l+yNqfh68ciQO4ZFSe3QnyyEKXBGGLNyMaHhj4NW3iKGa/j&#10;8UX6wACOwg1jwpN4eu5jtGd9w87xA542gAg5+9wKuaz8EPEdlCby00HU7i1cpELmTXNLvgh2sfmj&#10;glZlB2nPXBwMmvIlhsbD3nGDu9Vpr/kddPFYarUtzTTS630/4B5NrNpHpkiSW2paPrFrOAsFxo2q&#10;RX4OCysG/iRlKnKSKrYxkDIasiC7R/MEkjQScgmbG3kkZBJIPJyOvTPtXR3nwn8R390Gt/Dd9LdQ&#10;qWiutOhe8kiCFXP+ryVCkFmDAY2ZIxgnl/sU3hW4RPHCXH9iO+2PUrCy+0y2+0ERpMhIABJ5ckKg&#10;+YkHIPm1cLKV5OnyrXoelSxlGNNxlLm7P/gmvtZ1U5jKOVCrwrc7vu9yPceoFGYzkEZG37pVWZSe&#10;gJ/XOc+/rcfUdOhLXPh6wNxZTxr5S6ldG9zlMCSJhtVcY3AYwAMelUhfxzqZQqRtzuJU8ncSCRnt&#10;wOPSvO5XGasdnPzSiprotPN/8MCqcsynJ27doGRzxz0xgkD/ACKRUYrtLLynmMsQGG65OPQkN+mM&#10;dKRyxJ2xxKSAW2Kdm1iDgfQZA4P04zUsh25Me5sgSupJJ7ZOM56gY+vuanmcrAmuZWj7xEzREsG4&#10;JBVFAyBkFRnn7oY7iOOhAxnIY5Y7k2/KiAqqSYdsDBLfr29c1Jk8tgNsAVUwSRlQWycev45B545c&#10;qBmZsncp86MtycgoevbHGev5daVua/4d9Aikm3FbrcrNlY445clmARSmFYH73XnoCPypVSIndlRG&#10;25cLgggbSdxPPHOM+ppxRm3lWQAhcMw2smcHdyO+ep/rT5EhDEKhCAnKFiI0J5JHHQnPXt1NZRaU&#10;5RXXQmUVCzT1Wn9fMcjEc4HO5EIAYg4wT6Aj0Izmmbs7nYqyuMCHBKMSSASSeuCBnJzSsQ+ECMoY&#10;BNoBAc7gMcHPTJ6evXpTTmN4XijEgUqzRy5USjoyHGD8wOOoPJ5p8s7b7/18hpc03F/8Oyw0nylV&#10;UKsYJVdxYj5l3ErnGckHJ6heCcDEQJ2lss23MhYAMqksOAeck5OOo9e1MjUGXcQ8ixoIcthC2CBk&#10;nABJwcn3NSzH5tgwYtuSUJyDjhRkcHjOD04yMnioczj7q3/4ctTdnOa1TKrnc5+XaQcgKo3tyMYH&#10;GcnPGRn1Hav5cZC5EbASkyFPmLDAJUZB59yO1WyPMfAMbpHEyCROWiPBVTnqcP8AiAehwDTZER12&#10;7HlywQFt7R4JYAnGOvBPPBqHNxkoy+9EuMnJRk7r9P8AMZOyZGAcgAhWQ44BLDPXsAM889azJzuI&#10;zl8rtUkA8HB5HBGNxHc1emcjYNhwGCL85L8lVLHPQZ3HHueTgGq03KEkGRdv3cEkt935T+f5962T&#10;u7NadyZ8zm6d/dMSbezLJu8kBvm2SZkcZPf06ce9Zk0QZh5m7bJ83mqoUnAYBfrklumck+2Nm4CC&#10;Iu5RdoKpG2WRsqeo4B59eSQKypkjLo25iEBHGSHbPOe2flBwR0DYzWqbUOZK6FJSSUZbf8Na5kbe&#10;u/Dq0qsYzIfn6l+BnIHy4znBIODiseQmWPhWl+95zRrsmjKrtLMeQNzZ/A9u2vIVMewHaXVmAZBk&#10;bQMdMdCCQecZxkfLWPM0TZMi5xLgF1AIGMEsRwcYBGOnPA4NEZxc0rav/JEOyi6ifkZU0abUKhpC&#10;ANi5++MMhBzyCvGBnnn05yp1iwhjUbVbYgcgMeMPnnuwbA+9tdcgc1rXZVDmLKrGF5XDs4LhsHOf&#10;7x+XsB6jFZ86A7ygcp8pUSEKEQnDZwcZO1RgcnkA9KqDbdv6sZ3abjH/AIHyMJz5aMjAtLICR5p8&#10;xVwMZAJzkAZwPXPbBy5zI7MZtyq53KSQoAIAyoPGeOg49K0GjyzSSSR7jLwCpbAIYNjHHRu+AOc9&#10;cjNml2t5axwgmNAFdiuwgnPfnjJOQeUGMc7qk2pWWj0CX8Tlmvd6mdIu7O0AbBt+VGCrhgp5A4xx&#10;g4A+7WfKGQOGVXIiLxkvgcA7Tg4P8DjI7jqe+hISQsRRQA2GMa7huyMEAchiD0AwMH15zxMjhZAu&#10;GZdxQfcDEMx68njnPOORgcY1bSXO4mNWdNRnFb/d5GexXAzlVUb3kGFIVOgY4zjJIPeo0MRVgVLe&#10;WuAASilRuJKnn7qgHIAqRyrRB/LiC4VW2AqOhbgDoRjoPwHao9oyd46v5Y4zEhywOTzkcDnp8w7C&#10;onK6u1pf8WJxcbRT6f8AD/IWMoQyqGjRCU2n5Nih84XP++TznqR9LCBt2QoLcw5LgnAOeV7chj2w&#10;VHqTVdCqB2OwjJ6uCjLhiCHIycbTznjjP3hmwqM8a7WwSwXYH2iXCqN2fUncc9sfU1SqRUmouyX/&#10;AAxdmvd8tSzGqRtkDZJtEeZcMFYZPIHHQjrV+PMKbQIyCzFFAzKVCkhVIBzxjC453fiaYCeY0rER&#10;gqTuUYALHaQSuCOU79RgnPGbgEaKAiIQGygMpOwdMgA59MA8c9+acn7SooVHewowvG60/rqaNuAG&#10;ZCPKKsYyVXKKqZ3cY5yB7jHtitWGTcdyxq/LFQ7ffGAoU8Yz8p+bvxjoSchPnJVtqqmWUKM5O4bQ&#10;c8gcrjuOAQCeNO3VVzKdsQA2ptUvtzhSfTBCg+hx3ycxJXld6tIIy5fcWq7+RtpvBjQumQS0hRiQ&#10;AeQWIBXIzIMg55x0XjXgCuZIlTbuVXZsEMWUEBsckHo24kY29MHIxwTwUZGV1O3bkeWdhTuMnqM8&#10;5wW6cGtiBv3YCkhJMRLIwyYztBIx0wBtJI5y56buZcUoLleprDmi+V9LGva8rISS6Fmdo1IDRgbm&#10;HH1OOOxNatuE3yMzBZFj+VxjagY/eAJ4DYZvr+ArNhc7jxG0ZjALAEs54I4xyMgtu4xnknOK1rYF&#10;ZVjLSOg7h+H8wlV3DkjBycg9hk4xmXzRjJvzB6Nyk9+htRKihlaNQAyqQV8xQCd+3GOQSSemB9Aa&#10;vxZV3O4BVA3ttAUAn69eQB/uj8c+22sqgjYFUBm5CE9CARgH7vocYHTJFaCJudmIRwrZAJ4BHBwu&#10;McbvfsMdxmpNStJ6W/4BrCTfu230XkXUAYqRkEHG4gFSSTuAHXpgDnqD2q7GMhvuBZD5ijAJfA27&#10;gfoEIz2B/ChGyBAEbdt3Abjvm+UE9FGM8EZxjr0q3HJEfMjZkDIN3LEKvBICgcemBkfeqnFyhyvp&#10;1Kmpxmoy33ZdYDADyZJcDcFVRK20ALj8Bj3HXnmEkLMxSVlVkyJAcFgHbj8ODx61WS5jJEchDPHl&#10;2VHII4OCOuRkNkY7Z4IqOSUgk5YrjEWw7UOCFJPseGweOfSs4ykloFVpV1FddzQMwZW8zy32gKrr&#10;gqRztzk9OTyfQegqrM7AtvZNoiYsoADJzlTgdD1NZ0k0cblC6qGk2kgnng8+vT9Pyqg93IqEDIAU&#10;BMOW4LHIJ6ZwSDz3I9KuKa1fT8eg002m+n6l6aeTcMOT5kjMUPIb5Q2ck4xg4zx94Z9smZpCZd5X&#10;y1kDOrnIcFmPfsMcAf3cdsVXku2DMn7sx7TvCjMhXthe4y2MD0PtWRcTmXy3i6PcrlgQVc/MFTOM&#10;jOTjPIxxjJp2l8F/edtQlyyppr+rlqaZAhLgylmYkA7gCeDxg55JHBzkjtkVlT3axSbWcRl2AEbY&#10;JUY3DHPJ6ce47c1VuZxIdiO4VBjBk2qCABls8Zznj/a5Bxms2S6fEefmy5Rm3bHUAHcQo4HQjA6A&#10;nnoDpTjyX9pq3/wCFNU7xj0/4F1+BblvyFKPuZ2ZhhQpVSm0Fh3OOSSMjC5B64zmuEyV3O/77fJF&#10;v+XKswJIzkkKHyT7kYGaoSTMCSWIXZlmY88qRnvg9c9uRUU0w8pm2xozIHUhiJW/dqPmJGBkFT0x&#10;1OOTTlo7x2QOUZTSn/S0JHuGZS5bzHKkM2wLFLjHJGeOoOTnbk8jJqq8xlcKSzuygrJIoWNCByR0&#10;7LngAHBOear8bCpOVEm10fIKp3YHOM5wD14c4ozmORkjygmP7xXzIFIlMY7YyqgEnoQSKuVO0bPc&#10;xak42l8Nr/kKpZFVx5jAMFcnBVtwJ65yM7mPy8ZVeoyKcwfYgcgHkBZNzqhcorYUkjBx17DrnFNb&#10;ayseRGELDJ3o21uGwRn/ABA5PAzKiZkaQqW3KSIzwsYO0/KScZ/PgD1xUxkoWcl6+f8AwwSlGCSi&#10;uy/UYqgqJSxQKcs6oMIig5fPT7oPOOOTwAMtT7pH7lmxhxGwJUnjAB5zwMcDqMnnFX4Yp12sAzxy&#10;MwWTzTFtbqCTtwD1A5zwTxzSpFIYwGCsyESDy5lIB2E5IBxlQSOMn5SOcCrpySfM9v8AMi/OuSTt&#10;/S/MEgbcpMijD7GlMRMLbiAzHvtABYZBOBwOtSoo2qCdzxkMFblxjqW5z93GfT8eLXkuHEbIpZFO&#10;VZTGY2VNuwo3QBjyDnjqOxmEEhZUMMf3vNRVbKqCctgA4BJTnOCcehwVKVpe87eRbSUVGOqv/wAO&#10;VEtjgNuBUANN5eYhhiu5d3OAAWOfUfTN5IJCsm5SZAwcup3Egrzj6DgZ9Tx1zZ2MFbzdzgjzJXmU&#10;NLIAWDEk8kHZ34yH54OLYh5KqsR/c5UxHgsS27cMZJGFOeMnJxikoJys3p/VhVI8z93qVFg2ouEV&#10;JCcsm7zEBCk5J4I4xxjsD1q8ttG74A+XJlUuuwHgOufTqpzjGCDmrywl1LqoUZ5DnacgDpg9hkEc&#10;j5unFTrEksUvlt14QqP3j4wCewxgDBGBz0obdoq2vl+ptFRi0pR1IBGZGjQbAWjySUBXhVUA44xw&#10;3I/vdanSDy5JW3q5PyooYMz4G1MDPYk5A7Y5Oam8sFZMoGLRnAyTEVKbU5HPvwAPrnBnWBlBiKh0&#10;4jbKsjEYwWIAODgL361Su2ox2tb8gT5Y2gtX+uo2G23ZVlVjuDqzKA6BW5Jxk4yR09BnnAFpIAYE&#10;Z14aI7g4KsAwOQQBgnJ5x7cnFTBCFEbBMnDtIjbScAYYeoJOAOOOuaVhhMu4DKjI0asDI+0ADd1y&#10;eQe3esmnH3k9FuKEeRW6W/yIgqH7xYgkJgfKsfLNnOc8F+CDnoBgAVNGsvk/MqKjoDPGrAocEKVC&#10;+gJ6AY2nsBSmNCrTKCi7nfKknYW2s21R7Zx0HAHGBTTyzcjErFVXaMAEDpzwMgc98VS1+F+Zm1Hl&#10;c5L3nb1J2AikHzKE87kJ80hIydxwc4G3O4eoBPAqJxJEZFAKFMQg7ACQoII6jkMckKO2MUqEPGqs&#10;VlKJ8kr8CXK8sAc+4BJOMiolQbhukGSexJ2993I4zjaT055onzRXOReVRLm1t36BIAEBVtxOI3yo&#10;k2txuQH2BHOOST0xUQkgdpYjIEbiR0UfM4yjRsQfR0OD9e4pRsRyzum0Ln92SC+SQO3GCynj7wj5&#10;xk4iluFJILBg8pAUAojENjHGOOM8Hpn0puUqlo323/MuDSpbWfX/ADGS7ZN2A2U6kvuL46ndnrgH&#10;j3zxVeWdAkiooidMEmQbXw6spAIbpltwJ9sjGQYZbkPGzlQFVQJI3XaASACWA4wQWzjrk8niqMs8&#10;YRTsXByqqSQxwcHOeeArY/lxVNKVrsyhUnflvb9bf8OWJbg4TjbHGN+4gZjOAMsTg4bCDJ/vdODj&#10;PmmDLhXjXY6CNXfJRvYZ6cg+nyHPXmGe5REeQGNn80M0YTO5lxwynt8x6YJz1zzWLLdKRDEvlk7+&#10;fMYEuRnGcDqePTr04xVQvJ8y229NjW8lFOaulv8APYuT3CszO7Ir+WWZGP71mK884xnaoGevHHJN&#10;Y9zdv82xBNuBZlUjDbc7hg4wAVByOufqBBPdkIF5VwVDkktjGCM/7p2kjjqfQ5zJZ0w80bBPlIVV&#10;mLKdp+o7mPBxgnaO1bJX91EqfNDmj9w+e4VzIrKAFVXZgMNIGxyAD1OBg5/LnGbPMV3kMSwYqjb9&#10;gyWxhRng8AAc46DNEkyw25UyHMUyxxMjMAoxIC2Rlf4AoPOQq4OOayJHRFZyRGS5cKzBtpUFiMZI&#10;HAPfgnFFoefmYSspPW73v+hKt7Ko2pcyogJCqkeFxnr94cnqfc9+tFQieFRiSKWR8ktIdwLknOeD&#10;70VHtp30izFYFvVN/f6HuALIfLEkrBstsRQGwE3MpIHPC8k/3fXOLCh28pZGQAbY5G8z5huwVLAn&#10;IAPJyMAnPQVEXVXG/wC84VZMOCxJYBVPGDk5A55JxjJFSs5YSIpCBAYHIIG/YcqfUj168j3xXC7p&#10;+0a7Hevtd0/+D+Y4qNoJ+Y7cKWxuOcMoBxkfdXJHGAOu7FTLjEkUjEAMZMs+EDAsCdg4BAKDPP3B&#10;yelQcghViYCRwqBQMrlkQLtBJ5yOg6YzgYFPdIgkhkywMgXbIx8oHGevvhenoeetTTUm2paMVKDk&#10;7S66/NDlinOVKr8sR8sPgqVKOwO7OSclfU5OABjmFgcBW8wk5dyx2uNjAMULZBGATkZwWX0NTtIC&#10;ZZQnm7W3bo127GC8gc8AZB5PQ46mmyMpJUhTGFJVeGAznkDjoQCcHOcZxW1007LW10NyioJRvfTX&#10;8gjEZIYPGUBOFdS6ptBYsB3PygEZzhgcGlVVaMPhkkCjZjGUw2GboOcNk5+mOc0qbMSxmTMagxJu&#10;4fbtbAPcY+XPrt780o3JlHK7VUqQuVLBhtGPcDnPHDdOKj3n76+QOUH/ABNX+pGCnTJ3SjbvD8RM&#10;RvBx/tDgcdxnAyRIseCqmGMSu7RBZF3MxRnjA4PdwSc4JVlx6hWEZXagG1MOJAwbO1Rh8HscnIPT&#10;HtikRUDbVUB0j8wRxxFQIlDHgdCB5TnAxhVHHWpk9FPpY01k0pNcr/r9ByCJipjYMEIEbpKSy7W8&#10;sA5UHIwDyO56HJEfKOyA4ByRHJNkL5bfLjvgY5I4HOTzyqgb3KokiyvHIq9T8qhDz3/jHB7ZJ4FK&#10;gd5MgJgx7t24eYzg/KuTz3OTx1OfZWi0/LX+vQi93e2l/wDIVoZYSSNm4bTISBuk64GBhSTuzwP4&#10;R9KfH5ikqqsQgCzFQwk3LuB3KMnAwck45VsnrSlQUVNyMxYqrOBtJPIO4nnBHTAyCRzmoyDtKBVI&#10;kLMUACKOGMbnk5IJdgDzjdzzVXXLyy10KnGMoqUOo9NpeRpW3CNQVXzAgKtgEZI6n5sH3pQ0gERZ&#10;FZzgvJHHsbJHJAX22jDMTjHJ60u+FN0qBWQ/MxZFEgUDeM/TPQZx680NGqIuxGChQWUgK78qp4zk&#10;kcknqcHPUiplCblp/Wlv69AUOeneb6DijupIZ2JK5JdcgouBxnsAOPp061Gdp81k3KJCxJhUlM5G&#10;eMlgeMenOcnqRm3Jgo7AR/uyvQYUN1yOAFfPpkDqeVLFVDKqyMSSgzvCgZLbsnBGFyM8DHTqQqcp&#10;JOEv62Lu1FJbvS48xlp4hGFUKsmHA3HazDCsOuCNv1PBPFSJvcBSxRWwBtPzMuC3VeM9Gwen4YER&#10;RQCzFwxAIywZowMYGSeue/vTkkQI4wxkOPLjRd/O3oDjHBLdQTgccGm2tOfciU1JpW20/wAvuHrl&#10;D86gSDCTNuDsSf4j2wOegHbipWjZyoJyzEsxDZCkDAOBxnqCMY+bPuWiAkIhjKs0ZjzJkBx09SVA&#10;I46Hp2bcHAoxzu3KHZmAdUWUnqQoGQoJJx6DAzUycZz93c1s/di3fSzHgksoAC7irKFfLNvwoXPH&#10;JyR+PPNKwyhI43uWjKrsULwdox8voBjr1yMZpu4jcqI0eONxO3ZkgkYzjGSMZ61IinaJQBGdxI3x&#10;qHKjGAe5AAAA9/c1UFKMU5brqZPkU+RLXv5f5isphjWNkdMoSjgEoxPyqGxk46dfTqc5qRQZ9vlN&#10;t3sYsyAc9RliTngkH8/pSqQMJI4cxyFHAPJBG1QT15zggdfUd5mEOyQoq8xjzCFy5brlsjnGPzNV&#10;dqGvUIvmunrbT+vTQqFGXcu0GNk3If8AeZDxjBHypwDn7x6c1FLkvF8sXmKMSbFx5gBbbnjqC3HQ&#10;gs3qc6PlqWdThQ0auu0b/Mz1Pbtt5z2qAwKqK0o37ymGCZ5b+727buDnmsdWkk9dLfgdNL3otSfW&#10;5Rcgo4WHa/l5ZbddwUkljgdz8zYx1LDJqYAhhnyySVAU/wB35iGOeNw6cc9euSBbeJ3TJWNoQf3+&#10;TgBSQpGOoGDz/vj2FT+XH5aZXAV9wyckYPDH1BBXI6cn0NU1LRNbr+vkc3Iptu+tgSMhlfduJ4bA&#10;YIuNoBPvjOQOvHPelaRlk8vdhOFCBhggqTknPfgYPU7QM5pSzOWXfG6xsYxz8kvzlTg9d3C8Y5A7&#10;YyUlD3OEbzACpeF1GwrjBOdvB6k8cANTvCyT3ehvKLTaWv8Aw35aEgLSIZnEgKDLOFDbwMAoVx28&#10;xWx1BxipBvYh45JFBQjdIcMm4kkfThRx6D61FIEB8j7wK87l2KQBkgHOehGcHuvqKkcJI5k2hIvm&#10;cx5O7hWOAB+QHQcfSl7jSvqwk+X3av8AWhB5soEgA8t1UeYpIUjIJKg88k7fb5OD62cQhVIXy2cC&#10;QArhnbkFmPrgtz3yaajxFQ+47N21vmBfLdSoyBkA5G4gcZzTP3rBDNCnmFAikZLEhQVJJGcZx16g&#10;jGO0xbnH2lrSM4xXNFVFr/w2o+RXdgpAIWXM+zHlnaclWwOSeQQMDg4wcU5SVAyy7xtPmkAqDnac&#10;k4AJyp5B5zjAHLdzh1Yjy4w2PnzhuCA2B16cE88dabJny2VUGCco2du5cnJ+vB/zxTlKcF7+2hUm&#10;lByW6HrICqkNtG8ONnDA/KM8c8ZzkdKR5UzEAzELLuII4wEwG+nOBnnOfeo4nA8wswVGLEg53Ky5&#10;3AjBIPUDHfHTOakXAy20tJsyDtIBJ4x1PPQ/y9BTk1K8Vpqa8zpx1dr2/wCHFkk2J5SghQMM+0Kz&#10;MRkYz1Jycey/gCXBysYCqUCsdmAoBUp+AO09QOOlCGMxKyBB5iiRgRnzfmIAz7DjHsKlaNQqxgAn&#10;O1NnzzEYyOfXPt39ayj70nKO27+Y5KEYrk2ev5DwpVoiW2ln2b9oboAeDx0546dKYHdEQtsVwpO0&#10;Phxu+Yg4Jycs3Tg7j1zSnake2YYjLFVUsGRQFIwQM4GAPzA7ilaPaC+xMtGAAG4HQhj3J/Tnv2TU&#10;o2it+n4f5mdKMZr2kdnumS7mfgAK2wCNR8hkAbdhR2Bwc4xxj60rQSEHEilCBuKsG8kMpwSM/N0Y&#10;nHAJwcZGY42i8wT8eaRkHcBtADEHg99uOetSpEYwdvyAggFPnY4yvJHUdMEnHIxVRlZOLQWT/d6X&#10;6eX/AAxl3Fqs0ZxlnCB9uSkfbIyDxwAR3/GsxrKViGAYqqYGGGG5GR8p5Ax1yeRxXTR+WodCwDtg&#10;lVwoH3j0749ulRiONllYLlkwA7cbvbPvjr146c1pF68k2CpXfvHNfZJHLHaykTb0wDhtoOR7DAGe&#10;nOD0xm6I0ijLMrDzEBUqd4GSTnjPXk++TWu1tECoWP8Aeg8llAKA4zz15wfc8U6KENhAqqcbVUqC&#10;yADAPXk9MY/HFEpOV/LQzVOCjHl1b6/qRwwtsaZnVUJ8tAjAsv3ce3zbVOPXBPIFWDKwRcLI7Rny&#10;3bOJCCSSBnA7sc59fXlm6RSVYMV2FU3HzCwJVgeCcY2447n2wZChG5S+6PGUcbWfeFX+Y3HcuMdu&#10;Dxm5OWhqlGLcX2s/v0sLuUM5b/VvjaTnGckt7gAnAGeNvbpSALlwoDBXOR14GMf1PfpTD5bFwfli&#10;ijIj2ABnJZX3N1PRmHY5H5iKJosAyBoyYi8aje+VGeODjKjntk4B6VbjDdb/APDD522rarYk5K/M&#10;Sw3cFjucEAcDv8v9OnSoy7HDYUAPlDtLOcKT0x16nFLtWNRnOWAQYAxxkHJPrjHA6fSlQxrFJID5&#10;xAZEjZz8xUDGcnODnGeTg9Dilo0356FctNR9562X4Cj5GbYsYKxlkViCrOUIHI4xvwQcHg9yOXSB&#10;gnyllL/M4GSW+9geo654PftzSSMQQWBAkUZZsNnbtA4PoMAnPTHtTWAZFBG44yrHaEYnP49M/h60&#10;7Rqatba/5kU/3aai9P8Ahh6IW8wqRuQfNleATkYGOpwQT/Xmq7eZvlkIUAqeD8xfGBk+vXjPpXP+&#10;LfGvhfwPpc+s+JdZ0/RNKt1zNf39wtugA3HCA8uxGCAoJ56Zr84fiZ/wUr8KaDeNp/w38HzeKpBM&#10;YI9S8QzvpenzMQSDFbxt5pJJwMsOuccYrqwWAx2YOVDLqLnJb2tZerdkvvM8bUw2Aw6xWLqxpwvv&#10;J7+i1bP0/wAGEI5fBQs2CwIHUA57en/AT3rwP4hftIQ+HdYk8D+C/BOtfFzxlYCJtb0fwuse7wtC&#10;7ZLT3jkIr8g+STgFskr8wr8xte/bn/al1LSb68svh5a6HodwhtJNVfwRevZ2rSjgRzzHYjHcDn1J&#10;JxmsH4MeNv2wvA1tqWs+DPhJqHiW18V6rJrWpao/hmPW7rVJ2dVbNyH8wlNqqI1PGQMDdk/T4Dg/&#10;M6SliMdy8q2jzxvKWmjfRJeZ8ziOKskqVVSwFbnm95ck7RS3eyu+i6bs/QOH9r+Lw9qLr8T/AADr&#10;XhXQFmSL+344JZ7zSZW3ERarp7L5sKfdC3EZeEhdwb5lU/Wnhfxb4a8aaTb6/wCF9asNc0e95tdQ&#10;02cXFtIEVScsP4gJAcMAee2K/I3x7+1H49utNFh8a/gjBoWoxxGXTZ7g3OieKbMbmXfHaXUfl3Fu&#10;WDK8ZLKdrKec11Pwz8YeFoPCGr/Gr9n3Ub3w3rWgPDL8ZvgLcYbw9qkJkjR9Y0CNJMwAjdvtwmyN&#10;mADbeI9cRwxKrhXiKEHTqx0tdSi/R6tP10Kw3EMaWKVKtUjOL1Uopxkl3lF20Xlr3P1obGdrhWBj&#10;GF8xmdjzkYHGDk5x/wDrhZ2JdAmERdzlX2BF3qBjjBB+7gEnkE9K+fPDn7TfwZ13w3pPiGTx/oGi&#10;JrFkJxZapcy211YyZKMjgrtJDCQcHO0ZIr2nwB4i8KfEp76Twp438IahpOlxn+19bh1+CfT9MD/O&#10;qz7GLeawGI4APMfHyj5XZfj3hMRSlJSi01vofTyqwdGNRarp532fcvSbYywj2xMuQy4DEFSo55zw&#10;MjPXkVxXiqyj1GTSI5pZfLi1q2uJdjlIp2jdZgjk4yjGPBzyQcdc12d75KSvFDKJ0glaJJdrBXPZ&#10;lU9Px5ywrlNYuhFPpCyNE8b37ykbQZV2QTSAsPQEr1OMgdyBWmEk5z5oxvZP8Nv0OfFRtDl6vf5t&#10;fifQPwStk/4TyHxXcxySaf8ADjSNR+J2ovKDJBFJo9pLdadG5OcLNqH9mw84wZ/avki1lntvG+sW&#10;NxcyTf2hYwX11dTEGa7nfe1zcMw+8XklBJx1UZxkCvrjwPq0PhD4EfGS+u44k1v4k3/hz4d6KLoC&#10;OS1s7aafxJre187gshtfD8bDG10fk/KAfj7xnrVpoGop4hdVuPLtmtY7W2UNPfyNJ+5hUD+J/lUF&#10;j3OeRXqyo+7Ry+GsuRtr+/LZfconnUnPnq4tv3VLlT8o2u/vcvuF8d2MniIWPgbTmaC58bX8NjLe&#10;wF400W2+0BZ7iSQA7SghLLkHd8ueOuL8YdLl0fWrCXQYY73w34SvB4Sk1G4D3GlXBubHeEmyMOZn&#10;wrl+pkYd8V65quiyfDD4GQeKvEKv/wALL+M+vWnhDw+8cIkt/DlhfzrBqt3aq2XVoVkitYnXgYnb&#10;q2Bk/tc+NPD9h8BviBpeiwWtpH4W8bT3PiG8EXlzatd2F69qSSW+WKNIBtPJywBJGAv2+CwFDLcN&#10;SwlR3qc65kutSy09Ip6+bPl6+NqY6vPEU1anKL5W/wDn2n8S85NNeSR798StOvPDksNhpdpq1hYf&#10;E24h+MZvr6zls1uLaXw/oWjlI7ogLKkD6Lcu212I+1BiB5oz9Ja/4Z06/wD2WvgB4H1u2+xeCvjL&#10;411f4+fEWwt3EWpr4P8AhIz6Lo0d7/s6r4j1rxbLGsnIbSbEYBXI+Tfi5ZfEuD46/CjwDe/2hr+r&#10;ah+xz8KNGsdA1K+e4htvEGsTX2ox6JaxNzHvmurS2MS/djslRsq21PvP9tafwt4Q8HfFLS7LUjf+&#10;GPhn4A0L9m/w54psIUhOk6D4JM1jrdxG+QCb/wAQWnj+/X5j5zahZElT8qezQw08NVxmY1JXm5ck&#10;eyUG/wBVH7zwo1JVqGCy6j/DUXOTW75lb8OZteaR+OPwpg8WXa/Gv40TXt1e+N/ib8S08L+FNPit&#10;/tMmp6dZ/wBp30tnHHxlbr7Chj2gj93bbfmZQftr4XfC3w74X+CWr/Fjxlpi6P4w+P8ALDpvhDQt&#10;WtnvNY0HwwdRjMm35Q8JuVjlvJi2wlF05DuDDHinw/sdZ8X6f+y98NvD2j29h4k+MnxMt9Q0Fo8R&#10;WljbX+p6d4We7klGxQtha6RcSkkbzGZHP38n6F+NHx3t/EPxP8KWXhF7O1+HN549vD4Jtr22M+o+&#10;IbOyaRLO7v8AcSfsaRQ25REIjHlP8iqoAKEFTnPEU4WnJ8ifaMVHmt5tv53ZrVkq6jhpu9OK9pJL&#10;rJuXIvS0b28kfMPxG+IFj4j+MeqaA8d3c2nhPwro3w80SLSHV7iwglguta1maEruZZRHqOm2W5ly&#10;rQSjGFWv00+Gv7N+qeBfBml/FnxN4TsdP8VmBbb4aeDJljh03wN50GLNEaRgo1K4TdJJcyBVtojn&#10;5pGAHPfsyfs22Gh3g+NepeHo/HsWqa/Y2XhK10oAn4t+KvEM4udB0WzuJQGWONfIku3RW8ousaly&#10;qs/2P8Yvh74s+Kmn+L/DHhTW9Qutb8WeJdS+F0XjXRtXisLTSrDSkFn8RPFPh7dhLcalqcMvhbTL&#10;z5zDaaLqVwrSShFk6qVGnSi6EFetK7d38N+nq3L7mcVatKtU5pe7QjZK27tv8tH6tWPzeufHv7QF&#10;v8G9Y+EXwt8F+CPB+tfGC9vLbXPFXw5maLUZNLtrqdJ3/tAwCe8vNTeKSRr64nJhszPtgtRcQxt8&#10;deHPBtr4Z/s3wYllY6TILhrnxN4t1W/hTwsJbZrhRDpl6zgPIqQTtJAU+0SukexVjdDcf0beK/gV&#10;4M/Z/wDgve+Jhcy+E49E+FcLePteNtb3+oeB9AMKpaeGfC1rMjpDqWqsYoBNN50sayq8hUxvu/Ij&#10;WfH3xD+I938OrjwH4A0+z8U61rEvjaw8MX/2PWPB3grwdEJ9Ms4NXlvYjbpDhZry81G9JN1K0LBU&#10;2RqLqUcNGt7JXclZPXpslr00b+TKoYjEyw/tXyxoptq+jcrLXTd6ryWh5P8AGWfxb4xt/DXwH+Hk&#10;MejaB4X0dfEXjrWri6XT7PTbGO1WdBdvlYoINsiM7tukeSUphmZIxysn7N2h2GkWV1qU+oeJ75YY&#10;tY8Q3NtafZ7qCCVFjsdNhkbP2YXKq7sqgtHbxvK2792r/S3jXQvDtxJD8RfF17NJ8ILzxe3iKPwt&#10;4csTomvftP8AiaCUzR6ncmQPLb+FbWSNjarMvlGKEiKFyXZd+9f4rr4pvPH+p+DfDRPi6zsvC3wl&#10;+G0N1JrVr4cu7i7S2jS90wKg+2aoRJK6zSXEwt7GQTxIkvKw+HpUqjhTjebd2356pa/Ky6JXZFSt&#10;UrU1Gs+WCVoR7vrL823projwnQvhn49v9W1P4ceGbDRNH+IHx70K00+88dzTvcab8MfhtpjW8mpm&#10;OKIRx6fYOrGOZPNa4uQBamOP96K9G8SfCrw78M7Q/B3wD4j1Oa1ltxe6/qWoaLp9lqdtYFIljluQ&#10;iloZLpkeSKyMm22gIDEBpC3btf2fgCxufCOm31v4s8bLrUcfxD1XS2F61/BYRfaIbe3UfKumQXl2&#10;sEP7wiWeO5nYNiLZW+Gfw91P43/FfUNLtb0WvhDSbhNY+JfxLubaa7t7+/dF3xwLkGWO3Dm3hRF3&#10;3VywUbI0Gy6lSeIthaMV/eb2sui8k931fqaUKEMOvrOIls24q3V2XM13fS+yXqUvhx+yVoXxlls7&#10;z4cw6T4E8F/Dq5uLv42fGPWLyW20yXSnhVriy1W/IBaEuizsEXzbi4QRQqERvJrftDfEz4deCPsH&#10;wn+EPhq/uNN1IQ6KfCmnqPD/AIy+LxDLEp8QNG3m6ZpLlCqaHa4nnjb/AEyYkvDXsP7ZX7Xlj8FP&#10;AXh79mz4G+G3XXZ9Wi0H4d+ArK1R9RvdaMiJc+J9c8ol7zVTIY44IzlYJWKJs8sbtux/Z70L/gmf&#10;8B7X9pn9o6/Txt+1b8WrhB8KfhxJaHVfFfiPUrzyhDI6KjNZ20b3FvlYUaZl8uMYeby3yqV4Tw0q&#10;zbWGg0nL7VSelox++363uFKm6NWnSh72Mnd04fZpw3c5v73ru72srHgy/By3+CenwfGr44Wej+Of&#10;2h/E8dvofw3+H1npixfD74FaddL9n0vT7XT8CN7uYACO1jUkgcqV3MfSPHNvZfsa+EP+F+fG/wAP&#10;eGfFn7VXjGQ3Pwg8A+Iom8S6F8K7VAy3HizWoR+7mvPM82OASB1M8e2OPZblByfw61LS/hND/wAL&#10;r/a/1qbWdb+FF0vxF8ReAtEvYrkeFdS1KZG0LwJo/JW98WavdCAalqDtKljbW8ltDkwMg/N/xxpf&#10;x0/a2/aQ8Y+O/iFerqvxH8SpJ4j8UeGLe8x4A+FGnFt2n6AJpcpBb6fasFywxAsJY4cFRnUq13Sh&#10;h8Il7Z6PtCKVmk+snrd+uuxv9Vofx8dJyoK3TWpO91ddILR20vorb28x13VfiB8e/iFef2dJr/i7&#10;xj491aS+8SeOdQ06aXWtUWRw0kVjYs7m2tzJIx+fdJK5YkDHP0n8I/2U7m++JOi+CPAHgUfFn4s3&#10;E0c+n6HqFvLqXgjw5PvG688QaiGEEmza7+SJI4QiYZ2yxr6I/Z2/Zz8WCC80T4X3Nwmq+P7g2Wsf&#10;ENLKeLUtesd62rQ6Nb48yx0cOxijfEc2oSSYyFkEVfp9P45+Hf7HXhs/Bz4LajH4w+LaaAbHx58Q&#10;dOii1mfwxdOXD6Za3hbyJL5dxe5lgLRWu429uzSG4uRvRp4bJ8MsXi3fTa+rfReSXVnDWqYjNsT9&#10;Twmjd27r3Y7Jt932W2mxzV38EfhF+xHokPi7xZ4usPjj+1nLb2tjqXjB9MXT/AXwqAQNNpnhHTpE&#10;HlukZx54RZP3ikrGGG38ofj/APtE+Lvj3461jT9ItbTwVoV7IkGv6rFNJaXFxFIUj3y3cjmefAUh&#10;UDOXwXZnLAnf+OX7QHh2LX3g1nxhb3ni28nawsPD+lWFx4y1C3knjiAGozBo7KLexeaZpbgFEfHl&#10;kqQfnTxJq/w1+D9np/irxrrFz4m8ZeIUW/07UfF3iWz0Y6HBPMRvttKgtpmhZ2k+TeJWYMMMQCx8&#10;CvicRm9WOIxUrx+zCO1+ist9z6PD5fDKqbp4WP7x/FOXxeb10S7afceq+G/DFk1laeFtFsL+2u5I&#10;3j0/S9OaRtS1Ftg3O6KdscblyHkkIAVGJyM7tWw0a/0nVtV8P2Or2/hrwdpO9L/xFZ38Ph/wjrOr&#10;zgJJaw3kSifVrhCEeaKzScDyhkIGLr5h4E+Gn7SHxL1PQ/FPgH4NeJvFPw18SXsj+HPiN8c4vEHw&#10;j+BuuTBZbr7K1zaW7axrzRH5ZYNG8xsxIreWpO30X4n6h8IPAOtaR8RPjH8YPE3xF17TtDm8P+FP&#10;CPwC0Oy/Yn+AfhqOAB3Sw8Q6+3iDxjexlRMvmWGn6VO5jJjdu3sU8PXSj9bXKr6LdvTst9f0OSeJ&#10;wsJJYR8/LrfSy111dltvfse0638MW8OaN4f8WeOIZBod+sTG88R2ItbmGAnbHcxWcYka2jZBGAWW&#10;SZt2SUK/P4T4l1v4jN4Jh1LwovgXVfhrq11c6LbeMLT4r+BfDviXULtJZ1vLS10y+1R9et9P2QZ+&#10;2ppluJ2m8sucR7+4+HPxD/ax+M2iy3n7LP7B8vjfwlZa3ps1l8QfAfwb8SfHTxL4nurSYX1q198S&#10;vFy65cxLGY081bcWCyqxje38t3ifH+K3wC/4K0/EbVNM8Y/tQ+D/AIffCDSrMhNOtv2pv2lvAvwb&#10;fWbWB8rDAlzqkV4tsn3BDaWMaomEURnBGlehifYSh7BqO921FJPS+9/lY8+jjcNTxKqPFR59rJSk&#10;3fZXSsvv0PHfC3jjXtE1fS/GMeifss3fiKG7exHin4ufFnSfGWs+F0QxASW+kajfNYwRg+YlvJHY&#10;OWy+4jIYfor4C/Zw8ZfFe10vxh4v/aK/Ye1ozwNrfhrTJfj38OdU8SJI481lbTf7O1F7d/LZHwI5&#10;pEZhuhWQ4X5q8H3fjHwUI9Y0v4s/8EhPhPq1pbJbLfWvxj1j4p/ES4nHnCVbZ9Q1G6t7VCpjH2q3&#10;t4GyFaOTGWrz7xx4M8dfF3xZq2t+Lf2hv2X9fa6dp9S1zRfjFdyeGbuSZNsLz3s4EqCWUQqMpIu7&#10;gO3BPnfWaaqKlS5ZyaT96Xup+ie56UsNVlHmxFWUVf7MPefldr8T9qtE/Y8+L+oaW3in4k/t9fs8&#10;aL4cuJEg0Xw/pHwotrrQ5crgy3fijUtCtIJeVxtGjmMBVOSAxPQ6z8N/FfgfRbiy+Fvxp/YK+K89&#10;nb+Tej4l6f8ACOGK/WXc7ptPgfTikSh+GDsd/X5WUL+I/hL4R/tdeFfD2uL8M/EfgXW7ZYV/se60&#10;j9oqx8c+Hby8llgjaSSwugFaJSzqlsLO3jKbTmUhzJzmr/AT49eOPE2jeEvi5+xz8LviRqF7d2w1&#10;z4tfDvxDpv7ObeEP3Mi/6Re2t6NNlWJrgNK99pAiVYVYyFCwTrp4rMptUKapLm7OV7J77p2W5w4j&#10;B5VGH1qtOtJLpOEenly8t+iV0fdniL4S/tHeLdaFvq3/AATC/YX+Nfh+3hZ9Q8Ufs9ftBfDH4ZeI&#10;YYmeXL2Npp3iKyunkcMCFeB2LEBIi2FOr4a/ZG8K+DbHVPGfgX9kHxr8LfiPpNnJcafpHxx8IeFf&#10;2kfg/Z3Uj+YkllemG3uLNoljZA722pBncYKouV+LdO/YI/ZD+Hni/Xb74tftmrbz6Lb22q2fgT4E&#10;eC9K+McOoGRWSXTP+E2ivrewF3AVKyi4tSAr5VHxlmeJv2ndJ+GRvNR/Z3/ZX1f4mRWVmLQeKPjd&#10;+11r+r+IJHtVC201n4W0e90XTInhDPsEViznfjzJG5NTqywsZUK1py2ag5P01e1/JmX1ahiXSxUI&#10;OnTVrSnGMI7Kyai3e3XQv+P/ABj8RryC41L4p2ngfXv7Jvf7If4eeD/iFqtjqMsdxdFxFa6TBb22&#10;2FpQ7bIikasQDsGwHVvP2lPGnwp1C/8ADOj+H7jwLr/9nWum6v4Z+IXjFbWKC1ePzIbULFc3EjAB&#10;8PDJtKOWDgkEHz34L/tR/tu+PX8Rn4hfA34cSeCtd1ESTaX42t4tT1C1e3aOCOzjvbsTanZoke6I&#10;CC5QqzjG0gY+oov2nvhH428Qy/DO98e/DvwP4ylRX0nwi+n+BPE+gaddvG5lFreXOkXEcrukzhEu&#10;riAZxG0jSYrixGAoKEYYpShJ6LVfi027nt0sdiqsmsJONWKvsmtFbZNLT5Hzb4o/aV+Mfiuxj0y7&#10;+GnwC0DSJIXivPFngfRtV1vVPF6PscDUll1SaG5KPErxi2s4CGUlkYqMeR+EviD8KPE+pX1n4on8&#10;RvcaUsWn6hqnw10Kx0PVQUGTbSiSyNxFgqwDNHuUNnB5DUvjD+1t4u+B2u3fgnxnomvyawmoMW0q&#10;+/Zq8P8Ah2y1OCMhoblLy1lheeGRkyfsRaN434kwRu2/hB+178QPijb6vo/g39mD9pS71Zo5LqXX&#10;v2Zfg1qkDadIVLCa6itbC7I3NsyWLAKcZydwawT+rvljO3fRpvTv0Ili6UZctZ0lzW0bcWvutqe5&#10;roPwLmsrRdD8d/GGz02a4e4tj8QdK8QtpUOzy3jEupafc3McErOWUFrS3TgEuAcDhvF+pajeyta6&#10;f8WPH91esyw2Op6T8RtS1iCwGU2q+6aViqlVVlC7juIwOc9R8Kpv+Churw6rbTfs1fFXUho9+bB9&#10;T8e/DPVfDGsac32eGaK01K3lFuq3UkdxFJtnVHZJQcINwP1P4V/Zs+PnxhstI0r4keHPAfwllmke&#10;dl8baLf+BrHSACBdXNxe3VxhpPkXcLMSsT5BER3R72sBXrw5cR7je93FLy0T2MI5ngKMW8JLmafT&#10;mbs+1z85dL8OfFY6le3R+Ldx4oEzH7GdQ8fJ4fvLk79qwxXmo+TudScBUbqvBBJx7B8P/wBmX9rH&#10;x5rVtcfDe0+KXjDV4IpNQa/sLWDVLC02p58kj6vbag1s6KNzl5ZkwF5GdwH1v+0d8F/hd4Q8Kvfa&#10;j8b/AI8fHbxj4S8Lx+HtK0Hw7+z1q2r/AAkt7G1uJsWKeJNTNvdeRErTsghsyvmZXOHLr8L6n+1F&#10;8G/DvgqLwp8H/gxqPw++LNjHu1vxqfHfi6H4jzzw73jewtZb2DRoV/dj/RZLdurfMSCR5lXL8HRx&#10;Eqlempxe3Ldq/m+nmz08LmeY4ulyYeo4T/vct1Ho7PVpfefRXjLwX+0N8M7Waf46XWjW93aTiBzo&#10;2tnw/wCOrM7pljMsSo9tKY/KyWk3EZXc77lql4N+KXhfxDDPocHjzw/ql7HAW1C0+IJ03TtXgR2A&#10;3AsgSQ4OMxBSxDHao6fFtr/wUg+Ifia80/wl8ak8Ya2mkQvY23iLVYbrRviPCxZFzbalpsS22cIB&#10;vuYLhcIg5VePqXw38dPiTrHh2LTfBnjvwdew6oJpbDwn8YPhJ4W0LxYIm3SRC1+IFpbxzSOclB9t&#10;ghC7QC7Eior4SjJ+0VPkutIt3/F92dVOvKcHGdVTit5LvveyWlvT8TttQg8MeDmM2oR6fq/hvUXX&#10;/StA1Sz1SbQxID5ai1Sbd5b7hu+VSpK9OQWDw/4e8T+U3hm6D3jv5aRu502UsdjYkScKuCpJwrnG&#10;08knFeG6hoepWsdzP42+Idt8LNZurhppYNf0Twn8ZfAQuwCfMCxWUU8KFsIDbSSOi7euST5trXif&#10;40+EbZdav4vhh8R9CvJGFnqvw68Ia7pekzqiRus5Wzn3wPnf8rQxnJJKtXBWyaNdNO1+3qjenmFO&#10;m05XUP5tT6bOharBujkttsiKS53KxOckYI7cZ9exz1NCUPEZYwkp2KRscMm187Wyp7HaOc85B3cm&#10;vlTwx/wUI8E6Jd2th8S/BPxJ06CG4LXWtaZpX9v2CxEHn7O8cNwFxt+82RhupIFfUXhn9oL9mn4t&#10;wpefDv4s+FLy/kwV8M6veromvZ4LK9rcMG5IkzhyVIOVUYB+YxORzpKT1TXlo/nax7mGzCVVN02p&#10;R7q17+m4iliABxIWLZztEmcLnGOoyx+me9MHmCQszHYjMxBIbzGwOnfgLjP+FdPe6VGUDxWzLGY/&#10;NSXzMpcIT2UDgEhsEkjjHzAHGBNAm4HPmKQM7FADhs9R2OOOmTg55Jrxp0a1OXvr/g/0jujNTTTd&#10;nciMiGTdIrERsOAfL7dGI4J6889PpTyzFCxUEBOWkI3nAABA7n/69RKwGFcFwXLbgu/ywPugfiQP&#10;xqY7XzGxGGV873COdqlm544CoTngVzNcqU4paM6+VRSqN6IPKIVo8gF4wHIUEk4JUgHAGORjtu6N&#10;jFJsIUsWDKwOxidxJUkKMds4yevT82JhzGGVhuH71lkYlsZJyfqAQMkDp2pW80eao2fM3ylUDrGW&#10;b5TkdssOntjrT5ouDgt3qQourFye+9/yDaitszvLLtWUNkHAGNvVQAeRnsKsRsQZJMf6xt02R+6Y&#10;gsSQR043Y+gqFNoIyrRvKmCpXa+MfMB1wMhh+HTNDuo8vdnauBuByzHkLjB6gnI6575HUaag1F7E&#10;xk1dy1kv8yJifmRUKFiHbBznIAyc9M4/CqzRujl9hwsisxTjAY7OeOp7AZ6jgYJq0zbC4i8tFYfu&#10;kZQG4Xqe5AJx9KgmIEgCMQhkI4I8w5zgn8APxGaIc0pcsF94Rbcubt939blEoWLBWCsE2nPytzlS&#10;c4HUBemOSPrVe6PO0MVJcAbskrkqXwASTwOPUlfcValj2KWbPCbSjSM24kjALZzxyMDnJznNU5FG&#10;5pJVVXkRmfchUjDYOe+BwM49eeaUmufR6aehNSpJPljuzLn/AH8jspEmzIUFdqJg9f149c1lTF2C&#10;43Rs5fPlANtIxhee55I/3e3Q69wJHIU7AM7QsaADJI/i68Dd/U8k1nSDABBMe8eYQo2qoyXO4Zzk&#10;9TxkEHvVuTjaEd/+AZy5m7Te+un9dUc/PIY43BMQG3IlBCsDg8Hj+7jnsQPrWfL+8UiYx7kjEu7A&#10;3FwGfPHcbM8jq+AScCteZOfmC4wWKiUZbABTjOMjgHHcjmskr5cybbUTTbSjSMxODGCwB7nnn0GS&#10;auNm0mrvqZQUYtqT916GPdMXIUoibXEgCHIAIXBOTj5fm5PXjkdssseVJK71ZXXABRs7C/pgeWM8&#10;4+Tn0rcnWL5VWUL5wDlDghVyGwV5I7j5uAeo61z87iNjhVBJ8xjs+XBb7rEcEAD15OePUpxvKxco&#10;Ll97ZdDFu5juBQynDbiN57NgDOOQAF65+7wCMYz5WcPIQcHeuwEKBuL5549F5B9DxyQdSfy2kZkh&#10;I2qEJQCQnliMsMLySfQ/L0GayZCzM4ZgCw2mNVCMGAOQOc5HQHJHHYcVq+SUk4v/AIYxUnb3u/4d&#10;CjOzqMEbWAK7yCWUgj+LOAMZGCM89jWPIVk3R+Ycf6w4GcHJzkfl79fatm7VxuG6NkzuZkAjVAWJ&#10;yeMHceo5wBwetZ0g3HCgoGO9VB3hsKWYL6n7w+hNNrleu3+ZLprdvt/SKBYhZcqMFxHvRQJF3Akf&#10;MATtAwCQeeODjitKxUHkqqSjY/MB4Kh9uMkY8thk+je1W5txMm4AfwBNgYAM/TaOw2L15OOvNV5S&#10;YyJZQctuBUkMzYc4kPfJyO/GWrVpPVf1uNqc6b5303/QjIOzaRGiRhhKqMWZDxtwoGOh4A4+Zaso&#10;7MsbIFJVSXdTkDJIG0Y4wMjGex5GTVeKQb9iltiuRvOF3fMQAvYgZbj3qVYyFLANGI2aKUL1XCqw&#10;xznoScBe2QTk7VGntz7lRfN70de/9fcX2DPuRU3fJ5SMGycZIwOeSMjk5zkADGM3beceXDIWVFUC&#10;RSSrZKgHkn0B5BHc9elUok+TeVIdH2hZAECgZbB7jqee+CcVaQorDozEs0DsGVTzjIA9tpOO5/Gq&#10;VKCuvx/ryM7N3bdlp+JpRxlOvzM+HyScEDO364A5Jzz2q/ES6I3mtGFYGVgwUEqZApUAYxnaRzjr&#10;xyCMyABkJ3Stu58sRARSYAIJJz6E9BjjnHA17ZUZnYAxgNsIQZUfK2wHBU/e2HOTjLZBBxUwk4tq&#10;+n9IaXMk7Wa/T/hzWtlmXEbgLJ8yMqZDQ46oT2PB6DjGCOtbcDRvI21wmAoTcoRGbbg7gOR0J5J5&#10;H0FYcLIQrCJfMaMOCD5vRuVK8nJIPJHIz3wRuoCrIrYAZ1JwuQPkJyM9DyoBHPz53cConTbalLZ9&#10;TSm+W/MtO33I2bMFQR5bmNm3sIh+6mK8KN397gDnPHfoa0oJSQyvtCyAjzMkRjH8PXHIDZB4O7ms&#10;q0DkffCupIh3RK0mMlhhu/CnHsM8YNa8WAMBsqcsp64+YEN6/MuB7e3aZR1aextyx5Yzvp1RqRRM&#10;zRlmAVmVoy7/ALw5UcEnsNp7/wAXHfGhEMkzAJvcFBK55k2ZLEnjLZIPoS2eelZURGRuYKvmgYUZ&#10;DDjaSMcDv/hVuNoyXYOC3l5K7QhHpubg5wBjkc8VlOzSiZxg4yTpxs2769EafmqdvIZvMKhgfukq&#10;xOR1wGGP+BZ9aFmIVon2xkMESQcI3BJA9c9h0BbOKzy5fLqVjaJdo42BsHrjnsQB7KOM02S5w2VV&#10;WViHQuFXy9ynp3yOhxjr6gk0lDlV+35WNU21Ko1rt66mgkmwKCm0Bc4AIY9cgjH0/UY7CF7nDB2j&#10;OXICozcICuQCcqM8gAg88EHHNZ5cpl0bYD8xBIwwyc7cnvn+g7VXa5cBQwkADuiYVmc8joDwxBKA&#10;46bu2RVScLq+/X5BKKhB+06/0iZ5zJn96FIOGkVjuIBYYOPRj1J5I4HFZ73pJVTmQqBI0eCI2w2S&#10;AxxnBRgR0zio3vCJC6IDhlZFKht7EgAAZHXO3sSSAM8ViTXAZHdXCRKmAyEhyw6EMwIB+U8Hsewz&#10;SlOz5XsTLnWkXp/kWzIFCLMGCh2w6OAzHJYAnscgjjuOvNZUkzhdpUOxJJjAPzdxt7dCRkYOMe5q&#10;GW6WNHjMoZk2qjKXAkYqI8gddoPqM7S3U5rMuLvzBK7OpULlYyuWG9g6tjOSAAoDAchu9W1dKS9P&#10;+CQ586XItE9/MuTXLqoG53wMBNpaPJJUkjpznoOvJ69c4yOGeMKUCRseMDywXJ2g891Jz1wwGcHF&#10;QNco5UYcEncipLv37jjDMBjkAYHPD49ahyA5YRzM2MowjxHIAefmHXLAjB6nPpgUnyaff+H+ZdaU&#10;mozvtuEsoikkAOAr/wB8MxXkHaADjoo742856muNxYgYwsZclRhuDg9ckjrn3I5NC5/d7w6oqBED&#10;Y3MQiDL/AFZTnIznk+6+UP8AWjagWPfJGq7nKArnHzYBx057j1q/cf7yD3ZlF1JtpW17/Jf8OPQB&#10;kxMyBElICsuSAdioNxOCeo4UYIzkk8PkVgpUu3mRsrODtyORgHj0Ofp0603biVDw8h4DHlGQtwR6&#10;/MCBxjgd6mBVjHIQ0qbslTtUkAnGcnPHPAPOenercLen4XITl7NU73SBQ8i7XCbnw7EjHljcVUZx&#10;6EHODxngGrixsVLn5kIKdSJHYgkqQMYwA+BgZH4ZiQsiBlj3JgB+qv6FsdOcckDjA4GBWnDbEyrJ&#10;Jl4d26Ug/OwJycZbggDOOcDHqKyi7259/wCriaXK4bv/AIYaYo1ycK+5zGU5lbBO/LZ9yMYyBs5H&#10;TM6WySDyndxKoGyNjujjySpAHJOVCYGD37AA2oI5MJiNc53SFmUhyVHOevO9ecjO72zV2CFW8hth&#10;+eNgzPtcJu4GR2I+b8QPYUko1LW2t/wTWMb2k7KK/wAtvvKcNuxTEQZkHzOsZ3hCw3ORjB52Z9wA&#10;ea0I48NGysAWbDkRhWT5QTg9CQHx0POBmrCxoMttILTEgqVxgYIzz3zgcc4PpU625GDKCJSDMQfm&#10;mkY4IAOcgn0znPfIrO1qqb229QblGMHF637EAhJiRkwyQghFVS6puK89M55Pfnp0Aq4kOMnBBU+Z&#10;JgjI47Ac56kEMMAH2q0kcm9pEjGV2uSVA27WVRg5OeSDk9N4H1twxgyM/lr8iHEAHmsu0k7gc8t8&#10;4zjgYPHOa1tz07vf8dP+CNwSitdW/wAyJY1baXGSTvYw8Zb92NvTH8Jz3w59OJBENxIIBzg7lzgq&#10;RtJ/DcO5+76YqwISqNGIlaQKSRndhTlgcnnBJX8GGec5kRS0nlLGw+TYpIHk4UbgR34wQN3J9cml&#10;py66P+vyHJe1SlJ6J/nb8imkanarLmPLAFVL7sDqD2wO5wOtSpEpbEZHRYyQSXBwSpIJBHfI7Zxn&#10;kVbcF3ISPnBUJnY4G3cSPfIPr2ppjR0KyPkSny2UcK+cjPPfqOpPYYNKPNdOL8/MScmlyvbr+ZEI&#10;yMSo4jUNmM5bHBVhjkbT82Oc8jp0qVmkBkZSriZjg4DlMjDAjpjGD9WPUHhZFj810LR/PJlSFEe4&#10;H5jtUcA53en1puVVtrESPEzSdiWIz0HbBcnr1OeM8nw3mttvvQ4xV04f1sMXaYg4YttmO5mwrquC&#10;Ty2AMZX65HXGQhVmVQPKYuFAZX5XkjgD1G09TjI9wGSKzKi5+Z5FZyoyx4DDAzk568cYPSmM+ZWk&#10;wGkbEZIUKyc9QfxPTuTx0pKEklUX9bWKk4QipS1WnqSqgikUSCOVYm2ptAbaAHxnI64YjIPQ+uKh&#10;VkCl8YGzKMzgSL8o+XgDuTnGB8o9KgeX5tmQyDcDvB2sDnjJ69cfQAetVzKUbcFDYJCiRcE8EEN3&#10;9MA/4VpUi+RxW+7BTUYXWie34MVpcssboVkkG5drFgBuAzv4wRvXIOACQPWqYmBUvHIzAHz8gsmO&#10;EZSgHIHOSffIA5zXuJUKARIeQhYD5SAoII6dSo6HnOelZtxduUCndgAkI7YCZOcgjgElQCQfTOQK&#10;UFKScVv/AMN+BjOL51OXUs3dw7s6q+WUbVLKSz7lJA7beifn+AyXunJMj7IwUZdzASqwcsWYk+hZ&#10;ueTyT15qOSYmSR4yrRrlSC4kDkEcg55znjHUAkn1zJbiNIDGxw4USMYYw21jsXBPUjazAr03Z46E&#10;3FWVlv1Js5VOZ7W1Jri4IfCMq/PuG10dDuK5OV69WbIJ+U8DgA5FxOrowLDczLHhshTglgCuOQSO&#10;oI5I5zTbm4YhHkcr5q7VkyoLgfulbOeilT68qe9ZL3DCSEyrGGVD5ilVwwJ3j5R1BzjB44HTvpBX&#10;i4y2t/VyKspydoa3JnmdTGpBy5CruYRjnbwx+71HJPTNU2uHYEp5ioW3FNxUJ1zlT0zzwMHg5qN5&#10;DH5hUFpBgkvENq5GOByVByADnPGTjoKayfO7RqpZiG2bmLRkgqWJwBjauPQbgM8VUG2/3a16P8yL&#10;SU06js9/yEDMwcMpKsHUDd949cYODtye2Ccdeahm2KWmALbUB2sod2UIi4XAycdMAdR06Zmud0e1&#10;W3CQKHcOxZ9rLu3c88hmOc9x6VGiOztgpGvzMjAFmUYABIPAzlx+HUE1bmocvNtv+SM1y8ri9+hn&#10;yLL5jhwrsrlCwfcDg44I4I44I4Ioq80bq7r5bSYcneISA2ST35/OisrpaIXNN6vf1PdsEkxuXRFY&#10;pGdu51wX3EHJH97jnkkDI5qzvkZuNpDyeaVaNZyrMcEknoT8uCOu48gkboDJJtaJ5BGxZJCQpmGD&#10;swMA/NhfM7jlx6YqRAyt8rbl3ABjMwjIOW9e5bpxzz9eCzlK62Ozep5dX16EigqXIUOJEKMQNv8A&#10;FuweuRhW+pIOeoLAWcyq5dA7FQSm6QhdxA4yDgBee5b3NRuzBcCbEQO5YpPlZcumS3A6AHj3HB5q&#10;YKqAncZFC/Idu4sWXjHIzyB7E447hKL+KT/rQqPvNtdP1HPlgjZDkBo1bc3O4IHUYHcRqOp+6Cc4&#10;pZI9qrKpMaSAMgjbD8ENk8cFjgjGSMYIpkh2iORyxZY/N3gt8pGAevBHzkkZ42cc9EAWWUTR+TIG&#10;3QruYEKG5LAn12qQvTOKTs1+Qo024XRO8SuFxHktwElw/QLt6jgADGePl+oFM8uOV4pOCZI2BCfK&#10;zEnvk9MgHjP3VGOMhykFiMuAWMQQIdz9VDZAwSflz06nAA4EjRnO0+Yrtt3rGhmMeCxAKYPPGd2c&#10;DHPfDja1r9B8sXBN9CIIAPJ/ebQu0oAW2A4X2PIOOT1I9wXqBM6FgUKlQ+8iVlG8s21sf7T4HHJy&#10;eBTFeFQXZ9yCNSAufnD4IGB3GScHB4I64BkQZ3htzOWzjBjJ+9uz0AHIGPYjjip5ZqLgtV/na5T9&#10;2ynrpr6jGMihWCo5VQ21WUMepdeeuRxx6E/RfkQEyRoxO12cvhWBZh8o6gjbnPTBHWmn5Su5icR+&#10;Wyq/mLGdrgjZjcUJJXHB4YY5NPY7ZC0aAB4+WY5DkfOeemAEbjn5l68UKPuXG+WlFzW6Fd3lKMy5&#10;Y4dlZy4RgCzFSBzy3U4OOwyaAwY5Xysr8vPyucjIZiP4RgcdAQOOgoILhtrESZDOxkERxheM4wVO&#10;0ZIzzzjNIQBGdrLvZGVUJ56KQCo6bdx7jqe4oTlL3ILVIJWjL2jWj/yQjREAlcbkiLBshVTIIXHc&#10;lsA9xhh9KcuQjpFvXyzt2nlCRk4GRxn0xjnPahCF3GNVBCb1PDiQ5zwBn1xz+gFKWOxSx/1a7o2Z&#10;cdjz0OevYdSeO1D9pzX8/wCvuElUhG9hpXcrRBSGRwybhlo8EKcgcYC8gejD1xUrbFUMAXRBklUO&#10;44DbiAME8A9c53D04iYbRxuYxnzI1B2vKSgAJfGBuzhSehGeOCLJXcp2swCuSu1twxvb5cj1Cnjn&#10;jtmnUvCqtbWv89kb0mtmuw2IZO8q6jeylnQpsPAJx3xycdeKEEgijLsBJGqRsY0wxITYzcDqfLXJ&#10;J53DJY5IWNdrqoYEFiX3KXI2jORg45J7nqvQ4p7Ic7T+7LAr8mVjViB3PAxlSAMYzk57TzTqNJbb&#10;+q/4dmdOMd5LVfr/AJEzGObeFjYvnCY+VEALchufmXGenJB9CQKgBEkkbFk/dA5+c5JYH7x4yR78&#10;jpUK7S28liyfMUyAi5yCFb2/eZ7kLUsZCOyuELH980YA+dshjjAy2GVSMjABo9nHRxd+v6BFud5z&#10;01JQ4DMrsfLfBO/G05GOvoTnA6Dnk9SKDHuPlonybWzgJld4CrxnGME44O4fgzOwKzbQx+QFGIBH&#10;zAZA/wBlSck5yme9TnynGxDv4G5iCknyk559CF9e+KcZyadtP1HCUuVNPuNQBFklR1cCcxjgHgYU&#10;Ybr97PbuOlXB5TMxDKqhtg+8ybsHrjvuA/8ArVAsZQAvsXIz5anA5wxGR15Y/QHjHSnMikuAWYkD&#10;ALBkwXHA7EYzk9hkk9KzcrpxW3/DFcqpx0Wj0Y9F53nYVZd8ZG6RjyOhwMkDJwfQU1jsXDMHKk9E&#10;3HoOQOoYc98fN09J0jDHy0Z/4TIM+W5/izyQMdDg+3TrVVmDjPmNwGVXJOFBbqBjBHBOcnOR1xVp&#10;6NSe2o5OFKS9non8ycsswUBiAEUsP45T2Ut167fXHH4BUbGkfdJGU3cKDjBK5657N+Yx1pCjqQpR&#10;mjGA3ykoQSTg56c46Y7UqOpwFX7xJGHz5mACSO2MnjjHHFROTXLy+QnzfFU0fkEIKyFWU7NrmUFi&#10;yEbQBnpwS2MccZ+hnCqhjBYkFFWVSCNmMgbScZICjj154qBXhlAjYt8sm1drb9y5Ukg9D1HPIqcx&#10;JKIWfcEykj56nAKlffB6kZyUABwc1q1dqTCnGpNWfk/0H+WzcZUMwORtDtIp5x1HcDnkYB45GIzv&#10;GA82DhQWjyrlxgkFSOhJGBjjj0qUKSAXba7lSqb924b+BntjC888lfUUxMJGxCnAn3fvJN+07RnB&#10;6c4HODnHXjAiL95pu7X/AACuVSk1DZf5EESRgOgdstICS7bGjZgANpA74ApyKVc/vARnCq5ycMR9&#10;4joOOcf4VO3yLuRg7SoW8nJIII5PbAGSfr+tcIzNtOA7FnZSQVQs/IyMEAlgACcAYAx3a5Uk3p+h&#10;MaUvdcV0JW3RkkIrwkjgkgjGRuPfjPf8Kkby5SjRhkUHepC8MBzk45AwR8vPfPaoTEpeQ7mUuAWB&#10;O3JwPm9c8j1pyw5QJuwAu1Q5ILsG49vx9RSThy6vd/1/kCvzOLfVfoKAjSeZEjFVkMRLAKyHjJOT&#10;zjb25yBx2qMb90cjRhpHOxkMf+q+XI3Hvyu0Y79O9K8QOUZBJDIxQENkDG4kAY6ccfU8AZNTiJQo&#10;xGC2Wb5m24HLOW7dck/TpTdlBqG3/DCm370evf8AQam0bYyjAYwXOMnIJ3HAHJwBgDgntQpHlnCh&#10;mAOI2I8xTtDHaTxxtPfgE+4ppDPIWkUIuNisrbQQcEkr2I298HPbHJnVQCrAuw6uSQHcDGccAck5&#10;HHalSjq2aSSqR5Vpbb8CVVjdWTYpCn5ZEBGRggKB3HC8Y6oOnNNVfnBIk3FVO7qhAwB+ZPIHr+NO&#10;Ul1UyYJDgsqnDZJ2jA69xwD0pQAdxaVwJWDBGO2NTt4wMdOP1pSld/l87Ex5pK3X/L8iIJtIPy4d&#10;SwkfkZC85HHfrjt0xniQEYGQZJBy4BDA4Vjn6seB6bhkgZIY/wA0qhcMoJXIk+7zxwByDg9+M1JF&#10;CQ4XzArLISCrK24H5Tggk4yV5HGcc9RTnywikNw5aumv/B/4Yi2EH5vLUSkAhX3qm0HBznIzn8cH&#10;uCKuNjZtYqjIQgOd4VhgYPqf896hxFKTh9wODIDneCDxj6Yx+XpTw3ysqMWBJf8A2Sc56joAMn34&#10;rONTmfMzSnOEfee1/wArArpgjcGZHZHVThlOAV+X8c59+2OQKzBPMK7pEy7gld2AykjHGeWIPUZx&#10;UTSBZFcoqK6lFVRtIIA7k989Dzhe+M1KXADkxMJGXC8gD3J9uT35zTjOSVkjNRTbXRaIYYX2yCQu&#10;qhWIwN7kH+6AMn6f7Rpx3RoEJDl1MhZjjcAFB6egOT7Ee1JvbYAA7MvyeXnGR90Y/T88UkjKNhcA&#10;AMFXIyScNk49g4zn/GqupK0ujG2oRTtdD0EYYKzdAo+cn5MhSeeSO4/pTSpJKMS0p2sSn3xmQFmJ&#10;xx95vTlx15ow8XoXBUs+4OQcHAOeScK3XAwOvQ0xgyFmDGQSYID4UgbuDnp68delN8ztzPXf7hpr&#10;aS2fpb+kK0sMGAdvzf6iORtjuoIDnsOMgZz2PXNKigIWIQpsE5KEvkMwIwecjBB/D2zTCyESfdBk&#10;YrC7L85A5Un34HTqAfWqjwrbsrQPDGzx5EZlWGB+AwAGfvE8n+LJwQSTTd9E33ZMYSjHmtez/pkl&#10;7KYHt9ihoprqONnwAwXAYEZyOMD8x715j8XvjF4X+DHhC78U+JNjOH8nS9MhYf2hrFxIQsdvDH95&#10;yWwAQDgMep2rW54k8b+GdF0qTUdR1mytLfSys1+zXCiWKJCyszYbgLtycg9K+CrLx18N/FHiq7+P&#10;vxq12zsdG0+e4tvhT4P1ZJ7jyLeIzIl9HbKhWa5kXYAxwF3cnrnrwmAliZ3q8yppXly/E+yXnLbb&#10;Tfoc1XF/VoKrBKdSXwJuyvq7y7RW726K6ueFeIvB/wAV/jheS/FX46wal4a+G8U4GgeFzqy6Nquq&#10;7lc29nb2oV5SzgKpcR+Ycg/JkNX0RoQvvg14Qg8X+D/2Q/Duh6TZ2xuNQv77xXDF4nS2ERzcyRyB&#10;rklsiRj53QYMKjAPyx8Z/wBtnUfE/jexu/hdpNv/AGdoNhNZaTceJdNS+nEkh2vfRwbtiSbQQjNk&#10;oCcgHp8x6l8T/iv8TrmXRvEvjDU9VsriUym0u9UhtLdT93guUGPmPy5PGcDtX6ThcrzTF4SlCNNU&#10;KP8ALdp8u13Z3cnvr9x8TiMflmExlWrja6xOJs9eXmjfS0Y/ZjFbWR+gnj79tvwt4w8Jnw3F4JuN&#10;P1W/MEsi6hqcd3oZEM6TIso8sPgNEhAwSOOARXz5d/HvxLqXiq5ez8a6J8M9L1PEuqDwLod1Y+Hb&#10;RMl2/wBDhBY7N3E4CnKqcjIr5n0iHwpeR6pD4g1htMu7JgmnWMafaY74BlUhpxuCEAEhgp5I4619&#10;ZeAvBMvgzw3c+PPhlqOh/FV9Q0CfS/FvgvV/D0t3qWnWEwInEUscgaXaE2yxrtZgwIOBhvQWTZZl&#10;sHB80r6pS1u3brsebHOczzKaWHhCCW7irWjf3tL3620PGvGb+Dtctb7V11nx/wDEDxDbO32o3utx&#10;tY2cYkIjmj82P7S8TAqfmkLguQdvBPL/AAoufiBoeppr/hfRroW1verYahLHIPLkiuMo8LrncVdA&#10;wJPy8HJ719W/Dzwz8P8AxNOmsWOi6dod5JC9zaaRf2zRWN0ZCYytjesxTacuoidwcYwzE4rqrD4d&#10;6XctrQ1Dwza3Rt2Zb6zsdSPgzxckAwVlsdQizHPtxk20yZYrlXO5iukc0wuFpywjTb00fTbSyOSe&#10;WYjEVoYxNR31Wrem92/wZ5x4v+DOqWGq2usaL9p8NaPqsU2uXl2V2ratbsGvE+z/ADKt/bykRyW6&#10;giVCkqr96uf1P9oFraCw8LePPh5ouseBdJujNo50FpvCXiDTZMGM6mt1aOiXF7IAC01yrnCqisFy&#10;D9SeD/EenW/iHV/g1ea1f+KfDuteG4LnSta8X26rrnhzU5IEmt7eUplDNBBJHGzn/nq2V3IDXzt4&#10;28HS6Hoeo6bd6XYawkWsSaNcwvtTVYZo40nguEY/MqSxTk7V+8YZT0UEaJ/2hS/2qF4pbLS7769j&#10;bnxOAqc+GmlJ23V0la6W+nqmfQ/wy/aFit7e6uPAHju58VeErW1VLjwZ8Vp7ZfHmjRg7ppNNuEdY&#10;ZlGHCwXDSM+7ruYCvt7S7n/hYOlfDy98N+KLvxJYeK7u9ks7i1WPSvtshmSyFu8MCIMxy29wpjIO&#10;GZgG54/n41X4ca/ZPFqOl6bfql1qH2WxMJDzeaQCIiAQScEEN0JB9Dj9tPgTp+qfDr4H/s2eNtQe&#10;W8g8E/B7XryytdFn3T+KPE+qeNPGV7p1p5jDYXt44pZ5HUSlYtOgUBkdWWP9VsJKnPEUqiUW0lol&#10;vq/npZepa4nxXt44KvTbk03dt2VlZdNu93oj72+OHhe107Qfgz4FCnV9UufD+t+Ob6zui12EOpaz&#10;e6daLIGyCqaf4es5BK2V8u4Dg4YV4n8I/gdoPxp+M3hfQ9DuPtNho/ia2tFOl2Mk+mapeJPH532Y&#10;bd0uwhIgwAUKJiCVXfXj/wC2L+1Bqvhj42fEPwB4fv8ATdQ8BeBPCfh34OtrWlB59auLjwr4a0nR&#10;dRljuEdkngkubS8nj2qPNeZXYkqm39Zv+CfI8M/CL4DeLPj7ZRxaevhX4U3njPS01S3AvoDJZ3KQ&#10;yB2x5U6wiVFY/NnUlwMMSPLyzDypZpiM1xELUIOUk31UU1G3a6R35lVi8qo5dh5XrVLJpaNc1m/x&#10;k9tD4g/bO13RfF3xm0LQfDlvPB4Q+H3xU0PwVp1oZAUMi3USXMzxjcFLy20xYAgAkE8bVPgN54If&#10;4v8AjvWPgteGQwfEX4wv4AjJUiOaPXvFMem+cQoCmRIJ954wHdG5Ir1KztbzxDbeENW1SOCbX9R+&#10;LnhnxTqk/mM0l6l5rccaM2PmQ+YshB64fPQ89T+zVbW3ir9qf4T3lt8tppXjO/8AjVql4y4h07T9&#10;AhuvEF3OeAVVYbCdsg9QAM5Gd8JRc6GGqVbuq6ntJffGT+WlvQyxcqdN1/Z/w4U/ZpPslJL720/m&#10;fpF/YUXjf/gppoPxM1DTNFvPD/7Nus+Mv2uL2O0kV9Mu9B8OW/jdfAcN3sbeoi1qLwqjRHb5ayqg&#10;jDSEt8Zftta5q/iD4Zp8NNN+0apqfinxdouhXFvb2q/adTcXC6XaK7qq75LqWG5kcgfvZZpnOWZz&#10;X1f8BfH2jaH8Bvi38bPGI0/Tdf8AjBpnw1+C+kaprV+8El3a21vqnxm8c2SgOrtFNHF4O0yVV5Vr&#10;+1GVDlW+ef2WrO0+OP7Rl/8AEnxy14PBfwS8S3XxvbRL1Y45fEkng/TjMYbuB+PsdrcalbPMASzT&#10;3EcQV2Zkr3qtOMamHw89tas12u+Z39Uoo8mg6lLD4rEq19KVPu+Vcqf/AIFKX3H0R4Y+DieD/jV8&#10;QPFGlwRp4T/Yj/Yi8UNoF1tFnc6vrFp4StPDA1GaVsBJJ9b8QaxJGseRFHpUrElmAX4m8Dfs9+Of&#10;jB8WNU8OWD2FvqdjYab8J9N1qOU3HhvwRpFpbGTxfrl08IYGWSSe9ijiT5nW3YAN5ioP0W+C1/qP&#10;iX9nb9qLxHd6tN/aH7Rnxmn8F6hJdEzSQeHdM1myshEiqPlt5F1PVJ9vIJtnJPCgexfAjwGmkeCf&#10;EupCYaFceL4JvFHifxXYaUog0LSEmWOzs23MR5gmnjnW1JPnzz2A8orIWXWg5VYxrVtGoKVv703z&#10;O/8A4El/2611VuSrKOGjVoU+s1C/lBKKt/29GTXqjj/g74i8PN4utvGh8S67J4I+Cj3f7Mv7KHhL&#10;wzZ29v4j8RfEPxHFb2c+q6VAN0Q1CztJL25lvpvMS0kv7Z3JW3hgf7d+D3w/0mX4x6d8HfBnkx6B&#10;8MfD1r4WmWW5afRPDXh7QZZVmvL67dyP+JlqLatdEsVZoYLqQqFdGar4F0D4eaX8QvCuonw1Y+Cf&#10;C/7GHwp1z4leFfDc1uiy6HqN5DZ3sd/eoUQS6leXV7o13LKVYSNcAb22vHXiXxQ+KmnfsifsMeIv&#10;jR4+n1G38eftg628fg6w0a6ibxEnhmC2gMEFrO3+rimtpLNZLjJKpfzyLE7lVbHnhgcO8VU95QTk&#10;/wC9Jvkgu7c5Xlpskl2ZdOlUxuIWEo6VKjUF1suXmm+itCmld9XJvqc9+2R8RNH+PGn2+gWWsalo&#10;vwDn8UTa9qvjHWMWmofFK20m/MFlHY2zsBcy6re2Vy6wANFa2tnbFyhd6/M3XviX4Z8Qar428a/F&#10;zWL/AMGfCaz1OVLPwH4NtbebWPiOdLiQWGlWbMPLkMkjZnuJkFtbIXKRElIm+SdC8W/GH44eLE1W&#10;Szuo/Bnw60q2nWz03UYtE8CfCzT96vY2tzfXTpZ28ssdtI6Rzv5jIs0zJKxEclz4b+GvB/in4nz+&#10;JvHHjG68a6L4W1SdNYi8O6fPpPgTSLDTj9pubCxv70RXN3PKzvavJFbw2/mOJEuZlYGsMPLEOoql&#10;a0U7t31a21a720Xa56dZYSnGVPCtz5dFZWTtq0pf+lNb29D33UfjFfX+u6mdYsGilPh1PE2p3Wqz&#10;T3UfhnShBBIsVsWbbE06rZwKyLkrhVADYPpmk/EfX9X8M/CS10W0uvEPxl+Jlzd6N8N/DsJjWZY7&#10;0SxXurhiAYLWCxgFukuAsMEV028CVhXwD8T/AB1omva54m8Q+KhFpH/CRKfGXjiC0Ux/2bo8EpOk&#10;aNYQAZaa8YQxxxRgE741AAUk1/EnxA8QfCDwrAIzdn9qf9p/RR4O0HRtLuPNP7P3wwuSYxZ6eVLO&#10;uqarbxxLNKwHl28qIgBnJEuM6aULN6pJdW3d8q831fSPM30Bzo1ZONVpS66aKMbJyfku17ybjFbn&#10;3HpN/LrPjbUPhj8HNU0Px14t1aWPw345+JuiSPHoFtMiOdTSzvy4E3kRgwm4XZEnmSBNx3vX018S&#10;fj/8Of2KPAvhb4YfDnS49Y+L/izQFm8MPHbSz65Zfb2EbeKbyNR+7vdSfzLfRoZjmC3JvCqgQSN4&#10;r4X1f4Yf8E/vgiJtX8IweJPjH4klPhnwx8M7W4MsdhfrFayCy1W5ckxQK95b/bEUPNI4NvtQ71bw&#10;u2u1+FNnr/7Y/wAfrOT4k/ELXNai0H9nb4d6lbFtZ/aF+JeuPHpsGrNACxXTLe5lS0tVB2tbWhSL&#10;cZmQdbcJRcKTbjopyju3panDzd7dbXMo80uWvVirq/JGXbrUn2StdtpLRpH6X/sT/BPwZ+z1pvjv&#10;9sv9rS50PxP8XvC2hx+Lbiwlt4Lrw98IrG8tprjSdMjtiPn1K6ggkmWOT5o4IGKxyyyLn81PG/7T&#10;/wAQv2rf2jfFP7S/xJ1aA6ro1pLpXwl0K5ukuZPAWnC4EVtDpEbIFOq3D3RHnhCUYSSDy1SEV1n7&#10;cnxSfwP8E/A/7HFv42k1fV/AMC/G39ub41XFy08/jL4ha35H2zw/bXES7vIe+tbawtrGBgxtvC9s&#10;PLjjkeaP8q/Cd3ea3cyHQVnvdf8AE0sXhfw1pGnRxJJp8Djyr24iUMdrRnNpAiKzNLJcEYKIx4nK&#10;pmONjGiv3VJctNLa+0mvnon11fU6MNHC5dgpVcU7VqzUpye7jvGN+ia95x6Llj0Pv2PRLz4k+KNP&#10;tdLvbjxl/ZGrS6f8M9IkSAreeILyzRtY8TzR5AWDTkjkSC4mCBY4WkLYZ1r2LQPh3ZaR4n0D9m74&#10;I6UNf8V+IwfEvxd8UpFNql74wkXY1xLdyIryRWMCspS3RWcIiZjM0kUS/an7K/7BfjDw18I9Vub/&#10;AMU+GvgvrOtaUo+MXxV+J1vLs+DugSbXh0Sx04mOaXUL8qXaCRoZZNhRhsBz574i+Mnw8/Z48IeL&#10;vBP7Ft69ra62l1afGL9q7x0tv4t+LPxMlhuJH+w2Q2rZWdoh3SJpdoq28KrbrPJOxbzOmrOlgLUZ&#10;Pmqfyx3b7N/ZjfVt72SWyOKnVrZtUdfDwagnbnl8MdNX05pW2ittZPc9o8cfEH4afs0/D5fDvjTX&#10;LYfEjVNN8ibwl4X1+Lw7e6KiWrWsNnrviC2zJavKFljaw0MTT2kX7o3UE0sl6/5P/F3xFrHxC0x9&#10;W0HVo/CnhDRtJWHQdN+HXgK90bQ4WgklDrbMkj390In3tLeTxzSOqytJKrKXX274d/Bb4pfF/S9S&#10;+K3if4lab+yn8KLGI2nib4/fE2KHRr4wyobmSz0Lw/bWyXWr6lIDAqSXMqxYuYxDFMpRh6r8P/il&#10;v1f/AIVH+wrrfxb+NXjO2sUh1T9rv9q6+slt9EhtWeKO/wBK0fU92k6PFGJrt7eSaFpIllAgjado&#10;4HxdJ4urFY5p1H/y7jrZa/E3ord5b9i41FhcP/wmK0X8dWV0ntpHZttvaNz8t/ht8EPElzHafEzU&#10;vhn8XNM0K3dp7nx54wtdM+EPgxoluPLutQGtaxMT5C/OY57O1uWlYR7HTcrH9Zv2LP2Pv2Q7NfEX&#10;7TUPw71z4xafo2hX3i3U/wBo/wDaq16Cz/Z08BXqQEada+FLq8srHTbl3nkjU3V1Jql2kEE6o67k&#10;U/UHhP8AZr+Hvwx1Pw94n+MPxF0L43/tReNNR/t/SfH3xz1698ZeB7XUUaa7utW8KfCSyK6x4nks&#10;/MmB17XfsWjxMsn7y3hjW3r89/2kf+Cpa+IPFEvgX9l74fRftg+NvAni37HeftQ/tAeEJvjVp0fi&#10;B4ItNS68PeDrEw+F9FtYJFii0q28y5RFLTfv2kZz6sKlLA040sKuZ68vIr2vvr2XfRPZHlyjXzOU&#10;o420aaespvlX3N7votZLV2PrLSbj4f6lDe/GPXtb8b/tTXhlk8LT/HLXtQ039mL9k/RbZ7dbeTR9&#10;M+Jvjy4t/Pso4oZIpLTw1pihkVI4w67Yj5Tqvx7+C/gKLTfHlr4M/Zb/AGZlOvarJpGp/Cf9mKT9&#10;qf41+MV0yeP7LdQ+JvHUsEUVuTJPPE8GmMIGa3kkiWRIki/L749ar+1t8TPHlp41/bb/AGpfAmif&#10;EXT7+4vfCXg3xJ4x0vxr4/8ACrXEp3rpPhvwvpd1pulSfPKkUVzdRXB+ZAxLrHXy54S+AHxm+P3j&#10;WTwx4D8I/FL4qa5ca6+n33hXwrBPdajPDBtH2zWYEH9oxwO0m4yOBHhtjyICCvAnm1aS+q2jt1ul&#10;a3ayvv1O+SyKi5Sxi5n0umr3TTSuttV9lbH6ofFj/gph4n+MN3f+Fby8+NHxk0TUJYbGCw+Lv7Q/&#10;icWNkRF5JjtvB3gW28N6PD91CEugQQpDJJlnr5t0T4Vt8VrbXvEJ+BXwe8G+GfDQfWvE3ijwV4K0&#10;mz1DTYI1kjb+0dckg1AStudkWK6vZJA7BdrSYNfaHwY/4J5eFvgTHY+Jf2tvj1+zr8E9HsbSRdP+&#10;HOu+KYvir4jv5ZBhkXwzok7oNhhWOSCe4jZsMJFcErX0vrvxK/4J2+D7NvDXxS8S/tAfELw7Z67Z&#10;mXwd4x8bSfAvwFd3rSGKzttH8CeELPVteuJDL5aJbNKLiTeUG0b8z/wn0ZpY7EKVR6Wvzd7aK97N&#10;Wt6am0MVmGJvSynBtUUt1Hk066uyW1rvzPzV8GfsxfDBoTqGs+LvGMdpr2nxXmj/AA28Aal4f8Lf&#10;FSxu7oqll/akl+02n28ckzrIsKRicxAgIs0qwKQfCbxXNqFhdeFfiX8IdW1nwVdWqeKfDfhLQvGv&#10;i3TrUy3UcNt/wmuoeTaaDp1v5xkjeSK4jDmIjOUDj9Yvir/wUI/Y1/Zm0XSfCMf7PPw206e5iTxB&#10;pHhLTfhJZ654u09ruF5Vn1B9X17U5rado2Qk6hDDcstzExgCtx8leHf+Cn0Hxfi8Q+Dvh9+zjHpv&#10;wtv9Quda8VWPiL4y6P8ACH4VwztNH52qa2+naHHZCdlgESQN588hkjRI9ygVfNlk6l8PTdSS6qGi&#10;21bS6Cjhs8hBVsXy079HUTb72V/loj45+Lfw28VeHfEmq6f8Vvib8KNS8TyiWSx8G/A/R/GF/d6G&#10;5RQdyaHqQtEhj2gIks0iDad2STXOfD3TfjN4FsW1Twr+2J4p8KWL3RlPgL/hG5PGWmwwO6lIxYat&#10;LcpPJw5zLJED9mb52baa+0fip8Yv2cdf0ldH07wJa+UlhHfXeq/2rqGl6brd8JZHlt7Dw4bJ9UvL&#10;QIY0F1qiaezAnNojE5/PX4i+LfCP/CTWHia517wDqeo6giHTPCXjvRV8DeH/AA/DCu1I105VmslR&#10;VjYobsAMQpfJO2uSq8O6rc4QbT092z17Pc9SnUxkoJwnNRas7SutF1VrWP0A1bxxqvxB8JweEP2n&#10;9I/Z8+KnhLRtUbWvC/jG80vS7H4z2MTwqksk62EOpRIs6k5tJdRt44Q74SR9qNwGs/CT9nXxR4k0&#10;250z4gfDK71LUNGiOjfC5/Dtn4UuI2DRqsE90qpEs5XzCtwZHkJUE7eM/nL4o/aKfxn4gsfBnhrS&#10;vDTXTaemnNrV34h0610GWQp5ptvMsrh7G3s0d3KqBnOQVU5jrqdSu7z4dzWupw+Aovi74l8QeHrn&#10;QYL/AFb4M6tpnwx02a9Hkxapod3q9ssd5qFk7pNa6nFGixTASwjKRuCg8ZfloK0Fsmr+ml/xMK7w&#10;kY3xC957u6SSstXpb7tX1Ol+JN78PfhVqNn4f8b3HxL8MaxM91EdAn+H1z8SvhDYxebBDDJHq99F&#10;PbuZwwVpIJ4DbkqMvkKd/wACR/8ABOPx14YtZ/E3jL9oDV/ijd382mS+F/BniXwz4L+HV+U+SOCz&#10;uNRhjLyrHhpoTqSFpGIjADBF8s0pfH/hnTNE079pC4+HzfCzWZ7q71Ky+KviWDUfixYxh1libQtJ&#10;01/7TG+SNY4xf2rW+UBEuQQs15onwx+MvhxtG8PeFT49sb+7jutHuWupNK8d6XbWECwRWmmyLEZk&#10;jt/3jzRW6wXCsmQWZRGetLFLlm4tTdvsqSf9feciqYK8k+WdKD0bk4tXt+XTpbzPrfUfjr+y18Ad&#10;Ji8OeI/hx8ZZLLSLE23w80b4w3Og3WseE7oGMF0urgXJdEiWU+VbXGMmJvlC+W3aal/wVO/Y71r/&#10;AIl+t2H7QlvYpbJa2nh/UP2vvEdtYyxYAa2mOlyxMqFtrNHHGiABhhtua8v+HGjeFvhzovgvwN8c&#10;NL8FeD/h98SLT+xvBHxp1z4g6z4p0rwVd2Ec7XukeINNeW4uTqEiKotZJBbbHEkZjeRA9ZMr/sz2&#10;+paj4AvofFvx8+Hd7O9jpU3h3wpbeF9K1+V3hN4YI79oZJJAqcy28hLeVGfKIJVYqVZu9KVaUbvZ&#10;ar5LsaQpUKidf6tCdldNtrtu767afeeu+EP2zf2afiF4g1LStN+B3ww+HnhW8sVgl8deJf2pPjn8&#10;ToJcQyhmm0Cx1myv7iaZXjjMEXyp5UeFx086k8cfsV/C7XJJNF8LaJ4YPjC6WDVbLwv8JfjJbp4x&#10;scqz3Udh4q+IDTXw3M/lp5KbSYyLhCSB8SfF74Rfsv3thq1r4I+A3jD4Qai97LaeE9f0/wCM8fgY&#10;G/jQB7ufw9/Zt3e33kkGNrZmgLnP70cPXgOneIf2xvgtpQ/snXvHXjz4V6Y26S01PTNWh0e0hO5i&#10;5trmBDGjBmPyYJBJaNcvivqeIlRboNzjdXurS/HRo444nL51VKrTVKevwyvHVJLWOvzZ+hd98cLj&#10;wde3Vr4I+HvjPSfDAlB0jUtD+KfiXwDfm0hUiNJ7X/hIbryl2Mc28szRgtt3MFBrEuPjx8O/EFhb&#10;i41PVfh1rSyYl1jx/YXOu2VicLI3nXcdxdmSN2VPna0k4VWxyai/Zz+P3wg+NNpDoGm6JbaD8R54&#10;1tWstIa4a8uZnyZZreEMxaZt4wBtAIX5OgrO+Kvwk+HeqeOdJ8JJ4i8b+IPiB4juVttP8OXnhzU/&#10;+Et1eYlYTawafdTKZXA2qhDAOffOORYaU7xo1HG+jT/y0sejKs6FOMa9NSilpJNc111v1uc61trX&#10;iq9n1Lwr42+CPxH1iGGRTBZ+JdIk1gS7Swa2tLk21xwGLZVMZVRzjaOt8J+LNU8G6drVv4q+GR8S&#10;X07IDquga/c22s6bJyzullF5gRV6kvCf4SrABifIvFP/AATltp7u9k1ex+OXwzurO/fT7668a/BT&#10;+wtP+1oQksMdwNVQs65bJVScEMcYNeMXv7N/xF+A+s6T4h0H9pfQPC2padcJfabBql9fXTxBWBWM&#10;Q2b3UqMCufKeIkgqWUZXJPL5Ri0q8XotLtPfo3dChmEXC06U4xk9ZcqkvnazstD6QS/8aXmrm8+H&#10;Phr4ow2ccj32n2Vz8O9R+O1hJK67Ps91fWwdYAy5ZAm1i+SqcEL3/wAMPF/xv8Ualead4f1XQhr9&#10;i6W2q+DfGEsHhLxR4dYzLCu3esFxBGWZVKyKzK33s5BPi+i/8FK/jFYG68O/EHwzpOvC+ukTWPFf&#10;hHTNR8Fy6+BCEVrkqsdu7fKhDyW5kjKMM4rjNZ+JPw8+KF5fprHiibw59vm+02GleIdJj1NrzKhX&#10;jh1iDyw0gBcbJo0c5JJBG2uWpSjTj7OdGS83tr10R2YaVfmk6VaMuiUVrsuj776n7Bx/s0fFTxBb&#10;iX4rfC3wQ/iSCRLo+J7DxzoGjeJZg6s7pdOdQWK8RmO8kqsrEAEhsrXiXxF/ZM8G+JrgaVqPwji8&#10;Q3ax/abttE8IS6zPaA4ImmNoGnQYYkyjCnYOTXA/sv8AhD4neMfDGu6L8Hfid8P73S/Ck8P9o+Fv&#10;jF8W/B/grTdS81Z/s0VtYazqdpc3SbVkDyWpkEDMNzrvVW9W13XvHngbxIqa38LofAur6fAqz3Pg&#10;TxDB8SPB88gVN8kVxZam8SocMSI3cDDFUk+U1zVKWJoxU6MeaC89flfX70FGOHnUnGb95948uunX&#10;bz0fY+NLrRviz+zxqcw8BeOvGnhDw3Jd5Gi+M9A1rU/BKBcI0bpq0DW5ibldsbgr32lfl9X0L9pe&#10;91e2tm17wn4F8RyxR41bW/hDrg+0oT0luNHnnfaw2EsLUkdQQMELtSfG74i/ayfhN4ssPAviZ5Hi&#10;lXU9buYbXVI9pLZiMm2NyGZChLKy7cgHeX8k8YeOv2lfF+qTW/xN8Mfs9/EKTe0c994r+FGieItb&#10;mYg4aPVrUQ3quFOS0UgbAUE/KCOGthsJiabjUg4SWrenz0O+hicbhfcVSM49L82nz2+R9J+FPih4&#10;B8c3MieGNdt768Takuj3m/T9WtZchVha2k+YuGc8Ju6Mc44HdYaMLJIgBCEbXJJG7IyfTIODn1Pv&#10;X5c+Jfgn4zmubXXLLwa2iNcQh4b74a+J72OCzlcZRVsNWjfbtHGxZ13blzIMEn2jwT49+OPgdl0T&#10;Wrqz+K2iWAHmw6vCfAvxJ0qKPblVimlksrxUByBDOSwQ4QHp4GK4c5rywU1O3TRN2XZvU9bDcQ0m&#10;1TxsHTle2qbi29d+n5an29uARlxsRlEYIyTkDHA6cBiM9iPrTs/KwIIkA2gDhe5AK569OnoK4rwf&#10;470DxzZk6NPcwXKKZbrTdQtGtNStRxuLxHjaCQNykjg89M9sGWOMYbc3EhJIVVUHnOcnP9Aa+ar4&#10;erQbhWg4yWmunY9/D141YOVKScX1TuBccBiu9Xxs3BVbcCNo+h5AGMdMY+WmOqbcAhmbIRVJIAK7&#10;WBOeuGx+FIw3AyMrFo584YFBnk8+mAMnHcetPIwu4g4RcAFwoYnJUhc89CMjv+Vc1lCXMv67BBuT&#10;tNXZCAFWVWIdx8yhV2YO7khsDIx0zzgZweaZKw2q7xKAkgBZOWIPI46jG08j1p4w7+S4ZQWwXJxK&#10;QFHygdR0Izzz9c1BuUoI90iEFipRtpUDgdPw6+1D6O9i1HlTsyGXZuYsjKFyMunGflc5OMZx0I7d&#10;+lUWcbFeQALICVXB45Kj6k4/PNWJAPLDRsrIsZO1XAJHKkED6Hjj7tVZgoTcWBbaJCMbickH1x26&#10;Dpn2GCKvaEiYQUpSu7FCUiJgyh1JBLZJwyjIwT1HRuM81nSKqKWkUNg5w25XLOwOVOcHPOM45PPB&#10;rQnRlbe5bEi7/mJUs2WHDdcYbgdjnkjpnSbGUleZCA5ZSMgAsM5ORnI7ChNON29f+GFZSfInrf8A&#10;R/cZcmQQJNq8llOdy/dLHPPHocf3ieg4zZ8hgyspdv3WQ2wKCXyM49C2TjHA6840WWJmZXzmRt3y&#10;HmRvmB57EhiPckd6ybwKGdCdjkLIhZgRnDZJ9Adr9BgY6+twUee/LqS4zcVZf1/TMibYDJsfLI2G&#10;CYQYy+M/988HP5dBlXKDaHiYhNpjG4khiwUyYGcY+VR6dPcjRkaUuHl+VBmSMJEQGACbmcksAAAT&#10;0GcdO1Zsqq8cSsd3mSmMJvMbxqWyc5HGBk5/TJON1Bp8yejI5eWnK2t/vMVxI2WxsKHavPliLIKs&#10;COcbegDe/JAqg6K29nI5Yqz7tq7icjcR6lsHPAPp1N2ViqPuWR180qd2CH5wWxnkn3PQVnSkGSTD&#10;M0ZjYocfMwJB+7k84xxz1PXuJNxT6eXluTSl7trGPMG4aQABl2qpJ8tBwW28Z6kDPByO1ZssTupU&#10;glvOWWM7GjkYFSy7RgfeyADj2x0NbUiwFgp3Ar8y7YweCHJcFFOckKvOAAAMjaRWZOu6QuCZSokR&#10;lKglARg4AGc/vNw6/MB0Aq3Pn9xev5GcoOSV3qZ9ySjKRFiMxgyBZFIGcDgA+46e2cc1WkPkuFkB&#10;4/du/IYHd83GemOOasyNCFcDOQu1GHG7jLcY7kLjHPr2qGQFXBGWlbhFBJWPazAFOOnHU84Kkdqq&#10;nZPkk9f+G1IqVJx5nD+v6eojBUjG4Im07UG0scE/eAHHOBypyccjAqdAyqyvuAIBIA3KSAGxj6r+&#10;p6ZNRNvQpGdsgO5kUvhAR97op/hLdcnOPWnQLGCT++dChIyysF68Ac+5/D8KrmTScumpMZNNxX9P&#10;bQuRrGCvyMS0YyCwZQuACRx+XsB6VohirniVSEH7sDDDoWBJ6dumPckZFZiI4KpycnOUzlsrwT2w&#10;Nx+uBz2OnAq/uiXUfOVVSAu7LYBznHIwcnuDyMCiUmrT6WKXMoxjLZvT7tS7bbA8JkZtpYPdJGhl&#10;aMF8OckgE4BIGQMsM44xqQDeTHJ8pk/1gQlowVz3wCR8wGehMYwOuM6JfMYoSypIqsOQrAYxjHXH&#10;+rOAfyyMXYSqmMMRhCSQW38DBLkAZHJ5PJz25rGMlze6v877mkU7Wiv+G6v7zcgTBiRBkRBZskCN&#10;Wxk4XB6Eb+R02n8dS1YIxjkG0EMswYlvKG/HHGMgqnJI4Uc8gVkQ79xRlLg7lOR8sYHzDIHvuJPU&#10;ZOAMVoQsoUszkIjNIzMM9F4/9m59DntihNNOK6FrmVtPetr6X/pG/bSAIjyAKyrt8wxkeVgKq7x0&#10;POCV4J/lft5GjVSM7CVVVYmXBIxkgKcggE8H+JeDzjGt2MgDMreYhUZZfLRduQSdwzjJbCjj5yc+&#10;s8N0j4UbmlVVaRWwM8gr15IJx0A5UjJzU+9zKMn/AF3HCKUm10tY3TchS6eYSSg/eBs7ycsxGRjq&#10;xBJzyenc22kCxCWTKoG5EozH8uDlR04yBzngiufEnWMOxYHCsgySXxgquOowSAevellmRkYMpXkM&#10;Uzu8xDlgAMdD1zyaT0n5dfwNnVUYq9mkt/Vm5Jc4dwFVi0TFXO0TPhVBxnngsOMfietVvNLgqu5n&#10;2qx3HB/iA9vmIDeu0DjJ2jOe4KyK6yPEy4XzQ5Uxghj0HJUgkH6gHjFVmvHZSY2yEKsFznY2Tggj&#10;glS3Ukg55AoUIteupk+aOzuv60/4JqtcAgRkjaxALAFidqruBJ5B46dMMenNU5ZwMrKwySZN5UGQ&#10;ABWK8nrnj029gSMZj3AbyzFG8u9NhdBgoxdhkY+vbncW9Koz3AeVAhUKSwOT8jbyg4HQ4+bjjoD2&#10;qZQdVq3a/wBxtUre4ot7aF9pyFkeNXK8+ZjA86Nwoz2P8RHXHzD3rJlk3CWNvL8sPuBPyALyq4PU&#10;9/UkAZB+Zqrm7MgQ71beo8sBtpUYOS31xnBOfmHHes2SRW3jIkDABMDa6ZyPUnHDc8dTzg1q+ZLX&#10;c5qjioRkncsPOxAMrIT/AAhSgyNqjgj3L+5HPvVZpCyJMCqloyXDPtEuHKk4JHpnkE88dTVO4kCu&#10;PlCFVZUxMEQjGAOO33gc9c+hqszO7R+Yu9AWIQPgkZ7+4LYzweB0q370uaWy7DcnCPsktN7/AHf5&#10;lsSOURXf92FxtU+ZlsDGBxwBgHucgAdSJROxmiDPGJFhd2ZhuX5QwHPTAAY57deOKprI0mImclVQ&#10;wRR53ICWfKgknvJk4znJ78hEkeHzPnBIQzFlHyvu3AjJGf4Fxkf8tOg5zbaXubpowuue/QuRyl8B&#10;QHRgCoxtPI44I5HzeuMkd6mCjfEEUzeWI8bRnPygY289Tk54+6KoQuyttdiQSB5pOdh4IK45wMrj&#10;1AHSrwkO35YNqPISD5m4kABiD1wc/wC6eScYxlOEb8zdlp+RdKfOmtn37aXJVBUW7EqWZgQrArF1&#10;H1K98455Iznmri7CC+3DrIFZ1UkMORgKcHk457YPB7VI4/MMfls2+RiHjQF944O0feJyFwc449Ol&#10;akUYeCN8SCbJZY5CqB8HGMjOMZXP1Hy84rNcqj7/AHLim+a233E0MMm9YpEZmZywwvBAJwpUAAbs&#10;sc8kbMHHGb0EGXEQBcMQ6lyRkhchwV7LywyMMcdQSKhgKsd8LyMkaBQSAsxUHG4j65Pp2ziteG3w&#10;Cq7UWOMrGdhw3HQHIwQNuOO+OOc25aO78vu1JjTfPe39Ikih3TOyM7Ko2ojR7VQbgduM/wCe2cAm&#10;/FZ4Ql0XcWztTKHnAJyfvcH9fxp0EIZkjVhuOJQ6jdtJBAPHHRicHBOR061fjTgBlPmECNdz4BJ+&#10;bGOeQTt4xkL2rJTklzrbcpxcbKSt/noVorcQkKB8yK3AztO/lW9fwwMDOOvF9IgWfB2KyCM4LFcn&#10;tn3weORhsZOKlW3CIxREXGJnCOo25HCsynt0PoVOTkGpyixqxRlRWYFdwzkYG0AeuSTjPPQ4qXNu&#10;VraOz+ZcIydns9/W+xFDFkODncCXYIvypyB6gg5U88DIPIzzNHE4JEgXYgZmY/Jv6Y46jjIyT9Ou&#10;ac0CAMhPmF1A+7mNMAEYJ57A8eg54qUbYFMZVnBYIDuwhXoeOuBnr6nk9Ktu78yvZpz5VuRIixsy&#10;AcbFc5B2pklsls+uWPYk55NKYhsYCXdIE2yNjnBVlUDH0U8YPy81KvyqfmDkj5A52D5QfmI4A9/U&#10;DFMIEgZ0+RlPyyIcRsQN3DcnvznnHPQgmUnKXL94e6021/wCUbJN0jKi9HQABSrAkFjjAzg8haqh&#10;C8h2xDAZgiI7tGAzckkAAtkDJxwSexybDmIPKWCusYLogOxsc4LAdeOo9h+MazRbIvMVXdwu/wAt&#10;idxHVRIBg59QP4QcdKLWjz20exEIqMk0tERtExBUsMYLHJPmyAFmOBzxgcE8Db+FMRAsSsMSM0Tq&#10;8n8asCo+ZRxyGPI6FT+LDMpG9ismcrIVZiq8bgoX1GTx3BBwMg1AzmPzVYFmZfM+Q7ihODgDvtGe&#10;O/bIrSLfLyyavf8Ar/hyoRipXmtdflYdJJhiGUEY3DYG83uCQAcdQTxz17Yqu7OyKdqk7ljCjJTA&#10;2kk8Bu2OTwOO5JikkJQZR1+QyI+8B1+UDn165HGPl+lUJpXDj94DufduZgWGSzDdwPTORxyMVcpv&#10;WKIpxjWk072JJ5VUhFdWd0ClGVmYnhS3TA5IOcnocjjNU5bllMrvgYkBOTvwCWGfTjn6FT3qC4cA&#10;SxZkOd0i7iE4C7lBPcZCqeP4j1rGubje5IMzLuy25tyAqoBBAzuJLEg89CflyBVXdlyu99380OMn&#10;GVouy/HoWpbjqHYMd2wADb5gJ5I/Ac9Oh6k1mXlwo37Y2RdzSFTyygFnAHOQAF9e31qCachQxYyN&#10;ht3lvvxzyc+nK4yOec46VivcuoVS2yQHy2GzcqhT2zznA6ZxyecU0uVN/wBMyTVRKMtXf00Lc7JK&#10;xIJDZ2MS2znaG2tjoT785OMZxWdNcbIkBCLnLllJDP8AMSSxJJ9F4wMpwOua0siEuRKShcvsU+SD&#10;knCBuoAxgZzngnkZqnNLEI8sBNgE4DksuVzxyckbs/hjBq5U4xi5yeunqYuUubRa/p0RMZcgDlwD&#10;lSRtbG8DK54wWPT+XFVriWQBnZkZlO6RM7OPLDphiAegAyDgNxyVqu00u8guqv8AdySHC7TgqMcd&#10;ctuXjgc9cm4s+4BmDR8IV5UnOeR/CD9MnHPaiLgpLXt/wxPMop92l+hFMJDjcMFcuqBgI33Bs5O7&#10;J+83bqo64qchGkjymzIwoUDBGFUk98kpnPbJx1pu1i8iy4VZXURgLtKeWS4Pt1wdvXoeAMSbQS5Q&#10;uEVdzKdqseTjBOOSDwMnJHfirXNJWi+n5jlJ87hFXt18uxFtQrGwEnmFNyKVO4qBkZPXHygfj0PS&#10;pYoQXYkjznBUCV87sEEHPPJ4JBwTgcdqsGE7pEJdXKmNyjAqDj5eCPoec9R0pkVssuxosyRoVCsA&#10;JN/QccdT2HfBrT3ZxtLS39JAqkZ1GktJW/Bf8DUrvFJvYo21ScqBJs4PPQECitLZ2DAY+XiNwOOO&#10;wIorNSlbQ3UILR2ueto0isGAcE58scnBT5sdO2QeM9VxyKfG2ECPGZAFCsGBMIXLDAz2OeCMEdT1&#10;GGx7WCBVLlsRsysXwAu1doGMsflyPr+Mvl7QuZVJLEeWu4/KFYNycDoE6E9DnHfz3GKslol/X/BN&#10;JTsm4+f6Ow4hwjvuk8wpv5G0qwc8qepIzkbumRggDAjQxhB8sgCrhHEY7grt6gDAXIxk/rU8YTGH&#10;dImVAjfLuaP58YYjj5j6bsEjr0LXCYEYDovzK4B3cnB3ehxx8pwMr2JNZtNxb7ImTXsoTi7v87Cb&#10;yDhFMSFRGwyNyHIwOv8AwIE9Mj0GXnCxbyzBsFll2sHYewzjJ4+YjGBTA0Urh2MZjDEsse4oDv3A&#10;A9cKcD14AzxTtrlTsdADhyxUHYGO75sAjnDHHPPrmi/K7SWmiNJRldU09NPxAKYQBwHimRUV0Llm&#10;LDCZB5Dkhc984xkipLhcHzV8wRAglcbVcjoW78EE/UimxoIwcOpMYBTf+9cMWUggHpjgDtgdOtBZ&#10;3MKMA0K7PMZQdki/LwQRkZGDnOD9QAYSSbXp+JGkW4P8/T/gA2T/ABLhQ+HG0BPuHDZGMHjk4HB6&#10;4OGnKoBEVZcEsd3lF2UYVVJGSCARjPGMFTipV3LD5hzHIVG0RkldzAcE84x1IJ6emOGyN5XKYKKz&#10;HcSSB3xt5HrwAMd6HPZJlJKLTkv68/QVcDAG5xEcbd3nA87gOORw5Prg+9PHziJXMi/LvZGy0iIG&#10;wqjB6liAAemVGADmmIuxkOMpIpBHllFPKqOR6ck8dCB61LgGMoMAqeQwK54Q/ju8uPnjlU9BVbRs&#10;jTRt21TIkO9WdV+WSTyipY7MEblAP5gj25J5FP2qcMqnYACUTAD52j5jn5cFR27jPGCGYHzHkhto&#10;Vc5JbJJGOnO7AzgDB65FSFnkjy7hR8pOxQjSBc4AJ+98p+9zz+YFpHmh1HKUJuTb2tp/wP63Fwhk&#10;QSOE24XAXODwScc8gZOPfpjoikBVIYRqxS6LllkZUwcqCfmIIdjkDGBx0ApqMqHbHIWeKYox4d1T&#10;dGTuJIwSC2AP4lwafIilmWUMpyS0gIVkTBJI5ORjOTjg4q2owV+j6fLUOb2jXI9F/X+RGCnyERoT&#10;ynmvLIQORgN1P3WUYz90+2afGGiZU6boyQGT7jg7SzLgfdIIOCOvBJHLSu1Q5O1E2t5cuACCFyxP&#10;cKAc++M4yMzgLIFCv5Y2iMSNgKo3KOQOwCtwO+PQYzVSLklJbf1+Bze/GXm1p8v+HASq8mFWXc4J&#10;IKeXGwxwxzyGwRj/AIF0xy8NuEpkVEMnCqVDKqAhQc8HHzA4zn5zg0oyqzHZs3KYmClmX5kKn5vQ&#10;5YY4GCfXJOE3ZIzGgPmqu4HLOy7eRkAAAE9eOMVFnbX+v6sdF6t7rcAB5pO0blYM0jR4287xs/hJ&#10;yu05ByM9+TLFkFSrlwUJSRT8pwQF56t365zjrTUxKQTndkKpbL+oCkDrnmpFBmCF2VY0jaF2kO9z&#10;lioPPbJwAOm1e9FSUUk+i7f11Cik5q+/W4cbVT5jmRlVcbCM88/r175JFLEobyysZO9yiKECqP4R&#10;xz1IxxjPH0MhlWORpC6qsjhGAHlRsBnlgOMcKSON2OvoB9mYm3hymUPl7ThPkAcHqR+AAAAGDTjJ&#10;RjzSWn/DBS5YtxJSGELyAh0Y4KoVYoCeTkDGQeQc9QPaoo97Kz75NwcHYFGZAmQeDjjPPHPH1qWT&#10;zNm4Kip5mzDASZYgbcH2Lc89DnApqqww7KFMjMCSC4QO+4dB3IA4znAzxiqSjZ262+8qUlGp7O17&#10;/wCQ5ZZN4BEmxpRkLuBGQXBOQOu4HkdSR1Bw0IASWQYDeZGUTYHG5sKo7YXGCcdqnUoqD542XaQC&#10;rnBOCVIIz3wvv0FBQGCN5RtZGwCU+UDsQf4iDtyM4wR0Oct3lJQtqyVGDlGC6Wfp5C+ZneFlRtrl&#10;gpIOQSAAuRuHABz0+U8DJy5WDFQsZGV2lj8sagjjaOgB468cfjVcn945UCQtgMdzMFUsUJ46ZIcc&#10;d1Hc8Txsrrs8z9zKDFKojIaIjOQT2PoevAqGoxj7z/rsCmpWTWv6WHsoYyCIRxlo8SFcKQASSwGR&#10;z90Zzkc0kbMMx4bAIKkrjoBnpx3wccZHGRzT2UkbldNrAqyhCqjhiTz6YIx04p0CspC/K5XCHcuC&#10;SdxDZ/MkjHP6ODTXLL1BRne0Xa2/+Q7ekkZXB/cMNpfBUYLPg88/eOTgdKhWRADIADE55DEgsAON&#10;w7fePB9+OlWHaJpMqqjdIZHKqAIuQBgZzgAt8wycE5zTXeFVZ0KqshLb2QsApZRwACc8kgnj1IAJ&#10;ChFRlzJb/wDA/r5Am0oxv6/oIckl94XnMSRDcyJtByx6fl+vSoyyg7ix2hW+Y5HUHqexPH6c96sM&#10;RzuQGJlbg9SMYKscYHT7uefTtUZDmaMAKCYt58tCqnkEdOnBOf8Ad/GsnCEVdf11Ohy0UY62/EhZ&#10;dy73OUBJePBJAG3BIx0yc/U54xzLnd88avuG0APwEIwRkjpu3Ej2B54NOMblxl03sZChJwuAuTuz&#10;9CR7kfQtEL4Zy2+RItqhUdxw2MYHcDIXAJOfetP3d4pbfguplGF7xcdR8bhjjLOAzcvklznBx19W&#10;/MelBXBEhRlRc7hvB8v5cg4zkHAXnggnp1NSKxdcxhRIcOWYFEVSQckHucgDPc9OmUmXMi/NvBHn&#10;NtIUKRggn2O0g/rgU1ZS91lNRcfaR9R2DIruFZt7YYE5QHkHA7E46eg7daRYypD5KAHYU7Llj8wL&#10;c8Y28evbgCSLywIiWHlsQSwG0AHOTntn/PemOFUg5xtPzKA64O0Zbn5QO/B7dsUKdnZdiG5ez576&#10;6aDiyjcJNqjOwbdpaRiQeBn0J5xj27hXYBUEbKgQh/mOTJnaSee/BPHc9OmJUbchLdY2OxcAbQeG&#10;5+igc9B9aiYMzZ8sbQMICd65JJxj8Tg47jniplOKastFZFpTs2t3/wAAepbLjAKsgwdvzcn7vTgH&#10;1GOMU9VUyCV8rglCCchsNgk/TqPqMZHNRpgsBIoBVGKyA8kcHJ9Dke/AHTNBEmIZfNwg3Kqksyji&#10;PG0YPOAMY45P4CcYt376kRqTU4pO9utvRi5COSxLkqJFVk/djqPw69PxxSMqwsVKldxJHl8AkY4P&#10;4d85wPYU7sQzDaJv3jYHmrwQBg8YOevHQYHFDgEbnctwM7Tk4IYnBPHUAe26p92m2u/9IJQctHov&#10;vTv1EhYyeZvB3mQHO7B5zn65GD9QaViQ58s54AADBumdxPP0zmmS3MNjDJcXE0cUKRM7SzSBIolH&#10;Uyk8ADB9unvXzV4l/aV0ZtXfwv8ADDwvrvxb8TCXypv+EahW28LaSwLbxfas48lcliSqb2UIeO1a&#10;0o161Rxopyf5er2Xq2NydKgp1mkn1enl8/Q+mQy5Kbd7EFslcqByvJPTHPX0981G7RqwwQ5jUbHc&#10;ALuGOgzjgk4IyRivk2YftM6pC+sap4y+HXwwjvx9pOk+HNEk8ea3pQUFiS98qQE7Sr/I2w46jb8v&#10;ALF+2QupyHwn8T/BvivQ4CXN74w+G1l4fNySszxb441OGk8twpDmM+XuEm0g16uHyarUUpznBNb6&#10;7P5Jry3OGvmuDoOMZKbTWlouz1Xz7/I+6bjUILaP7RPJBbW9u5eSSSVY4g2chhk8E4wD0OB6c89P&#10;r8t2Hj0vTptQeXIS4J8mwXawIO/BOOucAnjp0r4kvviV8Y/Buore/HT4daGZZlVdMm0fxJNBpd4F&#10;V8tBbSyBJCFbc0aSq5G3YHJAPtOg/tE/CPVtOj1SDxdp+nWssxtpTPdTeVZSZkJjuVCmSKTCjhlw&#10;WYYbnNOplWIpRVVrmWnw7a26rcijmVGvejF6X+1o+2zPavsXifU2xearFYCUMssOn2YeQEqhyZ5W&#10;LDOW+4gIx97nAytW0vwlpNu9/wCKNTgjtbeMCe/8R6+Fj/hkA/fOseNrF9qkFiQMHAJ+UPiN+1To&#10;OnBrTwTqk2q6hJK9nHdoYpLm5kKLsaGKR9kSZb/WSEjjI+7g+EeJvhbJ4h0DUPiJ8e/HL63a6ZbT&#10;6zb+DvCfjNNZlvFCiRYLueB2zEeCfJ2bVyoKgAnfD5Ria8Pa1P3dLu4tyflFaNv5l4rHUcOlQbdS&#10;p/LBq3b3ne0V95sftJ/Hr4d2HhLT/APgW48O+I5Z9Umt9e/s3AgFnArmOLzNi581kQFsHgD1r86v&#10;EHjLxF4uvBf31pZavCpWKyvNWSS9sdMSNWUWscIIjjXBwBgg/jziab4euPGXieY6VaaF4W061u5p&#10;EGp3y6Xp1tblmKoruSXIGAFGWYt3Oa+0PFn7MfgjwZ400D4d3/xB0qJfB/hHSx40FpCllPq2vala&#10;Q6lqVvcTSlW8uFLqC3jHOwQAHY7vX6lgcsy7h/AxxFaV6krata7dr6WSt8z8uzHOMZn2Llh8HTca&#10;UVbR3WjS366v7j4MvfD+oahJHcWWqWEd5evkadaTrEV7YUYXrg4XHYjJ61Vj8MNo8kMl/Fq0ssKu&#10;96lxpk9qls6LI2Elb5XHyD5l6ZNfpJD+zh8OYZbLVfD2n2urJagLJb3eu3rrdmTKhEu4WJSXONpJ&#10;KZAyVzk3fC/w18HeMPFlh4I0jxR4o+xa1fS6XfaP4m1Y+IL7w1GQWuZIF3BZVihgciQBC+wDgAV2&#10;U+IcPWfsaK5m/K1v6R51Th/E0oyrVfdcbPe6ei9PwPzbtPB154g0a71fw94M8WX9vpkoGoanpiHU&#10;La0JDENIiruUH1PQjrXrnwXt/HfhbxX4fN9p/iHTNG1SV/sOoz2c9jYzqiMz5kIC8YAYE8dK9Sis&#10;r34V69YeMfhF4phvkkgW6uDY6bdxwqGRGe0vbaeNWcISylgGRgvHXA+gvhh8QLXxf4ks9Nv4k0K3&#10;1YSf8JL4YeBo9B1QmGdmvLKAgwxyj522ReXu804BJOarZjOrHSipUnbV7r5WNcLk1fD11JVvZ1U9&#10;UtpLyd1c+ZfA3j3WvDemXWkWi2y6beSxtLZ61E+p2NnIVJd0ywYJKQWG0jDHOByD6VpvxJ1TUvEm&#10;mT6jaSWum+FrF9Y1ZIJTNYahHZgsmFYFikrlI/LO4bpAAQteU6gml6dqVzDZS213YZeC1nZSd8bf&#10;IsbhueAQD3B6EEZq/p51PTfDsuo2BlFxqWqLo1spfyJmsrKJZ7oxnuyyXGnDa3BC9j15o4PCV5rE&#10;+z1tdX72sr/M73jcRh4ulKXup2e227XzO+T/AISHV9XHj5ruWzJv4dRg1W0KizF2sxkWC5kGNvzl&#10;gNw5DNjGCK+0PGHh2H4k+BLvxRoenSW+o654dFzp9zABHbpq2nxSz2SOM53tKlzaNwcpewqSBtav&#10;z78Jap5FzNoU+qK+l35aS+t52WBQ7E+VJGnqpOXQckH5QcMa+6P2e/Fk3hqPxB4A1O01CGwa2Ou6&#10;IxuvtUGy1K3M4t3YEgOYI5CcAoAcHHIy5fZT9+Vo9Pwv+Bs3CvH20d5NXv07afd9x4bZWVu/heHx&#10;BdrPqz392thdaXLcfZZdCjlheK5gMgORIHMXluM4G4ZBGK/UX9nXw5p2s/E7/gmz8MPElzJc+Cr3&#10;xFbJ4isHm+xKNP8A7UlDW9xHwqs1vHdJISTgzFgOQtfLvxB+G+l+CvFWleKPD+n3SeB/jBpQ8d+F&#10;o7poxDBfxRCOe3YqSEQXflptI3DzFZ1B5H2J+yJph8V+MvhrdeILMvd/Dj9nj4leOYJWYR3BudN8&#10;N+PxZOkigcrfxWkq8/LsPbArfBuccQ6bb5U4y8kopy276fiZ4mUHh1UmvecZRb6+81F2fofl54L8&#10;Q638Tv2jp7u40uDVm+MXjbWfEV/bPbNss4NW1S51FhC46GFn8nKnH7sg9q/o5/bxS0/Z1/Yt8V/D&#10;/RoYRdeM/EOmeCjIp2x3dnZ6nZR3hTacYl/sa5XaFUYn3A+v42fsB/CzUPFfxl+HuqQaLqch8EeK&#10;NKtb3VY7CSbTbRftdo0QlmAVN8ksMEbI5489vlAKmv1I/wCCpfibw1qfxFX4c+IPFlzpXhv4fDTo&#10;Nf8ADNv4fuNZ8QSzzw6jJPMQ0sECyLJeQcyzBhuQgHdtqsXBQymng3ZSqSSfmla/4fmZUZzqZ5Vx&#10;FFe5STa0+5ffa3oj4E/ZwvNOvPCWoa9aS6zDpNj8TvD8Asdf1SS/udDGkRadf3Qt3fkQLLNK6pk7&#10;Sqhs8A/cv/BP7wBo03wo/bv+PLWo1Q+A/wBg3xh4X8Jb4wv2PW/Fen2nh+0QbcsjPHqF1Gsanje3&#10;zHGT4f8ABrwT8G7b4Ez22hQ/E/xXeeI/GmvCxuUvdJ8GagXisLSNpJLX7Lf4RVW3KfvSS6sSxBxX&#10;6f8A7ImgfDDSP+Cen7QXh+2fxL4fi+N174Q0yGy1XxDaah4p+y6l4z0S2jt5bmOzt0uJyrzSN5UE&#10;e5XChEcLt1w0aHtp8jTXLyr1kuVv8TlxVTEujCpODsppy81GV7fNI+Q/219M0j4c/AX9mj4DWywD&#10;xp4d+Dtx8cb21MzQS6vrHxk8Uxf2JboNm1G0vw74E0e1UlhIF1BFAKKQvrX7Lfwtsfhv+z3+0d8V&#10;L+eN9G0nxF4M/Zq8Kut3I+nXiQagfiL8QbiO4Eu2UXg0PS2eYqC1vsj52Bj6V+2Da/st/GH9vHx5&#10;HD8Qvidpd1+znPdWOt+Gtb+G+nap8MtStPhvpWleBLVYdetdXF/bLBqdpc3DQyabN50sknl+UpZq&#10;+p/+GafF/iD9n34K/s6/D6P/AITu38Q/EzRfEXxG0/wHfrq+r+G4/Guo2Y1bVte0Ylbi0tdP8P6r&#10;Db/aJIWjjhswTMrSIjd9Vwq1q9SDTdRqK8o35V/5Kn95yQlKlRw9OrFr2cVOV+sre0f/AJNKO/Rs&#10;8p+FXw619fD3g34CeFPC/iCTWPCPw/gHjVb6B7e4s9WWy1aG4imt44ndXu7vU7GV5Cw2I/IYpkek&#10;fFz4tfCz4SaL4g8A5ttd8Nfs6+LvC918X4Qsgt/iV4+aaafwr8P7KJQHZbe6RtQ1KVSqxbnYpH5c&#10;cy/T3wN8Z+JPDHwp/aq/ab8KF77xj8Zv2hvFfw0+DUQgi0/T9F06aW31ebVbu8cxrDb6fb6bMRJK&#10;wjQ2ZM3ys+PwQ8afFT4M2PjvT7bTfHuu/FJvgPpfjL9pzxB4m0ZH8P8Aw38QeIpBHo0VxNLcwNe6&#10;jdXWqatpMUM7RWtusduwEbhY5n8jM8V7CtGhSklNx5pdX/Np5Rir9r26Hp5ThZYiNTE1qfNGMnFJ&#10;aK+ibb7yk7Ldq8mtj9afClr4j/aM8F+MfA/hnWTcz/H/AMbaDoHxM+IWoTvbGHSLLUr7xb491dJG&#10;BZIo5vDy2lpbrllW+s4VDtjf8E/8FhfHHhXx38WPhzrPxE1S+X4c/DvwkvgH4E/ArwvefZ/EPjXU&#10;NMljtNRu7y5dNmm6JY3H2yIXbJPcXZjgiih2xyzW/wBC/Br4vXH7MP7CWp/H++uY7u48J/DHXdU0&#10;fRNaiW4k1R7y10G4WGRCu1xdX1jocLLkMwvpB91zn+Vb4pfFLVvHegah8TNV1jxTq3ifxMtxqHiW&#10;28RazLr0vhy1l22N7q9lM8zzGC7NrHaLE4XyIrYJiRGikrlxdSpOVLB0FzSVpN7+81aKt5Xdu2r6&#10;Hq4alCg6uOqO0eZwSXa3vu+6TSjFtbrS9mezeMvjV4j+N91pvwz0SwtdF8Mad4us7jwz4W8I2z6d&#10;4J0hbaXdeXCWhZ5J7qWaS2K3l1JLdP5Dl5XaWXP1H8Rb3QPh94MRrOZLeDXNTvorfRNpwYhqMqzz&#10;zBThnuZ4rpg3OAIyeNtfPP7L3w907wLoV78SfEOnXyW+heEl1wTXEixvLq9/Cs1xaEuNqvbwXdta&#10;qowFmvsk8KR5t8efGeqeOfij4X8B+HZbm70/w1Z2zX1laq8jPdMSxjwBklXkuJNrHdkoGJPJ2r0p&#10;UeTAU3zVpv3u++vn0+V0efQqwrKWYX5KMPhWytbbpvp5nuHhHSdG8QL4z/aD+M9s0Pw4+G1i3xA1&#10;jT/MaGLxfevJcWHhDw5GAVVVuJLclzvUxW1tfTAu8UcUn11+yH8EdU8R+JdF/ao+MPiGy0L4z/Gq&#10;1n8aeBlvkj0yw+Avga2llZvG2qRMgS0luSscWh6bEvnShY50VES3M1S0/Zu8O/GKa8+GHxD1PW9E&#10;/Zi/ZHjXxX+07qPh+S3s7744/F27soDpXwy0a/LbALPTbWOzvZ0HmWWnaDqUm6Jr22uk8h1bxn8Q&#10;/jh8SJf2dvhxDpXha+8Yizj8eawvmR6N8NtKkjjkAvLwSFLax0TRILt/KctmfULRMM4QrdScliFh&#10;aFudp2vtGPWbfRz/APSFv7xMKMKlKWMxT/dxkua28npy04rryXvLo5tJ/Cdn4Lv/AA/8ZfjJ4w+N&#10;3iS5vn/Zy/Z/1WXwx8NdM1eVp7vxReyzy3FnHFIW2NdX7RyarqF0+90M8Q3SmK3QZfw3/aU/4Wd+&#10;1p47/bQ+JcsFx8Lv2FvDVzd/BnwxfWIHg+/+It9YnS/CipCMps0maSfVhwxx4bgGY9wI+Pf2vP2o&#10;PDMOmQfBT9nuGHSfg58Ob268J/DLy126p49lVlhv/GGrsQWkutWuopZlBJWG1t7eJOArVu/D39nX&#10;4t/tAaH+zd/wTx+Aulef448b6jdfHr4zeI9SuRaaZpf9oWkQtLzWror+5stK0qMXUjuwy9/KBhhk&#10;zl9LEYupbCy5YQ92m3oueWsq0ui5Y8zv007HbjqlLA0nPMkuaolKok7uNJW5aSfeTtF6atyLPhrw&#10;58Uf+CiPxx0f4P8A7MnhHxP4g8OabfJreq634iuGF1q2oToV1fxr4rvDuEEe1WgsbN2eVIIAoJlm&#10;l8r+l/8AYw/ZA/Zs/Y88Iaz4u1rx1pFtbeBbObUPit+1NqNvBdXhvFV2fRfBbS74IPs8fmxNdwl5&#10;QZJAHLSslcP8F9D/AGXv2aP2Y/Gnw2/Zo8RHQv2ZfD1/c+Gf2kP2sWgEfxE/a+1/Sx5Gr6F4QlA3&#10;xaMku60eeDavklkiWRpFFfhZ+3x+27rv7TXizTfhnpP23wv8EPhxp4t9B8A6LLDpekWYVFZcrCSs&#10;ckVuRH5mTIr3M3zbwTTx2ZwwT/sfIler1qNaduZ9l/LHro3a5yYPKq+bS/tfPrww62pp63v8C7zd&#10;/eb+HXd3Psj9pD9uj4i/tnXOpfDH9nnSNe+Fn7LMHiCbQvCmlPPNq/xE+Ikklx5eoeILu4ZGuLzW&#10;NSKBIGdzHb+bG8rGOBYKpt8bPhj8P9O8IeAvCPgnS/2hfjnpMNt4f+Gv7Ofg77ZL8FfglpVk0c1x&#10;f+KtQtZEm1PULwo00073OyJYJJPMLmN4/hnwb4C+Nmu+E9Ah0mO2+CXw7uYIbbX/ABjf2Et5r+k2&#10;l+iixsdM05IzPcaxqYAWz06COSUowZ1y4Wv14sv2btL/AGVPhP4I0bx3Y3XwXufibd2mg/D/APZq&#10;8E6JD4m/bp/aa1K5VpYTrbJmbS/tjlPK03e9224NPFb7JFieCy2rh6LqV7xlOWr/AOXk36/Z9Fe2&#10;trbmmPzPDtrC4VJwh8MFfkpx636z6NyduZq8n0PkXxb4c+KHxS8Uaf4z/ah+Lum+J9ZsWaaw8H6H&#10;Yy6h8LPhXDkTXEGk6HbkRlcyshWLa03lIJbqZY1mHp/wk1/9sL9ptLn4Z/8ABNr4daF8Nvg14Y1O&#10;XRvif+2v48k0vwd4UsXg8lbg33iR4bnS9Mu8XWRouhR6rqcf29Ue8tUCTJ7J+0Pon7Nn7KOhref8&#10;FA9c0nxLcWMEup/Cn/gm9+zz4hJ09pZTFMkvxk8SwyC61K8mZgbjSbK4NnGkUqXFzcRSQivjX46f&#10;tM/GX9pvwB4c8f8A7VXjDRf2R/2HtKnFh8G/2afhjow+H9v4509fMaC007SLFA39mqi3Ec9ykW2Y&#10;XLRRRzs6zRVKthMNOUYRUrfFbSCf9+au5y7QV/MypYbMMdTpV03CL+ByipTkl/z6ouyjFdakrRXS&#10;9j7F0j4Y/si/BHwV8TLK0+K3xK/bb+JHiSVtM+OPxc8FSahdWHxc1NYgT4Ul1O2aXWNXjD3SZ0G2&#10;urh5I4Ls6pbzNcMK+TfGfgX9qfxf4Ti8e/EvVfgJ/wAEzf2dfEZOg+Bj8QbmP4dapd6ZDmCK10mK&#10;CS4ubrUHgvYi1v4UsZZEhmZXhkKszfLHjf8A4KueL5vDnhn4RfsZfCXSfhdbeEkfSfC/jrUbO113&#10;xdp1ttkQW+h6C0f9l6ShcrO13cNeXLSW8cjSwfMi/OfhyfxVrfxR0jxr4k8Ua3+0z+1V4+c2Eeq+&#10;JdavPG03he+upY0s7SLVLlpJrqdHZ49gZbWBQohQgSbbp4+piE5qi3G1oq3KnftBdvN2SHXy1UVe&#10;WISlu3f2kl01nLSLt0im3sj7j8L2n7EH7OdiNY0rwL8Xf2k/Hl/ov9p23j79o63u/gH8MdQuZ7uz&#10;PlaJ4M06c+LdTecXMqNdapqei5QGcWkjNGjZnj79u79rGbxD4H+AvgHU9U8Oy2Voltd/Cr4W6Fp/&#10;wm8H6vcXCQPLNrOmaZDA80SpDC0x1aa7uJsZlkJB3t+JfwuuvgbqOsfEHxR8QL3xp4yPkeH7T4ka&#10;xp8aWUOv7M39p4L0wE/bL3zHMSX8wMNnFEH3+aV8v4F8d/GRfhx4a1vw98OJLaHxD4s86b4jeOhd&#10;/bNT1KKWTdJape8y/Zd4YSypg3Ui+XGXiQNJx4irWxElQnJtL7MPdj2S0Svbds1w2Hp0ksTh1Z2X&#10;v1Pfk9k3aTey2X32Pt7xb+2j/wAM76ne6l4K1Lw38Xf20/E1uLK7+JmreHbPUfAPwSBRIo7TwpbX&#10;O+yee2Ujdql7FJb2si7re3llWOST88tD8X/EvT/i2PFEfi7xH8U/jh4lupn0y18HR3N1LFNdMvnX&#10;NvcOn20O5YK00IhuZI5CWeFWGOX/AGWv2aPjH+1r8V7Tw78PtO1OWa9U6lq3iO6tVE8dnEzLLf3B&#10;YiG0tIW87/SJykK/Z5EjE0uUb+qD9nn4T/AD9hjwsNA8G+CfDPi/4+asy2GvfEPxPpUPjGbT7vcW&#10;UJAI5ZLy5ZvNYWXluE+cGBWKsvXhsuwWX04V8z+J3tFfFZ9Evsrq3u+pFTNsXjqjwmSq7Xxyfw+s&#10;mlrbpBaLY+Av2WP+CTnxM+KtxP8AHv8AbUvrbwD8I7yWbU4vD9xrkvhqHxK8n7+QTT2q/apowzEv&#10;baT8zF3DXcJQqfp747/Fv9k74CWNppHwn/Z90Px9qGhyRWfhHxF8TfCu34YeFJDNsin0XwTaTW8C&#10;bsyR+bfTM1wCM/MRjxP9rb9uj4i+JNXvdF0zWfFWpeKbbUkE3iDxhrLX2sSeQxMPkWcD/YdPtl2s&#10;8UFmJJXUAvOkWRHi/sN+Cfj38WPiLpvxv1X4u+Mvhv4U+H1zHpzfF2yeOx13T2SFw+n+FoywVL6S&#10;MLFH9mjAiVBNPMXWMTaLHrEfuMNFUcNHdxdtFa9292+mvUcsueG/2zMant8VPSKlflTe1orS3kke&#10;JfHfUP2uvjPY2niSbU9O8L+FE0o6pb6fYRab8OdL0m2lBiWW48P6La2kccsyGUxwz75nQsGkCFjX&#10;yb4P/Yr+KHj63bxf408U2OkeC9VVpPDFxFaNbDX/ADH8h9UkIVpPsEMiuA0Kma7m2QwbmZ3T+liw&#10;0Dwf8XNH1/x/4j8Oab4V/Za0RdQ1Wx8S/E3xLfRav8Z9bimFxqN5JfzSi51hsRu+palK8xmadreE&#10;ebI3l/lR8afjIfij4/sz4ZtZbDwnotzL/YF7dQ241O6ntVSBZF0/zI4LRmjaK3sbfclvaRR7EIP2&#10;mWVfWcHTcIUYJ1JWtfVpd5LWzf4HNUw2YYibjWquFKNublslfT3Va23V3PO/gd+wn+wn4e1KHVPj&#10;FafHnXJNFvp7+0t9B8eaP4L1/wAQXSyWkcNzr19ZRagdO01zHM32S3i+0IJoR9oZt4X2vW5fDfw5&#10;/wCE78P/ALP/AMT/AIofA3S/H+oWU8+seBNd1azh0aO1ktuLG71xobnUraRBMWt/9FimvFjY3EaI&#10;YTR1X9k79o7xDo/h7VPij4x+FX7Ifwt1+KO40TS/GWpalq3xG8b2oWZ7fV4/B+m2Fzr+rmUWlwIZ&#10;7O1SyeWKQC6iZtx77w98Ov8Agn18Gr7UYPEPh34rftVfFxpY3vIPiYP+FI+Fre4R43e6Gg6HfX3i&#10;NFJ2yL/aWq2cqmNQ0KneqY1a2JlH2mNqxjDRWWrvfqla3pc6qFHAKMqeX4edWbTvJtqK2XxSdtPI&#10;4bwN+2Mnw4uvDp/aU+C37OXxg+EdhrP2PXfjfr37K+leL/Ft9HJBqBtpfFWg6yjR396UmVlkt7uJ&#10;U+y7mYhS1fbn7LXx4+DHhJ5/jB4c+G37KWifCL9oDRba01Aab4P+Ffw88MeGb3SJ7jSLPXl0Q6df&#10;R2Wm6pBbrJfGzgH2i8iRjMxQ485T9q3Tfh/KP+EStv2Xv2ULaW3knlm+C3wH8P8AxG+K/iFpE8m1&#10;+0+I9dudZ1KCdijRib7VbuBLuEeQSa+mftn+JLy2+0+ONdj8aeGbRodMvJfE+h+GfDHieWN5TBJf&#10;xXkQ/tCVTGuwgLKIhGGKxqFVuVZnRoUrYOVSU0nbXRO6XfsdCy6pXftMww9JJ9nrbTSTslvrdeQ7&#10;9ojxR+yH4quPFvjvw74s+CGpx+Jb1rXWfhDoXjhPFGmeIrqS5zFdT/YfDa6Ta/Z1USJtllvHVmBd&#10;RJvXw2fxb+wd8R7/AEPW7jwZ8KPC/wAR/D/jjTtM1q88L6nb3mqeItP07a32mzn1BBeSNNs2PJcu&#10;okE7h1Lbifobxf4//wCCaPiuLxHcfGLxH4Pura30W0stC0a98L+J38OXeoIyefLZajMbwTShW3P9&#10;qtXiMYIiZWdSu5aeHPBHgWPwnf8A7MHgb9lqWfxVbSWtve6r8AtEbx1Fbjz/ADZ/tGrTzx6jbrDC&#10;VEgtbKKJ1AYyiVDT554iMeWu1KS1tFLVtddr6X9Ap0qNJuGKwasno5SeiVtrLa2mvp0Mvwt+0V+x&#10;xoU8nhf4z+G9Z1K7aV7bwbqtlomhav8AEK+iKyMmnMEvbR9RRXcMJDJuHmlEdRuZ7Pjvxr+wRdQu&#10;LPwvpNhoxiWwl1HxP8DfF3w2ub0uIZbiJ7mTVtQUBtzA4CKfM3KxXaRzmpftf61+zDF4qh8VxfES&#10;DxT4v0iC4vdPs/2d9M8V6s/2JDb6RPbGz8PS6ZptpBE5SK1jl2LvkfYfOMlfO3xD/wCConxt8Z6Q&#10;sngj4B6T8WPD+uxLpSal8Zf2dvBWm6hYFY3ilhniuvD+k28gYShI287aOsbBwQl0XjoUXThVqSkn&#10;uopr79Lmf1bA1qnto0qUV5zaf/gNn/W5t6/+wx+zb8f30r4m/sufHzwT8N/EmkzTLqVn8L/iHoXi&#10;hBGqgQveabd2iPZyLIoYtLeb5UBZyrfM3o0fwj+O/hrwrp0PjR/hHreqaG1xDcfHSxng0O61jzo5&#10;Wilu9SWW8WK+lXzoNrXiqyqu2MfMZPzouPi3pvjRJtT8T/Djwj8HNVtLwSanr3wi1m68G3tvLhTP&#10;HDaTasdOYIGdxHbI+4swDsCgHAQfH7w38OtfsZfh98TviAmsX5nGpa38U/FfivSPD9ioMsSfaW0z&#10;QJI7iWYH5SLpoxtYM4VxVVo42vTSr0lLa0rOM3620t6sMHSwFKpGpCu4xbb5W4ygrdU2018kfY2u&#10;+G/htaapZQ+KL/4halrluWgmm0PSdTvtN86WTbiPUEtI4WQiVMuJHVGkUkqSQxceAv2Pb29sdD8a&#10;+IPFHhu2u5zJrZ066X4o+MQpUOgXSNPtkunJleOMLLepgMS2FUk/Hmqf8FGPF/hbUbnS/HFvo3jz&#10;R9bDo2jyeCovBHhvXIHjG2S1v4bC3W4K+Wrg3EErgrk5DCvafgh8b/2CvH8uiQQfDlPhp4ptIxPL&#10;4b8deN/EeufDPx3e+dJJKJ9S0p7W6sUn/dJhV2BlLNy7FeeNOph589ZOna32bpq19/I7YV1jKSo0&#10;+Wre+07Wb7rqeQa2vht7jVvCfw08D+JdN0/W7KXR4JNf8JWd086gBIpIfMmnmgmmERkd4T5iMzor&#10;uuS3L6R+wB+1V428HaxrPhL4BfEjxV4N0AS3WqeN4NC1LRfBOkLb/wDH1cXGsX9jBZFYRsMiRTlh&#10;lfkOQK/bqD9rbxb8HV/sL4VfAab9mzw/qcPlX11+yy/hnwz428W2TFhvsPGmr2Gs6hJDJkSpMLos&#10;CxKhCQK50ePv+CfXxa1I6z+0j8Hf2sfiXrnmxwGf9qT9tDxZ4one8uVTb9lsdPfSpXMgXYBbRshb&#10;y8kMVDa0cdl7ly1HNrXWSbT2WyvZHn4nA5y2pU4wslb3Grpb6t2u/S5+H+ifsK/HmymRtU1z4I6B&#10;4cCqV1rxl+0x4U8BXFizk7Rayy3fnsy4IMflEE5XHSvdfCfwU8NfDNRcXPxq/ZO1jVobb7WNQsPj&#10;FqcGqDbtkIt9V0zTfI+0IwYL5u6FjIN4UAEfufpHwt/4JzeGoLrTtE/YK+HGkQoTJJZfFL4w/EfU&#10;tJYbjsjbR9U15MIUDfIwC4bgEZB+VvixF/wTs8Iancyf8MZfsNeDRFJ9ovWtfBvivVPDt4nDNHO6&#10;alJES2BmSJoflf5TuJY3Xr5dQoqq2nO3SNnf7zGhHPan7vllOOluaaVl2sovfufAHiXRNG8XI99q&#10;vi74LeLXiKyDV7nxZb6P43tJBtJiTWbBTHKQOMXduXK7SNqsDXhXxFeDxBp76cbLxJDqFhYC3srz&#10;wtr+WuxFxx5aeTd467lMRc9zkBv0D1DxB+wv4q0vUdU8HfsSfsK+LtIWR7JtP+w+JPDejIzdTb3d&#10;tqfmJgg/MHMi+WxYgYLcdazfsh6Cs8+mf8ExZvDz5WQ+LPgJ+1/8ULWEF8qxs7G81m+sXDBQpW4s&#10;WTtnNctN4XFU1Um2nH+7e/4nZGljMHBxjTSlLVL2nbrsj8vPB/xD8Q6Nepp/hv41eLLP7JeL9t8N&#10;alrHmatEm5d5fSb3zQTlSf3W8HaecHn65t/iV4mu7Wxe7134Y+MzndHaeJLJ/AHiKcFi5jN3g2m/&#10;gKodF2/MewB9Y8YWX7J/xP02DTvDetfEH4C+J7m4kWP/AIaa8Gr8VvB0U6MkhxrNjZ295bxqjsrH&#10;7LdyqTG210bany/8Yvg38XPgxoVt458afB3RPiL8KJYDJb/G34BeJG+K/wANWRcYN79nje504P8A&#10;aFbZqlrZlt5VScNjmxGWxr/vcC9d7Jav5b/cbYbNKuGj7LMNJdG3p062t956FcfFTwbEkE+tW3if&#10;4N6tFIbvTNR8RaY2reA7vYFTdba9a5jUApsGVjQhmPXNemaL8b7O2ns7PxvLYW8GpTmLQ/GNhdJq&#10;fhjVDkYDXKMyiTOD823iRRjPzN8AeF7f4GePv3OiarqXhi31BQ8z6frk1jbrJjYd0as0bhi6n5o8&#10;/eGOc1Yuv2avil4ei1Gf4M/E3RvEmizOXufA3ifFvaarE+WESPEGtQ+Bz5ipggEMG2g+FisvdeXs&#10;cXUXN/eVn97+W57+GxqwdL2tCk1TX8rutH5fPby0P1yhuIbq3S8tnMtrdQedaSZ3RXasW2sjDIxm&#10;NhnkZDe5qbLny0Ks5jG37gJUAKgOT6YYEjP3PWvxn+Gv7T3jr4CeMU8LfErwt4j0Xw/LdPb3/hjX&#10;op5jpTklXuNKndsMEzkRFmwAuc4xX66eEfGfhH4g6FaeJ/BOv2viDQ7mEstzb4intiASIriIsSki&#10;Arlc56Y3AjPyWZZRicA05RvHo1sfQ4LMcPjYueGmnZ6rS+ndf12N11jJYhFMgw4kADgH5vc8AY/H&#10;tgZaI7TncqgPmOVtv3gcZBx6lfzNSuAscbbi7RneM/KME8Fj+J6fjUUxZ3BLAhiGWQgSKxzuKnII&#10;PAYc9a8iUYvRq9jvjf7Pp99iAgbHK7wQcMGUhfuqRg46g7vTHas2WHZiQ7gXBj3Lhih5OMdeob8A&#10;etaa7ckb49pxh3YDpwOOc4/HjmqkhbkBvmxuyFBzliRtxz3P6jsMQ6iUnFdNjKUk2oy+/wDroZFy&#10;oLB3ZwVYKw+9GwOByRwOSME84PGapTMfKICKrLn5toYycHJJz19PXitBnVBuxGDFJty/zIpGB1xn&#10;6ezD8c+4j2uyl9jOu1d37xUAIO7gZJzxj0/Cr0UlGSurLX/IUIJS511Vv+D9xiSsWSV0xINoeMEb&#10;mkxgHbn8AMZ4J44yMq5Jd2WRkLtAMBnKOpG1trEcDO489cAYHAxv3AkDeWRGBuwWPKDBGc9cd+2T&#10;jpxWLIpdSORiNtxfcOhbK8MCfvNkZHGTkYrohO0udf1qFpKNlv8A8MYtwsg2kELDA4YMw3qQvygs&#10;OnQMGJ5bJySSc48iLtVEYqu3BYn5lIb5cevBUZ7Ar61vTj5AAkcu5txKAb+DkEnjOCzHJ6AGsKZi&#10;qGJlYbiCwADMTtEZGQQSxwoBOT07YFEZNx5ubTa3W1jJWTdmZMyBjsZRIZCqR/IRMMlBlWzjg8cD&#10;73PrWPMvmtGYgzAhEIVgfMCqBESemfl24OfujnBwNu7cEdMRSE7QwVtqqc5Cr67Qe/DeuMZkxZZC&#10;QxfJEhwSHn/iDEEjnJxnPf8ACtVKSSa2ZNaM5SSpvp+pluWbzN68kbV2fLtUHIXpzkcE9cjNZs78&#10;5ZFzMAgYRhy5G1iS2fl5GM/hjuNKSdXYFfLeMnbGQgxjjn9M/gapSomwZdXiYkbGXBjIAfvnp9D3&#10;z0oi5RfO1ZvQx9opNQj/AMM9kZUiyfaEUqNxVUyz7kAOFBGcYB+8cjgMO3NQShQ5EpwAvLAqoOck&#10;DJ6+nHp75rRljYceYgjZwwVgUWEngEt1xg5KgHIGcEgCqBUs21F/d5yoBLITjJZlOc9B7Zz2oTSa&#10;SfzJlDp5/fsRFF3HcPL35BcoM8/MWAzg98ZxypzVwLgbAjZjZ88gLhmdiMdMAOEweoAzznJkgKhO&#10;4qvl7TxuUjBGB1JDc+uT606PYoA3DexLgBN0Y65yOn8R5GMkDJOBVp3mr7dC1RjT99vVa/lp69SZ&#10;FUgqyeXu+SQNgbcjaTnrwWPIHG0nsKtwkB43dNoChgrruOSqngH0BwcH3z3qojShi28ZDCPCYVCF&#10;CAg9hn5eMZ+Ydc5q6jo0hIJPGVUHAGF5yOpwR09RTk2rxXVGajKtaMem35l5WEqg7CSuCzgfKgRj&#10;hSCOckHqOQ3dTg3IpSyMuXDo7l1RyCAqA7iWGQW5JyDjaDnnFZdsI+ZfuKrNskC/KxXIIC4BwQuf&#10;X2OKtxMFjIJVdrkFguS2Tuzkc+oyfpnkUlJKSlbX/gHS3VUlN6b/AKG/blVeJ49kcUpIU5CgMFQt&#10;x6AupJGeCcZq7DIExHhCGKmR3GV3EEjGe5yw6Z47cVgxOThi6hV43kFHIO0gD1wDg5/PpUyvEj7R&#10;Ijn5UMgcZIGVJKk5/iYEAj+lZvlTVtwhUbjzS3/r8zejnRkaRcBCSx2D5kUBQR6ttJzgnuePlJq+&#10;zpEyvKrcN5IIi8xW2scEkHB7kDIHXkVzJvAssW1mdi5d1UFpX3Y+XBA7hvu5OWJ6YFSLeiPy5A4E&#10;ZBbcoG3jJULnnAOQV7nqPW5Rbmmnp/wxMZ7tbq33dzoDctbuCzhFWJWffGMDbuYksSAApLg5yOCc&#10;gdZPtMrFY281RGv3ANqQ4JAXPXrk4461z63g3JNE7BIlIUMrnbkttf5QTuZuADjnaeOaalw4Hy7m&#10;w+0kf7W5ztwRnPy4IyMkHBqWuVtPcceRxTf9dTcNyevDckCFzhsEKdoOSRyMFv8AZqFbny1KbfME&#10;shRJmOFXIZUG71JMbAdBjBBzisppWdQ6uxhQlS7KcFgqsxK54DHjPvjIpPOdhtVyRgs3yjapG3bz&#10;jIY988fLnqalJ25Ov53KVRR92L7+ZdkndFIWPBf5gsa8r1JyB0AIPPsOfWhJchNgMcaskZJKgAqc&#10;DgY4C/KoyR/AvGTgsa6VwCGQ78IfkKnJDHj8ue2az3uG3yOqqFOU8iN2lCA8hMtlhkbyCScFwR2q&#10;lHfm6W/EU7SlyO9tCfzpBhdwVciRgkmGfAZS2CO27PB/hIxmqdy6CHasxP7rYW25UHPYZ542nOF5&#10;PI4pkjyFiTKqriOSLjYVAVj6dcHpycgDFV1aORiSN2Tt2qBsxkAfpwRgDLfhVKPMr2/rczT5k1az&#10;X5aolLHzBmPzA7EIETcHOQcDGcnoT3+btnNVjcMzJlmLHADN8pdQTyBj6njr292ROCFlJDYjAVE3&#10;cNwdx477HOD0yeeMGRysbxkEMNq4WRA8pLKccem4MBg47ZHe3NU0ob3Wn4BHmnT9tPaP56WLOWkW&#10;NmzI6Mqrggylf3jcY56sx+uM9qeFUyK0YG4rtA3Y8nOdoAPAOM8d+apKjJ8jfcD7s4ZvLZn4O7HR&#10;Tg9+gq0iK7bjuHmR73WQ4G0qzDnHAAyTn096yi535V6/qKPLyWktU1999S+u5cHGELZB27y+G5O7&#10;nuSCOeh9KswQHd5eWj+eOQuNsin5SueeSPmzwVyOG4qjEhYfdL7jkrsV2K7ScA5zkjruwAccg5zr&#10;xfOMEHyygaMsx/eEc+vQ5J/EiqfM1y30NYL2knGaVkTKrLEjldi8jKLjzc7mXGACOP8A0E9ep1Y1&#10;L7B5bZP7uRVYAhmDJuK46gHGB2yepBEEcZ2lgCwiAldShZCCUQk5PBZig54J2jnODOkDnZKzEwox&#10;IR15PyopAUeqxg9e3Yk4UXCUlG5am1NaafqX0xs3FdoxhiI1VnUEfLwOhbOAT6ema1IUKs/EZy28&#10;blC4RQMFR/3znHPPfvUh3QyAqnm/uhGSeGTdghj7HKnPTvWjCqhnw0aKql4+GdmLDIJAJ4BBI3cY&#10;K8dRUyjNR5lt/wAMTLnTtfVXa/r0LlvHmR5CGO4/I4UAplcZAHfORx6DFaMK5ZCVbeMMzhNpQg7S&#10;2OBztOfYjtUEW4FyXHOY043HooYYHGQVB+rdqtRqIw20xY24JDHhedvPI4GF+i96yXvRUYPT9Co3&#10;cYyk+tyztLSswV0IB2uRlGycYxjk8cDsCfXmxESHYKrbJMyEIAm4hgDx0zwfwJ9soWR4mVmQMr5J&#10;J+6WAHLd8ZxipSWCqpbDMcKCdg6AkZAOB93nnr+FVGylv1/yHzuGq6fgRI5fLg7cHO5hvbHQsQfX&#10;PtjPB709YznysZdGIjPWE9Plzj0YDPuKSUiOOR4sgrnIIbLZIAHG7rjsdoz14zTVkZZHXdGZA4Bj&#10;2nALHhieuAdvTjJ9iDTnG9oFSm1UTgtXt20HuEVSGwmwKpU8KhJ3KQceu0A+p781XYPGzO+HDgBM&#10;KVB4G7J/vHHP07dKfNJuAct5jLHgwBdmSB91fxBHJAzzkc1FI5fy8g5KjyDyM56A89B+XFCdlf8A&#10;rUJKUZOXS/8Aw/4hMVzCzvgSMQxPByVGRg9cbgD6YB71BK/KhQ4L8qy/LgY4IPXBHfHQVDMRGHjP&#10;ySOx3rg7WI+X5sAY7An26k9K7SxBCC4jMjnyiCTE4ABbA68ZJJHUkegppN253puvmSm+Tlbt/X+Z&#10;K8wlOCFBBBVvLDeWzFiGwTlckSEY6gKeMVSkYq0nmiQ4VkBHXndjoe4z643fnFPcDzUwXAkAiLrG&#10;qqNuB8oJ56nIHp1yMnOmlJOSy5VSnzqVT7x5HPctnbx3xgYrRckLS3X5kz5ublt03LE82JiFCv5Y&#10;KMqkGMgDg7sFSMHORkAEe+MY3EhRWeV4xGTgHDeWC2SA3Q9AfwzT7qXAYKWZZGSKNw/lh8s5HcD5&#10;sqfm546gE5x2uGDBXVBvCSqrB1JGdrEjg4+U7sHrnGKqMm4+8tf6/wAyHNKFk7S/r9SzcSeXJLFJ&#10;mWS3lO8CQspHyqRgnopD/MuCRJz/AAgZMtwTvWMDeSBIyxFUDFAoOT1JYg5OemOe0EtxKC77g0hO&#10;8vIdvmHcMZIwByp7AhW9DzmyyoCvl7mcBSARkycArtHQHjkfnWihHlvfrt2MVUlBWtdpa/hYlmn2&#10;gsrkFQG8sptkIJGQR1Pbr69Kz2mUtiMqWDEAtGX3MFYBh6ZIHpy+ehJC74jvKOi4k37CCHkBYsSA&#10;OwOwdR97Iz1qoyhZHTiNlUo3y5fCNlQTxkfeGCep5znnS2t7XIjUUqnJT03/AAIjHI0caEAlXCSS&#10;BSk0mdy7c8YJJB49BjnqySTYASQZjHuKhhvXczLgjOQArLnOAQpJxnAlYoobzcIWYoMoXVTkKWDY&#10;x6jjIIc+lQFQGCsi+YyhiCCwAYbsY9jnr0556UNxd6j22/Uat8a328tF+oMDHIrFFI3ghcgiPDYz&#10;nHGMg+5qXyirAFnbDsJCjbVUhSeedy4+XGfz6U+IsyLG21mVyGVkKegGc8YyoP8AvDPOasDaSHPl&#10;kMAAzHgYKqAcjHoCD78cA1Cg+mn+fcpQjT97r0/D/MrxWyO5jIbIG5gQDkt8wCAnIwDjdx94ZHPM&#10;7QOUkQjYW3FAWBQYIxvPJ7c8ZB5AxRHEuEwuY5ApDMxXcQBkLkcccZOcYHHGKv8AlsArbgcfwjC4&#10;yACuOueW4HUVbcqaUr+XYyuuVuzvb9dSrCiooPlO7qfN2MnlBAMDOOq44yRk5xjFTrbZ2CRR5eN2&#10;1YjhijbskDjAAz06DHetCONgUdAFYYL8ZdCCCuM9OT2wMkE7eDUgjVPm3KDsERRiSzDLEEg9sYyM&#10;duccVFSd1ZdTWMFKMZKyXQzlilUYW3lxkk5iZjnOT29c0VrG1DEsJIDk8lzM7k9yxAIJznJHfPA6&#10;ApuvFOyk/ufkZOpRvqmdypdomDYTY24HaPLwqqW2jIxklRkdPyy4oVKRlA3zBEQIxZS2AAx6Abo0&#10;BJ6bR6mmq7NKpMZMok5+UERhh5ZUA885c/XPbIpYt6ZVWXa+epPUggnJbnOe+cbevJrgg300fX+v&#10;mdTSfuQehKHZiMFgixB0UqfKkbIZcjGQPufiDxxgLFsOzErD5j1UgSMCQSeM9c01w7M3l4x5fyKW&#10;27SCckDGNpAUjjk7j1OS9jJKGMhmy75Jf5pC2OO5J7E9unWhNStr8vLqTTSWstugDEr+W5y8kSxs&#10;XAijk6R5PGPlA5xg8nOcCmfMVLbdskuXDOp3MVVmGT1YkqQff2BIlUBmDrKziQIxXG3ZlRjJ68Zb&#10;pxn+9tqVZJZQkY/c+W5USCPZsVmPBA+vPvk96JSaqe0T/qyNueFlzbafhayGqi7uVA85FO1VXGDg&#10;qDj5ckqDxztY8DmhXYpGoVnfa6sycRnkAh85AU7sj6EcDrFuVWeYHazKUkAG0o5YgqOmBlyMDjAO&#10;OwDz5exk2hFKDzckvGGBZgwTJ4G4+v3uvYZrVLm2/XsZqMUm4rTt5Wt/kNCQo0ixI7vJLhh/zxwQ&#10;nTJIzsQ9B989OanT5nWQuNu/541V8IDn5sn6Lj/9VMzMUVCUZpMbpN5xIQ6l1PfGFPpwc4wKYj58&#10;ooqsXYRswQA7BjkjPoTwcYxjHIxUYKcnfTc6YNWsloOVisiqWReDEbhGxGvY/oh5JIIAxkYzId+6&#10;VYyzibc0gjUqcqXYDH8RAKnJ6kH0prbiiGRZJBKE81gCXY7ckYII4yf97AwwHIaGRg4VlaQA7dm4&#10;gE4AC8AgYwOP7x7jiGvdund2t+CM4SainH4rilQwTcF8tflIjV41UE/d56n72MsemCRxSsZGiUIX&#10;GCUTaueASgxxxzkdc4IJGaNhaQ7Xc4O5RgK4VlGzJOd2QQfxHPFIxZ9q4kjLOq/uYwE+UsAxJzjI&#10;GDjAPvhafOuTfX+vwCXue+laV7f5DtxkWXZtdIyPmQ/PKjRDeFIOATlcjvkjjgUrDcq5KSCN8BVc&#10;qXJAJH4AnIHIDDpmpC6RiTcMEOpChA7fKE+XOMnAGMHI5PTJpAVjnYbm5JDEASBMgDGRwRyTnjGO&#10;pzw+ZSTsteg1y682zBRsjZcglRmNm+WQlgSTx0+ZWxjnkH6KI32kMQqMoXenA5zwOpIGWHuAeeCa&#10;cHMW+XDuc7XZxtIKs3A4wPlI5zn73HenuFIUE+Wi9kYhkGWIBwefvMMf7VZSlGMlzb/8AajCTk7/&#10;APDf8ME4cKzvsD7cRkpjJUMcEe+T09Txyaf5rHABcKqDBwMnnKkevTP1HXmgbnwE3Iisz5JKH5gD&#10;u/HIOev5mmxJsVBtc/IFVM4RgwGQOORj1P1NLz2v/kDc4zjOKajr+n5kjBXUNv8AlDPl2xGrZyB7&#10;/wAQPTseuOWldhijCB9zsDhgZG3DIPA4B+nTH1qRSA5MzSbpCFLJxknPfHOR19cDkY4jijBYKfM3&#10;gsGj2HcuE3kYxn5QqtgdkPapcLRbvpoFVt2kl7z/ACJmWR1U/IqozKFBEbZyp+UDjAzjjGAvTHNP&#10;8xsJhcLvIcOykuOGJByAOATgkZzg9cU0MwYsVBAUglT5e8c8nrkDJ5/nU2C6iPau1HZDHkALk8YH&#10;TcQEPHqK1STSSZVXmsn1/wCBqMk8toupADMCpb5WwpBXHXhent64pVz8jRnczISgJBZccMN+ME5B&#10;4GTyKcDtBkKo6Bd5kD+YDjk9MY5J7Z9+wDPjbghZC2yMFSY1OSFAXION23+IZ6ZFOSakoRe//DGW&#10;s5N7NWXn0HuPnVcLCHX5AWBLMWJIAA/hxnI65+pMaDy2jjkQtJ5gUvsJTGM7cE8jng5bHHUinsxk&#10;UgO0pZizfeBIBG0jkkY6ZJOAKmVmZYPM4mcZnVR5arwNygAghTyB7cVNpbJ6lc6s5rqlf+vXUiki&#10;kOVQOAeSy5CKDjAJ6cYIAGO/1L0TzBsQhtsZjOQQitt3sDxnoQe55Hrw3BGZAjsoXy1bh5Pug528&#10;ksMdevXrzTMbnHkq3BJck8t1yo/8dOO3T0o993vr2NPdjZJXbtqWwhAH7yPduIO1CAegA57LkcdR&#10;688hjzhwxWTaQ0gYSMBjBwOgxuHr79aiPL7pA4IBRjHljgE5yccqMcZ6AgDtUpRGdDtlAeQZHzBY&#10;RgnoPl5x0OOg9hTSam31/q4020+f5/5jkC7MsPnzvRC2wuCyjq3BI3rwO2Tg7SQ5WJRwG4STdIrI&#10;N/BIYZPuRkD2pZR5khPyFQoDhF3KGAxnIx1/mecnNKR5aAjeQhY5wPmUkgjPrw2QccYz1zT54ytb&#10;r/WhLircq9PvsDBXym5iCyng5XrggYOc89T/AHTx0NQRhmkaVkyIjk7iTycDPPJODnI/u4Gc1K6j&#10;LnckwyEVHGE3AAgsOeme2cYPWkbzAF3I5DKqliMH5S2DxnHU+uTt7DNZ6xSj1e/4foFmqja2W/p/&#10;wCQyK6JIFTB+YF87eBuPU8DDKOcA4PvTwDGpKnKumFOPMIGR/I1C8skbnYdyhS5UjLjgN04IyAef&#10;qeKavyrGolV5PLE5iLBCisSW+XnJBI655+gNVGDTvcrni1eXw6/foPDtHKIxnep3jJ/eKBj3/LGe&#10;3QZqwoUnDAkGPgA/K2eQBgA5OeSOv8oiJHO8BW2RlifL2Nk8ckc9uc9z9TQpVY9j75B5flFmQMAe&#10;fkwc8YXB9uOelTyO909/1JjzKfLT2tf8h0QKSMqfuyuHwjFdjj5lZT7kA9e/XpSiM+XIrOXUjLxr&#10;lJAARjBJ5zj25OMY5KlwFbLkKFHA4JwAOcZxg5/TjtSF2AaQEyEoN5WIkYBCnA5xguMn6ZxTTm+Y&#10;0VOSs1r2+7W49hKoEoKFGcIQTtABHI989e3T3qNi8owWQfvgoYK65XJ5OCedvX+Rp5DB3Cs5zHvL&#10;vEBkE4RiAOPlUkEY69MUfvvMlkfasahApX7uMFWJPXGM568DvSm+Ve8lfQHOSaptW/r8h7Fo5TFu&#10;ZsOR8sgZAD8oXOME4BOeeeRSqPunDDcg2HOeMkDpyDwOPpxTVkPluUAC5+XAWPYAeNu3jtz3yOtN&#10;MmGBVXjwd/meWrZJbc7HjofXk+hHZT1fMuv+ZFleMYLWw/ZHkuittMvyGQhmfbnIB9Bgdv46oatq&#10;thomm3uo6ndwWltY2xmuLu6lWGJFRSdzORgYAJJAyewPAq8dkmN3GyTAZR8o56Y4GSFwRn+I+m6v&#10;mjx2rfFrXbzwjDfi18E+F5I5PFdy7Mlnq1wpWRLIyZA8uNdjyZODlVI25ranh516ig2klu30S3fn&#10;29SnWhh6HtZRulslu29Et+tvkrsyptO8UfH7U5pbg3mhfCCyuidKsRO9vqPj7BI8+5lUgpbAb8Iv&#10;3ypyMbq9W1KfwD8GPCqKPsfh/S4EMWnWWnW7C8vHX5dttGMvIzFNoCA4xxk8V5Vr3xI8aOtt4K+C&#10;8cV7chzaya7f6VA3h7TCAyv9lhO7zlRQW8xtkfJwxAONnQfg7aWd7/wk3j7xTr2v+INqtJrV5fny&#10;ICUx+5Qpst1yJMLFsDL94MRx6clyU1GEuTD9vtS2u2vPz+SPOhUSnF117TELovhhfpfy+bfVnnGu&#10;+PPHHie3VvCvw31fU4W+Syi121u9Os2JZwjy26j7VI6gZ2lI1+Vw2CMnU8M+D/j7qE+laj43+Juq&#10;R2unFksvAul+BHg8MSwyqQ9nerJOZZY9qx5KIjDcGBB5Hvsll4QXyJH8QSutujwrINVlMIGF3EmP&#10;CgqwZSRjIbnA6fL3xi/ac+Hfwfs5V8G3g8U+LZ7drWyQ61MtnpLPEY2dzMc7l+YZRdxbJLdz14LE&#10;SnVVHL6V5N2V9W3v5L1/MjE4etOm8TiaqjCC16K34vTstT03Qv2X/wBjzxTrN9BrVhqeqfEa5El3&#10;pngnXdYu/Hej+LrnazyReH7u/wBRilR8llXTriEylo2Ecsq7M/Efin4SfDnw147u9D0vxhovwxS2&#10;vprOz+GfxD8Nf8IP4281g5Nu0k802mvATEFP227gZWkVFjr4l134o/ELxp4iXWdX8ToLsXK3tutt&#10;eSxy2LIQ4aC43BkZWBYFDkMARnFfod4J+NXg39rfQdD+F3x8nsr34saDepa+FvidfaRHd654jtUR&#10;I1hkmJRrq5hRFBt5nb7TGhMTJInlSfpeFweY0KEHmEk56fDtH/g+Z+c4mvlteUqeWt2W7k3eT30v&#10;d21emjPjzxLpdnow1zRrjwNa6Brl7GIf7M8Y+Go3nszl/LmsLiQeYisF+7lkbhkdu3gumeOPFvgT&#10;WdOhu5Lp7KxvBNd6RLIzaZqMZwksW3djbJFmM46A8dBX6Ba7Pd+G73Ufgx8frG6uvhpNcfYPCHjb&#10;RV86++GlzlRbahpLuA5s3VoXuNLk2pNE3mRBZfmb5q8W+ANV8I+Ij4N8aGO4YWcd/oGuWarf6N4m&#10;0+dQ1vqel3u3bPbzBQVdeVIdGCurBfYpKko884XWl/Kx5MqmIjFU6FSzeqts9db9TkJ7yw07xFDH&#10;HpQ1vRdStF1LS7vVoori3ubO7X5C6Pnc8DO6PksQ9uTwRmvvD9pn9o3wld/Hj41ab4b8A/D2wkf4&#10;iaxFbeJjokeqT63aC8mSzuEZyyljCyHcBj5FIC/dX508Cfs+6t8XtPTwdofxC+HGi69ZajCfB1p4&#10;w+IFh8Ote1V76VIrnT7WbU3tdPdQuy6JuLyGOPyWO794c+w/tafs6+OPhn+0P4g8T/EH4MeKdO8I&#10;+NdTHiPwXeXGm3GmeGfGui3ASSK90W9tmEFxAola3ElpM65twQTuXOGJweHxmGiq0rqMm7J+Wl/8&#10;h4XG4nBYmap0lzOKV5LRK+tvu3PKrfVfhZomlr4ntNL8ZXnjKRyLq0udXTTdHnLE5+zsiBUQDBVH&#10;JPrgcD2P9mfQtQ/4aM8AmfXPD+kaXea7L4auNDvdWGuSWa6/pk+kQzRXdunlypBNfQzNFyR5LKGb&#10;t8qfEDxZ4L0W6t7Lwx4H8TeGLGJWt9Xs9d1aXWrVxkgeU0gMqqMD77tzyMZxXZ/s+a3NYfG74S+M&#10;PC00d9/wj/j/AEvVG0u4fy50aG4SSMMB99QwHuAOlZ5Xg0qiq8tuaybl27fc92dmYV5ODhOzSV7R&#10;et7XT1/Q8q8Y+LLXw3rMsWn2sd3ZW1z9njudRikOrXCQMU/eMpVFdwoLKqlQ3QAcV6Z8KPFd54r+&#10;K3w8mQwWD+MfFtj4Y0pbSKWK333bx2UjvDuY+aTMql1B3l2JXIGOm/aG+E0DfFP4gaL4bjtYI59W&#10;tvEenaS5SFl0jxBb2+s6Xf20agD7P5OoRxMiDEbwsMBSAvzv4eeTwp8RvCd5bmdbbwz4l0z7NLZz&#10;eb5TQXsTrcBhjBMgeQsozhgOmK9DCYfDyjHnf7zRf5/1/kebjMZi3iZNfA9f8tRYde1DwzeC31a1&#10;j1FZsLHc3JW5t5BlN5VhkHB6jJB7Hpj6RbVtHGj+Dbe90WO6FjpA1iaTRbsWNzu1R/tJbYQy7vIF&#10;opXGSsCZ9a8JmsfsuqeI/CupWz3WhWuu3kFlPtC3WiywXM0amFjwQp4eI/KwJHynDL3Xjfw5qOje&#10;I7xNOf7TaaZcQpoV/bp5MGoW9tbxw7YwF3IyJEuYmwQCfY1FbDJ0EoaSbv8AJL9TWjOUMVOdbWnf&#10;Tvfb8NTc8TeCtO8R6hI+hXR0+QIZ4Ly7VLTei4MbFlyrYJBLHZxk46Y3vCfxB1jwIunaR440XV7e&#10;bSog1vqM1tIFv7XGFkjkYBJoTgjKFs4554rQ0DShrkFg9kv+lLCZdh+8iEAvEWHTDcZGBggckrnt&#10;9O8X69YoPDdvYQ+J/DN5dPpWq+CfE9sdXsIrhjG26x3DzLVyUTEluwJMTZz8wrilH2kI0auvXTR+&#10;p1zVSnV9thnbpZ7P+rn2D4u1S4+KPwg0+y8LyNeXfwxuB4h8J6ZaxBrzV472/spZ4WGfnKo7lF4A&#10;3NyOc/bfwN0zTfAfgnXvEtrcXV74q0z/AIJvfFHXjY290kvhi0e6+IcdjAGdWMjXZtfEEcbbCqxF&#10;zjzWkbZ8c/A/UPh1puoHw7pN3daRNqOjzaH4rsb3U4pdN0zdDNbRwWl7kK0apPO8pnG5iGUswBz6&#10;L8APEN/D+zb+0IUtJb240j9nX4geD5jcsWksNL1Lxp8Lbi0lbJHyhYJVXbjd5hYjmpwlVKliIU9Z&#10;KE3frflaX57+RtiaU8TiqCr+7D2lNWvpq4t7dNz6C/YM1K78Q/tJeArdpZ7rTL7xLcfEKHSW2QaV&#10;oWm6Ftv5II0QCJVSXS7souCzFGBZyAa+cf2p/E198TP2ofiVrd1M9za+KfHt54fhYymaO4hm0/Tx&#10;BIxKkb4priOQ+hbuAwr2P9gvxHpuhfGrU9ckjiV/hz+zpq+sRaBcXDW51/UNUtblpLNJl+7kapeH&#10;d0VFdgRnJ+L/ANplvGnwx+JXhXxHrNro4PxH0GH46+HE0W7l1Gzk0/xYGuocSMgw8E2mz20iY/dy&#10;WbJ6CsalNe2pSbuoJ38nJ2X4RZ0xrTVKqqTSdSUYp+Ufe/8Abl+R9Sfsw6hfWurfB7wvfGztk1DR&#10;fHeo6xHM7RC1ksNOuXZ5z0A3WsfTjcrA45r9iv2RbDxFc3Ok6Zo+j6bqmn6d8aPhTapY6kTp1oye&#10;GtQ1T4h+LYJiEkSFGsvAM9sGCMyrfEiNsFD/ADrfDXxtP4t+MXgNZkayWXS7vVL/AMq8ZLR47u4m&#10;vLoxg/cMypKMYO7eSVOMD96v2Z/iJrPg/wDZn+MfjW6SK11f4Zfs5fEb4969qTwmCWPWdQ8Aa54R&#10;0KUP/sy+K9MwDjDXxKjcRW2W80cS6zhpCMml5/8ADJnNm0ZfVVh6b9+pKKv095r/ANukr+R8jfs1&#10;X7/GDT/iv8f/AB9Etg/7Tf7U0Fp4i1qzjSFNI8OafJffFT4myJFlwod/EtqgLfKotivATn7/AP2Z&#10;/E9z8TP25/gPo3iDX7rwpfaJrnjr40fEC70i/m0KXTNJ07wnq/icWtw0bLNGlnPrfhaxYZIWGwhB&#10;LyBiPjD9iv4V2158DodO12ObTfDej+CbPxFrMUUc0tubbxpqGl6pdrISAS0/hqy1jTjjO0FHByqq&#10;v2l8F9N1L4a/sbftc/tcm+sbD49fHDW9X+E3gbU5yDD4V8PX/iPw7pOvC2V/3UM2o301xGZGDYh8&#10;M2wVgXYmsR+4nTUt6ceZq+8uXkgm/OXvP5kwpQqyqRw61qT9nF9EpO8pddI09PuMf9o74yeF/DX/&#10;AATg/ZW+HOveMPEPwh0z9p7xtqGpx+MtHtpta0+xsdP8O297cPqlmjLNLps134v0+O5+yCSYl2kU&#10;S+Wgj/CDV9NtfAXwm8e/8JXcWa+LPH8/hbQdDsknae51jTNKl1XXp7izlGBJp88+pabPJMeZGsrW&#10;IKCWMX2H/wAFVbrV7X4af8E+/hpZ3bpY+Cv2MB4rhjnkkaPQV1ay8LWXmsF+WOdv+EcmQvIFyRGS&#10;2AtfL3i3xDafFHSfAzeJtL0LQ49A+D8Pif4c+FtFsTpOgeGfD1rE1gGulkmM0z6tHbrercSFpLi4&#10;093Jk84E8VSm6tevK2vu07/3YpRdvVR/FnoYZRp4ajThrFuVRpu17yvH7o8t/Rdzpv2/Piz4t0j9&#10;nj4H/sxTawdPtdekXXdeaLfGyaVpSQ3ESXh+9KZbu8QktyraCqZIjwPyZ+GmlXPxD+LmjRWkD6jo&#10;OltbaOyQoy2F5aW5jt0sSmNrRzKhiKHlg7E4JOOn+O+rXNx8R/Gtnqf9s3Z8L2C+E7KC+vLnUxZN&#10;LGk6wIpdtkTXl1LGI1P3gRjcTnvfgB8PfH+jaF4mudX07/hHNWm0uPSfBul+LrgaFfaxrGrWzpYy&#10;WumkG5dI45bi4WXyfKYxrzt3OvVl8J05yxcrc2r+b0X3fqcuY1Pa01hYPTSLaV93eWnm/wAEfR3x&#10;p+J2n6f4B0vRINQ02wuvE/xFd7mxFyFRtN0IC61G6IRWU/bdRcJu6rHpwUds+r/8E8vhl4sv/Her&#10;fGzRfAt34/8AE/iLXrbwX8EBqnhi6svBep+OfELPbaDcardXtui/YrMotwWZSjrGWDNHDIK/Pj4m&#10;HwZ4P1LR9NtPGH/CReMvBFsnheI6P4Yi8WeC7Uzp5sskK3Uq/bpGaR2dyFgQxgbJRIBF+svww+JO&#10;l/sffsJt4jTxZrusfH39sK41eL4e6trWpst58N/Cdm0XhjWdYt7D5/stzdSNqek2ModFAn1GRUb5&#10;VTaNajh6VbM6mrWieuspWSS9d2+iMcThKuJrUcqpO0W7tO2kY3cnLyS6ddju/ij8YfhZ8P7G1+GP&#10;gbxFN4j/AGYP2KLXU7vUvGM13INX/al+I+svHc+L/GV2sSjd/bV/d/ZYGlJ+z6e1ogEfnMh+CviZ&#10;8QPG3wI+Alj4Q8TXtpa/G39p4x/HD4p3o0lNL1nwh4X1rdL4b0J49wNpNdoo1KWIkn7NDaBgFnUV&#10;w/2jwn4YsvDN58QtNXWfhl4K0q4+MnjDRYL52h8YPp07RaBogUkKDquoi3Q4VCtpZRMFPG75u+Ov&#10;x/1fx14z13xl8S/DPhjxv4n165iuvEN54jm1WS2vpSQJoY4oL6EQxBVMKRQlI0jl2oqgDb51CDqO&#10;UsRrOo1zNdt2l5OWnlGKR69RxpUoRoaQopuCk73l/M/OKbk+85+WnNfCex0Dx14zsptYt9Uvr6W9&#10;tU0jTdORSNPtIPLkmuGVss8zxRrHHEoUeZOWJHf+hXwlp9z4e0f4j/sueGdaPw68U/Eawi+JH/BU&#10;v9orwur2mtfCbwtIYP8AhH/gX4Xvo+ba4lh+zLfpF5cgE027Ysasn5lfsg+JNCsdB8VfG/wz+zT8&#10;HPC3xB1XxFH8L/2ftT0TV/Gv2YeITElxq2rvYahr9/bS2mi2sltcTubc4n+yRRmOWYK8n7S3xMPw&#10;h8Pj9nfwH4pu9Ta31q48YfESdZBca14t8T6lIby81PXrkfNd3ilV35OyMoqKpVBW2Y4irQpQwGG/&#10;iSVrNdXZ6r+VaOXd2W10cOVYWGLxdTMMXbli1Zp3tbRtX63uo9tZbpH0b+1l+2p8Nruy8N+BfDjP&#10;4J+DHw50NPC3wh+C/hfRxeWtjZaexjtBPHvihiaWVI7iZ5CWd33MHYtXiP7Kn7MfxK/aE1XRtT0P&#10;4d3MFv4w137VoKNcPfeNfGKi5EYELOGhtLJHdEe+S1ZpZl8i1juHEhi5b9hb9jDxH+1d4o8Pavr2&#10;jzXdje+KZvs63jGS88YXVspu0srCCQiNktoYmurq4naKxsrVZLq9njiQR3H6afGD9rG5OrWn7A3/&#10;AATntLDxb488STv4D+K37QvgW9W3n8WywxTjUfDng3Wm2rY6FZwJeJf+JZTE720F40YtoHkRuzAY&#10;SllkIqonOvUbsu7vdyk+ivu38jPHYyeYzdLCWp4ailzSd7RT2UV1k+iV29+59P8Ah/xL4a/Zd8d6&#10;T8HP2VoNL/a+/wCCk/ja6vNM8O+LTqMeq/Bj9ma5kiWPVo/CP2h5bSJdMihk+3+Jbp9saxzM8sSA&#10;IPkX44/t1+Ff2JNR8caP8B/H0X7Uv/BQP4gpLo/xp/bpur+bxRZ/D6O5ilhu/DHwhnnAlsbaRnlS&#10;619BFc6gHM0f2dTZCy+F/jb+0/4f/Zm8G69+x1+xtrUnjT4ifEe0tvCX7Tf7RfhW0Nzf/GCOORpD&#10;4H8GeZGJbDwfbOu3y4NkmsvEZ7omA+RJ+ZfiPxjo/wANLFfDWi3UWv8AxM1aeWbxl4vkYXeneFd+&#10;RLYWTNk3F4d22a8JCxFSke4kuvJXni8wTnCf7t3TktHLvGmvsU+8/il9xthqGDy9ezrQvN2cYS1S&#10;slapXf2pveNLWEeqbP1Q8A/EvwonwB8Y/Fr4yPovx6/aN+G3xLt9W8HR6mXvPDvw0tfEWia3ezPr&#10;jyo0eoW9rL4PR47GP5GlvU3OEjeKT8ufHXxK+L/7U3xB1Px18SPHOreNNTZHudT8VeJr+U2Ph2yi&#10;2IttaQnMdpboqxpHBCAuFUBGblvYf2fy037I/wC394vuhPPpSWvw8+H2jySkK1xq3iSfxhZpN8xB&#10;zDYxapLtU5wuWB4FSfso/Dqy+I2uaXaeI/Efh7wb4G8F6nDrOsaZqiyC01tIA9zNeaikeHnSJYlC&#10;QFl3yXCCMAedJH008BRhKFOcV+7jFRX2Yp6/fb5sdTG1ZSryg23Uk1J7zk1Zb9n8krHoXwn/AGV/&#10;Ges6DZXsEtn4J8Na9YnxTqvivxHP/Zt3DoMeGl1nUWY4srMsrG2tfmmudgIVvlNfs38C/wBnb4ff&#10;AbwhefGC7sG0t/DXw2g+IVhB4idtKv8AT9G1K4it9Lv9akyJbe51wSi/jg+WSHTLeKNSZrrbBr/B&#10;D4N6V8fr2+8b+K9L1jT/ANnjRbuK50DT/Fd8ujRfFh9N23E+r6/8u1NGtYoEJsoh+9jmghXMZy/y&#10;j/wVw/atlt4dB/Zr8F6lqt7rHja8tfjX8YtPWA2+qavqtxbyf8Ifp1+nzSf6Dpl3/aPkPtCTa3bA&#10;xK9mktaV8RUp0ZRoxtVlpFddVpf5avtax50MNDFVkqsv3UPek9o2TV0u+vu36tq21z84P2p/2kfE&#10;Xx++LOoTaZqV5dWNnG/h7wnaNZHTbLRLApteSOyjIjt97biYEwVjKR5Lly3qH7Kv7B3jX9pPV5kk&#10;txovw38LINZ8U+KNbL2XhvTo4smbVNZv3AhG3Y4ht9zLHs5EjbY39H/Yo/YL1rxnpUnxg+NGo2nw&#10;t+COg3qyeM/iFrtu0VkZWAnbRtKjUF9Q1JkkVnghJ8iOZHneISQLJ9U/HH9ouf8AaJ0af4B/sz69&#10;pn7OX7J/wk1u00S/1vxA39nX3jfU2hkuda8S+Jp4/wB20unabbSzppscZMDTWMCAyzOsOacctp/V&#10;6bjLEpczv8Mdvek+i10S1exvKVTNKnt0nDCp8t4rV32jBdZPr0ST1R9r/CHxR8I/hf4c8S/Ar9j2&#10;W0vhogtL74y/HfXLOez0jT2bbBbSzycTXEjxxKbWwQiZkihZmt4oxE/56/tfft/+E/hvca/8I/2a&#10;beTX/GlxGdK+IHxs1u3in1++bYPOsNMhhXyrC0cSSZtbHYCAkcjS7Aw+d/H37SNg+jQ/s7/ssWHi&#10;WPwbayiw8PaxcShPGHjvVJww1PxZqKqSZLycqFhWX9xZQyj5mKh68Gl+Fvw6+Guq6V4buvFtl458&#10;ZahbHUvEFl4dKQaPoswjMj2r6xOJA6RbXe7ulUeXGHw29468X2NTF4j22NqNxk1d7Sn1tb7MF2Vm&#10;+p7PtKGXUHhsBRSktovVQu95P7U380tbI5z4X6H4j8bXNn4u8UtrHjaeHW5tQ8QeEmu5tPH2S3Me&#10;JdX1dl8qFJy8arbw4PlhwMEqtf0IfCf4eeNPih8KvAtp8ffidF8B/gHoViuneGvht8F9Cisdf8Yx&#10;TebJP52q3kwc3V7I8aLcBI4lgDSARwpH53wj+y/eSfFW3XUIfD41/wCFHwlu7XTdH0z7BJoOg/Eb&#10;xbeo72F9q8wiAi0zT4TJcWlgvmXU3mx3Mu6W6Ei8b+21+0z8SPD19psmr6za6RpWoWc2neGPDelO&#10;9pK8MBhS7kQqfMtY3dvIDxP9onaOY+YqjYno4yboU4wo0tbrlT2Xnbq766nFhZVMRiHHEVbb8zjv&#10;6J68vm1bax9C/Gf4g/BjSLm+k8O+DJPh78IPhtpCeF9X+InxN8c3vjXxN421BZpQYrDREMSg3Cwx&#10;R2+nNOrlI5bm5iiB223wT4R/4KD+OPhPBeQfAHw/oPw71G/kjXS/ihrugWnjD4w2DYgQ/wBgTXNs&#10;8WnTS+SN0tpGlyQY188lBu+KPiB8RfG3xQvtP1XxleRLBbgp4U8G6Ja/YNM0eCQKgSy0yM7Yo9sK&#10;bpZTvmb95LJLIXkP3V+y9+wT44+IkP8Awm/jPxFJ8IvC9rYnVW8QyWct34v2Ll1SydE3WxkSMutw&#10;nzBImZQqskhyo5fJ3rYido31d9XfV3t+S2HVzOGFiqGHgpt7KzlZb7Ps95Mi0/xnerqN14o+Nniz&#10;4g/EX4j+JLr7bbfCHQvGt3c+LdeuZ1aQTeOfFMn2m5gBeNd2lWh+0v8AaH8y5tBHsk+6fBP7I37T&#10;vxm0+PxR8QdYT4CfDm0sp9X0PwToenaf4flkKRMUkgs7p4grlpIibqZ5pxGZN7/K1fpJ/wAE/P2b&#10;f2f/AAtrV74F+BWhal8VvibeWLw6j8RtO8GDxXceEZ288yyW2rMiW0XloGElwJtrNO4jjuHjikMn&#10;7Vn7Sv7PPhfxprvwm8F6nf8A7SX7SHhrSLm08b+DfhTY6h4j8G/CVBHcG6uvF2s2jLZ+e9ybhfJl&#10;vXS2TeHlUJHC3esJgaGDUkuZuyirPV+S3frI8+eZZlicX9X+CKtd3V7b2bvyxXktfVn5kePPD3wj&#10;8Mx6X8OfD114g8deLLiRft0Xgi2bxJa6TGYwbq81LWisEM86xyyMyWjNGJEKebCoyuJFrMWvazqX&#10;w3/Zv+BXhn4j6xd2P9m6zrVxcN8T/H/iK+lCE/Y7KW1t/D2luZ53gjYT6te/uYZPtVu+Y6+v/hd+&#10;yT4k+MXg9fiR4shh+GXwh8RXEdvba3aTXPjnxh8WpzM1xead4N0S1ktLbUYPnNv9rv5rjTIfMjJe&#10;cwtHHq/Eb9ov4Lfs7eHdQ8AfCnwRp8viLTSNJl0jQbyLxN4lSJoUSR9d1q1Nu2oTyqQG0uza202M&#10;BhIbgDNSp0sC+TF6zkr8kd/JPsv6uKjTxOYTbwyvGGjm37vZvV6vbyNvwR+xx+zj+zh4K8D/ABq+&#10;Lv2B/ENrLbSQSaxpNjqlrZ+INSFqI9CiluZUgubu0NwGkt7Nrhylnny8ZVovGN5e+Hm/tjTfhNZ6&#10;f4u8QPfanoHxH+OniB20uydkmvLU2ehWcFxqMrYlRfOksbBJcrteNWIT4p8T/GPWbPWbL4p/GK/t&#10;PhLexaGqadr3xCguPiV8cZLG4FzJ9n8MaNvisvD9o4vJkgh0q3tonKeZJLNIJGbx2T9ov4v+NIRp&#10;vwz8N3WiWurRKLHW/jB4ottAk16WSPBuIrF4lBlkSNf9RFdymRQoG/YtVUrYnGVFzxvpoo7RXm/z&#10;1OuOX4TBQlyVNn70pO/Np0677H1L4M+LX7YPw58T3drafGH4oaxothciC7+GS+K9K+FXwL1+1vJz&#10;JL/bGn31rrF5LEx3x+WxjmH3t6DO7t/iH4a/Yn13UrTxB44+HX7P3gv4n+KnIvrm88O+Ifj14H0u&#10;4uJnxJFoeqXS6fbzKR+8nsrVrdPLBhiTnPxu3gyPwjp8V/8AFv44C2uNQea51fw98LfA+ieEtcmt&#10;pEtGSP8A4TvxD9onRpDE6LDa6ChjUA/aB5jxV5N438a/s1eD9T0nSvh3oUOr69ZXN3FHqeu+I9Y+&#10;NXirWRLGqL5suosunSCPzZGVdNsreNpcZjwvy80cU6TVDCSSl2inK9vN6eW/Qp4OWLar4qm5Rb3l&#10;aHbW+/TsffWq/CzVvhTLo+tPe6RoXh69mTUdA8UeBf2eLHxp8LZIEjcRt5VjNb2bSGKR8w3rK6sr&#10;KEO0sJtN+POn6ffLd+Gf2k/2driaINcXMXxB/ZA0QX8ThcRH7Ld6Rqlqny5O1pdqgjAjK5Pyt4S+&#10;I37Tvgn+1db1vwN40sfCPiGwtZ4/C/xI05fC2jeJbRmee1ltvDscSgxyIkrLLZw7mKq0TiRVJ9nn&#10;8OaTqXhTTviH4J+EGrSR+HZYdR8X+Ebz4RX3ibxF4HkQh1lsTqMFrJcaejEkyuwWNVZZBLsDyOWJ&#10;xM2p14ONunf8TOOHwkISVCrGcVZdmtb6q2q80eqr8SvG/wAYvDt5pMPij9i34yKh2T+EtT/Yv+C+&#10;tRXQlliEL7Bp9tqHkyrJhp1iZUYhi4B3L8WfFP4D6DZeNYdA+L37IP7EvgPX9Yul0vRL74StN8NY&#10;/Ed1JgIlp/wjPiH7B5o85eCq5OQyNsZR9H3fx/8A2RdUs9PX9pXwxqPiO/j1q61O28KzeBfhj4D8&#10;RPNfvcTXEsNxP4qe/kM8hVgj2gijXzRGBsCHoNN/ak/4J5eFdasNV8DfD/8Aa38GX+nXsV9pdnF+&#10;2tocHhvT3haOS2urDQpvC2pWds6NHHIrRQo0bRhlcsAa6frWFpOKxNZw0WjUn27Jry8jkeWYiqpf&#10;UcO6jfZwS69bqSPmb/hin9prwP8AZF8M/szftSp4P1jSprvR9CjEfxP+HXjG2jVYrhLKyfOoSWzC&#10;QRMsCShwwGWYso63wt4z1z4XFPAfjjwTafB2JIj9u+Fmj/s1Xfwm8WLKWilFq0mvWsOoRTFoBIzW&#10;1nOj+USJSBz9J6541/4JtfFPxfaePNbuf2wfg34wmi8nxJr/AIA/az0y/k8Vz4a5XUdRivvAs6Xd&#10;yC02XZYxjJCZVQvumveK/hL4l06Sz8J/tZ+H/iN4XvtIitNHuvj94n8GeN/EsFrHLJMlslwYbGUz&#10;RSyZnW009XHnMypiVQeStVwFSq40pxtLW6bTXqmkn8jrpUs8w1O+Jpysr6NJrps4yb220Wp8V6X8&#10;RfC2u+J9MHizUdVk8EXutxSapp+mePBN47tbU3BWWN7y90VbeK48tACfs0sQcg7cNtHsejfCD/gn&#10;14v8RJqGqXH/AAUnsm0nUGTXJfgN8QPAnxGbw+6Kgkhksr7wRZm4LYIAtBOHChUc543dN8B63oN5&#10;c65olx8LvGWnX9zFdtbeFPFUIjme3KypIbXVYoCjK8UbgRGZDuA7EHkvjD4a/a18Uav4sttA+OPx&#10;D+EmrePG0+y8deEfiFPffBnTNch04XK6Za3UmkWtjZanaW66heyRR31o5BmLCRslqdCi8NGUsNaW&#10;qfR/P9fvFOrTxE1QxcXGL7OSe+qVvLbzZ9Lax+yx/wAE39K8PW+tfFS8/bQ8HeFL/wA7UNN1j9qb&#10;9lPR9H8SNArENtn8M3+j6vK25XZtsbbgSTHgivmTx1+zT/wSj+KWr6NefB/9sv4C/BuysoYbW/8A&#10;Dem/steOvgxqmutACjPqPiqe5vblJpXcGS5mjuTkkINiLGvjvw6/Ya8efFDyda+Nn7QXhG1VY5ri&#10;80Hwhc2nxN+M968TzoIreDU9Q0jR7eSZoUeNZb5mENzHKYXP7p+W8ZfCrU/hZq+q2XhT/gm3+0n8&#10;V4o5ETT/AIh/HTxBc+PPD/lxx4muH0fwBPDabCwd0dr+ZVj2qwJBc7LF5tUmoOVO1/hUbtrz1SMa&#10;mW5PCreKrRS0cnNJdNNYtvzPVfFP7Dnxv0OOa9/Z8+NPwW+IngWOFJTong74/wBl48jKQxgLIdI1&#10;qVtWuJZdhO37EhQKAoCbQOC8G+G/2ifAd/cRJp3w1HiG6ieS+gstauPhDrBg8vmCVlkgtXDxkxtF&#10;PbvG6/KPlZg3zLrPxI+J9lqEmh+NNN+CnwKuJLfbB4dsfhFp3h3xVOqoUjR9QNnc60MBsEXuohSY&#10;zuwVOOS134zaTaWd14evtK+Inj2z0UTWN/aWvxGt9O8P6u7ZYzW9vc2dyXhTLny4zF5hyNy7tw56&#10;8sTUcL00prqm11ve1zpw0cNGm2q8nDXRpP0V2lf+mb/xX/ZV8CeMr2bxBB8I/D/hXxzc3ct1qdr4&#10;N+JFh4Th8QTSMWkkt7jT7p7NXd9xZ1t40yq7gxBr47v7z4yfs/avJe6F4Q+LunadYtHJc6d47WDx&#10;jpESMvA/ta1SL5MBQpdcMnOeFJ7x7L4dXN5Zwz6X4w0uPV7JLl9XubC406O3k48yNbKeQRuw6B4w&#10;oYgDnIIuaj4H8SaT4eutf+GXxhu9R8GLOX1nwfJrWoyLcQoG3XN3phicW6oDjkzKoPDENgS5+2j7&#10;LHxUuiT0d7dH8kJ0vq8lLLpOK18479Vfb0On8L/tSfDv43RyeF/iLoml6Pe3dubYx3SEuXKhW+z3&#10;ZJaNickZKngDJOBU2leHfif+zpqzeN/hz8QNV8TfDm9nd/EvhLVNKHiCwit/lx88WZiFVtolIJQq&#10;pIPQ/G+oWHhLXpmv0kt7Sdbku9/Zot5JHtblmQbVkA+8Cm0jPY4A9L8IfGb4h/Bu2srrV5LTxj8N&#10;tUzHFf2ji9gs87laF8ljG43vmKbkjYQ2MV5dbLaihJZd79N/FCWr+WzuevSx9HmhUxqVKvqlOHwt&#10;32l5PzP1h+HvxQ8MfFLRYNf8M6pY3KBFbVNOhvBLd6TKwAYEdSm445GRjkDAFem4kHm+arAtHlN+&#10;SzkgnIPGQd2c/WvyZsnslvpfjr+zheW4vihuPHnw5iLC21i3dt90UtyQyygFn2qcjg7gR8v6O/DT&#10;4keHPih4T0zxR4cvZJ4LtTFfWsgLXOnXKBo5rWdcDa6OjDnBxg4GcV+f5plyw0HiKS9xv7nfZo+x&#10;wGO9rN0prWNm13T6p9vx7nfyD5l2jAaPcpcYK8kE7fcDJz/eGPanIz7dyszZk8vYFwACFIOM/Mct&#10;jt09OauNuACMPm27H7BSRxjsc4PQAcmq0q5kCSriMYJx0wByQPYhvy/CvCT5rndyykuaL1f4GWSF&#10;DBGyELfJGQFBXJJUAcAg4wTjH41SndDHGrly0ak7WkLZPUknJ45A7jpWlMGz5cJ525J284AyCSee&#10;B69MHiqE8JIZMOsmVITysMCw+RdpAOSSBgjOR+FWpe+oJ6r8gqQaTcdtDKkViQgQFicurDAUs21Q&#10;SSMZwoznGc/7VYt383mOC0kmVPzod8bAOGGMk9OMeh5xk42ptygbQViDBmYZYBSkh3K3IOTsAx9f&#10;U1kzEyKyoHAjVjJgY4LNkHAyOWIHu3XJybj8N3v/AF+YtYpxX9LQxZ12LNvdgzAj7x+UqrMRjsSD&#10;kA9fLxztNY0u0xkfKh5IOG+YEjJGRyo2gAcggnk4wNi5IkdE3bX27CWDZdW4ZM47Ej8jWPLBIN2H&#10;Oxhl2bCgHO1QmfUFB9cnjpWqXLzPv+ewr89RQtb9V1MqcjdGNm8KdhKOCu0EBRycAZ74/u8AZrMY&#10;mI4TzCyS5V9wZJDn5SMc8EjHsT+OlIRHkM37yQFI1IXLn7qjn69R1wOKzH+ZFdWkaVV3BjLxwFYK&#10;oPI/1apjgfIBjHW1GTd3toROEYyvfXUyZSGLYVS5ImOwFgqFT+h4PTv165pzAMwcneD1VV8rKBQW&#10;bPIPfnPG3PbjRMeJHwm9EIIdwduMYU8c8nv2/IGk5D5YCJimZMlVMxAZyoLevzZwc8e2KTklNRlq&#10;kjBJz91Ld7+a/wAjNZyAxZGZSGVFVg+7yyF4BPOcgDJ60zEgZlOMByWK4JwC25QRgZB2c9wPU5qy&#10;0bLJvYTo/l7V8xtjMmVIz0JICvnOT83PQ5hZvNwBEI8hwkOGClt7AA8/3Sucn5sHrzhpxcvdLpRm&#10;1b7V/wAdLlUpGNuA0IRQzoG8zadzYxtPQr5Z65+Y5HWpFCs7Nl2WTG9CfmxyM49AcYIPYjvT5PL6&#10;FpFDkRyfIc7SfnIG7+EHIXuy4OM7gyOZUGdrCSRuQ+egAxleQT05GO/enrZ276GcueNTlnbUl+dW&#10;UKAih2fcBjd1Bz+P45XqatRzBJNwkORMrIQCGiI4zkDJ5zyOAADjjNQE5CybmUlsMips4xnOM/Xn&#10;1IP0iZpUPndAx3RkQ5R2+UEK3fHPB7EEgbquDb99Lyf4FJuNqkNunp/SNFWZTlV+ViN2QxVVIz0H&#10;GSD+nbinl2Zl2MVUrtjdWG4k7z15A5k3HoflXArP84zLgeblSiqDlxIVVI1bHr8pPbHbHGZot0pJ&#10;Zhgu/LgEqQXOYlBB4XaegPDDoMmOWXLe/vMhz52oxff79DR3tsQxhFCSsSsTYzuYkgZz3xgDjAFT&#10;ieQRANFK7ldxKnY27apTPGD275x/vc5Qn3OrSl2h+0AOEc52hBk5IIBLAjnoAx5wATcEIcu/LYL4&#10;Zt545HbgbFAHYdsc6NQi1DroXyx5VfVfibInAjJDcDKMfKDAsQwbseu5vlHJDcdiXtcySsGRTMHL&#10;SlWG4zHdhiSOeqtnr905rHjZiioWOCSWaN9oGF+bgDkHGM8dBjNWB5ke5EwFDjADbmADhCSQM/dy&#10;AucZB96lXc1G+jJTlK1S1lt5moJrYKwdC4GBmPleN7hsnnJ2kKvJ6+lP3pIhZlIDAxLIjOsnGQr5&#10;ByDnOMY6d81nxtvJLBJGf50KoFCNnJ4HByB06cmp1Mip5QiO0xgKI1AAyRlSMnjkjjng8dayqJq6&#10;hv1NEopNrb+v+HNFpQwbdGdzM0qEFUReRkKBgdMrj0b80MmXfYNodPM2DO8gMDn1J5QHGehOMZww&#10;kkeWUcmMeWAF3FMZJDexOQMnrgZp6ryyAICjB2nBG2XcE247fwknsQRwKcJc37tK0tC01J8y2Wup&#10;HJhlBdyS6MY44mI3HODjpgrgr1OSMVBcEvIpDAqWxulONxIBOedvb2BCgnGWNTbpUkYfKCImMJJJ&#10;UgttGfzB4Gc5IyATUcxUFlbeoKsyKxLPIVAB5z1+YZ69Rxiqm5OXKn1Mubnc+V7WX/DehVlXkMck&#10;SMGlOdyHAyAcYwBjocd8GqewEKcqGZC67sBgDnO3IwcZwc5zgAVfZN6KzrKmGHlKGKIr4I3lRwQd&#10;+enHOPY3bGjVom6h3UtnKbvujjBzjv8ApmqnGaStuKLhUjrsuvz/AFKqpgoERkLuyxDAGCFJLAgZ&#10;ydpOBk7j1ycUuxnRgd4MWCu0b8Asse4nouCVBPTn3GZGDtDF5jO2WXoGxlgNw98HjIwTtHHpKkRd&#10;lYLvCyBBDghn6ljnj0Ax15o5pcnv9DZVr3pvf9GM2CNXDZbNupBCtiMnG8nOOnzdeuz3qxHGzYij&#10;f+6CAMKBkIOM4ODheAc9cjHLEiWQBQHYGIgDbuVvlDOeOxwzEnC4GOvW4iFUUiFmkZcIyooXbuZA&#10;w/xPH4CklUTaj1X/AADOU4upb00J4URiFOPOJPys+6MqDx647n5sdB64OlEW+ZcsYt37xiP3YX5Q&#10;D065bBz+fQmpblWZGTLPgSFwhV+mcEA8YA69c5yOK0hGQgj/AHjODuXcmxJSSccjPACcY6Ddgcc5&#10;pSsuUuEmleTu+nz6MmRJTKhVlbYSign5vm+RueO7gE9vbvprjcyojK6qpRAApmGF4XgbsGRfYkiq&#10;QQqyKFfKrIGbGSpCuc4JwM/IBj1GT3N4xMFCsP3hKl024KkJ8wHHHOR079scxyqKUm9RVHOEItrR&#10;li3VREWVuFZfl8w5TBLHK8scdfun73vmtRRJl44tu9CRLwC5G4k4PO4HKdD/AHj0yRSVAVV1YlGA&#10;fytpVuRlQT7Eg8+/HStEGVTJH5jMGB27esjYEQJOMAjGcZOdgGeRV396z2Kim5OEN9NfUvRL8zOS&#10;xy2FAOSwUHPXnt6DjBrSiw0IiARQigRAfKiff5K5ySMkfQH2IoQBQYti4LESAtnCja4HB9Tg9c9e&#10;tXELwEBQX2QgtuQjbl24xjI+beOMHjBqbuUWovXp8h8icby2dzQYfcI35XlwkhXzmHTOMcZUHDZ4&#10;HfANSL5jYUbRg/KJiWDYOeQME5Gc4I+914qrLJF5cTKWRhIwEhj3c8gqckAAgHDDoGJwcYMinzHD&#10;7ZWBkUoATtcnGCO4yQeP9ojOeiWjTlv+pOsU77NaErEARqEZdoYGPzCC4zlAD/Pt7dqjmlRAESMi&#10;UbmUMxy4HLZbOcjI2568dOaYTLgkyEsCArFQr8Hnn0I9PToOM15mjBKurO0qEsRl0BIUEhTkcY74&#10;/GlTSUtHrv8AM6Kcoxh71+n9L1Iz8ucogkYkqeF4LOVXJ6EbnORjOeRzVd5dkEagvwAo4LhudxAO&#10;RnndznGSRzg09rgoAwPB+8qkGR94HPrkY6cE7+cnJqgZm80qV2ygLKoIKhAQCe3B6fjntVt81S0l&#10;q7P7v+HMeZOLlfe2nz1CRnBBZRID8yiNiWVBgEHPbA3n0yAPSqk8xWRUVlAkkAb5lfYAyqPl+8OC&#10;56hTsxzwCyWYlneNj5TsQpjRfKJI5JwefmUjrgenXOPcyM0jK7Mq7iCUZvMBJxkN1Ayeox1OT1rS&#10;LXu3WqvcmpeV4RXRFmeaYq771Z4Y/lLBlXBUEbjycYPY9Bx61lXE8LSltqOQvMm0cIcAkEY49evC&#10;89yI5L2SLzGRzGzKdxKiPeMqwz/eGVU+h2j2rGkYMxWYghAsR/jXG4kkA4IBViQcHntyTWsFGTXY&#10;zqzkptNXv+e5ZkfPmqcI6qdxGG2cEnBGAxVuTnugHas26nZ2yVMUqqC7MpYKQxAjwfmxlmYBc5JH&#10;U5pDIy4VwziPkSbzO5DYOQTyGLMSTk8s2SOtVWLsZQd6/PvCyksXG6NgWz82cAEk9yvXbk0k01ys&#10;zTmoq6unp9z7+o95WZ1VTgEYZS+VYqQWUk9QcqSBk4YVVmYSbZQJi5AkMgCqygqPX0+vHpkcgIEk&#10;yqEZzmIBmAJxuJAAGc5LDk44PB4qELsLZ8xCuCjE7HOMkhh0P8ODkY9yc1UVul/X9XDmcbSXpYF3&#10;KULDzAY9gGCPIBbbkkf7uPm67h14wghJIBWNSGBdUKggIxYAKxxng8ceg7CnRxPIP3p3RlCz7o+F&#10;5AX8B064qQwsrOsuSztImcFWhIJAw2cgk7dxHI2nHvnDmu05E3TbnT2/pfmVzHk74xuURkFXBjIP&#10;y54ySAcevX05qWRZI9rMAuBtbHz7iCSTu7AKUHXHB4NTJbvlIhuaViyFVQyzDPGFGOhI2/UAYqUQ&#10;+Z80ZLARrI2HysYOFx09cjIBA4p03yy17tMcYXdo9/0KqW0oTKKY8puZSu2RQQzcf98cck9QPSra&#10;xkvEFUuVVCWEhKM2FkAODjjg49+CeTU6W8ilBGjOdz7RgOzkkEknHPC56jkDHWraxuWVkRpC37qF&#10;1YuW2n5T6nkkDr9w+lOTlJNx2/yNHDTkm7Pp8tylGjMsartljUMqqG5UEAjrkc7VwBxz19bCREOr&#10;7G+aRSMsQqZwBl9w6k4Bzhg3Q9am8uQgMpKM6nJhUohwW2lj0zgggH3z0zV0W5kbdsjVSwG1VyWI&#10;2NxwSR0I3Djb+FaW5rOb0/qxnKcZuSX9dyrBG5QqFZiq7zg4wB19z0HqP51fSDzJCxWQHcxj+TYr&#10;fdKhXJAwFOcnPOO3NXIkddpQF975KMAJGGchFCn16Dk4Ug88lTGTuQl9ygxxtJnc27DHIAAHK5AP&#10;pgHpnOm707Nbf1+gUo3k29LX/wCAU1gKKqyKd6qA2EwM/Tt9O1FbPknna0uMno8aA+pwSCPyorB0&#10;eZ81394OnO/xL8C6N27YADH5hjyVLBgDkZwf9pun90UMWUphEVsKwTg4IK4Uce2PwOR1NWgEZ2ia&#10;cSld6FvvENglmBAwTg8HJwUGRzgxRE70lG0rGd212G07mjbDdtvHToA7Z9uSWmj/AKWhvKDjJ9L/&#10;AOevoMDAKiRlSy/LhBlh1UHJPHXP4VY2ESbvNQiRTDJKyFZFVQ5Py467R0554BNQxOqgtIAd6Mcu&#10;d7KPlUknGeNvJPdj9ae4Jdd+JQUcSgKG24J3Y/Aj1yV9SaFCLty7o1jJaVGtFoSFmba7yEb0LMFJ&#10;jIA2Da3QYJ5HB7jPQUhxEizrGuQxfHmsMAS7gGyMkkKvTIwW74NIrljtPlxuQXYgAIQSSCv4nPX+&#10;ZokbEbI4UIHQYUj5csM4HYDfg54Gc9qqcdLpkyd4KclbR/InjCL/AKsEwncrBG2gMAshBb72fmXg&#10;ZwT9TUTnCgEE4YK0avwCNvJH0GRn++PrTkKh4lkCc5ICsv3Rl3J454z6+w4xS+YXmJljx++wU+VC&#10;jY27RtBwPl5GccnBpxpqyvt2/wAioqcaXNHWSen4ETr5e4MUM4/1ZQeaVLAg4PAPBZc55UnqDUqu&#10;u1cJEWZiu7HzccHGDx0xyOcH6VCUVZA4KOsQV927cysdwyB35B6AnBbPbKB0SSMh3eQNll5OOAdx&#10;9cDGOo5IwcUSSfNbcpJ06isvdXfzsTTOrlnXyjG0TSNsYKQqI/TAPQgnA/u47gU5Gy7jcVMTuiJ9&#10;6Mctj27AcY7Z61F8zH5Au8KZEVMZcqCxwTjk46E4OQKlQMgLLub7wTI53Im5QFPOANwOe3pwKXKo&#10;rkb1/wCCZN1FUfRJv7mMmYZUjbGV3EFQS3AdAMjAwxABJ7ZGDip1dpAFHGHIVg4EcZxxx1HzA544&#10;2j3pHcLiXYfKYMpXsOTgdMjHGBkk9Sc4NO2SCNZDkuHLs7ktJIrbgxzyTnlTz0ODxxUxtGm+buXd&#10;uTmvv+RFECFj5CbgHfs5JUg5B6/ebuPXrUkmECqQZIy6/u0G5kYbWHOec55AP93uKUSOyRiJm3uC&#10;uQWZWUMCxPXnHPt+tOjjXcpYoNrCSPeFVDgBeQT1IJGSe/vmlfXntt2/P7x07fA3ppr8/wBRgwxU&#10;SIAWUhkdAF2kOCeTk8OOMD7gP1URk4kZQgjbdwxxIp3gAHoR15oDl9rtxHtBESchMAZwDgjO7qeh&#10;UdOpsALjcxULtAlVWKhgSdoIzxz+PJo0bXaxVldxh3/TURJNqKqoGQZQxmUlTtwMDj+7sGegx+Sr&#10;uzEzM/lbFP3yDgxqSSeO4bgDjaRScZYDeVICKgc72IDbMgDAAZy3vkA5FL5gBcgEZYsWSTJlxu3s&#10;TjcSQq4xzweDkCmm7tLe4Sm5cqqPS453KxkkEMyKSu0hosEE7c+mccUsOFRnVS4difKbjaNo29Tn&#10;oD9cCnOD5iFm83OUZd56OnXGMZGzaf8AeGONxpURcHaxG2QqTIoVQQq85xzwAOc8D6Go5ly8vdgn&#10;zRkk/eWxKinYqjdtVQu08YXpg+vGBzz/ADp7QhjIdsgXLGPtw5AbBx23EYwOc8dMQg43YwsYOQFU&#10;RqSScndjgEE9B0p7zk5CMWTgeWzEDO4cg+vzbu/TjJ4OsrRd16fIIcnK25bkkgBjwHxhT5mAAZGK&#10;gjIPTGDnkc98U9WaQLwkiPGCPkMbnAOPnB+UdO/H1qKGQDKsWJ81uWQM2QAMsf4R8xJwOvpnNOdm&#10;RW/eOjGNnkOAB/CUJPcYDZBA6ipkraL+riajzRnF3/r/ADJog6yuTkLFjtxgnnaM8dCfmx19jiEZ&#10;JLq4Gxt8bKTuGW3A4AyMcAY/u5zzgGQhLMWb94CznGXIDcN3Iyew+nU087MOsbspBEibcbQCoBxx&#10;6k8jjKkdjUxbdSV/+B0QciklfdfqL8vlRmNlVVi2yGMBlyGdDtPYhlPqenWlVSrrGHACnDBhscg8&#10;AA88YA64x744VGMSKMgEgJknGDx8pPuf604Mpfy1TmNDkhRHli3G4cZyFB5/DgkBSjaDjt/Wo1Kp&#10;KlzbPohYVKCQyADe2G8ttqHPyk8npg/ln2p5YMu0KAgQB85JOMjPX1Vumfumoy7jBYMTuZcJyhwP&#10;f8xj/wDWFWJIaR1YKXjQEEAkk46gY7DPr2qUrzTbutjSzjBKHz/r5FkSIW2BkYnDIg4HRsZ9Tj69&#10;PfFMJ8352YhZH6q/mAg7Pu4P91TwPXHY01YtgZmBdmY5w3IJbll4z1Azuz1+poRdgTAMkbPiMmQr&#10;5fBwMgcdMg8jP5VrC3Mmt1Yzk5Rd4fDv37WBRKNyl9rMVDEnLEnsmSQucMuME59Dg1KitGFaR2c+&#10;Vn/VkHqBnJHt2JGAOafucuCGkRUbG9fkLdRx34x25OM59Y33/MjB3VvmXaACg3A8j2Af9OKwcvaN&#10;R6bm0qcakLrf/gDiGbDAB3ZG2l2Jy3+7nOec9Pr6iJELnaSdu1TkIAeeQfQ8rJgHOM8DpRIHyFyd&#10;qnaWyN+CPT36/nUv7xwoXzMoMqC4QnqByewJBPrvq7tJp7amWkmlJafkCyp8iLueNBl2WMxsCDkk&#10;579vwoeMqnzKxWWYMgOXOM56ZGAMdu5PHWiFmTCrIp2k5RXXDAdCD35Pr65piszDzONsbZGZOm7e&#10;wx1AON5HHp9KuKjp8ioyfMpa/wDA8yeJSGDIA7EbB8wK5JxgA5PHf6UzbljJDlSYwCAdmdpHDDPJ&#10;yB2/lT3ZskFy27ayOi7Scdj1wD09aWV8M0Q3shb5FDFHxlQCT07EnA/hPtUpycG4oHBuV1vt+Vgy&#10;Iwrysqh2KNgsu4kNgMPr1Pr1qV1Mm0q7HLAMqqQOSQuCOCee3vx6x3E0UAkZ8oEYuZHcuqA5JOTk&#10;nG44zxwffGI2v6JbxwsLoXCzkNH9lje5JO3KsfLUnaeRk4GR60pNK1SS10WnoN3k77X/AKRevtRt&#10;NPtpb3VJWis7UebdywQmYqhZcMFXkn5ugPOQO9eav8ZvDdxLMmkeG/ifrlspRvtem/DbU47OBQxD&#10;kzXKwg5BUjOORtGOTU3i/wASWsNlZS3lnftYQalFdXE1ysVnaIqgHezSOM52jGwFslQoJrwXxV+1&#10;j4B0q6m0TRU1jUdXceRaWeh6YurXl07HaBFArGViCRyUCAlSSfun0cNha+JvKnTcnt5K1tfzOOri&#10;HhU3UcYpLW736K34neeOf2hNA0DTRaf8I98TrLXdaP2fRLW++Ht0jXk5PlKkQSRyzZBwEB5AHU8e&#10;C23xh+F+i2sOi+J9c8ReFLdXe7k0nXPA2qaO+qXMhAaed/JZihKBicEknAAABPmdyvxI+LOqajqW&#10;s6fD4Q0bSb1Y55viZ4wu9MuVleNiqW+l6d5cgKxlVKNMdhwrYOUG5pei/CDwVbHUfGlz4HudSlgN&#10;xcaZ4T8CXet6jGoLgNc6nqs9y8Z+QAxx3HO9hu6KPqsNk2XYalfFVP3k9bRs7Poj5/GZrjK2KvhK&#10;V4JWU9Yrzf6aeZ71pPxu+BelRRy2nxb8JO9ykSwwW2nX0GsgYLJGJbiBYYwrP8qR7j8pJY5XDPF/&#10;7Sfwu8ExafNJ4V8XeJrjUH8zTF8m1uJLtWYbpEklumkG/ZvVAvp8qBhXlXhbxBBdWt54q+Gnw88K&#10;eHrTVLpo9I8Z/FWy0JIrC1WQo88a3MREiliwiEMRA2lmOR8/zH8TvibL4Nmu7SHxXpHi7Xrm4km1&#10;WLSLW0utKMmTua31ARI7bueY2VeeVByK66GQ5fiqiozlNzVtOvTTbTzucUs5zGjRlOFGHI+t2163&#10;063tbXQ9f+Iv7aPhvWtF1Cx8H+HNR0bU13RNJrU1pPZW5+46y2cIZQ3Unc7kcHhsgfm9rukWuvXl&#10;/rd14qstY1i7Z7o20qXMVw7E/NtVo92BzzgAdyBk10/iD4t634w1i1m8V22myadDGy/YodOht5Ix&#10;sKoC6IrPtJXG8nAHGBXpejfGD7Bpz6ZpNl9n0uWIJPc3P2PTYoiRtJYeU/m8L0f723k19hluV08m&#10;fPh6Tc5b31su3/DHyuPzmrnkVh684qnF3ajdJt6/PfqeQeEPhzc+IhLdW0VnLJaRiWVDqMcO0DJI&#10;VHIZ2wOAisTg98Z0b7TpvB+oR2d7NpMeq6bMssVnL9usbu0lhk4JL28bB0Zch4t67l4fjn1Sw134&#10;jXdzaapoB8MiGRXZI5LbTpNQKq+w+bEtmoDHygFKbmx3BO2vbfCY+K3xLMMMvw/+Avj210KVJ7rR&#10;PGUGnWRlPzhEFsby1upQQ2dltuGVJOCDj1qmJq1JXlH3X2aT9NTz8PgaEf3lOorx7p799jvvAHxK&#10;039qDwvB8P8Axbr2g6F8dNKsW0/wTrGo2DyeGviFZplv7F1UyLsM2WaSCYOJYXB2na7JXSeHPAuj&#10;a/4Yb4CeN5bbwzeaHqFzqXwz17W9OnS6+DmuylUuNPvpsYPh/VJIkjklj/dW1wY5ysI81m8xT4Wy&#10;eFDd3vif9kLwgdXtZIdQgv8Awde+PPCGr2BG7yXhNtrn2YAyKxXemDtO3OMj6j8D+MPC37UdvB4U&#10;Wy1HwP8AHvwnb40J9b1OKy1Px0kCL+7S4kJD3ZUFGW4wko2huCGrz6iVKaVO9no/66nTQpzcZVKi&#10;in01V2urS0fytY+Gr/T9T8EeJbnwx430I6N4g8M6i2l6xZTRSJf6dIrlJIpQcqUBYncoKlcMCVOT&#10;9GfHTw/JB/wqvxto/iDVtA8K/Fz4J6Vqtx4dv5Y73wZaax4fvLnRddtvsrZj3Z03TpnZNu+KeA7Q&#10;BkezeNPh1/w0j4Sll07w9dW/x8+CGhSJ4ktrbTWs5Pib4Y01l8y4WCRmK6roaEpc2JJeWxTzoxi3&#10;cnq/hf8ADq6+MvwDvPAWoWDakfh149i1nQ7i0lNv/wAI9Z65bmKWaS4YeWkK6hptpHNBIVDR6kcZ&#10;6gUE6Tae9n8k7P7rnXByrT5raWtZO2r2/JdOp514Q+EH7M3x0tNF8H+MdR039lLxpbaf9luvjb4R&#10;8Qa5+0J8DfFEytlbzxb4LuLw6xoMk6uiSTeG7ma3UmI/2YiLLJXgPx//AGJ/jX+xl468Iy+K4/hl&#10;410PxRaR+Nfhv8UfgT8SbH4gfDj4h2ME6oNQ0e/tik+wy70a21K0srxGQ7rfbtkf3W1/ZV+FGn+J&#10;/EuoeOviL470268F6baapqOmfC/VbBLm6t0ItLjTJNZngktrdIiLeRriKC5WOKYERvuynRaT8XvF&#10;vw4bX9K+C/7JnwzHw88SWq2vibxWPErfHH4oeJNNZ4/tDajrF5DBbRycOWksba1kDSAgkomNoYzk&#10;ioNxnez00kltu3ZnJUy2U5rE01Km46LmacZbdF7yf4GN8YvhHqPxR8EfDX45/CDQL+fxj4e8P6j8&#10;ItW0O6sJJpryyF02seErjKx/vkk0zW9QsZJMkB9JhAAwNvxdqP7Nfjy8H9pWOleGfBVxbst5q+n+&#10;JvGGn6bN4dud8atCxWV3eNnO5AAWAADBTjP9JOj6b+zH+2p8KLLQfgtcXPwJ8crpP9geM/2U/jD4&#10;i1C+t4IiL7UBqXgjXdVcebaRSm4ePSb2aS8BYqlxOFZ2/M3xd+zp4p8Eaj4ssPEXhZr6PT9Qm8Ja&#10;ymk3MtpNaXVvKYJkvNOkifbKR8wQNG7b1Yg5wZni5Uq0nRs7PRvt6d79DWhgfaUlHENqTWyta/lL&#10;VNemh+ePxR+GEUfxH8YXx8YeCrW31nVYvFk2mJfXdxLCusRw6niEx20keCL0tG5cIRt5FYt9eado&#10;91qEg1XSNe0Fb/7NrVg9zcq4t5pTFDLDKYR5dzbyMQkqFgC23DLkH6Z+Inwhi1660HX7DU4JNQt9&#10;DTRJI9fjOgeIhJpa+R5EyOPKmdIFhA2uzMACRncT4bqnwyv/AAzqV9pHirRb3To/EEEsVv8A2haT&#10;ac7JMh8p08zaHj3lCJkLoTGvzZBFEa0q8HJyV0nokR7COHblCMrS01en9f5mv8OTp2j6jdhdVS70&#10;e5lEuk6u8oi86MKpkiuEx+5lXdtcgFNwVgSpJr0u70Gz0+DXvFWk6pZPNrUsfh/RUtil9a3lxdQX&#10;MxuI50dlRoo1kjzjIkYjcrKN3yb4MuNT0TWLK1t45Z5UuRJbwEEteK58po8dSy7vlPGCuee33341&#10;tdF134daZJYRxPb6Rr2paFbBN9vcq+nW+nRDUVVCCrG7bUDuz/GVPuqtN0abk3dWstOjaOmLpzpR&#10;w6Wv436L8z5G0vULrwVeW89lIBbXKfYJbWd2t2Al3RMrsORty/zdQW4xjB/W79maaPxN8LP2t/Df&#10;2my0uyT9mGHQtN1B2KS21nqPxE+HNvLPdzBf3iQw21ugY/MqysBxhV/Kb4keCLzRofCn2O/e8bWB&#10;D4g+w3MzXMi27xySK8dwTuI3JKjKxbmJScnkfXX7N3xM1BfBv7QPhbR9Lu73VPEP7NniLwfcGz8q&#10;COwS217whrtpqE7Mu9/LfSfL8vKnbdB1c+Wsb5UpexU6vLq4zWi3tF7hTnF1qMb6KdNtvp76bt52&#10;Wh7H8LtM1TwR48+KQvdRsJPEvh/4H3sdy2kX8d5ZOreH22XMFyOJYZY7glCMctwBjB+YPiv47vfi&#10;R8AfAetalMl5q/wN8TXnw/W5QmZzoWq3F/r+lQtgAqsU664OSQSwAx3918CeP7LxAfit4ISbTfLu&#10;Phmth4M8UXMvkXWkR6loumWzwO5LBoGldi8RwULSN1UV8r+A9I1DTv8AhbHwe8TWzR6n46+Fkvij&#10;TrS6gInsNZ8OC/1iARIwBHnWcOpwqRkst8h5HFY2jUrNx091P1d5S/4Bu1KnS9nLrPr2tFeh6p+z&#10;JpVj4g8dQ3sN9ML7Ro7fw5BEAv2cTamw06ygVcguS93uwewAzyin964LK78T/sDft8P4TsJ3u/iR&#10;F8O/gn4JVYW+fTPFfxN8C+DIVhP/AC0WWPRdysuA+044Ga/n4/Yt16TS9b8I3emr594fHdn4nj+Z&#10;JVl/sFZL6HduGXPn6Rp+1QMY578/0E6F4stvhX+zX4wv9FtBe/D3wr+1N8I/AC2OFna4v/h54b+I&#10;niYw7W2n97reixTlSvyqihgWGW9DL21TrTqXStJfKyTf3uxwZhb/AGelfRTi35e/ovna5saJa/ab&#10;VPhV4It9Tz8TvibqlhoslqAtzP4a0exutD0qVItjEiy0zw9r16hVjHJLfRhXQBnPgf7Un7SOj+Id&#10;IX4LeCbY+Hfhl8K/B1sNLtPPCaKPO1/XtR33jKEZbvU7XTWlUNlh58Tbhs2L9V/CLVU+H8vjz4ze&#10;LLNII/2W/wBnnxD8IvAN5dW4Oj3fjHTvCUWl28rRyDZcXEd7putXTo29fNu7nOVO0/i94j+H+n63&#10;f+GNV8Rp4hvNM+PLXlp4P8KeF76a31jxfq+naNBoXh7SVmjjlMJuNQuXm8+ZQiwG7ckBxIPIxKli&#10;cdCgpatqUr+qjBP5Jyt3Z7OAlDD4aWJrRvb3Y2fVxcqkl2t7sbn3v/wVTj8U+Ede/ZP0f4eWdld/&#10;FL4y/Bv4Z+Dfh1ZWmlW/iHxPBBNbu8rmDY0pkutX1lIoEjAk/wBAcom4RGvif4salpt38TPjJr6x&#10;31n4K03WtH/Z8+FN1etY+EdfXwtoWm2ei6eL6NpVt7UyW1lJO4ZiIVup2DMGd5fWP2pvivqVh+2n&#10;+0b431O+g16w/YR+AWgfBj4Z+JJfIl0jUfFfiPQtN8D+CLiyjZtks6XOs+IPFQ8tjLGNHjdNscLu&#10;fxy+KPi2+h8JtoNtdyx3LaZd3Msc919quXk1czzW9zy3B+yIIwecAZPLDLk6rcpJW9pKcvROXLG3&#10;qk3/ANvdjnSpqpCnWlf2dOnHTdvlU56+V4R+TPVPi3YR+ANY8Zalb/GTwf4An1jxALfQrHwVY634&#10;y8eeJIIoYPIuLnUzarZxwvM1y5WO+3CS2P7uENHK3k+meJPhp4Q0S/j0rxJ488WeItXttQ8SeJvE&#10;19p9h4adP3z2kFhbzG4vrg+cVRZZCySSCQx7jHuaXzz4ma2fFviPUfDZVLbVPDQi1nwzOHLSh5rK&#10;Ca7siBgEysxdMDCSBgP9Zlee+DXh3SfH/jPwf4L1i5vra11zW1XxDe2entcXVjpWkWc2rapdRo2E&#10;cRRWRLhnU4ViSoBJ7cNhZ14OjOy6PTt/Wpy1sSsH++pXtbq+r30XVbLrqepfs2aFoPxg/aO+Hega&#10;posdt4N0zWh4o+I2paxrZmt9K8PaWftes3MhKxRtI0IMEMbbmmnuoYkBkkVT678fPjzq3xm+PPiz&#10;xNrOphtCtNZfwh4LtIgY7PwT4a0uW7ksrKxjZAqpZWrSSHCJ5l1ctJ5YMhFfO3hfxLefDb4MH7LD&#10;Po3jr47X9t4r1K8hYJf6X4Zsp2utK02KRBvX7depHeSxkAmOzsSQySAV45Pc3djquoafeuBeROdL&#10;nXzGlkYFkkuiQehbhCDk/KQfQ3iqc58mGS9yC++bSv8A+ArT7ycDVi5Va81aU2l5qEW9P+3nr5qx&#10;6N8TvjHq+t3llpkEVlar4i1qDxBqukIgnsoLWANa6RpzI27EdrasqheMNAh4IFcTonhbxJ8cPilo&#10;ngvwqiS3/inUAZL+4ik+zaNBB++vr252Dd5UCbn+UbmJjRQXdVPmNnqC3fi661W6/wBMitJZXiW5&#10;kys5iJWNCcg4PUnPav00/ZD8MD4T+BfGnxU1u4s9M1rxNYp4fsJdQER8jLi8kKj74js4vsl5OCFV&#10;pp7RMTeUwXohCll+HWJqK6iua3dvZffYdevWx9d4Wk7Sk1FPtHq7H1dq/iXQP2PvhNDcWS2eoeKf&#10;CGjJ8LPhdBdwRm6udWlFxfapfQ233TFYmVp7l1LF7y5t1dmCKi/FHwL+AGs+NZtJ+M/xusfEmr6b&#10;8VPG3/CH/Cj4d6NeGx+Jn7R3iK7mwNN0VSu6GwjkkijvdYZTGgmaKASThvI19K/sf4oahqH7TXxp&#10;1K+0f9nT4bX7eFvCumTXbnxX8Yr62WS4fRNIkICRG5lJmvbsfLbW0cpUJJJBIvRfEX9prxT4Z0O4&#10;/aG8YzaPpPx++Jfgq58I/Bbwf4ftotG8NfssfD65tZNPtU0KyVQLa51Cx+3qh2+ZHbzPM7s91sTh&#10;oSqUJvGVYc+KqaJb8qeqiv7z3faO5u6dCtQjgKM+XCUtZSvbnlGybf8Adhrt8TbUdz6v/aY/am8Q&#10;eEtH0/8AYJ/ZSfTPE3xq+KC23wv/AGg/GvwUt/tehZuJ4Utvgv8ADCSE5GjWlwdmraxCzT6/fq7N&#10;PLbxwOPOvGUp/Zd8L3X7Hn7NzyfEr9p34p2jeAPjv458DTjUBf3UlysMvw48KXCf6nSNPkt9+u6k&#10;pCXt1atC0htLRbeD5p+GU2r/ALJPhrTtY0SXUJv2z/jj4eSx8OWVgj/8JR+zl4M8Q2TMLqF+BbeK&#10;PEdrK7JIpWfS9IuvMzBJdxSHw7xl8TtK+Gnh3X/BPgHVLPVfEHijSf8AhG/ip8S7SYXVtqlmYlSX&#10;wZ4akKgxaNCgEd9coA2pSxGNWNkGW72rwdpU6vvczvOS3m9P3a6qEftPqzCNVNU6tCLjSh/Di1tf&#10;R1qi0vOVvcWjSt0sZ3jfxN4d+B2k6z4F8I69o/jj4oa5IbXx58Z/Dd099pVrG8eybw/4UumADWKh&#10;glxq0ao968JFuwssPefLklm2q36QwW89uk2nQyJLMTIRI0StJJxjKOQxTnJDAnuKzbsXmr3jlZvN&#10;MQ826uGfcHdmywz68heM9OvPH1h4F+FPjD4w/E3wb8Lfhxoh1/xBb6RpdjeNZRTJZxi0063NzJNI&#10;SxRY9su+ToWDsqKAIl9Ghh3NJR1nKySWySXbokediqqo0pXfuxV3J/E3dK7fWT8vRH1v8HPhBr2o&#10;/wDBPfwx4T8P6HNqmuftA/tuXPjgzWcMrz6rpPgfwdH4W0qxcqrBhJrHibWPKjHJkjcqCsczx/oj&#10;8HP2N9O8T/EnwH8NtH0q018tcf2VpmgQwuo+Luq2Si48TeIL7ymEkPhTR5YbiE3LPi7GnLHEW3yM&#10;v1v428KeH/2SvgZ+zf8AADSLVrv4k6L4B/4Rb4YxKczLqfii4u9Z8YeLmjTMkdraS6t9nWVP3jzT&#10;SCN4zCC/6AaB4Lj/AOCffwR0bxmnh7/hNv24v20YbL4R/s5fD/xCYNPk0XR7C0S9t7rU5ASum6Np&#10;UEF54o1u6UCKxsLS3ieXcZGlK2IhTVXER1SfKv70kuVJeStdvpr2MqdKrVoUKTdnOLkl/LFvmnN/&#10;LRd7eZ8k/trfFXwd8Gf7f8BaeIfGPgL9nrStM/4WLp9lEtqPHnivUkkn8JfDm3jgzFbvqF1BLqWo&#10;BBKbXTtMv5zFMLSM1+F/gvw74e0fXPF/7WP7VXipNU1DxH4hvfEnie/s54l1bxnq91I11Jovh5XB&#10;jt1iMiQNdlWisYEjRFdxFEy/tLftAfD3xBrdj4b0fxPq/jP4IfB7VdSmuviTeXEdj4z/AGm/GWrS&#10;QyeLPGikqRbtr09rbLb7UddP0Wy0qJmnkTE355ePPit4o+K2tweK/E62lnoehPHo/gTwNYQ7dAsU&#10;jw1tY2Fu7H9zCrGSRpCXleXzJC7yFj4lKeJqScaK1d7z333aXd7R8km9z6CUaNCEKeIi+RL4NE3b&#10;4VLtb4pPZN2WqR9hftN/tofFP46L4Y8F6Xp11odiLeDQ/hP8JPDc0kejfD7RriVfsiQ2wJc3155w&#10;I8wmU/aHnleW4m3R/O2j+GPGvh6w1v4feJ52sNL+HXiHUdFufD4vEfTbjX52jGoG5nj3JMLQ26ef&#10;IC+DbRIrfdz9N/s5+DtK8F6V40+PuoaxFdeLvBUEVxpU+oTKLy68Vaqrf2LZRKfnZ7NFuNcvZFIS&#10;KDTbaNnR7gRv4hpcfi34w3/gr4AfA7S9S8TeIfG+u3Gn6t4vnL39/rF1d3Be9t9MhOBEjOxkuL2Q&#10;+Yyqzu8MYJXoo4ehCEsHhYXqNXk276t6OT021evWxjPG4itJ4vFv2eHjouVW0/u+t0kl5mJ4J1WO&#10;yTxHYeDptUk0nTI44vHvjLSxjxX47urpn/s/wzorlg0Iu5I8t5YxFBbSyylmCRt99fscfsCfEL4+&#10;63BP4+TQfC2l+L5I9lnqOpLY6t4ojMoVLKysoRLfHTLNiLieZIkjnZBHHLLIsog8T8M+Gfh/8Er+&#10;1+F3wc8ReGfiH8T9Q1IQeNPjnPdx3PgXwiiuIb628MTvhJFEbSxya8ocSojCwRxcRXY/Si08dzeG&#10;9LtvhR8E9e1HU/GfjK9g0zxT44uNZTSPE3jO+vWMUllZPgppmj2cCyyXd6758v8AdQCSWb99o8Rh&#10;8DOEaS9pVeib0TaS19Ft2toTVw2MzDmqVf3VHdpatLpf+89fPvY+5viDP+yt+yT8F9R+FVv431PU&#10;I/h3oV3e+LviB4C8BWF94U+G9rI4/tMaPaXOoRpea3eSSQWq3EhIe4nRPOCJG1fzTfE/Wv2df2iP&#10;ipN4j8NfHn44+GvEmsyW+ieHNG8e/sm2Pivw94Pso5Bbx2lrd6F4yuruR0QCR2t9NleeeSZyN7c/&#10;fvxD/ZN/aM/a/wBaufhJ4E1rR/Af7OHwXnhvfGfjHUbwJb+J9SEMiS+INZjRgbS12tNFpFjdFrkx&#10;XDyrBLJPJI/6AfsQfsL/AAv/AGUfGdtcaXH4j+JPx+ksFvfh74a8BfDO2+JPxwn2bCmr2sF9CbLw&#10;xbLIYf8AiY3dpcXsYjJSKBmSat8PGp7T63jZKTlqklrb8bLp3scVeeFp4aWFwClp8Um2kr6JPTVr&#10;dra6seNfsbf8EhPE/wAONYT4nfHs6b4je20QeNvCNtdaNceEdOs7by42g1nxXY69Ha3Wkx7Jka3t&#10;7+2ILSx/JMXUj7bg8D/CvXPFusa3P4hu9X8O+E76Gfxd411+O7Hw20yaZA8NppdjPEkupXJESLEJ&#10;IIIwI3cRbQWX4+/ag+PfinSPFviH4fa58dP+ExstK8Ryar8TNX0XxnH4j0q41hWlM2k2GoO0VneX&#10;UEk8kNxqjK0aHzQj5kSOuQ8MfA3/AIKaftYR6HN8KPgXrvwX+FNtHdaZ4K+IHxd1+D4dfDvwvbTw&#10;zC78Qu13N9slN0LO6/4mQtibv7G1vDdW42yR+dLEZlj37Wlh4xpR0jdrlv3u2l/n6Hb7HK8sjGOL&#10;xMpVpXUkk+a1looq7189vU/a7XP2nP2e9FsNK/Z3+DereHNWm8b2sGkXXg7RPiDd/Bu5+MV1MhVr&#10;XUNQsbGbxZqqnCodP0W00228qRi14oU15T4a1jQ/BHhf4iaZ+1Lqvw20nwp8FtcNn4Z/Y8+BHhce&#10;CP2N/hpcxyPeQf8ACayQpFdeKtbVwjf2Teyz7rifN35s0s8VfOfwn0v9kD/gnD4K8f8AhnT/ABLr&#10;vxZ/aN8YWUnh34k/tO6HoaeJfGk80cB+16J4SuIGMGiWcz5h+1Rz74opJJftEcjeaPjz4pf8FENN&#10;1extPhf8Lfg18IrOXR9ee48K6JpniJPjT8QUecRia9TRfDyv4O0gtAWWaXUbi9uIn+0pJceYGqHj&#10;HJOFKu6tdbyjF2Te6Xotm35pG8MlpT5atbD+zwr2U5JSlbW7069UlfXVs+mP2i/2r/Cf7S2rav4f&#10;0b46fFnwDo97b22la34+b4BreeItdsoo1STT7aO/1jTrLTbG3CxGHT9NLtKZAzpIY0K/FFh8H/hJ&#10;8HbPT9W8EfEf4qz+M/F0TSWnizxn8H9CsdZ0yRmXfcX3/E+uZLdhEqm3isftErC63SyRJBGJfIdD&#10;+IP7YOpap468W6Fb2/gSLw3p8134u8XabbKU8HwlZIxPPfWjJBAyFJlVopvIadVCgg7K3h8YfD/g&#10;rw1Pr/7RL/Ev4h6R4p0Pz7Hxf8S/i/r/AIeuNalg23MI0Hwlp80NzewSeau7UNVZLJ4ro7JHO5ou&#10;SEMThHKFaFm95Ss5u+y0PQqfU8SlTwtS/IvdhBtRT+ejt5/geoeD/wBnP4ceILzxB478b/tzfDWU&#10;PJceI9UFn4GfwB8W9QuZ5U2W+natqZuNXuJImgj/AH2lNApiSQeY5dgvplr4N/Y98LaPp8Xwk8dS&#10;P4w1aQy6vefEDR9C0na4HmSC51F9Yv8AWNRVRsbYlsSzRsz7QxU/jl4z/ab8I+INHvG8KfBbwl4J&#10;8BXbTxQfE7xHcaprfxL8ReWVLx6HHJdvaQrGyK3mwRiOFrjbNdPlQPnrVfijpPjzT9R0rTND8Q/D&#10;7Tb1lg1jxFpfiSLUtf8AFMSSK8dvqTvBDJNArKGCQCKFWxlSWbf2+3zKa9k0owtZpx09d+uhzQwu&#10;Vqs8RXcpSb099O22m1ns/K7P3D8Afs//ALDWr+M7vW/jP+1H8JdV1yZPtKW/ijUvFt/8scyLcBBZ&#10;2cQVU/ekpuVFEYULny4m+w7H4uf8Envhf4fXwj4f/aU/Zj0bT9W2S6hrHw2/Zo13Ub3W5UMTRwXG&#10;pa3rOn6iHjZBtnsERJNx3h8la/mD8NfCG812bTdO8ExS61psemyXzW3iKYaLI8dtbvLPNO0DSJFA&#10;hhkIJOAqxHCcg+p+HtX+Leni3v8AwdY+FPh3aWmnETj4feL7Lwx4jvrZsI0Yu7O1a+d3ZycK7S/K&#10;7HaikrUK+ZUYqhRqwUL2Vo2tb/t79CXhsjxMnWxMarkv5p330VlyPa3e2p/S7pXwy+APxHgTxH8L&#10;v2mPE+u2EOkDU55ofhpF4FtrSyVpXAS51PxZbCKLbJHhmd9zSAKvA3fJnjLUPh58N5tRgj8HfD/V&#10;tMs55bk+NvEHxi+KXw08Xa5HdfIbKabTGm8OiMqZcXFzJH5hlGGl2tj8d9Y+Dln4t8Opq3jDwhqu&#10;laxLqDIvij4ifHebxdaXSZDO8Xh+9ZZ/m8oDzm2j5gcEgV65B4T/AGcvDOj2aeGviN8WvDeoBLaO&#10;SDwn8RrP/hHZpSsZvZ5tOTR4RKj4nQRzTzbWIKswOKzrY2dP3a1WHNo7KL376XS1Chl1Km74ahVk&#10;krXbTSV/RXPujSta+Gfiyz/sPS/g9+2hpmkalNc3t5p3wx+PPgf9vb4b6yxEmwxaD4kvNb1CJIlU&#10;5VokkKrkkIcH5K8e/s0/sjeNU1XSrvxbqXwN8TWmqNPF4m1T4MeJfhdqGpTPGGNlq+hWsdxpttHF&#10;sjc3NiLUILpiTLmNR5hf+Gfg/qr2k8fxUs9LkCecuu2Pg3TPBXiTKIJI2uL+K+hgunY7crJau3DE&#10;tgMG9C8KeLfh9cwaRZ+N/iN4O+KNraK6XV94p+G8+viywiCGbMUwb98zSAyW1zbzRmJtj7cAbU82&#10;aUnUmrNdm2tDnrZP7SEpU4zjNvdOz110fk9O2vkfLcX7Ff7TUOpw6r8DPiP4I/aFtNNdZ7YfCj43&#10;2N14hRUbcr2+j6hfxXbqCRhYPMfkHYeTUP8Awg3xm8Oazd+EviB4k8Z/DTU9QPmPo3xF8IjRNP1e&#10;/LskSLfz2yQNtkBZ1SdMNt3bxkV9P+KfDH7PF1pk9/4F8bahaNFeGS9WK8vfGWg2Epy0kc+mamZb&#10;6KAkgbre+EaAOp3EMo+l/hp8O/iTf6E8Pwt+PH7N/inwbe2EcGtmy+MPjD4U2l1ar5jxLc6df6Te&#10;QiJAnzLLbbMlRuLFQHOtl2Kqc86UH5qy7dH19NS6NLM8NTcfbVE9rNOT7bxvo/NdD4kPx18Z/Cl5&#10;vCvxB8LeIG1bTJW0TUPEng3W5tOeJyo+z3LWFywt3UxpugeJoklWQ72O0bfuD4G/8FFPi1Y6Fdad&#10;4U0Dw3+0B4UtpVs/EOg/FvQrq7tbaKVTCtndq5k02NWBcRyR7ZsfdZgNy/XWgfsc6Zr+g3vjPxh8&#10;Tv2ZviTc3mgTX3iT4eeMPinf6d4r1a3EPFhoGo6f4XawvJMRxxwTXbWwWQ7RuCsT4z4/8GftJeGP&#10;gvonhT4ZeNPF3iD4NW2pXMfhvwIPEfh/XoPAZbzXeBLG7lgKeZl5GliAadoiVRy7CuTFZbgoe/Qm&#10;+eXSMlprtdflubUc4zCUfZ4yC5Fo5ShLVLy66dUbQ+P/AOyL+0Bcr4H+K/7NXxV/Zs8XLMzad4t+&#10;GE48feENO3b/ACjpsHmG4k2BgUUXFzIoDh05IHj958A/iTo2qal/wpb9sHTPEnhq1iM1haj4vav4&#10;M1u1iMccj22q+H71IprSdHlkRvMjWNzE207SCPl+++IfxT8EeJI7/WZNU0LUUgSTxJqng9Z7DXrA&#10;JOjJdX1ldCKwulDLGWtjuPyh9xPK+R+PPEXh7VZIPGvjPwhrKXt5dyWx+PXwY1Cfw4Li7x5aPqum&#10;XT3Fo0mQ++DZDIQGXzSPnMPDY6nFwUL9udXe211b7zojXwFatKqqjhH+5JxT8+WV1p63P1hsvg9q&#10;3i/w7Z2/jf49fGf4y6fDaNaN4F+Gnww8NfGi7adyNykm78pYwwz8kwbgttHy5+Ovj98CvhD4DsNN&#10;k+HzfFePxKskkvijQfix8JtI8Cy6E6SsrLF/Zuq3kssn7tx5csKlVJG533qPnLRPG3h7VpIdG8f6&#10;P4ev72502CDTfiPY6a+mtqKZUrHrVkI/Ot3AZd9xZMy4JyCTuHea58NfiJBe6br/AIF8SjSPD199&#10;ln0SwsPF+peI4LEqikvZXkxuXDKdr/eG1nXgBcqvrGJlbDVIqDW9tNPJvqZYrB4RSliac3NO1ne6&#10;8ro5DT7j9nG9Sxt/GPgD9oDQtakZVv5fAV/o2raLMPMOZVtru2FzG0asXMYyWbaN4A467wn8Lv2a&#10;/Euptc/C/wCLvxx8P6rGXEs/ij4Y2NpZaK6glvO1G31QA4yQW+zqOOcHAK3Wk/GDU9a0lbn41aX4&#10;f8QaNCkNh4j1TV9F0W8sInlAfN8y2zTIjIJGaZw3yEkjk17tF+zP+158Qb2x+IvhHxF8LPjlK6rL&#10;beJdH/aJ8I/D/wAWzQ2uzcDGt9dL5i7vlM8YBJXaT39CNarOfuuL1vaTjqvw1OCVGhpzOUXr8Ckv&#10;yuvU+TfiH8GvCGlp4h0rS/ij8AfGbWkvl/2x4N1W/wBJ8Sys7kMZNPnsbeK5kZhIWNpJOFQ55UBh&#10;y2n/ALPmoeGI7/UvD/jf4d+IdC1SzWO4gu4tc0vwt4qJyXtbW6vtNhtZpVJwR5oZDyCDgH631r9l&#10;n/goV4ijNz4nie5gtpTJeaVqPxS0jx9cJak+YlsHt/NxwNjFUjO5Vwu5uOO0n4f/ALWvwOv76XSv&#10;DGs2h1aLZqvhySC21Xw/dt5i4ludPYhZF3pteOWMq3lgkZHFfvKNOdSnGOrvbmTa221Mf3UmsKqs&#10;l0u4vyvfRelz82fEfhXxF8JtVm8cfDe91LRIYpfI1/wfqUyXj6VMVJdYZkBjntpFDbQwMgBAIYZK&#10;+q/AH43JonjyXxHodmlvBrrIPGXgqO5jtoZZQAp1KwySpIUsZExuz8wB5r3jxg3hH4hyarbfEn4I&#10;XXwG+IciLpo8afDzTJbr4e6nJtI86+8NxZ+zrI7PmazIHDf6OxYNXwr46+C3iLwZrUsdusP2uBku&#10;LLUfDN3He2F3FKGZJ4fLJ2Z53ROQyFSCuRWOKy+lmUZuUVdq22vz7+oYHMauXVFGlO8E1Z3v16Ps&#10;/wCVn772GpWuq2ltqNpNHPBPAkyPExAYMAwODxnls55BznkVPKyGQpI7B2HlDJYljj5yD2wRnPT5&#10;sZGOfy2/Zr/aoufD97a/Dr4sO1ozIYdG14ReVDdHG2NJeMISdoYjtk44C1+n1tew39vFc2tws0Fx&#10;EDA0DgKwZRtPHsQRnnNfj+Z5VicoxUqFaLS6O2jXr6H6tgcdRzChHE4afPF723TW90BDxqqrNt27&#10;nJVvLYgIS34AA8+mfXjKnVvMfc3ntGSmXB2AkEDI6+wI6DPvWrMyl4nY4L4QBSu07ipzkcADkHpg&#10;Z6YqhcN5bIzYLLnY7MRIx6HK98Angcjg84xXmatLlWv/AAx11Hz01LzV/wCvxKcuIyrNtDojRKZO&#10;S/3s5JznK8d+c1zt00gEhY7EKv50W1iw6cjnPB+bHPIGQa2bkqc78MpkEpKy/wAIDdhjqW7++Kyb&#10;kswkLySymThVhO75SdoH3ckgDJ+uR2qou7al5a/oHPzK0NF/X4GXdBGLq23ceVQtlRtKg5BycA4w&#10;QcEqCM/LWLMzEOgIbbyGDHawbI6Y6H5l57j8tSdMlmZl2tGDiPaxKbeQeCQORg8E4yQcVkTxo4BU&#10;fu9oRwASofAUYHBOeRyOcDpyKIRg/eV79u39akpSglVhqtSjMyzI8rKivv3KpYuxGCxdeNuATnbx&#10;gEgZ2bhjTISS48uNVTY7jOQFZhuHbOSVxzxnjgkac8jBxI7lwNu0yODuZQH9OC2zZ82Rk5OME1Qm&#10;KhWBEjOzbk2HCgHO7d6sM9uxNbQT5Uo9DNVHOm1JfcY7qfNDuVKhdiqU5ZcE8FRyPm9c4B9hVSQv&#10;GTgMqKFZy7EjAYqCW6ckLjr971ArRYGTJ3BVJJOMALucF8jGcHBHB/iJ9jQmKIEUMsilMqobjOSA&#10;Qc5GB34xleOcUTcXtqZySWiV1p1+8z5C80hdpH8uRyfuAbGO3Le55bvkn05qKVnLorbim3ywQpU5&#10;2oBtP8X3uT3JOT3N1SXXylZcMdnzMI3J4AHOOMng5PbvxWc7tuY5JBKCMlvMRy6KT2HQsBjuAOeQ&#10;a0or3rO1ramUdoNO2u/9dyJsgvKFTLfIBgnGMn5C5JAwpJ3EkqB9aj+VnG8BXMYAO/aoDBWHT0GP&#10;wzjrU2PLYKW3/Jjcx2g8HBOeepU8n+ED1qvJhHZ8yZ+YRpuAMe45UEkdeEzjGQOME8UoNy5RarS1&#10;2WC8kjRojBdylVRixEZLAngnoSo4GP4fSgvvEcrsNycFmU7SD8yjHXbj0/TFMDvsUKgDh0XMknUb&#10;WJGMDnJX8PwqNpHkeYszKGXl85JIbg46defx+tJt25lsv1N04pRaV9b+XTQlOHwVfG5gxEaESNyy&#10;kbuuCQ2O2R3xUxYYBUxyNtCZIbe7M2eTzzywyOMBOOSarLDvJwwUS7Y/LAKyMu1ju3egBAzwfnzj&#10;qamRPMZZDkKS0WCw3KFLDPAByyr+APHAGTllztp7Iym+ZSqLfX0JAUKp5mX+XeUjUA4DY+Uk8nHX&#10;I6Y/B6ECZzuR/KkAQgHbnJGV3DOCAvUdaVEARAQWiRyoLk7+ETOARzjcpzj+PqeKCROA4QF1xjo2&#10;7o2do54Cg+mVHtTuvacy2VvzBxsubr28xyK5eQOoVvL3FxhkBVj8rdvQ+nIGBVpVdwoIXyxuLIMl&#10;g2NwJx97BPQ9fw4rW0WwEsdruMhy5bIYoQGHoBvHX/lpweMVpwiWSQKUYEgv5aBVVA3TAHAAz8o/&#10;ujpiq1Sc1bo/+CEbyapzXz/rYliO5iekZkUySZ/eqmQBt6bjgng8ZzWgFUqNygGNQN+/GCcY78ZB&#10;PB5zikWFSxYu6/KijbICpUYKoDx15PToGPFXdj7TuKMB9/AyCFyDgZ77h0P581lKXNC6X9adDaNo&#10;Qkm7t/mJHGrO2AQqyKG+VuF54bnBzjPORlexIINrjDSIpdyXYkE5OSxG7g5y5P8AwI9KtIEjcFTJ&#10;tCFCmR5Z3Rsu84HA5PHOQD64FsQJwOQzZUozhSAGODkgdTkdByq+1JrktNa6foKM5puMFe2/yMdN&#10;x8xRsVsKq7BlpeQOMck/NzyBhSOvFBiKowbLbnBLlcKoA5B9+R9Oav8AkFdyFXjkzjJRmSIrhTx7&#10;swHPQsTipZYQiMWkeE8DAl+7vAB+bsCODx/F74rZt2vL7iaas+dbv7rX29THKqOdoUhigcA45yST&#10;k44G3nvzwSMGJoNyoicFY8hwBujJy3I9c/jwK1pLdg6rIxGxcMcZLE/e+YDtsQkdPmHvgkV1fYqg&#10;syFV42u5BBIUAdBntjG5euMHHWSTj0NEk04SikmZZMkm4lUiyMsIwD5YA5I59eeeaSGMIpIwZGZU&#10;cLzldrEKFPOTvjOB06H21RFGpVnXcjJHOGQ534jViuT1A6cAYJ4OMU6SJAfJZnG5wI9zqSAzYBYh&#10;RxgPzxyvXtVpxaV0LlS16tW/LUzocSgISuXDIyqSzspy27r0xtHGAQq8E1eEKO7N5YQEny44ySY1&#10;wNy544BwMckAgHPOXFZIneQbdyylkAYKRuOU7cL84A78DPvZRTIUVo/nEuwrkmSU/McAAc8lRyOu&#10;PSlJctkmZxklrLo1ZjYFVPu4VVIIVwpJMa8ckgHJMnoSZOelXIAIygeMOzvlwVATGMgnjPOTxx16&#10;VEkfzRSFlby32MoQxuqAFmbcAQcN2wP4fci3HJlGVlZjIQrCNxtQbtznBGR0AXkZxz1zUKV4Wf8A&#10;SN73tNv3tLfgTw3EpwyuXK/O+4cx7Sp5bPXGefYDvVpMhxJJgfN5ahQ4jAO3knPOTnqABg9t2YEK&#10;GaMksg38MN+V3MvzNt9MA8DgD6mrSMCE/dwhoRtQqrSqScYY5PB4bnpyewwIvzSb6bfkKpPntFp3&#10;X9f5GgGaSKGGNvMIJaMYCIcYPOTgNww3dw3p0sIyrK+xnZAWMSyINzqHUAkZHJAJAAOODmqKIGiB&#10;Z2K+cFVvuuACuT6HgKM+jrjir0TMybiyhwhmUhuAMEMMZGc7gcdTu5HNXyRhaLZa51Lmto/zXl6G&#10;jFGBt2hVw2EG84wpIVMdQPnznjk/WrYZSqshdiQHaIkhyQrBuTnrluQO/rkmijbghLNIwRnChizA&#10;deSMDI3AY9SOmCRMLhwVLgEIm7ejYCtnc20AHls5/HOD0qIqLdxN81PlXc0ZJCIQibASH3pzwuEA&#10;bPqxkKgcE496cZVVgsTBIio3NL8xcYJxhc+mcDPQ8VQkkkQAMxLBgdyEbRzkjA4A+XHHHND3JiCB&#10;zvRWYMm75lG0qQvHB5IJHOT9DTcVFpPXUV73utV2/Ac0spVyzr8zYCRKRlWwCGBAIydpyeeSPU1D&#10;NcJExYqymKMn5j5kQAOWOM8AYHHPTvVV5laI+UXG2HccyEBAGUJx0+YbQfbdxkgilNO3KhpWEmUe&#10;NnyEHJz0yB1B+vU1s3aNo7/8Amd+bmg72tqWpWOV2SHG0Jkk7WIUqATnJOAeSeq+2Rl3V3uLN5jx&#10;KyGNsEjAXHJbrkDPQdM+uKryTuzp5oZQzE7JcBjtClCVye7A556n0xVOS4dnfa7qQgdl3tux91j0&#10;+Y/Nt+gA6DFT8NnLVWsNOMqfN5r8WOkmkjbYpk2A72BbeGzz2GcjHXPbnNZb3QkBdflYybtmA+Oc&#10;44z6MD2HA6ZJguHG/dISEDfLA7AhAWwM9ioyO3TiqTyJIWw6uxbcXZsImAVYBce6gZP8J98WofZ3&#10;8zON4qUX13JZ7gEuyMuImVNgBIOB1P0BHGOMD8M5iQWCyIzbSwYqEbcMkMAVIwcBumTtOcd3O7sp&#10;3HYckFVOGBRsNxj2AOevrxUDM6FVMYIRQCvytjeCNgb0zjn1YY65NQ5lSV/67GdVN6X9H9wwvMqF&#10;Tu27+AXYlzjIyAMk5ypAHbgerwFlaRA4RS5hZiNj4DbSD6HBwcZzt74zTJCTIPNIkRgTI4xGGzgg&#10;MOdpJHXnGevOKVYQpY5lXABZR94Bx5mOnqeT33CrglOV5ma9r8l+vkRx4KZjUusiEqXO6Eg87Tgg&#10;jIB6DOCQMHBAAdgZ96MQVeIkqW2k8kE8ZYYB78ngHJtAbSnKAiTYGEinqCMAYIJOc5YcZ9qkxho2&#10;Lhlddz7sYXpyTwA3GO2cnFNVXJtJdLf8N+pdpKPLLWz/AMjPQbw4O2J2JZ42JY5UZIG0c/eY89Sf&#10;YVfWMHIXLME8vfjezMRu2E9RxzU4j2ldgi8re0gaJi6jIVSd3QH5Uz1ByemKmWPHzErjBVTuDvht&#10;pOfQ5OAe3B45xEVq19rsJQi6bVtW/wDIqGMERpHBgQRqWRchD0+THTI28jrhx7VYt7b+AkSIc7kz&#10;8o273ADA57qTyMFeuRmrCxmFY2MhA3hHVOMbizBj2HHHzYzyBnBNXo4SoYxtgrCwTOGZCRhfTODn&#10;j8MHNVKSjBKLv1HSVr1JPyXysVBE8kg2oVRmSFlLbY1VeQcAEdAOeentVtIozLiVCW3h1Zo9uGIP&#10;JHrg9R+HrV54j5jbURYt8kkYZsygEjy1J5z8o25x1Oc05IwWCg7gx3sxPmBiTyAQP95cdcqe1Ony&#10;q6lr/kO0ruTV10/AhjgUuPL2hi26LguDxuCjIJGCuDnrgVbijR96HYsYZmkXY2JQoLBdwXt5bHB7&#10;A8/NVgRFR86spjbzwBKqsOVJOM8Dbs644x9KmhhjKuwBUbiPKC+YuV3YByD1yPyHIrOc1Bcz2S0/&#10;yHCMYrlTRCIy4R3c55+cqVAKbRwo5HO44HYYA7VNETICpSYOzFFkJZEACnGezAq0YBx1HA4OLSxx&#10;h1EaIWlRZN0gQKfmB27egYs+3OAdpOCSpNRLFGPND7neQhSrvhk2LuBEhwMdgePvDmlSS5HZ3uJR&#10;nK/mrELOI2KfvmIPzMtwApJ5OAQSOSeCeKKdIHLsXmYMx3ElgC2ec/N83PXnnmitfbx7GKlDq9fQ&#10;mYL8kpEhLNlgi7y2doO1j1OWyQRx1z6SBYgrcHy2OBIApJL5QKVznplt3YH8KUYaROdokhaVct5i&#10;rkKy8D129uOR1qN/mKDbGMEfOJMEBVbkA8cfLn/drzpNc2mz/r5HdPlhU1d31/D7tiV52XKGFy6P&#10;iRGDFwNvViOBwJBwexwemVj80SovlN5gLGdJEyVw5zu9eNvXnPYYzTSdqICyO2WIDr8qnIJHXJzg&#10;kZxkk/g92QkSNJksDFuOJBHyWy3Q9SeOmVHQkmlzLlaitH2J50p2StFEjRL5udsrEzbkLuJAclm4&#10;PrwGwDwBUZZVDjGAQBK2d6nYTksuD0APAAAJJPc0rGPY4dsxmMIhbe24Hg8Hg8ZHb+WQlZQ2WTy5&#10;XVnd0Iwd2Mk9RgZ56cjO7tSSdTXZMq0pLX1v9w3bGGchMSQgK4RshS2QTnPGB2IIJf8ACpJJDHPI&#10;F2lN+4lXWRnHK4AJBCk7CCTnC+1QKWRBhDkkvGgx5gGQpBXJGThuVx25PBqTakamTLMsJCAuTKsg&#10;wfnxjGM4wfQ9+TVRSaV3tb+vw/Epc/Jfb9H1GsTMhQlgsseFcMVO0jhs5915GOg9TU00ibp5SYQZ&#10;ZJS6BNziR2bK85AO4kZPcVEwACHY3nLt4jUgR7CWJDjjOVPHGAB1zwHart8waIrudHGe4IB74zno&#10;cfN71nLlskt+v3Eym07RT9fW35MaJChIVUVmBLfPnBwVJUDrznr6n3q4SoVonaLy0BLyrh0BztY5&#10;HXgZyc8Y9arRxq7xgPCEUiZiuV5jww4x1PRdv90njIBlQB8BQoZABtwxDMAAwY9MAIOp4LnOOCSX&#10;vpN6fp5ilamlBdf+GHAeYjsYju8vywyoJOGQZUHj1YZGCOvvUm0kzsYwPLRnbKLtcjC9egzj24bO&#10;OAKSMEGIsy4jwpKwmNVbAAORzn5WPQEAdOlIGUne2WXZkIQcAAcZyMnsuDn7nqSSJRUuX+u5Siuq&#10;28/T/IBIrRhcqCzbiVO1i21ucdflG7HbP41NmRTGF3SKWAdJSAHyEJHAPG0Y4I5Y56cxfIVfazHO&#10;0PnLRgZxknpjIUAjr/MV1aTaCwYE+YzHexIzzkZ9ST7CpSlN+7pcuK5lKWy0V/Qf8znLAMY9qsAA&#10;QrcFiq/kODyAOfSUkRo4Kqq7mdHL70YAqVDE/wC0Tj2IHY1HhAG8veCxBYM3mcdCmegwMHoD1qUi&#10;N0O7axaIRsrORknIK/QjIyx70m3H3Xt/WwQ547ddfl5jXTAdSSAys4wAmOjAg9wDtYAA/dBz1ojJ&#10;3BGYBdpVWD7gcAbc4A52liCOD5fbIpZCoUrEm0shl81cIrqCMquegyo4buqnjIp6hC7nALTMHRGJ&#10;RBnJPAPQgAccEjHPNEIOLV3/AFoTJJuNMn2+XGwRFADDzSxDMo3KxH1O1eR1545qLJQFXKKFTJCy&#10;MI237UBznBAbBxkg45yM5duOd5aILwpwCZBnABz6cn8uB6Aj8wvIohMg3b9wPzPjcTyuD1Y5PYjr&#10;gUkr3TD2dtVt+auOYARoY1jDKzb1Ujbnaq8kkbjyxHc8nGAaVWTdEqKX2bX2Hg5ySAGGMMOOoAxn&#10;kHAKQncUOwhGUodqkgAAAEddxwDgnHT3xUkUflnbvX94S8gU42/MAMYIOAFIPB/1i4OelKzpuT/H&#10;0ZcpxrWjDy+9BhWLbwxAcRZK4Me0DOTjuAMk9Qcd6nMKplD0wGBGJSuMjkZx6HIPOBk8CmMX4QjC&#10;Z4RuWYEAnB9On657UjfeUNxGwXMByWGcMDtP4jjA/rKUrc2xV/Zw5rXaHALnkptKsNu0MIixYZx0&#10;5wc56kfnLkSEnMIi3FGK7kcjr8p78+n51ECBGdibQwLqANquxzkscZ67cflUqLGfKI2tJk7jlnQh&#10;SWPH8J/eZ9SCevSm0r6sSdVuT6u1vluNlQqEZh8pIA3P8y/KQT07jH12j0FJG+0srKrFpTtIOVBy&#10;QCPoePfA7EU04Plbv3pMZYswIErLjhhkYzkcDrg/SnRsVmUBtq7TGTnAbGAOnJ4GcgZziiylpP8A&#10;p9hP4077vfz/AOHGrHKXaRH3fuwJTGTsAZicHnttU9MfMvvicr+9E2wqrRAFwFByOQypnvu7n+Ht&#10;SIZN5VFMT+YxVnO4EhSBgDnBIXocBSDyTy7Me5gxby1kxEdxO1cAEjgcAg/5HMSblbXZ/wDDGtNx&#10;UXy9LIVIdzRuGZhG25MkMSxLDGew9ifSpS5hVlWJQ24MAxyM7QBtx3HXr+lNAVSUzLI5GCfmaTqA&#10;oIAHJz+P4UPukZZY8JG5DNvBkYDkHAx1wc/5zTSlGaXQlWceVPoGyLejuzKGG6TI5OeC2eoA5PT+&#10;Lp2qSQDapLNgoVCb8k7iMj0BJVSR2wOelRI+Qigb025ZWXnksDlcdACP0/B8gjCoi4JOWBDOp2lw&#10;zNnPUZbsO/NVGL520v60FBvRXtcWJAZFyApeUfMw8wqCGXOBgAkb+P8AZpwdh5e4o+NwGAQxOWyM&#10;cYxx27CmFjtLJKqF5PMjjdO4GeAMEkbd2Bz179ZQ8CCGNlby/O2lXPytngc8HuM59D9aSSnHm6v+&#10;vwHFuzUn/wAOJtKmST7y5+YOMkgkdD6ckYHA47DFBYKmd2AWZwrksWbAwST3HbIzz+YHUMyDYkcj&#10;qSqyYbJCrgcdflzj1yfekVmCk+WN6/vA0igglSBu/wDHQQOowPQ0Nxlemtv+GJ5vebh8PW/fRigB&#10;1KSEhS27GMuTjO89z0H5VN5uAx2oF2bGPD7BlD359OuCeR9IgXO2SKNVhUnemD5jAhjhQOuOnPp9&#10;KToZQsZCoN5yP3khGCAMcYyMDPcfjWbbkm0rWsbQm+WKtr3FLwSIRMI5FjVgd5CiMcZJ7nnnPUFR&#10;g15T8Qfif4S+HmnXVze31pbz20AklWZlijgGQqBuQSclQqKCzEEAHGaxPiv8U7TwRpstlbBrnXbt&#10;UTNsS81sJNwQogGXkZtgVOMgE9uPGPAvwV1vxrqA8e/FZpkiWRr/AEjwxKSYrIHyykt7LgBpHUsT&#10;IDkFMZChcd+CwUatOVavPkorS/Vv+7/VjlrYpUZKjTjzV5bR/lXeXZHA+INZ+JPx5Bt9D0TVdH8O&#10;PIxW+uCLXUb5MBjjcTHahwjbdytIQ4OBkY9Esfhv4O+EnhC58QXOp6Z4ZtnsjPHLpLm11fVJSFjR&#10;Z9RlZ7m4YsyAlCoJLfLg4B8Sv2oPBPw5tptC8F2J1ebTogofRbJJba0cAhsOxEG4bfm3FwB/Ccqa&#10;/Nj4ieN/GPxWnvL/AFE3K6ZZyJDBYx6hJPpmnZO1DNdkjzWI3Dy7VBwhIPJNfY5TgcwzSmqOBpuj&#10;Q/md7tfdrdHy+YYzBYBqvndRVa0dqcenlbp113PUvH37SHhyC7sfD/hHT/tuq2Mry32uTWkaTmaX&#10;y92ZTucRqY1ABJJ2k98V4f4k1iHxLLHKb/xp461eW4VDaaXEND8JaddSZCJnZJNcOB1BMZIU9ByP&#10;O7G60TQ7S5u9U8DXnieWRmjjl1fU7rwj4espCQVeKO2dbiVlUgfvZCxBG4EDJy38UauLu0ntLuXR&#10;bS1kW5stI0i9vJ7a2LDawgleRnXzFLoxDksJCM4Jr7jDZHhcG4eyi5TW8n8vXTtY+MxfEGMxikpp&#10;QpyXuxT1S89rt3PZPH17G00knjXxjrvh02totho3hXw3pS61qUUMKBRFLezXEMdsvzkErHM2CwIJ&#10;yK8fk1TwnLJG+i+Hr698qPZJc+JdVl1NjIMsHVYPJCgf3Duxg/Mc4FS+iOq3F7e3r6rcy3U5liS9&#10;mLuxcsxG5zwQO5OM5rS0Y+GtL3rrC6jLDCA/2TTLdWuJieAqyvlARg87WwAcg9/Vw9GGHhzRilLf&#10;RW3ffc8yeJlXk6cptx21e3RWWy6+h1enaloyWkU19Fpkl1tEVpZ2Hhu1ltI1f75kkkVpZHHGMkgc&#10;4PArl0v9t4p0yxtLRInc+Vd2ihVz99gSdi9hjbxnqMc68HjDwC+QPClzCSxWS61S5m1REUdQLdXi&#10;hI5zyucjPbnrNF8RaHfq0NlregaIx2hFj8HWdk0W3DKPtFvbGfORnJZiTjOSBgvU5m581/uSDkoJ&#10;Rp0VFW3a1b2v+RknxfrUcEP2yysY7SKYTR3M80cL70RQxinjkHAGPp2wSa6B/iP/AGjatY31noWq&#10;XMMYitbie4Meq2ZIX7sitvYYUHbLuHyjGOaju9Z8T6bGYdN8batcrMpmEsOp3C2NtkjJffhAevLe&#10;nJFepeC9E8ZG1sodc8W+HPA2kHc1vqXjW3hv7a6R8SPLb6Uttd3kyfOTugtjvyTuwSa5a9GLiuZ2&#10;S7vfY6aNarRlyRd3p9m+jt/w/kcv4W8U+MdDhW+0zWZoMy7msLTVTbSg8nHljAZdqZ4P8VfSPgb4&#10;yeOtT13SdUstPh8R65Z30M1pfeNdFsfEk+l3ERGJhdzxu8IUg5dHU4O3dyM8tBpPwjt5buTW7XX/&#10;AIiXBYTGy8K2dr4CstRJGxvsl5OzXESnEbeXJaqFGcAnAPr3h7V/gnpfhoWviP4Cap4M0uWdbm3a&#10;Lxr4s8W6vqqr0lul02405RHlSHkkRx82IwGDsOao6UYNp62VrbX7HfF1Z8sZ01fXWVr7Lofpb8LP&#10;FfhD4meJD8SfDFr4dn/a3+HWlR65rXhbwTPdaF4L+L62TJJImn+aAk15DB5sOFZGkiLIsuBhZ9a0&#10;7SviT4ul8Z+BbyGx+Cf7Q/hPUPAmr+BRp48CT/CrxHJbSrLpF/Eg2tPpt4ltqVlcTLvmiIz5mZCv&#10;wPonxZtvBus6V4v+CXg/4baaLKaGaxnt4tb8S3tnPGrqRBcXuopfqSpyUZWKncNzqAT94eBfG/h/&#10;456V4k8UX2g6Ml74wW20D9o7wzpL3o8P3rxtLJpnizTbSRsJqFlIonlEeJtomVXYMrNzKdSPu1Ve&#10;3Xpr/X9M6Iwhb29JqLfRO7srbOyWu+nU8X8IaV40fUtW8B+OfBp1H4lfD95vDnjDRdS0/ZD4r02K&#10;3kguJPtOSQWhjOGBG9Eif5ij48uh8I/B+W+mg8O6jq/w68S6ZrcllNeyaqbzRNRQMVEqTMVYMWII&#10;WdcgOFIGOPt7xrZ+ItA1vRPH9h4pj/tzR1tfCes6r/Z//CR2D3UFksGm3kM6OguLPU9PgtpD5pUy&#10;TWzsR5rSZ5fx/wDC7wb8RAfG2gaTE9x4hA0bVtE0LRbe9S21FQsjSi0vrlTGZ3dk3RTK+1wuxyFF&#10;TenOSpX5f17ExhVjSVWonL8Hb+v0OZm8O+O/D2iWd1r1tofizwx4lsItNsPGvha8W9n8NXatI1s9&#10;7AqGazn82EgSKqRFD8k2XTHuWlfEC9/aD0nwfb+IL69v/iho0dt4E8QeN9LjWfxz4jjklcaRFrMI&#10;O3WEYyGAGcSXdv8AZYfKuNshQ/Cseq/EX4Q+KtR0bT/FeoaNqEdyWh8OfEPR9d8Pz3kMhc4t7ySA&#10;tFhlJDzkxEquDgNj1eOzOg61ofxbTw/qGiWHii0k0XxxpugXCammoB1SO6uIhC0lpdeQ3kXcRyHV&#10;ljClvm23UoSjPnta/no/QtV6TpNKbclrZ6cun+X5anUfE/wlqcV9q/gzxp4YSz1nwxeix1u0spYx&#10;p+rSYJhvNKvX/e2U6Kwka3uEJEjFJI4yHx4Hdad448LaJqFzoOpWPxG8C+WbrVfCetWdvrNzpJRT&#10;LLKdMuBI9vIVG7z7M7eGJC/MB7Rqmval4R1ew8D/ABX1631G38RSm70fWU8UTXvhrxatzGhtr6CZ&#10;5jc6bdXCSW8vl3SmCUybVldlYJ55rVtF4O1/VrG4W5ihhnW68P3Z1AJNas0i3McV4oyJY2QiNJoy&#10;QpBZdwLBsIYl0K3s6ystfv06m6oRxGHhUotyWlnbS1+qOF1HwR+zl4wvbD4g+CzefCrx54bE3ii8&#10;tLmdNX+GWsTWqNM4mCj7Xpb+Y0ICL9ojkYjaigtGPAprPxf8KbD4QR+OrPU7bwl4yi17SLzxSifb&#10;9B1I6hqFld20xulLRhlcwho2ZZRtIIDNz9CfF/SfBviTwt4h13w55fhL4ha5HYeB9btPs5g0fxjF&#10;qN9HBNe4wYYJolgnWZRsI27lBVnK+Naj8QfFnwp+Dmhtr3huPxB4Z0X4xal4X8SeAfFqPNbXlrq+&#10;gWl9YnZuAkRW0fUJoY2JEb7mZSVGO6lXdeE5Sk5RsvXfX80efVoLD1YKlaEm990/de/a589+NZLn&#10;SfFdpoF3DJPFoUN01letIxkmt7tonROcqQjxyFGXPyznPaug+B/jIeB/F3xBja6s9DTxd8HvE+hW&#10;st1O0ERuG06dra3TCsfNee1hjjXHLSAFgrFh0nxE1rwH8alsvEHw0mv7K90XR4LG60PVXR7jTBAC&#10;EV5IwDIDnYhAVSsaFlUrIw8M8L3tvpXjnQINagmimi1g/aheD95NFPGLWUoSMKNriRQoxlNw96p1&#10;bwUo3V1JW62emqFUoP2sYTWl76bXSXU9RbxBLa3fibVLCzjt4PEPgWayspXnVVSS1sgVZ8cYKrBw&#10;cbsDgdByfhHx4194v+H3jvUZZ9S8R+Arzw9r+rw3KG6l13RFuI4Z4lOdzPBamWMqD9wjGNpzPawX&#10;PiPwFqkzywlvDq3VteRhSsoVHVYdpxkIwkUbSeDAeMAFvmGXxNN4e1/TpLGQmW68MrCLY4ksSjPL&#10;E8ci8qw274yCCMMevFY4aE1LTWStb01f62OjGVE7c2sW9fwWv3XP1J/Zb8ID4f8AxL8WaNdPBN4Y&#10;+F1xr0M+pTEW3m2Gl3ulok0TqrrG15Ek8cTAlA14AS+Bn9MPgR4r1rxv+xn8Ao7q6Osad42/b/bx&#10;z8Q5bqIyvrsWkeBfEep3lzGvOA6+LGOWJIWLBJr8s9O8a2z/AA38T+MbWaF7v4peC/Cuki48w6fa&#10;vNptxq02t/KABJPK/h2wideM/b3cEHar/qj/AME9fDfirXP2XvgP4b1XR5LfwXD+0FrZ18yIbMxL&#10;qXhLwHp0b3LHDxwCPVNRLlR/q7GUYyENd1CypzU5e7GKv0Xxpu//AICjz8Y6k3TlG13J2v5Qdvub&#10;v+J9AftS+P8ATfA/7Ll54C1S3trjxhouiWXxV8X6VMZJ7+98S/ERta8VExENtVrW3sIoTE6lETXl&#10;ChSF2fJXgIaV8Jv2i7nSviB4s1SXwL+w/wDs36T4n1LxLo3hWDxTeaD8Qta0a10Dw1/Y+m/aLf7f&#10;Lpmraus6x3Fwhkl0e+cyQoymP1+Xw9c/F/8Aai+FnjjxDrMN237QfxC8cfFePw7qVs7adZ6H4f8A&#10;Fdj4U8GxGBS+1LiDQr+coBvSJLgEMF2j82f2iPEXjfX/AIOfDTxT4Dilh8Ufts/F++8cC5sCbC/8&#10;UWPhi7vNJmS+mP702y6vc62+WIjj/sdwiqIwo8ihHFOq8TKP72TTXle0YJ+im2/8Pkeq3QVP2Ep/&#10;uoq0r7u15Ttvv7Nr/t657n/wUD1TwbZ/GPxN8CPD8/hvQfD9x8VvBX7QXxK1bxN45h8N6vr+r2vw&#10;c8I+HvDsECrHPf3cdhDeeI7n91aSoJdadtsRYlviPxb8MP2adY8SaXe+Lv2m/FHhGC51e50268Na&#10;b8FG8bo8enwC1DW97JqunuczKYnVrfyv3oPnjaSvp37YbTfFn9pvU/GevyadHaeAPhJ4Iu5Tpmlx&#10;Rat4hsJ/Bmjag6mSNVa5mtpHvQ8xDGO2gZsbF3V+VPxC8RXXiDxXJf3bBmW3jtY4lCxwWm6MM8Ma&#10;D5QsZ+QYGPlz3ye6jUrOCqKSbk5bq6sm0kvlZL0uck3hp4j2Dg7Riouzs23FNu+7d29fl0Psn4u/&#10;Dr4C+HfGsXiU6R+1n8TfD0thYI/i3wX4r+H3gLRLiOK2tba0leN9P1q4tGmCwM6XLOA8hjWdwN52&#10;/DXh39kfX9K0v4ht8Nv20/DHg3xNZeINEn8VL+0b8Ntd8P6Je2NvEPFFikA+H1u8U72d3DLFF57l&#10;kvoGLELtHwd491vVbG88J6jp986XVt4c0g27wMQgeKwtQrsQTkh4pQSDgnIAxXu/wr+Kmv8AivwZ&#10;4p+D3ifV3vtB+ImoXfi+wXULtLGK01bwxpN3eDUZpt8au1yqnTnaUndFeyZzjn11i8ZToylTSur9&#10;F9+zvocM8PgKtbk1t8Wsne/ZanpXjKf9mLxX42tdT0v4mfHbwLH4eJv38N+Ovg54e8Y6JpMFtExt&#10;rf8AtHStctpmWN/s0RiFk24ZIkGAjfN8Xwn13xJrVxN8PfHnw8+JtxLcyXpt9G8S/wDCG+L7lndp&#10;nI0jW0spZHYh5Clq1wQHHGSBXBtqCS+F/FutylxfatqNjYR+adzgBpLu44PJ+aG3VicdG6815fDN&#10;IYLwpGS+wx5chvKEkgG7nqSc9Ome1RRlOUlezl5rq9f1VzGSjSb5W4p+d9Fbv6NHtXwl8B6rq/je&#10;y0+bSJ7bUDqkbxaRrNo9tcTSbXkt1mgYKyxMwE0hwMwQSYIypr7Vv7KP4ivqHh648RxeG/hp4P8A&#10;D/2z4geM5/8AWaHocE266mhXrLqGrXc0iwwLhpZ7q3jVDyK80+HfjPV/BvgyHwpY3N5rer68snhj&#10;SYL6J7u80ya6aKO7FgH3SxGVpUsNkBCv5VwGjbKEcD8aL4axceCvgl8J7ttfvLvV4LXXHtwsE3jv&#10;xXeutmnkyb9gsrTzTa2hbG0S3ErsBIFjzrp4nFwoU9IwenVOVt/SK1820jfB82Fozrz1lK7bW8Ya&#10;aLzlt8rnUal42/4XLc3fxK8T6BJp37OfwDt7XwB8NPhzFctbeH3uZf8AS9M8NW5yFkurmO2+36nc&#10;/wCsn2l5CVEMaaHwn8Saboni/Uv2t/jb4Z0X4kw+ENZuZPhd8OvEFqH8KfE7x0ERLEX8ByW0Tw80&#10;1tdS26BvtH9m2VivlxySXFs3xFpWl+LvGvw0/Zj8Ga/Y6X8IP2ftA1LVvHHjyG3efTL7USi33jvx&#10;tcquPNeae3isbMHGbaw0yHdhd580+InxItNZhg8U2dkmj+EPCUf/AAiHwW8B3Ny17LoWmwM8gv7p&#10;gBG8zSTyzzMBm4vru4lbIB3wpRjJ1KL3uovra6Tn/im78vaPobSjJpYXFRSjGzqL7PeNP0grOfd3&#10;7o5/x7498ULrviLWta8Q3mtfFL4hXF5q3xD8XXUofWrL+0W8/UIpJV+UT3bMRceUq7IyIBgeah8I&#10;1S+N0qRlGBSBEs4wo220fZv95hz3646VuXFndSWoeQLcaxqt2ks0cbjfEjAyyeYTwoXzYRlmA3k5&#10;IGCL3h/w/phnl1HVHkv/ALOGeS0tHMUCFPmbzLg9kAT7i4OGwwxka04UaEbNfD/wNEJyr4udo3fN&#10;Z9tO77eS6K1iz4H8M3mp3lho9hDPdanqepRWsEFugmnnMsiKsaLzl3Y4UDgnHvX9f3/BPf8AYquf&#10;2cNC8PeC73RbFvjX8ap9Ovvj144uzNdp8CfBNxILnVdPjuEDH+0bqwt7mNIoRuCwyySFQwB/OX/g&#10;l94G8M/Di1i/aj8ZfD/Qdd8V3upp4C/ZE+EF3YR6hN8R/E9xKlo2taj5vmXb2WnOYFhQDbcXlwFJ&#10;ZIJUb90tO8ReP5/Deq+Cvh74mXxn8RviX4jf4H3HjzTo98Hj3xzrwmHxD8RaWNwT+x/C9hBPoGnb&#10;JFjur7WVUkopdeuVdxp8uGT9r1+fwxv/AOleqXc82tS9pUTru1KL067bza6215e7TfQ6H9kH4QW3&#10;xc/aL+On7fv7X3/CL6P4B8EajqXiXRtK1jWYm8JfDPwfoNxcHw9ozlZDFCsVmIWuWZ38y7lumUSB&#10;YAPzj/4Kc/tNePvFGsfF3xxrvjD4S2Hxv/aK8JHwHoPgrW/i1pnhjVf2bfgVf/Z9U0zwzaWV9JE6&#10;eIviAr22ra4ZGE9tozaXp6wKlw80f6Eft+fHr4GfsTfs16f+y9pml6b448OfBC4sdR+JemajN/xJ&#10;/wBo/wCKqxQ6vovga8EO2a40bTPMi13xDIgRGtY9KtmMZ1VZB/EH8aviL42+LvijVfjD4+8VXnjj&#10;xt8SvFuqavr3iG/jEF5qOoTXQuL27kVEWJVeS4nCJEAiCIqqhFTPhVHLETWFoJOnTVr9G2/el6z1&#10;V/5b/wAx7dFRwtN5hXg1Kq1yp7qK1gmukYqzfd8q+yzO8eeHfiNeajDLr+kO1jArTWi6Dqtl4m0O&#10;3hOWNw1xp880AQ4Zy7Pk5yx5yczwRZ3mozrfPavcHSWFhoNvORFD5sjKRuY4C5Z1lkbOSFA4xmuJ&#10;tZ7yzd1sZ5Iprx/kmJMLQRq/L4U5HmEZPfC4B+Zg31T8O/B3iC+8Dp49Nt/aMUmqSeH/AIf2cMAv&#10;dR8RalJtjnvTCAf3FqxRfMfJeWTbGMJM8fqU6U1C0I6WW3c4Z1FWxCqTldu6d9/P5Jq//DljxF4d&#10;8S6v8Q9F+AfwvvdT+Leu6pr0fhvw/pvgITOvj3XtRKC5NorKrvulDx/aJQgNvbeaVigKhf0R8S/C&#10;e4+A3w9vfgp8MLy11j4g+KdDbw3+0d8btCha+0y3sJFQ3fgfwTIgLtp080nk317GxbWWhWFVazaR&#10;bn6l/Zu/ZT0n9iP4W3nxZ+Ld0NR/aY+IuiSWcXhHR4bbxBqvgjR3EUzeFlmJaBdSu4o5bjVzDL5d&#10;rAotry5Crf26/Rmv/Bn4sfCWTwE3izwz4d1X9pr4zac178HP2a7O9N9b/DizmXEfiXxcFj+0XD7W&#10;RmNwEt/Ne3RjBbq0suVeCjB0KOrvaclopS/kT6pdenfQMPKOKnGriJNU4punGXZb1Gvl7t+u2p+a&#10;vgz4X+E/2c9N8K2vi3Rn8SfGjx01jd+FfhdoFmNf13Qbe7kMFlqXiJU3qksskm2ysQGluJSQkb4G&#10;f1d+F37BcfhWz0DWv2oZrHwD4U12GLxv468ASakJfi149nUlv7BimgeKO20y1MMR1LUrqTylZ2ih&#10;VgjRHc+Cvwk+G37PnxE0yy8JS6j+1n+3j431Vr/xB4w2PdeH/A2q3S7Gs9HhhZUW4iRmEt67vcRQ&#10;Iqm5tIBbRD0fxJ8ZtF+GPizWdD+F2jeHf2z/ANscwLeeNfiV4hv5L39jH9lm5jkllP8AaOoKIYPE&#10;+q6asG77HG8elwmKNAVYEDy/rVClUc4NOa057XWi2pxfxW6y0R3xw2KrxcKcZKLu+V6SfadSX2I6&#10;e7FXk76K7PpHxp4v+F37PPwT8PeIteufhr+wX+yRYalNf/D0aJ4Ggf4qfFy78uOYr8L/AATOPO1O&#10;/l+1Qs/izWlkjgWWO5RpIommX4suda/a9/a18Gav4d/Zm8HWP/BN79hLxFqMsHin9oH9pnxtP4f+&#10;Pv7TRzIl1qOvarbqde1wSKcf2FpJjsI8pG9yUiQL8h+Pf2kfh18NvijqPxn+K/ic/t7/ALbd8knn&#10;fEz4qaOmofCr4Y/ZoTMuneHvDbxpZywWIDwxRRQw2MYtL9szm4eQ/mp8ff2xv2pf20PHlloMXi7x&#10;l4lTXprbSludTvZNOtvEMwaQG0toI9qR20TSzqIrVVhjLTGKKJSFrnWLxOLn7LL6bm31k2oeblJa&#10;yS6xVo+u52U8twuGh9ZzGtGm1skry0af7um9FLtUneXVKOx+7PwS0n9kH9lTTbnxN8AfB2gftB+M&#10;/C0b23ij9vX9pvwZaWXwl+G8ulhGvR4SsfLuNH0i006K5tXeGxF5qMY1AxT36NcRBvz1/bk/4KWf&#10;FX4weH7K58M/E3X/AIpeDdMt76x1zxpqemXfwv8AgnczssENvbeGNMmuBq+qTxkTST6tekzSksfN&#10;CGVpXfE34W6ZcWnhbQ/jd8dvhB4i1/wp4etfBWl+K/jj4h/4Qb4Q/BrSrVEu/wCyPhz8LdKW91i9&#10;nMt2bqTVZdLupJJLh598lyy3MPydPqn7GV/438NeH7nVvjx+1x4qhvR4e8OWmk2Wmfswfs7LdqZB&#10;izvb+PVtevLWFY2uZLqfTNPSGOIuwBjXGkcG8TU9jjK/PHRNLRafyxVlbS36hSq0sLevhMM1V35p&#10;ayu+spy1v3a+SWh823/xA8b/ABYn0Xx3+0d400bwx8H9D01bXQ/B8tivhDTtasQSsh0Dw7aFN2PL&#10;Y/b75lDSFTLcMGUH7T/ZF8PeJf20fiifAn7PfgW48GfCfRLE3vxF+JPw7+GOp/EvxJpWh2aRwJpe&#10;gaXYQyW9xqNzsaG1tFyTLcyzXNxw8leYeBf2k/ifrfjW61L9lf8AZg/ZQ/Z71KK8YP8AGjUfhQ37&#10;SvxNvVhuSYtQh8ReOTqm2QpErxzWlpp8CQxriNMKtaH7TP8AwUi+IXjbw/pnwn8XftxfHjxB4ew8&#10;niaLwR8Qbs6x4yvLl1Fxa2tnBc22i6dYyELH5NnAwkVCiokOI374PD4VwoYag2tWorT/ALemldte&#10;u76HPN5hmXtHia8I7JyvdRXSMb8sU3/w7uj9av2hPAX7Xng74e6R4D+FP7HF58Gfhf4Y1pJ/Az/t&#10;q/F/4ffs6/B6wvbYwk+MfFDeKtcsbzxj4kncQsz3FnNp2mxoIrWxmzHJb/jj8Qf2QviHqetaz8Qf&#10;j9+3J/wT8+MfjvxFeOIvBvhz9rXxB8aNcvdSDA7tYXQfDt7GYI/M3C3lvLdbh42jEoTcB8jeHPiT&#10;8KPhp4p8P6t8OPgl4a+KvxTsdVW9uNW+IGpat8T77Rb1nVdOgih0uWBJr5ZQjhbYfu5FVVZuSfpz&#10;Vfid+21F4U0rwh4e+GPxN8BX/i+S4vLrwx+zr+yLf/DS5ls4/spMF/f6doI1XVZ5HkdpJ7i7uo0Z&#10;XQs8nmlulqtKlOpRw16jfuyk22m97X6edjgqQw1Of1etjuWn1jFRi9L6trmb9HLVs7jwr/wSp/aX&#10;+NiDxVqPxY+GF5pz7LW11bVtM1jwZ4LSJV81YotY1eDTtOigiLTAQqyRoEfAwV3fRujf8EFv2i76&#10;1tL+5/a2/YgsfD99KIJrbwr421j4weN7IqSxD2OiW0+mvsVQcnU4oyEI3ivD/h7+w78c59Dvvid+&#10;2b8Svil+yN4D0C5S01Ox1D4C+NPi5+0Rr9zMBBb2UMDw2eiaHLcTR3FqreItbs5op7fnTJ1KB/0v&#10;/Zy/4Jo/ET4s+L7XxZ8NvBfxk0fwH4csRrvh9f2n/Edpf/FXxJHFEyx634njsYDZaNayGOM29lHG&#10;0iG5Yyy7Y2kXeMsz+rKn7OjzaavW2t7vS3M1puceIjk8pczxFdLpaKXM+0feva71sjQ+H/8AwRk8&#10;V+A/CXjTTfg54o+Jf7Ynjnx/4Zg0fVPtnhNP2SfDPh7w5cFG1D7PfXVn4qaL7RsltkmuIhG0cjs6&#10;8BR+f3ij9hP9qm68UXHwq+HP7E3wOn1zVkaPR/F+rft4+IPihqNy7yBEtLfUtK8QaXosl9E0qg6f&#10;Bo4kViWa2w5D/wBLOn6R+0fraad8O9T/AGqPHnxRu/DcMemR/CH9kjw5Hrdn4UtbRDaxJf6zLI/h&#10;fTo44okjmKrqEimN2lMh3tXwd42+IPwB/Z68deKtM/aD+PfwL8I+JZNUVLj4fw+Kpf20/j7pNvaS&#10;SRCbxBbaZbjw5plyVgkhGl3u50zg2gBjNTWxNOg/31KPL1d/PZJdL+ZWBwVepLmo15ynbRWbdrK9&#10;79Uu66bn89nxT/4Jw/te/AKKKX402Og+G9Umljij0KwtfF+o6tfGZFdUWQ+H0Vi6FnwrNkKNpbco&#10;bx/wR+z/APHT4s+dpvwm8AeJfiPcWLvb63No3hvxF4jtdKwoAW6S201p4zsYkK8KklW4OK/Zv4of&#10;8Fnfh34G8R6fY/s6/C7xJ4qtPBd+mr+CPiP8ZPih4nspvD+ow7kjvtH8CeFX0HQbCQAwtFJKlzJE&#10;0ZB35Xb5RqH/AAWG/at/aFvLKz+M/wAdvgBfaTayGK00D43/ALMbfGvw/ose9vMuEkm0TUdSguIU&#10;VmF5aTCZVBxIANw82OOwFSoovBStf4vhVlte+rPRWGzlRv8AXo8z0s5Nu2mq5U0rebPmjWf+CbHx&#10;v+H/AIZ0Dxj8df2yP2OP2etKvdGtNdk8L6Zo3xM+L3xe0RZYUuVs9T0PQ/CUsUF7CGXzrW8v43ib&#10;1XBPFXXwp/ZAttQ/tY/twftbfHPUljLXsngD9gnRPB/hi4fasZUah4q8a7UAwoDNYFgQP3YPA++N&#10;X/4Ki614KhtbPwz+07GLc3qx3Oi/CnWfF2h+FdRIgZQYdH1y2idLaSQhZY9rEeZwgGCPOfB3hrw/&#10;+2JcrcX3hTTPAnjm5eVn8WfDu1sPAF48mHVZpLC08tphKDuYTwNIWGN3AJf9oQqz5adBU1teyeu2&#10;7HDAV8LTnLEYidR6Oyk4tbbLt5No4r9nv9mP4M/FjxXBZ+DvhZ+3Z4xurC0udZ1vVPA/j34W+BPH&#10;88CGEpI13/wjF7Z29sA8xuI5Y7gvujXeMMZPp3WfB/7GXwt8TWug+IbH9tD4S+MNPKvLZeN/j34U&#10;8daks8nk3Hm3UHh/wrpyH5WH7pJYQdwzKuAK+Q/iP+wV4m+EltqPiHxPB8Y/FXhe0cvP4t+GPg2b&#10;4r2saMzvG1zFFY3QsipJDm8UKhO0/NkHyr4b/tG/Dz4Z3M1p4d+Jv7SupWMsi21xo/h7V/Cfgiyn&#10;iRt2y8kGl25Qk9cPHgqM+lc+MrTdGMXBOz1cUtf/ACX9Tty6lgq1Z1ZzmklZRlJptve/vX79Gfrp&#10;dfBz4GfEU6fL4A/b98E6f4gu7CIQ6R8ZPC/in9nixgeGNHL3N5FeazBdC6WIlpoILKOIybwj+Yxi&#10;dH+xR/wUntop7j4beC/hX8avDFir3qeP/gT+0foHxa0hLZCgO60u7K01CFS3lhpDYso8xds55evz&#10;y0/9sf8AZ6GrwS+M7f8Aac+02V2t9a3Oh+KvDXj825VgBK8cl3C3mjqyo8YyfvjIYd7p/j/9hrxV&#10;rkWt/DD9sH4sfs/+L7mMXB8W/FrwJ42+E+nWF1GHRQ1z4auPE1sEGwb3lg8s4ORGA1ctOVJyUK9K&#10;Dle99Y792kdtbC4qhFzw1abhZ6WjUVt9It39LM+0PEPh79u6zawg+K2iQ3nhfwtEt3pPg2+/sq2W&#10;K+iuG8tdMmtHhj+1L5jEzXUTs6K/Q4Wp9X8O6xpulR+MPEH7IvxbutPn1OHWNQmtYNJ8TfDHxxpc&#10;kcP2iPWrN9Msrz7ObZ5HP2We+dysfIDFx6p+zv8AtY/8FM9M0i40X4CftC+Bf26fAM1lcW1xo2k6&#10;n4P/AGjNftbZYwPLfSLG8t/GFukaNgyPpf2cMuQX3COsD4c/8FQ/F+myf8Ir450Tw/od5YRwWuv6&#10;X4pvNc8GXlrLLAjNLJqOg3umataykABpNQs7kncGPmjZXqRxEIX/AHc4x6tS5lfuuunmeIsNia1W&#10;dSVSnNq1oyi4StppbRfi/wAxfDvwV/YH+NEmv3Vt8FfiP4IttdCpqFh8ANbt7Xwn4XVFCm4tPCuu&#10;aLPGgZixL6fq1kXchVkiQla8l+IX7N3hj9kPwT4o+LHwQ/aH8X/H34fxapbQ+Mf2X/i7+znq/wAP&#10;Pif9gnleNtT0fxrYarPpNzd2HlyTFUit59g2+bKNyV9afsxfGvwBb+EfEfgnWf2oPGn7H1nc+LL2&#10;48B+LfDTat8Qvgfq9jfTteWmn6hqemanp980cEkr2xlCEsHLyLGQwa14y+F/7c/wQ8Pz+KfDdr8H&#10;f2j/AAJ4t1u4vPCvxi+FXifV9Z0jXopYpJTY3EVxLd207NEjSsjOlznJZHH3tIzljqFrxqJLXVc6&#10;21XW/ncynTjhMVNS5qOqtdSdN/3XurdNLeVj8uNN8I6V8XdBtvij8Hfiz+0N8TLa2vDc/wDCt9Eu&#10;/Dyal8PLqPY8cN/d6raXkl8sLpLFKhCTBlYOuFZm878S+IviNd6tZxatdanKskZtbhLvSNB1K3mG&#10;XJGy3hhZOBt2wyRD5OEALCutb4wfF/8AZ++OmhfGDR/hB4g+Hw8T6xHbfGfw38Kr6dfDOu2aOi/b&#10;ZtKGnQNb30ACN5ixOjxja24hWX2f4j/H39hn4yeLRr+uJ4C1P4l6ndxWeoa7J4Suf2c/iPcSJGyf&#10;Pf26x6bfvtYO0k8Eskhy5YNy3lVqeHdSNLERei0dvzt17/eetQnXlH22Ds09HHm1i/Jv7PVHz1qn&#10;j/4h+A9Jgj8PeBrvRZNbDXD6prPhi1ttO1WNV2eVBqD3IuPK+YExkbQXJIyErz2T4wftEXUtvo9v&#10;4d8PaxqFzYtNYx+CjeXs9kSmXbzpdQSAzKCVww2ZRgAxr618Raf4BhOnz+EfEV1YXsJ8rTfDfx+8&#10;YX3hbw5ru5iIhY67ZWtzaSK5EbZnS135UBsncNPX/wBkf42xWWheK/iDZfDv4d23ihlgsfF/gbVb&#10;rxf4UuLeR/O+2yatpCXCTrbK0aS/ZvNmGAREW+8lhoT5XZcqeutr+XcXtcVCadSWrTSVru/fs7ep&#10;8L+Iv2r/ANt3QI2t/FN78WNZ0e3kgtbjTvG2hy6tpiCbLQLPOnC+YI38vMnz+W2CxWuFP7XHxX8Q&#10;Jd6bd+Avh3qEElz9oOn3/g7RJNRcgNkpcTot797ClFnGQOeK/Q7xL8Gv25LHUdL8E/CP45J8W9Pt&#10;tUjuoNL8HaTrXiPwzdQaVONStpRH4lh/sl2S5WNltbqMOJEj3RPtVa+TL/4MfFfwx4p1eb9of4Tf&#10;GPx9qU16/wDaGreFrnTPAninT42W5+0xQLbWV1pNxIJZHcxBlWNo9h2kkL6KwUZRcqd4xeuk2/wW&#10;p5zzCdNOlVcZrzpqNtt3az0/E8A8QalpfxCEEfiz4B6fppuHG2+8M6VPYwxSgDawiE0qAg5OUCLk&#10;dWzXsPg/x74j+HtnbwW/hzxTdaJH+4S01XSpmjg2Fvkgu1+V12KpAO1sqwCsq7q9T0PQfjIdOtB8&#10;CfE/xa/saFDBq3wu+Lnwm1r4S/EOC1kBJNlczW66ZqhidSfMs7keYIlDRr5irXz3YftNfHP4ReLr&#10;7wh4u8Q/D1tXstQdpYPE2jJY+JsYIXbacXSNtC/dVdrMegBx5eZ5bPFUlGtTlOC21u7fPVHfk+ZY&#10;SlWl9XrxhLrpaL9bO3p8z7Q8G+P9G8cWpk06f7PewwAXunXMbW97ECp52EgkcEb/AFOOxx1FwWIJ&#10;IBjRTIqbCJGCqXIGDgnAPpyK+Uo/22bHxRrWk+G77xS6abrM/lrqnhowpJCZFxJEkGo29zBIwYo3&#10;moACMZz96vW/EVr8SdMdp/CevW3iOCBVlhsvHWgWeh3epxyKCrwXdg/leS6n5WaNCyuNwQggfn+N&#10;yKrS/e0YuMLaKWj12PuIZpRrQUZzUn3jqrpL/hzvpT98lVlEUbBUjXBBQFWwORwcEHPIJBA6mhcD&#10;arKIyNwEYwFXy2Yq24k+mQMnAGwEAHdu47wr8dPBOh3cWm/HL4VfEvQ7q4n8tdT8KeKrG38PvuGE&#10;KSTWdzJtznJBbvjaMKPo3TvG37N2rWktzZfD/wAf6lZygNo95a/GyzXa7biDcAaCS2ArkKoGQVyw&#10;AIbx6mEjR1qSstOje39PqdMJTTvSjzRXVNfirnht45A27o2TasZj2434J2llA5IJGT6N3rJuRu3p&#10;DHJtKyAqoJKqu4tuwDkZUjjI9Ole42OofAiaCVdV8E/FGCSVw9rJo/xL00RW+8YQPDPob7jguCd+&#10;3CgfKUYmmll+z/qzus/iD4y+DRHiG1u7zw/ofjWwl6czRx3NpIhAIYsvPz9BgA3DDUlNuNRJteY1&#10;VqxbVOm+X5fPr6ngN0DHGXUuWV2cbgqruyxGMcghdvuNw+tZUiON6kIpY+a2SFZgVBAx9CDnryPx&#10;+tNR/Z78L6vYQ6l8P/2j/gp41urqRUh8L+IDq/wr8U2ZdCWjf+0LdtOZgwZcQ3hz8uAMnHiXiz4V&#10;+P8AwMDc+JPDeo2tpNxbavZsms6BdI3JdL+3MkBUhEx8/AVdwFOOGnFXi049eV3Mo4ilGpy1YuN3&#10;s00tu55bIUaNdqsGR2jLH7qFgcE85wdpGccHGTllFZ0p++Nsa4OFULgoMn5emerEc5GAB2rRkWLY&#10;XLR/OzSCOMb/ADvnABU4xg5POf4eO1Zkrht+0sFbO1igYL8wG7JGDnGMnrnOOlc8Y8sml8y1yyVk&#10;/wBfmVFdUldnBeUncoQFl/vMQOuSApJHUdec1Aww6lV9WAAB3Mdwb6n8M8VM7BwJFaNWyVRVHCbS&#10;uOp54wffnPpUEjEIDk5ZmIO3C8dW3fgwPbJGB1rSLi20tG9PuHeUUoOF9v8AMrPJHukkL84YBhkM&#10;CvRQ2QCACO/HoSTTIyx3NhGdZDwT+7ySSMjoVBIJGcdOMDFTbIhuSTDkcjAZcjOVB5HQhDx/dxVc&#10;KuXT96EKlQQpVonIOcMCPlOSMjnmhO91HS3X7hRkpNab7+WiHMxVEJicMGGGIzKgOVByOC2MZOTk&#10;SNgtmkywKryAE3oQCoUgHkAd8+nrSklRK5YsQWQx/dI3g4GBhcYJHfp3poVTsIaRWyAyryoGVz8x&#10;5I5Y+pKjkk0+XlVn8yktqcd0SKShUSo2d7E7CWYsGU8H0wT0I4YVMI3kfzioVFxgBdjRhV2sQAOC&#10;STgjGB3NDRhWJXL5bzMMCdu4gcADAA4JwOwq1FEAEYHCMWV42b5mBIBG7PrnrjqOgqedcvtGvmKS&#10;ekYr4d/O4ka+ZIrOqhg+W3sqsmcgFQfmOd49cjPpxcEMgKSAkbXLRFCHdjgfMCOc8g59CPrSwRKF&#10;+XcoxgGTjAAwTkZ5GDnnk5z3rStrdYlXewKIOCBkornJIIHqUGTyT35pxjoubb1BJ+zcpK3df16l&#10;WCEFxI0SgJjY0xLxFssdo7DIU8A5OG7AmtWONUhz95k3MUADKoJVuGzndhmOeO3AyaZHAzbFJC/u&#10;gs8RAdCfMAIK4yc+WRkjqSDzzW1FE3nDewkkJaUxIQM5yzYUHHCoWxwPlHGBgxU5FK8F0KjFxjKT&#10;3692NiAd12kyjemGfH2hsbgSOM7sqcnOVPvV6KMDy/lDh0Cv+72L8rHcMDjI3ZA4yBx04sQW02GA&#10;jj3HC8YJDAkbRgkZ3FRxx83fOa0IbffFCIxJJ8oQCNjIsg8vC4yOeccH29cVMm5RavY0V6dufe7M&#10;4xKFCuDuJIG2NVZgRgrknn2IPbOBU32VzJIr7nJl2q287RxycenAIzx83c5xehj3quTvXydqCPh3&#10;3OflQc5Y7lAx6e/N6WBQm5I1EbYEgU/KmQijAJwTw7HHOD9QXyOMUm9V+ehFNJtShv8A1YwTDksy&#10;gktlSGY5IU4YnAyf4R9T60u2ABY8KxVGTkZyATkAjuDz3yckitryCiFYhu4WLZEgJcggNls5xwT3&#10;Bx7ZqAW5YFgqYXMgLOQ5DFBjHc8ngY4PJqpTTdupV6rk+X5+ZkmIbWTa7I4Ur5b7QijcBgn+Eggc&#10;8Y+mDAquHXKoJIz5ZRQZVkIAPGe5JBAx6d63DAgcNGrlXLSPuYl2IRupHOF5Yg8cA+hqKSMB0ZCc&#10;uS4KAMRyPlVTkjOOp5xj3rL4Worz1CU5pwbvbZmKUmfYWSQCRWJwx3Kcru3Y9dxweOOxxwqRwhSx&#10;T952eTKZx91iBz+fQgcdK02+ZhHGFwxEJHzOYwQwH7z0AViWOcbgACScVxHl4hlU8w5Cvnem1sEl&#10;eAckj1HI6HprdSgraW0NYwtD3lrL/gWKSJGuSykSPtKhgABgnHfHI6HnnHfaaVgSXJRGdwQrH5Wx&#10;lSzAAYyGVl3Yz97kkDF1UJ+VNu9YmWUhi6gkkHB428L0HGCCOwqFQgLYyu2LzTtyCAw+XacAYDLj&#10;PcLjrzSXM2nu/M5p2aStf0IW+ZoshRuI8sGULvJ24A5HJJHT0GOeliHbHlmMRLxgI6ZK4++cHPy7&#10;ghUDIGX7EqAqAYkLM6AR4iZl3MT0G0n1BJ9RimqpTyxGTJwXIRCj/KXKjHGMnb3xtJHPAqpRTd09&#10;P6ubQknVlzLa1vPb/hy6JWYOHCFQSqqUwXwYwQOM8DnkHuOpzVgOoOFDkMSPN24YHawPzdiST7Z6&#10;iqTyRYLSMq7JirAs4RlZsfxEtyxBwTnn15q07Z2oQA0b4Zm+8wUDBIyAQBjj2PSnFRaem2/zBOUl&#10;KaWv5+RfWV4wSjIAkhAR32qofdjaTzxjGe2a0I54AQj/AOqOVJLhwc7QoBzgj5h0OOay42ZzHsxI&#10;N4kRWXc5P+yB7859cZxxl6MgZfJRUieRyrBy6yIpwAcADIGOeBxxjipjGDk79SoznBpy1NoSReYk&#10;ZdfnjDHHIBKg4x0ySMHHAwT34Y0qtt3Zj2FnXYdykZ+U4GPp3PGeeQKasfKdmjXasoR3ZcKOHPHf&#10;J2bcHnjOeDULXSgs2wRZG4sUHzspUhVxjrlup9DnkmlypNyWxM3NtU0rXd/yNMOoJlZmH3zliHcf&#10;KG27T2JbOR3z71XacMMSKI/+WZjGSeq/NkEYwfLG3GRjsQazZrgqVjbBDIFcDO0kALle2SOcA9zj&#10;jFVZLhZGBDssjvnkjn5O456YJPI6g49Yimk7av8A4I4JNOmtNNfwLjy7FVsGRQAkwAxIBkEhvm/2&#10;eR3HOAeBnSzSL+5JGflMRAGzBbace2MtjpnODk5NOScHAR2kGCSHYhVYEBju49uBzg496qyzq7kR&#10;PsUqxkYsQRt+ZcngE4A4GelWotP3Xr1MUl8H9PUuS3Cb3KAxycudnDDBJPPbGAefQGqMzNI7IQwa&#10;NS6hX/1bAEgDsRhFAJxgsp6Zqu0yyCZZCSQy7GJLIDzgdMZO0nt0qlK+WLBxvQgqpK7GCk/Ng8+2&#10;0jBBPXJzStdQ1u+v6kttpx5dL/8ADIfJMQjIwOQzSI0bsMqCpAQdDgoRnJ6exIobwy/KWkZXdyCc&#10;KBwRgA8scH1OWHfJp0js20eX+9kUkqcsRjG1s9cHP44OcZzU7jCMU/eMWDndkKnDggkjk8oTtP8A&#10;BgA1qoun6/8ABJadRN7f1dL7iBGGWcCQlACEXDBgNoI2gYAyJADggBuc4Jp0zMzvuUCQnkkDngsv&#10;y469vw/CiLKlneB8EhRGxLFRngk+m4hSCf4gOOaeVG1WLBypILNyAccgZ4zyMHB+8B61UVG8k3oG&#10;rinHdakQ2NGjEHcj4ZguXcfMMsWweCF+v858KckgsGjIHRWBDZHzdDkEjk5OfzbHD8p8wlg6bROC&#10;UVt5UHBH94Z+vI71fZdgbyhGECncuM4b5e2AMBGQYBPToRxSctVTi9uv3fqxQXJzKp9/n0KohVti&#10;oEHBbI+QAAngDOQMjH1brmrAjB8tXjWOAJtR9odmUguGPsEJcsc9BhhgZsLCRLGYWQKsjFwuThtp&#10;IO3GPXnPG/PUVPGhc4CsSspDkfOFBA2nOc+nBzxjvxROUeRT6/8ADFxknNxitH1/ryK8EGEDOR+8&#10;gACtHgDcOAxHYcjI6gY4qzHb794Rl5mJRiC3APO7GcbsY759R1FxI42wMKGUYVlUqu0EEbgfUgD/&#10;AAq8luymMReYryB/LfOVA2vGhBAwxXKEDuY6hSbTc9G/+AEYxjyQa23+f+RmLHw8asCrbQ6jdkbg&#10;y8EenrxyR0xmrkcDqBKIwQx8xNqYchTvx7AAZwOMeuAa0Y4lk3LEgjC88sSSfmYnqegGeOcAH2pu&#10;yLb8zB1XojIsrPgHduIGRj5fvZPPUcCqjbXl/rYpQVSPNDfUroFZ4omESnd5ojZC4b7pbHXJAA+h&#10;AzV2OOPEQKyFdwDMQQFZkIdhngYbBAyOCuM1ZI8wEiML5soVgGO6diSoJJwQf3pGe5Y9cmkc7lZG&#10;IbczbyRumJKSYbAG855HGQS6n3qUrz9CW2r63/pbfcRrBGodWWNQgULGoG7AK42H+HqDj1Q+gqzG&#10;FJTyomeJgS4UHfINwO4++AT74P1qZwVYvGhIlIIJG4AFySyjB7kDbx9R1qNztGFAUONqrHhSpVWA&#10;PJ7EnGe5qZe+3FdP6f6GiXvpSVlp+mojgKMTMh2FZWfymRmU/MCcnr905GRgj3pkSqoRD03qWJKs&#10;qYAU8ZB4yTjOMEegNTuiNucZKCQKvy7MHAK569ex4ztP1qJ2QYR1yVkLyK5aRlGSGXkZyQpO7BJ9&#10;OMVtG0Jx5Fro/KxmoNScnp/w6IWtriVjIZkhLncYkcBUz2GSD+lFRStM0khW3jcbyNzyFXYg4JI2&#10;nvmiuZqbd0zX9x1SuW2CPkM4wRsABGH4UkgjOMbjgHsc4GMB7x4JKTGSRWfzBk4kySG59CxY5HB7&#10;cUh3xEgwOGiJBQMvysOSrY5GM4JzwVOevD2YswYLIwIw2QIsMGyuM8YBxwT0Hc8VlN20i/66BH2L&#10;vJx7DGXf5O4SRrGxcIzZjIxjAB68sTg56gY4p0Um4IrL5ahVdlRzuA5AK9duXUA+u7vzTsNlt7ls&#10;x5behY4wOOcgY6++aasWHLxwxuHUpcK0YmYDJ3Kd3Tkc44wcYxU8yhTT/ruRU3Sj8L0d/KyGsySE&#10;OicKAqlsmOPajFlB+u4YGMbz6YpCS3OwEBuZN5dXyScA8kfxZ9jxjPMqrIAqkCOS3Py85EgcYGB3&#10;IIJ+mefmpnERR4sOS5YgnzFG1uMjG0jg5z1Hb1HJO81uzoV3VTS0aGLNvaZZArHzvmWNwWUsinIG&#10;T2PU9uM5yQ/zGaTyoypDjeFD78q+0855GPXjGTUY81D8oWMNJkuJNp8vtuOATng5JJOMnrUiKrsG&#10;PL9H3P8A6wb/AJlJ4CgD5DgZwDgDhqIWvZdiVJPfS35jT8rKkaZUkF9zYYjO4kn0BCEnBwSOeRT8&#10;hzumRQ8khDiSMARKAAc89RjIxxjHPBw0NImwbRiJdisT5svIJOODyOuD6DGB1ldPLMSiPaYAPLcR&#10;7C4AIBUehwvbHPIyOW1Hm5E+hnDmd2npf8NPzGKqriVnJ86NX2swOGAXKEjOMluSf7lSpgyABzl4&#10;mUqcKGBztx0P945I49M4pN5KmbexVB5jB1I3liDgE84GCd3f5egJwyTzPKaPyQuxSFIIV13cZwOc&#10;Db6H0xjOEpOyXQbvOUXB7fkiVl8xSVBkkZi5YgtJkhRwcgY4UZ/2Rnmnpw2H3BiAHCnaDk8kdySW&#10;Jzk4AJOc5CBnLvOQgbY5kLKiuR82RjPOdxxjnj6UwROSUd22J80bBcbcEY29R3UHnufWocE3ozVt&#10;xkpp6f5kxZC6SErG2cyBgVGFOT26D8+2e9OAbAJHytjcCduDgAD5eSMggHnhug6UPG5Z4yxjKRbM&#10;I4XpywAHIJ3EfLwcc9KRCgRZAGSUnbJwzBiQNynPU5Uc99ue+aVoya5Xfp8hNyTk/wCrqwSy4CHY&#10;jyF1IBACktw27PGQCOcY5H1DneNTCGBUAbiQS0aAbh7f3cgnBOcDPGWuwlZ49mSuUZG+86beMsOg&#10;LHnuN7+wp4K7gZAoALO7OxwC3O5fxVMrwBlj1OCJ3acVtv8AmNxSTal0AhEZlG4iNMyqpMQ+bIbH&#10;Oe4yM8E+tOBGTK7lzGAxJ2g4G08k8ZJx3/DmnLkMEBUSH5C20HDE7MDtuJYcDuD0qJd3mlvnKopj&#10;ZckpIrKFDMO5A38dOB32mrU+eGmhMKXNeUn2/NE4baJI1iV8x7AQ21VAbcAffIyfSowSGZHeTzVO&#10;xj91sYcpwD1+Vx9QRShBvVVXDPySwGcAegHUZyMev5qZQfulC6oUQK5YMMKSB+h9MLxQpK/LfY1b&#10;aaiu/wDlcsbI3XywCu9tpIOG+UEBT9QD1OBvGcc4YDFt87e0jkGQS+YMv06HOcEnB7HdjuMoEwyI&#10;VLszZ8tSQFwAenUDIJyf1xUxB8uNMooZ9gUgJFHt2nH4kA+/lkA8Coc5J83TUiMGn7tlazJFnDho&#10;1bhA52q+Nm9VIU5PUhPXOFHrSwgmVGIKxfIN0bB8ndkg55OQRg54yeuRgRQkisxwynzJ1jU7ckYH&#10;BGDgE59gKklBUDfEgAAECkBVBLbSd23AyFz0/hIBOKU3GMUo99P1ByboubWugjFSAPuqymR2Q/K2&#10;SAemOcZ6919s1LG65UMu6PAG4SkMvIyeOORk/gM9MljGJCqREysxAZnO4pyD9364bn3oXOZFK58o&#10;eWCMMXBXIfHQ446dOAQRQp05RkpfJlqcrJdb/wDDiNuKsrqpZo8MiHIPy5fA6EAZJ9F3ZIxTmKEh&#10;WaTACklzsCn5sAZ5/hDe27HYsWzBxIQ5YLvXfIsXbBA5656fr9aeQRFGVcvIAm4L06HBIxxkqf15&#10;PZ2hFRsr3JUKcpNW/rQUEqGQbuGk3yMmCu0tgZ6Z2nnk5IPpgLGHG13VowDsjRzlgGBwxOOmACO3&#10;zDPs3DYVSw3eZkKqZLZYhf1zzUkflRMkRQFgxztXaYcgcdsgcDBovFyt1sTGMXaL3V/+GFjQrEAG&#10;OWAjyxDMT8oG4+vUntkfSkjJdgdxRg7RkH942B/eOcgnPcdAOO9M8wjd+7IYHcBjaCpYjODz78jO&#10;c+9EOVKGNT50hKiJlLSbm/hYqSOw55HHWhylez73NOZtqctnp+Q8geaRtI24RTvAEnPzHHpjsPr2&#10;p7+QhRFRg/krGF/1nzKNzHnIwMs2Dkduww0BmBzsCowQnjuDjdxnkA9eyn604KzrIshOQfKOH4Zf&#10;vDjtyWHvtFNTSajJ69Pw/UUYNydt09BWXzwEAKlnYYQlZEHA3AnvnOP93p3o2pIUdiQORt3qXU55&#10;J56nPGMcHjgDDnDGWPe7EK2XYyGRkbhueT1PODj7x/AR1XMhztQZIyDs5AJwfcdaUXBLnhq/x1G4&#10;uM+R/wBbDonjTDRpDEEHmBtxjYncCSec9uPp9KQlY5NpBTzAyhI+FXnPQcd8/jWNJq0BzFZrLfzG&#10;TYzQASwrtKvtY5x8pwPUFcY4xTi+sXUhVI7O3idgYzKWlkyAdx2jCjDDb1PAJOOlVKE4y9pFaPQG&#10;0rX+L/gG0wBKRFTIjqCU3jIbJw36dD04rzr4hfEHTfBeh3FzcSmTUZcx2dnEhnurhiy5kMfJKRgs&#10;WOMAE1l+LfFes6W0eh6Jdx3vie8tjJFElnm00+NAAbu4DZ2r87AL/EyAA8mvm3xjpkOjQSeKvFet&#10;yX9zq+ox2cuq6oVjaO1VgZ1hi2gIjg5SONcBcdSxZujA4Opi/wB5Vdoaer8kKpi4Uoe1pq8rX8l5&#10;v01Or8MeF9Y8Vz/8JxqajSLeJzd2OoazaRahqTrsHm3AgI8iKTCsQRv2rsXnAr54+OnxY0y01VdB&#10;m8Y63qWm+Wzak0uuPGdQOCHt40TZGisQxbYm1VbncxYLzHxb/ahg1C01DQ9O1S+0bQdN22qC208R&#10;32oNGrKkbIzoY1GwZOGYkncAfvfndr/iz/hL7y4nubm6j8oPFDOyF5ZBuyqE9ugOOnHrg19/knD+&#10;JxVWNfFRtQj8K+S3PiMwzujgaUvYS5sRL4nfTzS+R6z4l8Q6Fr0l/eXrxpawxg6ZoPh4R2GktJux&#10;vvZHPmzMFx91eSBleprybVrrTbWC0nstYuNQ1yQlPLFoPs2nxHkoJ2b73UlUjVeRyeaXwn4I/t+4&#10;illlc6Ss+y6u5biO0AAyzKvmOpY4AIC5zkV3vjI/CfQ7KwsvBr6xqGriZl1Vtb02C1ttikbRbsk0&#10;jNuY8k7TgdMmvvE8Ph5Rwik2tFZLZebPhb4rHSlieXltrdu3bZddzyiykvpbm21H7Uk13C5EFuSx&#10;lh2jcH5BAAIyD1GPoa6D/hMNas45IVvYp5SX33dxGl1KhkG2RfOI3ncPl5OPTqa5S9vALm4uZbYx&#10;idvlis5hCFBHPY5GRz6gYz3p1iX8uWzkhUW91tWS6mthLNB12lXBHGTyK7oxlZO2hxpxcmlq11/I&#10;9x0j4pXtjpNjDBY+DdTkWA2mo2WueGLHVS6RsWWUu8ZYZ3NyrKVJbaQWJq9B8RvAt680Hir4W6Jq&#10;i3Vw0xu/D/iLU/Ct7CjAlki2yTQDGcrvhYDnIb5dviR0mGO1uY9NuoZG80+bvBW5CrkjC8fKcjuT&#10;kVuRWF9pos3ureYQSw+ZaTiwJjnXHUEjBGcD68VM6aqPnhLf/hyqFWz9nOCWuunmev3mi/AfXEjg&#10;0vVPGPgsPGGI8RwW3iyxhO0A7ru2S3mxkHpbsTu59Bylh8GNY1vVJ7DwXquk+KJEDODpl60cIUfO&#10;zuHVZAqKCWYqQMEDJrBvFu763WK28q3MYVpx5Ai9cABhxk9QDn2xjHWWtxfaBbLp2jXDx3QYPqup&#10;2MBR7t1JIiEmceWhboCAzZJzgGsHXmk5Xvrs/L9C1h8PUmqSXLputktNjprEa94BVYNG02/utZ0+&#10;RjN4guYRFPalSMNpwY7k2n5xMwEm5VKiPHM+nahHqt6lxqbahPqV0Te3DXjmeYv1XczElsln6Ej5&#10;fSt3S/H1/wCIfsOjeKZYrzSyUE11LdRR6kqIxIJnbLt98/LnLbjkHBr7S+EXgz4E295cePGub/xd&#10;rWg2V3D8NPCdtoN5f+EPGPiOODzLWLWykc0UNratcQ3NxBFL5kyIka7C5lTmSp117XFe61q7dl2X&#10;m7HpxcsLS+rYZ8ze3TXpdvW+l35I8Gn08/C3SLbUi2leIPGmu5a302K7EyeFYDnZLeAZjMp2kRwk&#10;gqcM4ACo1bSteOuWCalfPHHrr3H+m3ZvIoJL9gdoSTaR84AyCMnkABSvHolp+zz8d/H/AIqvri48&#10;V/DLxbqOp6g15f2/g7xzY+JNeaa7JkcHTLdF8hclQ0LLF5Wxl2rt59cuf2PNHt/7Oj8W3Ws+Gdcj&#10;KO5kuE0SzljJQrJNbhLydz5aTD5UhRZFy0gUrWcsPze9VlGLdrdbLe1vz6jWNpUZ+xw6lOPXTd2s&#10;9Xt5LojzPRrnwnFoH9t6yLu58yT7HZaLbSvd/wBryLnfMW8tdsMZIDEkszEjIHI+ivAfiv4pzWmj&#10;a9pmuaPPBo995WkaPqOnyar/AGTbDH7uC2toQ8MZQhWIK7wH3k7iTiNqX7LWiana2l/pHjv4gQ6R&#10;o40vTbtbG18K6JpUtsp2Wfl/arszKzKpFw0QIMskhhwQj7Om/tMa1omiWmh+APB154C8Ia1d+Xf+&#10;Hda+J17r1hfq8sf25Lm1tlsoZBcRrHAA8CBEUFMuqyLxVFhZX5pSk10St1Wup2UZYj2UJRpqm9b3&#10;d/lbpr/wT9GvC+gp8U9M1jQNR03WPDGvNoB0jVtPXwnf21ok1wBeabLDbXEaSlorkG4hyGaSKeWN&#10;AVcE8PoHhrxP4O1q60n4gTW3h/SNUspbPV9P1HRNTGk66I1kdr3TJVt38ySJlWZWVuUfowUkcj4a&#10;/bu+Jum2w8NaRonwmsdAv0aOeBvCMGq3GlFkVZJIby4u3v0kC/LHKJSRsBCjO0fo/wCE/id45/aO&#10;+Duhavp/xStvhR4j8JXVt4V8X+G/FfiO4g+H2gbbkT6d4gv7mNXnstLd3jE11BbzeTLHCs0aofNT&#10;FSwdWoqUYSUunM0r3Z1WxWGoqtOSs91FN2/D8j4p0jQNTtFXS9U+JPw4vvDOr745vB/xX+H994+0&#10;PULVoz9nvIpfMSS2SVkaHz7d454iZAWPy+ZzGrfBv4b6Prmu6D4Y+LvhXwBHcWcWv6Xos/iDUovC&#10;kOpODJaz6HqN2rXEazI5Bt78eQ8cgG7k4+4tV0T4zeJrbWPCmq2lz4g8XfDe1uZvAnizwTrlrqlj&#10;qcllF9plg0fWCFF5BMts89o0axtIkCAAb0DcP4Y/4KK/tQeF7zw7beLfHvxN+D3h3WdSl8ReLLX4&#10;W/D5dd1exs5iyXnl+EtWEOiXIjt/KVY7eJV8mKDkJGDVUZ2k41YycL20tZLZ3+7oYYqk5y9pTlGN&#10;R66uV3baySd+2p8+aj8CNX+NOg6fpfi/U77TPit4AsX07QfHPw3ntLpvF+hO+Ht7rTrdjpusyWcz&#10;SbntXSaOCSXcyhCa+cfiN+zj8d/hfoM1z4zsNI+I3wwZjbW/jTQbF7LxF4CjmVCRqFk+bixj8yeH&#10;EN2zW8u5liuC8TMn6Yv+2kvjHwRr3jL4b/FXw7rPiybWNNHjLwd8WvgN4B8ONrD20Kw3uo6Z4i0v&#10;TrRNJN+6yQzQRWcTMkg86/WVN7r8a/GM2i2nhvxh8F/AnxI+H+r654TtJB4R0T4qap8V7rxpbySJ&#10;aXbaG2rNdNMI0L295ojXU8JhCt5IUS7t8ZLD1aHLTXM1p56/0r3Ko0sfhq1qskr6OzutLb+r7H5A&#10;aBoOiy6F4svvHVn40u/DXh5NKvdE8f8Aw91iG5S5M08kdteNbTQSO97ZPtxAjwyFMbZHHk7+H+I3&#10;w81rxd8Hvil4H1rxNousX3hnWPCvxL8BeNjONF0bWtJun1nSPtSXExSN0k/ta2jeFnDRSBwVBCBf&#10;04+EXw7+DHxr03x5cfDD4vaJ8O/iJqHhq3EPhTxpbL4Q+F3iu4sZ0nlWS38uX+x7iG4uJIgys8IM&#10;zFTbrgV5zr3wL8Zx6L8Uv2ffjZ8L9a8CXGreAL3UbafU7k2l74S1ayFvr9n5Oq2bSWd3pupGxECX&#10;No0kKyNbzNtDSuNKCjDlVHX3WvR+f3HPVpTjVnCorSunZ7NaJWeu1/I/Avwf4Zu/CEviDTNc13Rv&#10;D+rX0Ef9mRzPqMfmyp5oWS3uUtTbyo5ZkDCQjG4Bd2QNnSv7I8V6ndaTqesaBa6/b3Hm2uuwaktn&#10;bzycht9u6q5Q+W2BGDIG3HYxIWvVde+EOu+H47+68J+JpNUt0nOkt4X8VWlre+H9JuIpyBbS3eTH&#10;E5kR0BmgiMTIDvJPy/KvxG8L2cNxZzXyXfgLxK8AUPqEwv8AwjqTR5DIt4g3wE7Rh33qdx3EcGrj&#10;BYlqbaT6W6PzIaeCoulJXje7Teuul1+aPc9Ak1TwvrnivRdSsrm0/tO1vYmt9TsGjt5YxaTXUbQ7&#10;gA4aB5QknIOxWFfH3jH/AELWtAuE3FYdFaJt+0lylxdLgDtjCjkepFfXui/EfWbW28HeE9cXT9ST&#10;S7XT9T0/Wb4Q3s9jHPBEmoaX5qlo5LQzJdvFkho3lLhgHcN88/EzQ9Mu9UsEhf8AsfWI7e5sxayR&#10;b9EuGW8uBvjud2U/1kb/ADB1YSbg2NoLwqlGuoVVZq8fJrv8ycS3LCucHfWMvTyf4H1PPqkVx+yH&#10;8G9MgtLiK58LeKr221eQ332mPVDrYvrq1mS3ChIkRLZ0kdiWclBtC4Z/38/Zg8dav4E/4J9fEjVv&#10;EeoS3D/B7w1qfh2Nru0D2MHim78OH+y1uJeTM+mWV7FKTkmOW2zuwAy/g14AttP1Xwp4V8Kzm5fT&#10;4ZvEWp+L7ORVNlHaeFNE8P3Om26ngMZ5Z543lGQW1EIu5gQf1CuPEOtz/wDBLfWfBtvNqEuo/HT4&#10;g+M/iJrV7ZWjW9tb6pc6XLb6ZFvUmP8AeWEcJbyx8q2sYzgLSx/LLD16EFrUcUv+3pRj/wDJM1wk&#10;XDEUKlRe7H3n9zk/yS+Z6t8WdS1v9nLSfg/a7E1Dxz8HP+CYHg/WL62gIiu18QeIvCU95BDExVpB&#10;JPrfxjkmKghmkjQYIVCPgD9vrxE/ws8X+FPhz8LrYw6N+z1+z5oH7MDX0U11JpWn+JzY67c+OtUg&#10;Mvy281zrHiPxIp2kLutmdQcKR+pf7WfifSviV+39+1FfNphn8IeCfjrpmlR2Wh2UVxZW3gr4HaA+&#10;q6ghtGTynhKfD3TgYnBRmcAhjivwM+OnxB1n4l/Cf+0tSu4b3xZ498beLPir47niu5J9Qm1G41BV&#10;YXoI2KWlur+VGz/zEuduNowlV5qrqST5JTk16czUV6Wk/uN6EKkKMKE7c8YR5ut24qUn680fukfQ&#10;3xT8X+M/g/8AGD4KfHO2059alvfgJpV/plv4r0e0uvC/iGG3i1nwprVrbRNujubQaakFnKJxv3tP&#10;kKNpP5ofHHRfDnhvx7dSeBJLmT4b+IZP+Ep8APPO13e2Wj38832XTruYqokutNWJrCd8DdJabwFW&#10;Va/QH46+J28V/s6/s93Ei3d/J8PF1qwmviGeGDTtd0ywvRbh1ycG7028dQeMvgAkkN8q658Grvwr&#10;4cl8P/Gq7vvD3inSrSf4geDPhdYzwf8ACyRYbRJqEOpWckbDTFuIVW+hiuD9odLCZxbbZ4XbtwsV&#10;TvNaU07K/wCS89TirSm42avXfVdrLf03PGtRshrukeEWdre2lfwxGFuZ5fKtYxaXV/BsJ5wQAowA&#10;WOFwCSM5/iibR9OkudI0dprqHwzYwaB/a1wiodSuCzT38sUfAjjE5KIQC74JYgbVXfl8R6Dq2n2t&#10;ppPhUaTaeH2k8vz9Xl1i6mikmmuWy6iKIh2k3vtiyGU7WAbB8ta4EWkTXM+1riWXdM0gy7Skb5Bz&#10;15c9ff0rrXNzTstG7/f/AJanDRp8s41ZaO1tddP6SNbWrlbfwvpVoUHmS+bqzhW34MkrRIeO+2FO&#10;o6fgaf4A0ueZtQ1oIHbTpok01ZBvt7m/l3C3R+/lxtumYAHIgAwc1g6yzTw2kLRmEiK1t/LZspCS&#10;rlR9C0xI57jqRgel6HAsX9k+GNPcKsccrzsvzLdahdgxxyMOp2RxsVGAQGYk4OBXM1GUo6Sbf6fo&#10;Ve/JBvRLX+vNs7qPxVPoOmS63YLtlg0m48N+F7sL5cixmMrfahnqXYTSKCTw16eCVJrlPBupf8If&#10;d+K/ic7K+taFo/8Awj/hV5I2dotV1KFknvoyMbWtLabEbAjZLcIwB24rC8aX228t7aFkkj0rTotJ&#10;05IQzw9QWbuSZpXLMTnl+OFUDptH0u01LU7TSb1ifC/gvTLnx34wkllbGpR2JRhbgg4LXd5Ja2sa&#10;5BzcKc4WuWMJQTi+ul/7v2vwudMZc81Oe0feS7vaK81fS3qdVD4e/wCEV+Hen+EJZ0XxJ8SvJ8cf&#10;ESeQ7bnRtCiWOfQ9HOcZa5bN+6AkEz2i7so6r41qsw1HUoZdSh+zabbYe102J/NXg/uIUBJyEVVL&#10;seCSTjnFaXi3xVeXMc3iLVHI1fW9Rl1nU4YGIRpJGJhtlUf8s4xkgEDIKjjbzxdxDcXdha3cjym8&#10;luvs15njYj5kDe2W3oCOm1R0GKqKk6jnsm0l5eXyWhbVKdBUJXbldy81u2/8T/Cxdv8AxFeXKx2F&#10;ofscEZA+zQEst9MMjzpMg7iATtzwAzhQATX0f8Pfhl4l8R3vgrwX4Z0aO91vxDaS61dwkxIILK2E&#10;ktzc3crfLBaxLFNPNNJhFiiUkncRXhvhKy02XWrS71G1xosEiwXrW7eXJJsRmZY3bkO2Cq5yAWHo&#10;Af0D8K/CvxXpsmga74p1a703Uvi/4MXxXr/gzwiDD4g8PeC7/Uxp3hvQVjReNQ8RPpssltbKvy28&#10;VtPIqq/7u6lP3UorS+t+/Rffq/I1dWpSveVnJWjZarz9Onq0fqZ+xP4G8TeJr/4T6V4HudT1n4r/&#10;ABe3eBfgxqljdIt/4S0G5ml0O/8AFVpC2DCl15moafp2zJjt11HUG/dRgwf0oajp3wo/Zi8E+Jf2&#10;gvBt34Q0nRfg14Lb9m/9mPXdQaGHwHp1xpdhct4x+JNxKZPmtbeSXU75rkSEyNKYxLI/l1+dH/BO&#10;D9n/AFDwRr1x4t1rWNG0f4qeMtM1P4T+A/FEPlpovwq0nTNDgj+LHjSxaIlhp/huxS48MaTNJIiP&#10;fG7cYaaQ1+NH/Bcr/goTJ8Xfim/7LHwYmh8N/An4K2Fp4SuPC+hymE2AgmDW2gzbThbj9zZXuqgD&#10;cbyWWAuUhl87PHYidClTwOH/AI1S/wD27Fby/wC3U/nOXkc2AwaxuJnisS/3FJJy/vNv4Uv70kkl&#10;/LCV7XPzP/bi/aaf9ob4nXNx4Tu9eufBHh+K70fwfeeI7wza1dWV5ey3t5qN6x2+Xd6tdyy6hcKq&#10;qsZmSIIohAHy3qN80Wj6RbiFIk0/RG0+xieMk2aXsj3FxPgkETSCQgk/dAAwMNlNU0K2srbRYTd+&#10;dc6ppc2v6w0J82aKVGm2W2wZKF9iqpPAVlLHGcfXfhf9mDQvA2jeH/Hv7SU2rQzeIrOHUvhX+zTo&#10;Ad/ip8UhKYpbW/8AEm1jcaFoUodWjXy/t+posUdskMckt3bKhRhSwqadoJ6vq+mi6vt/kduKxVap&#10;iuRwvUktF/Ltq29ls233PD/hN8AvEPxH0xvGOoySeDfhBa6z/ZmsfETULYzrqF5HHFMdE0C3JVr/&#10;AFB0mjGyHclssyNMy+bCsn9F37MHwZ+FPgbwnpX7VX7Xt5d/D74LfDqC0+GvwR+GVnpE2r6rqV1E&#10;JGs7JbC2iY6hrl6yyiHT4YwkUt1PPcuWACyfs8fs86FrfhKDxx+0xZzeEo/hAy/bfh34R86yb4MW&#10;V3IRpPg3TdGhI8jxJqks7MLJWk1Nnk3zfZ8Bm1P+GmvHvxm+PXhzxP8AD3w/pVr44+HcUvg34Cya&#10;LY2es/Dz9j/S4fkvz4FtJFbTL/xfJFEkl/4tuI5bPTGXbbmdoEuXwq5rGNZYPBxaktW7X5Vs276c&#10;26XRav1ywuT1J0p4zGtOmr21td9Irqk9HJ7tbdj7I8UeKdU8H6nceL9c8GeGfDH7UM0Vhf8Agv4b&#10;+KXtPFXgP/gn/wCGpjDceG7nx3pny2+reOpDHDqOm+DYmMOnXCWl/qZLW1ubb528J6hq1x428f8A&#10;g7wT4s1a28e+P45vGf7Q37QXxb8WpH8R9XjnjxLq3jTxEiGTTbPyyUtNGskWYwzJb2cFqJRNXn/j&#10;P4gal4W8Q2vwO/Z1jtfFvxU86TV/iB8XNZjPiDRfhn/aPnSahfxz3vmy6jr1+zyXMuq6gGlcyNKE&#10;3M1zXw58YP2iPCP7POkX3gf4cXjeOPG02rr4k1vxQ93JqNvc6yHB/ti7vnI+03Eb5liuJG2xvIzx&#10;BP3cp8DG4+UlClDVO6jHv5vrr1b3fke5hsDGVOpTVozunOTVuVO3LvdK32Y623d3q/tv4+/Hn4Wf&#10;AHwTqXwn8GeKvEfhrwN4k0mfS/if4k0SL/hGfjX+0vCMCfSDPvFxoHhqRwyHSrRop7pXLX10FaaB&#10;/wAe/HP7YPivx7cH4Z/DHT7PwJ4OigMtl4a8J2cdh4a0ZImDQT3KR7Ym8tkh2F1VE8mIKow0h+Mv&#10;HHj3X/GHie8174g+JbjVb/VHL3lnYzi81i725CwBgfLt4t24KoLHCk7STmvv39kP4TeCLPwxq/7R&#10;37Rfwx1CX9nfwhauPCPhK41Y+FtJ+OuurhI9Kilj/wBLvl+eRZ3ijkZUMkazRAqybYTKYqH17Nql&#10;1G90tlorRS6620Q8dm3sHHB5NTvOTsnK12+/+beyLviT4EeL9C+E2kfGGM+I9G+EPj7w2NA8Ly6n&#10;4hi0nxl8bTHLH/aFxazbHuRYS3agzTWsa2RWzMJvJ5EO/wBE+IviPSPgd+zr4Z8A+Gbj4baT+0h8&#10;a4RqGrr4J1e6eD9nrwdaBVtdMW4SabVb/XdWMlwJTM0q2tnEIUhDzRNaekP8SfjP8YvEPjX9t74z&#10;+HvA3hv4F/A3weh8L/DnxJpdzrHw60I2d1p3h/w14Q0zQYZFMsZllhsIYLiSKLdbTyzO6wOrflF8&#10;Xv2o/iJ8VvH/AI58dSS2Wga78RNckv8AX9S8MWNvpXiXXZJopI002HUo4xJZ6fFFKsJt7DyIREkY&#10;cSMokf3I1a0v3LpcvMr2VtIX91N3+KW8ktlojxY0aDaxNSoqk6TST1s6rSvy3WsYK1m93q9ND0HW&#10;/ht4b0PR4Lz4lfETUfB3hua3ZIdIt9IfVvHviwklRENPa4iuY2uZIWVheLFlgpZtoYj0PxwPhZ8I&#10;/hj4L8R+EvAl14v+I3xO8R3vhv4c2/jnWIrdfD+iaDHFa69rl9olgRGkL3t/Fp+nxvLPFLJY6vuk&#10;ZrcxyfLvwy8BeIfiD8RvCng7RHtdU+I3jrxJaeFvDNzqagaF4alu5Fgl1S53cC3skE9zI74xb2Nx&#10;ISxGT9N6JceFfjN+0Ik+gai1j8Jfhb4Ti8GfC/UZ7WRLPwv4M8MwSyxeIdQiKArM9sNX8SX+9RLL&#10;qGpbGBYkNphqUaUOWVlFt2t2W93vu/8AIjE1pTrXSbkkruT6t+6klZdL23016HDfGT4xar8PvCa+&#10;E7XT/D2p+K/EUf2bxhd31imtCR5YwzaVBp0rNGiIJTGyeXt5dApAAXzLwV+1D8b/AIdabpzeDPFH&#10;hnwRqf2gMNa8IfCTwZpWp6OfmjS30y9t9IN69wwZkM5maTDbIiqljJyPxFvo/i/8SfFXi/Q7GDwj&#10;4PsJJLhdS1SeK3tPD+i258i2M7BzGJRbxwLLIGbfNIwEkhdc/bf7Pf7BX7T3xk0TR/EfwV+AHifT&#10;vhrq9p/on7Unxo1Sy+BPwauXkW4Ea6V4r1yS2tpY90ErFNAS+v5Uic4YKiLOGoTlBzSd5at7Wj0W&#10;+m3qZY3F0aNRU5tNQatoneT1btbXXRdDyrQf2nv2o0k03Xp/2kvjN4O8Qafe3Uvhu70PxlqHh7xP&#10;4VknhaK41G0ktbi3+xajfeZNEJ0kE9tb3kvlKWdw3v8A8MviN+3X8dfH174Q+EXxY+OvinxLpWnj&#10;wT4n+K938Y/Fmv6zFp20QzW11rr3H9oTCVHEK2SvGlxG/l+S0LKK/Sz4C/8ABAXwvJqOk+IP2oP2&#10;r9X+Imv2V2jar8Fv2SfCH9heG9Fe5dBHHd/ETxJBv3kmUyJaaCJn3xvHcYYSL/R78Gv2Yf2X/wBk&#10;LwRp+m3U/h34PeEtASQ2XgbQGfV/E80UjPMsus3FzM6tcySys8ssotWuHtnLGUCNUpzymHNUxlRS&#10;jGztdqK0Wjen4GUa+aud8HSalPrKKb9Yxs3fbc/Lf/gnj+xGvh3xgt18QtR+Kv7WXxA8NNYeJta8&#10;J+Lfihfj4FeENTtXSSzvtavHuJ47y8t3kaeLStGhknUqHkuF3yCP9vPGnhfWtI8FLr/7Q+teBPAH&#10;g1rmVrLwf8Q/Emn/AAo+DNnPCsUcUieGopnOoMFnYpJetqtzPNaov2aNZFB/Jz9r3/g4S+DfwRh1&#10;X4efAmY289m5V7L4eR2TXinzTHJHJqMtoLO0kaMzJvs4GuFby2aQnBb+XD48/wDBUb9pv46eL5vE&#10;Xh7WrzwBd3GRb+IvDuo3t/8AEWFT5XLeI7meW/ifckrFrSWEEylQiqFA8t8QQxDjRyii5QWl37sP&#10;Xu/uPWXDOLo1PrWdVo05O1l8dR+W9o6n9Nv7Yf7Yv7PR8Dy/C3x9+018cf8AhAr628m6+EX7N3wf&#10;0X9njwZ4kV4S8hmv/GCpfazEyuCAlhNaPG8Xlxr5QRP5/PFOofsJXdtPcfCr9i/xhr+maNby3d14&#10;1/ar/aa8U+IE112QtET4f8OWOjI0kjkhYrOaRdrbyUUMy/AXh9bjxDcSajd6v4x1bx5rF0w1DV1u&#10;Bqmq3gEQdgSEa5JzlmmluG4PMQK4Pr3gr4faVr/iY6KYNb+KfirTJ0tdW8BfCkXnxc8bWEok2fYL&#10;y6sWntLW6crKnlFbl42zmHJANUKGZ1Ksqs5272Wmj01d3+JpWWS0IKEuaTevvP8AFxjyx26s7E3m&#10;jePtOkutA/Yb/ZS8P6HbyiCLU9Q8W6n8MZmHzGSJbvW/itBeMgCgecEDdMr2PuHh/wDY+8O6t4as&#10;LjVtD+A/h7VtStzLY6J4R/aj0P4qajcx3Vo8ka3Gk6Zq9xLBs3KrGS/yudnkyNuVfr7wn+yR+2Pd&#10;2R0r4Pf8El9O+E+iSWMdrq/xK+N37PFh4t8esI1D/abjxL8QbjTdP0wf8tHl0y3sooirZ2KpNYeo&#10;/sMeK/DPh57Lx34g/Yu8CP8A2lt1fQtc/az+CPgfVonk2tKZpNFu7m5iXLcg3krDaQqsNufalSxa&#10;g1h1dtbyau1bW1vvPn4yy6pNU6lRR7RprqrfaasfLXwz/wCCeesab4atNXTV9S07SYvEtybv4heG&#10;J7DwPr2qIFt1l0y3kvNbacRQsNyyxRxSZmk3MwZUThvEP/BPPxXa6ik/w++MGt6vqtmsgma38MaR&#10;4m0uSS4+Yq08viNbhSfJRS7B+RwXKkV9E2/w98FfDS7ttMHjj/gnxYTTXa/2bqnw2/b70ODxQhYQ&#10;DzJtYuLdJBxgqYZZNhLMoYhkP1poFz8U9eu21Pwl8Y/2dPGPjXV4EsLPVvFn/BWz4c/EbxFq8SIi&#10;pAJtUgScjMcQ8qWdWjSMqEIbjJYupVhyVqMeVd+un/DHpfUcNQpRr/WKkZNvbovPTpqfAnhb4d/t&#10;y/CSKbVfDPjP4hW93Y2Etlo7eGLG7uY7O4t0ibTisEdzOke6QGCVDJtWN1kDBlwfPfH/AO094Z+K&#10;FpqGlftu/ss6N8UvFFjfhI/jN8MbeP4f/GXSXj3xTNJr1vHcQ3MYPLR3QcEKM55I/aDxf+1P+3R+&#10;yH4D8P8A/C9vD/wpsfDWpai2jab4q8E+OPhp+2FaKdvmI15apZPqFralV2hxdSH7uWUna3zZ48/a&#10;S8ZftDXFz4duP2VfDvx7v9Rt2m1HUf2bvgtb+MPiEFtY1kSe90/SYxrllCI5FbakC2jMisfMO1h5&#10;TrYSniPZ06M4SS+xJNfm00dccJjsXQVetXpVqXaalF6ba2i0/nY/HPXvgB8OvGOjx6r+yv8AHPwv&#10;8R9I0+NrrWPh38SdYuNA+NHhPjBM2n28EVlqSjhftFkVkGxy9ugVWfw1Pgl4sv01FLHxX8PJ59MV&#10;nv1uvGX/AAj2oWZDFXiSyvLeGXzFYMTGdre2CGP68eHvGHg+7Fj4XSP4XQa7pbvaeH/hv+1J8EtI&#10;8PfEi0l34LaTq1/ZWGq3h3FY2jMk0uWOH+XB+dP2g9K0eW8l1b4yfsvR3llp8T2T+PPgf8UfE/hO&#10;5sFlKESSQrNLHKYSWQfa1kRDIRuYOuej67hsTpG/Mlo3G3nqrr+mZU6OJoyvK3J/iTsulm1r83sf&#10;FWj/AAd8XW1zYXVtqPj2WOy23Wral4WtJ9WfTAsipvjfTJ7i4YKSdpVVOADtHOPsLUf2yV8SeELf&#10;4d/tPaja/tP+CPDVkPDfgZ/2i/hjrGv/ABo+HVorDyo/CXj/AGWuvaOUMeVt2ubi1+5HLayxII6+&#10;a/DXw/8A2b/FF7nwp8fvjv8ACPUZ2V9N/wCEx0iLxz4XikILBZdV06e2vI1yMhvszkA8g8V6Dr/w&#10;2+O3h7SpvE+n/Er/AIXp4dsrYJNrvhq7Pju2t4UC5+2w3sLXtuAGfck0WEKMWYcVg6VaTvSmlL+7&#10;o3r2aNvrEZR5cbFyjtaWsfk4vR7ao9n0nQvAzPqXiv8AYD+NHxK1zRbjShceL/gV8RNDgtviVodw&#10;qTTPBHp0U8ln4o05FW3jGrWUFjertPm2CB1avon9lX9rGPT5tS0OP44eKP2bPiXf6fPajSviH4P0&#10;74m/s3+M0njiSKL7PPZx6nZmQb5Vniu7mPKW5h8sJz+avg/V/jJ4f1HTPG9p8HbxbvTNQj1DRPEe&#10;laPqHhG7s7m2dCt3ZXkBRWlBw4KK2OhOG5+xb34ofs+/Hbwt4v1f40eFdb8CeO9CnHiXxB4atBYT&#10;WfiQTSsLzWfD00kduLa/jDGW505StvcLJJNHG0qsrKdB07+1dptOzsrfNLr9xeHxLqxUYPnp7OF3&#10;zJLaze6T73Ptv4o/Gn47+C7Wz1Txt4U8C/Hb4SSaa0WqWun3lz4h1rw9IgaIS6drNtPJqUESqhZb&#10;e6hdQDtZHVdx+O/hj8Xv2cPEvx7sfD+km90/4XfFeMaR4o8J+JjbPeeEtejeWP7WuoTFYnS5ilVQ&#10;SYJE+yoHRQ+Ry3wn8bap8L9Ek8S+CvjJoWu/CdZDptiPEk/9meOdNeQt5du9jJay6bcE4YGzkuFM&#10;pUJCQ5EZ1/GHgn4XfHS1tte8SaDb/CnxFO6R+G/jLoWm3V9+zj8RZZXdoLW91xICmg30gDI1tqTG&#10;MSiQDKIspywtWVS1LmtPR6axf36p+Xma4iLouc6sOens7rlmtNVpZS02e59cfEz9inUfCemXGofs&#10;0ahBrcdzuuF8G6/8QYj4LnhPlgNJ4W1a3kgzkt+/tbu3RTyGyVNfKMup/tK/szLeT614P8c/Bkzz&#10;+ZqFtbQagvw31mGVFmVlhZ3BgZCv70GaNd0W6bPXq/8Aha37Tn7L/hHw/wDDdNS1Txh8Ebi9XW7b&#10;wr4h0i58UeF9Hu7olbiSz1D7XJJplxMYolWfR7hIpktwrr8pUfYv7O/7e+m6vcweHIPEniH4eeLI&#10;ppINO03xHpq+KvBWqI7CEQSXE8c1rcFi7R+XfRlmRjmRycDWvUwknGjj6bT/AJk7a9Guhx0KeIjN&#10;4nLq+l/glrp2fXZ9Lnyz4Z/4KWeINHk1XQfirF440MalYxRW+tfCbx1NodjrdplJ0N81s8ZnidAj&#10;LNbkyk7RnA2n3Hwd+2trQ8J6ve/Cn426l8N9Qtr1U0CDQPjF4u8H+JvJCxZS6+xaXdWiGPezF7yW&#10;JumSxIWvavjt+zf+yb411DSdf+OH7Kuh+A9W1u0+36H8T/2bNWm+DWmeJ1k8uSS+s7fT3uNBkn4T&#10;zkewJDsd0UZIauK8Vf8ABPf4N/F7wvo+q/s+/tfzaN4u0SD+ztPX9oX4YCCSyaKMSJY3fjzw0sU0&#10;QRNsYbVtCuhtkQLIkfzDL2eFi/8AZ61m9lLrt1Ol4vHyp1FisKnBdYa2atq4vy8tTyO8/bl/4KPQ&#10;lZov2m/ij4z0ERzRSXXh/wDaE1mx8RQqJHw+zCW12wCZBKt8rgZ3MTXCa5+2z/wUI0IRweK/Herf&#10;tE/DiSIy2/gf4p+G/C+ueOtAEshkNzZmSzZLliWYE3RlEoD52uSV5TXv2Mv+Ckvw21DUY7D9mi7+&#10;LOl28SWR+Kf7N2o6F8RND1tXdpRJbtpFwPNmkHl5+22cE7CSNGj3Aqfn3x14v8deFLiXwD8QdI8c&#10;/C3xvbSG01PRPH/gq68IeNdLkHyyIbK8iRm2sesPUow3AggRXhPCTjUqUWlfdSbWvnd2MsNWw2Pc&#10;qdKtFyavyuCT0srNOK2XY3/Hf7Uep+NEn1Txt+yR+zZ8UfD9jqK3Gq6r4X+FMfwO+NWgSQ7ljGpa&#10;dAiRNLGFIE0CrFIyKxJytdr4Q/aa+Fnje30/TvDtr4h0bUdGRYY9A127FnbaXbYJZTIu8SImTw6R&#10;4IzkZr5n0rx3470j7daxa1pPxBuGhVYJbWzSWWSPD5haK7ijuULcArE7JkBsZrzS31zRtX16PUNM&#10;0i98MeLLBmn1fTLW2bUIHjGFcS27jeYnXIbBcAHgKFNbYqlUxVCLina1v5o6+e68jHDVaeBq+z93&#10;e6+zLpZ262P0w1C/07Vorq11fw9eQWjwLMGuo4dU024jlJWGRZEZt6MjNhwuMuckEMteJeJPC2q/&#10;D+ZfFPw+ZbzSIN0mteF4v3ttdxMGUyWrBvvZLOFQgEAbScgV4f4T8f6t4Mspv7G8RRat4cE2+Xw3&#10;fy51DwlvZWLWis2+S1fhJIssQpc44U19SeGvF/h/x9aXF/4aa38OanaFE1fw9dS/bNNRnRNzAjaw&#10;jfhkYDO3g5INfC5llqwsXWo6weji9umvkfZYHFuq+ef8RK6ktNNNGuvmb3hzxVo3jLRbbW9HnLW0&#10;7PkN8s8Mm9iYpBnKupcgqcgFh1wKvXBDgtkhUkKrIcDIIbjt94KTkDqvavn23gfwb4/a90qCXTbH&#10;X5fK8Q+GZizxJdJ/y+WmF2sjhXZgACecgYJPvgdJ40khO6Nys0ZByjZL9DjqBIRn03c9z8xiaPsW&#10;pwektn+h78aynDkiveWj/rsyi07W3KksxJVBuCHI+Y4+gIPryAM5q/pnjDxHohSXS9Yv9PAJi8q2&#10;u/KjlDL0ZMlTj5hjBU7jkGs2cBgYlwpAIRSwcJnCNgqOT8v1OR2wKzZ9wdmMeCAZCrLuJbGeoGSx&#10;O4c8ZB6VlCfMvaL4u5XvRiueWm1unQ6jUvEOj66DJreiWlpqJiKHWNEtIdMeZwrFGuYRiORsJtJ+&#10;UkKORgZ4G/gMDBrZxOskpEVwjgbyMEMykAoMbMk5xuz6gSyOGYhQcvny2Hyg7WPU49t3PqDWdcIw&#10;KlHMcchMSTkbl4yCAe/f39M11Rq1KzXttlbXrtfc51CEYycVZ+W39blOeNSE8tsKUKbo2+aP5Sv1&#10;yMjHv3zVMMu93+Y71PEq7QzY5OT17ZYDjk5z0Z57QOI7gIQzFBISAsisp4IAx8xA5wQckY5qw0cg&#10;XICbyN5YLhuSCQuemdqj8OuDzmoRjDkk9fzuZv4XUTvt/wAMQ4Ri2Y0O18MskpULnGcdSB8x/XHW&#10;qpXyx86+UoUru3MUXaACc5ODlmfB4+Q4GOKvNuRGjwoI/fqAFZCSsYUgAZ/h6DHLnNJGFbJkIYxy&#10;Yw8jBU2k4IYEH5yAP+BDIIJImUXJ832TZ+yUIp39fmivGqFPMDLtEgWU7wxwSxxjoOc49AKnUIp8&#10;x2JjwfLKMg5GQATuHBG3pnkknqaewj3M2WKxuUwrg5POeADjOFHIxjscU/YMqm7C7ySzAq5GMZwc&#10;7RgHA9u4yTSk1SsmEYfaW62GAOxE3mAEEsIieAV68EdiATgkYK/hoxor8AAyM2MYZWU5OMYGc9F6&#10;9hVa3gOIlaUunlDzPlEok+/yQRzkbc54xn0wdKKNpXKEZXHzy7wSSDwDjuSMEkn168VnKMnFRcvd&#10;2GtZK1+Zrr1LUe6QRyhh83QNIJIORldqgdADjpgbgeM4GnCnyu3lkxgBTnLSYYPg9eCGPQDGMcHB&#10;FRJGGlZnY4+Vi5IYueSAfmHBPBxjAz1xWggKIY3A35yJAFbARPmzgcAKoJK9gxIOSamDs4tLcmc7&#10;q61Wn3kkcDj7xZX8sgQn5QvQ5JwSVJLBQOhBJI76MUBMywsUGAVkVvnQ5XaSecHdk8AHJ98VHb/w&#10;Iy7UCKpAXbCgAAyGzyQMcYH4g4rVjhYTqzKFJxuQoSrNwMB+cEZHbksOn3lbk3NRezuTNtvmXe/y&#10;COLDrj5S2MkfvMlgQCB3wSGx79uK1raGc7oGQPsfy1YEoI+cYUnqMspzgdugpsSMSqFd4ZADnDh8&#10;LjcduOSM8jqR06mr1uh2qXUJEH3hlUErn+4AM4HUEAAZAHIySThzOV9O5vCjZuTlf/g9iMJuXEak&#10;BpA7sVyEB3KHOegGMbgR1XJGal8supyzBj82cqfMO0tlF4yOHwB0HVu9TyRKd0extrwh0VhhkZWd&#10;SpOMkbSAVPUEdsEWzE8m5owECuQuBsyBtyVI6dwOnQVMbRk+Z+epEYzhd9G9ut0ZbxMIZg+3gAYM&#10;hJOfMwM/7Klup/hbIPNEaARLLuQ8vKeVKgLs+6OQeG5J44IznArTaMALudTxsDb1/e7lkIyBjkbJ&#10;DkcDPbmqbRjdsRBIGXaEGY9owCMN9QvHoW75qZXcdFq9S/Zypcs3tb8rGTLGnmGTdujhDHJZcn5c&#10;kHgDpxlRx+OKryldikmGQiMxyFSGd9rOCxIyCTgDk87h15rYkWSNmCs5kiHmKdxYAlQd6qf7uQQA&#10;c5Xpkc0ZUjJVypKqNzhV/dqMKCQOMhScdfyyaqMlK7touhnapza7aX/r0KK/NvG13IwpQDZuY5Yn&#10;cR2JXJOcnpnNQmIDcGjRkQ43NIrsrEOQQOoIOGGR69cYqY+ajM5UR4ZTG27mPhRg5Azg4Jyew5Ax&#10;iBnK5MikqXYswACSMzmRyCcDPCjPHbI6kkOXVLffU0pz5ZJyTunp6FJ/M2q2XRGDEoqh2jOAgwc8&#10;A7Wbjk5HOOqMwx5SqhZc7nYgu4VlVQcHAwAeh6OT2NTfeDkuCDHlsgKVwcbk5PGV4B7AnHoyZIzI&#10;GYb5FU5fuTnap6EdQCRxwDx0rWk1az3tf9Ql1mtEtPy/Mr7PL2BQu1uHXcHZdqqSAPTlguehB9jR&#10;8iogVl3nBlIkB+UHOck8ErtOPVqdMpMiySKgMDBkUJ5g6AhWBz06Ed8gVCu4z+SZF5UJIHZTIuCA&#10;NwIzghOM9kI9amFSNryWplOnOcpdO5aO0SiZZGUtlUErglug2jPOSCfToe4p4ePcGLERpudGZtsj&#10;A7gVx3GGBzjqoPtVJZCDhYSPKQkRgbYxw208jJBIHoAT16ZTzmVoyjqrbhtkcfcGCcgHlskqOTgZ&#10;zVK8Zb6vT5EyjFzjTWib1NaKZ0MWXTcCWLHajKSBwcdMFEOPYetTLcfJtO4ydeW+UR5B4PqSzfgq&#10;eprEEpwCCjDy9sDueuVOVHOc7go3YJwM49DzdjOCx8oHczhSwOCGIHPfcq9/v9s5FTpuSjFqyOjm&#10;9iveN6Sf5l3FfuLG4YEj7rEgkem0D3JyQKgjuW81ZnlkY5HLS4kXDFhjHTJJYFcYODwCQclZUEYd&#10;yyRsArhQd2FO08k5GWBB54GOetRiZi4GQEjADblUhtnJI6ctjIGR17cVWnNytaf1YU9Yxe/l+Bpt&#10;IHSZCkQOGkO4AoTgb2VsjPPrycDiqcrqBlXZRHkom3cFJHl7ScZ6P1H4VR81YgEURKWQsQQQzFly&#10;SfYEjnnHzcYOKgE5eKNlEbBZHT958rDGdyleuGEYPBx8w7E4zpuKfNH0/IzU/ccFu9PTb/hi28mA&#10;fMcSNIiuyuxUqCAABg4+6AecEHI9Kznm2/JGVARN6I5AzuBz8vOMBsjpg9AMUbipKqVI2gqVjLqO&#10;eTkY5OG4Pr7ioxuTYzq7BlIeQRhgOApLMeem04GcA5xyaLcsnbcVocqT07skaeRRhnjJjYxg7Sq7&#10;vMwvXO5c4J/3h161CXXYHKhVGSHYkqvDAscdeCDjB4Vc46VGzDMpBZQIhISSUDYx3PAwNxP06ck1&#10;IIVzE21lVQxbCsQrbmIAJPHBJIPPzEcitYNvfb8rnO/aXeuvcbKhfzVYlSflMhISRSQDgcZBJAUD&#10;nlvTJp6KEUu8QXy3KSsHALk8DKj6EYPIwc0BDlmC8MPmCHe4ySzfMRkfLt/FD7VYjV2OCEizICoO&#10;FPufcnd6dee+SnUb+DWP/AG5JNXfvMafnYq+GJKquWJwAVI445O3Pfp3JzU6xAhVbDMzMxjlO1dq&#10;hj9CSpHH973UUki54DLwgyWIYoOEQE56nOBnOSeevNtEI2xrI7LgKAVCSYIUkd+BhhkHGOoGaFL+&#10;Zhz8s+VjCkaudrskZAWNnI46EZQnHG3HHB5/2qlRIgCsjOy5QEuSSVDNtORjONxOePb0qdVZSoGG&#10;3MFdgvyx5KsMYGCc4OPl9R6VfSFVdfMRWLtiUNyJBwDyFOMeoBPGQO1NS99KP49SmpJ81rIgSDbE&#10;zxxxyOyq6gZUyrwVVWzgHBbA4BA6nirKW8RLbAZdzZAWMho+gzxg91546gd6mjiDRxSbQqbA8m9f&#10;MdFx0x0GOM8gdeepq75UYYBw0XluY1fy1aRkkDNk47gFflwScc9QDF7z5aj0d/0NbKNO0Frb/KxW&#10;WEMVcKrFiWzLhQcMFwTkDqw5PUZPAOasQwJIpaJ3eP7uZFKOBzgFTyDgYwfpVryFjEW2Jtu0GQr8&#10;wRiCWyMZyGJXjB4znIBNlEhEZ27lkyC5UYL8jb3xhnZiSuCdw9DVc0lK0loTCLV6q3tb5lFAsccY&#10;ZhjCKWkbBKYUhOOcldo5yeckEA1bAf5Qu0ssIjifBKkHc5CZAGRliB1z2qVIw7sZGXeu1o0b5ww2&#10;jnuCO2OnGCMVMYc8yBP3inKu2ShLlW3evIbp0Prg4I+81Gm9dfxKTaf7vr/X9egzMcZcruSPIQIA&#10;yAjhgSOO5PoB8vAwcjGJcfZyGZmTLNkDOJCw+U5+8QOCOAMEZIEpWNfK37MSRbpI2BIYOMA5z/Ds&#10;cc4x83ODmoSCP4MyLtUq4O4jB3lt3LD0GBnHfNZ01Jv2js1tYfI4O0vn+jHSMgRQv3QuJBuLNwSQ&#10;CD0PQH6ZHqXSxLuZ/vAnax/1e3naPlz1JYDn09aRldAhymRGAgB3RkgB8AH33AgY4Ugiodrgs6uf&#10;L3bmIUqp5OOG9wxA+tbTlG94bku3PzNaWt/X3iMrlRMGXajhAm4MoVcqAuOmBx+VVhKAxYLhAoRX&#10;DZyM5bjk/KNxIx0bPOMVaKAMQXLMF/dmMDEQwAQcf7JBzz3ycnmN2WIIBkuWZsxx70jO5vlIHGeB&#10;gDsV+lZqM1ddV+QqkYWd/kQl06mZ/UEmPJHYnn0xz3oqbyoZsSPFvZhyxBJOOPTtjH4UVaprdP8A&#10;E054p7fgOMYYrKWRXciURbfmG071DHkDnK7gMjdnLDFKzpI5RS/zsuxs4A2tufKkkYJIUKufvNg8&#10;cNBk3ZJcxbWyAq/vicDDZG4DC8c9evU08o8KhI8bmkw7b1YnKjdwPQvkfnnOa4pQu1K5KlFytbRb&#10;vzX6Aw3SOUcGQgbI+hwhA6ZyF+dfb5vcVBHI+91HDOxO0xZ80cHB5B9Tg85xxg5FmYsQY0lPzn5k&#10;ilO2PcvPvzlc59KjTdGkcnlgZIn3MwQsqctkehXfgEZzg4IyDMFPqrrQudpPV+f4iNtXYSpMghRW&#10;DZZWIwWLKcADIJCkcDHUjNRY2SbAScLtO6MhsdN3GOoBUnHGQT2zO8RVkQrsIjLSsVA3AFAWOMng&#10;nOT1znGaYhkZJBt+aJwMeWgIHzbwSSM8PKNynpjqOlt7qGzX/AHPm57yYLAI8klTGSI0RPvwqFwB&#10;16ZPGRnEZ+gU4jdQGiLSIYyEUvwWBLDPXLKpwDjIAGOBSRFtkhcmR8tI5UDaQnLADHykYkJ9NhGT&#10;gmnHMqqjAAqwZgzDaw+dipbdjnCgDrkkE5xiJxk1dPoZtOavHTbf5XJTKjNG6vvAXeyByrMQQSRn&#10;2faRjn2xgsjKkqYw7CMl2JYo0nIPAP8Avr+Y45OY48AqdpEZUupxvTBTcepPAAfP+9yKnQ4MQOwT&#10;MDIS5UkjoDx2G0jk/wAPbpRNxaV10siqU7PdNdUAUS7Ag3OWRyiHqArBTjHcOxyfUkcikUuViEmB&#10;hSF+UEndl+B25ZsleR9DzG0aPGFaI8jGS4wRyAGJ7ZPHv6damZMgybi0zIy7hku5L7sZ78uRgk4H&#10;Gaqyjsv62GocklLl9381pr+YkJZN7MQWIaMIWwnTAUtkjbyAWJHGeoBpwd8I5IDgLIrkechJYnoO&#10;CMdfoc9ODdhVzvIUl0QuqkschsnBx0jORnuM9aFjckozO7CQLHgDcTycKqj5mIZR8v4A5BqItq8Y&#10;vtb+vxElaEY33/4clDlllZh0b5wQV3ggn5ec8KTyehz0zmhHCqHjiUKWDK4LPIwBbCk9Ry7e3AGC&#10;eaaqyMBu2F40LmTeVVwSGG3ueCSDjoucCpQJ/kiQYaPLqA4ZSM7twPXA3Kv1xUy5Y6w3OiLcKaj3&#10;/W3/AARpMcapKPnZv3kZc44O4lQAeOvBGOD9TQhZ2idwyqETrHtUvk54wRnAIPA+9wTjIeNpG8bS&#10;kbiQZcrPGOrE89EAZunQU5B5TYVX8tEB3AhlyoIxjr0UEHAHBHXGXGfM7rYUqLbUU9F09LDfKZSQ&#10;rgIX2vM+WRQcAnI+pAwDjHGeKer7kjymGZQuCCskQIIUEZwASGPTrn0zTWYudnyqEZTs38AEtgnH&#10;1P4AZpZEY5hR8Ah4ImYgoobc2QMjhS5wOOV9zVR5nLlSumXFq/M7JiNuQBTIw8hxud0yW4YhcYHf&#10;bz3IxUhkkXBdCzYIkSE7pUKkliuTgjPGOOgPAoch3RTGw8u4DuFlyxRl5KYyQBn1yQ598sQTZL8F&#10;w7bd/wA6JuIXOMk8hQAT0wOCARUThGLs1pdf8MZSgqml+q18yzkSL5m0Z2ARFyy7wcngqec7VIzx&#10;hjkY4pWxiGWI/KuGG9dwVgrjGBkgcgkDHTr1poDyGREUrwDvlfBIbALY6cAg+xA9iJIv3ZQhg4Dt&#10;ICiZTaMvgHPACqSSTzntmmrSemn9XKUtWoK6X6FmSZt6KU3b1DqAcKSMccn2AyM4z+RNhykZRwVU&#10;MHyAWO4Luxktj5SfTp97Jw3yVLGbcUdnMwPUudu0knABAwMZ6ADrzQ4UEED92o8tckyKhBBGBnoe&#10;SRzyw6EGp+KSlYpRslbZ/wDDkjAZ+4hQjlhIdxxtJ3dMEnPOcmguyBGIZgrnap+fbnO3J9SA2Aeu&#10;04zjNRBXJdhuYqSGLNmP7y8Y9ef0FPWFXy7fOqDIVyGbKqBnPvtyfce9EIc3N8g5ly2dlb/hv69R&#10;x2kkEEMDlUAy4yw3fKDk5wp46gA1CViDKdxYqCY3ZtjMMgYYYA7ZyMfTmppWLAN84YsYkV/ljAU8&#10;YOOv6dKbLwdu1/kBl5JKEjnueccnIGRnORyaUb6Pvch8zfNHq0/Tt/wBV6M7GN0diDuHzj73TGQQ&#10;D6HkE4BOAXCR3cZQEsVUGNmLY+bIdugKgjjI+8eg4pQ58sMkjLIFO9kYZUHjGAcjI6diT7UrF4/k&#10;wG8x9oOQNw28fKAfQnqMcZqnCP2t9v1Nb04O9r3uPRGaGRAV2l2YIVEhyxznkYznmoBIRGxeFii5&#10;ULIivHtCjAJ57sfl9+DjAqcTCNnGA6lMAq5G3JOSPbkDPU/jimyb40Ma7ifMDxMW3KxG3dhcnkqA&#10;CQBnIxnaQLtGLcemn5mMZtzjp7ySXzCRjuCqI2kjfbtwQOVHOSMEYA6emM8CnLJENkbKZNsYZFXc&#10;SxBGSCOePryTSSPGk5VMy5TY4T5wgJOT0z0bA47euMjLvJXLlkLZkZwGbO7ccgnruJGO61E1zatD&#10;fPGbS10Bt5wEAGDlm2HKgZwG6Hnjt1pk8MVw210Vo2b5o5I/kAAKkbe+eh7ED3p8h3I20YIUgMr5&#10;cnjHOOnA6enSmsJggZUcOY9m7KsXYt2HqAMH13HjgVKhyJWfvf8ADBN+0jGMNV/wwQqgMY2BIxFv&#10;SMRhdinBCjkHsDzjrXH+OPH3hvwZpy3mv6h9ma5Vks9Lht/tOranIrFlis4V+ZyWHGBgcklQCw84&#10;8b/FaSC7fw54Ma3uNTSRrfU9deN7yx0stsCpHGnMs5yw8snaoKlsDr8vePpofBelaj448Zahfwap&#10;OrQaVG1wJ/Gvi26kDBY/M2gW9qnnY8qBAMv97cWYejhsvnipKM3ZO2277WMKmLpYdae9JXv2SXWT&#10;7KxzvxR+PHjrw3Z6lqOj6dongm4167KSjXpIdT+IU6urlf8AiWKzJZpHHnYJQG/eH5Wya+P9c8S6&#10;7r/h6z8QeIm1fV9QvncaVL4k1MDyIYflaextSx2RhEKidwozkJwuTr6x4ObSzD4m8WWjXfi/xUPt&#10;HhDwFExNw0bIXN3ek8pCqtuLPwwYsTyDXlPxYe90XRtNh1eZbnxd4jAv9QnWdmGkWTALDZRRKQiB&#10;Sv8ACM4A+tfp2VZfgaMIUaMFKpJpX810T6pWd3sfAZnmWOr89abcaKjJ2Wl0/tNebdop6vR7HjV7&#10;qt7qd8wCrLboTDCiDzAxzwv5jr/tfQV2mmeF5rB01PxKv9lrGY7y00+aIK8w42l4zyEIOQSDnA98&#10;T/DW98OeEriXxJ4itjqVxbIf7C0ZkE0UspBzLOD0RSqnGCTuI7ZrC8Q+M38Taveane29zfane3H2&#10;iZpJTBaQAErsVB1VQFwCQBtxg5GPsZqvKawuHVoJay830S7930Ph6SgovG4l3bdox627vyXRbs1P&#10;EHjrWNVR9PtJYbTSLZN0cCIltKxJC72CAAk8dvpVDRvC2q3GmP4glMVrY2khWK7u7tA91IcEJbxs&#10;2+Rhnc20HA5OO+G1pZTx3F59ohE77VFtbo2+Qnsv8IAPqc88VftUmlEEEkxtgQBG5la6EfTjA5Az&#10;t4GfrVxpKnS/2eNu76/8Ep4ideqvrDduiXrordOho6fpNg13Fe3F7HnHnqt1D55dvR19C3b9Oa6z&#10;TtC0a0Bv9TmbWr177zY9OhP2XTpEGdiYXDnLEjA45GM1z2i6XFMbmW6mVo7Zd5csYVKYOWBLdR6A&#10;Gu60S10S91O2sz4i0TQZYXVIr/xNqUeh6bYEuFG+V90j7Cd5WGN5CEO1GIwcK0K1R+zg9Hv6evQ3&#10;hOjSi6kou/r106b6FW1vdITSZYbbRPN16e/Y3DSMI7O2g2/LGkTJv3ZIO7d0BBXmu18N2PiC108T&#10;Wc99DZXriDKOtpphYtgRyO4ZQm5sEsvdsEbcj0Gz+HnwRU6f/wAJL+0drepS3V0Ydc0v4Jfs8a14&#10;3utHijDlZ49R1q60OyuyzEALESoBZi+Aobp/HXwz+GmnQafN8I7L4+/EaK7tGM+s/F/4Xad8PTDO&#10;QpC2wtNbvYpgNzKxQlVxj5juw/Y06FN1JSu29r67f8HuaLESlJU4x91dbJfPu/uOO17wTpMZltdU&#10;1PwqLuDT42mvtN1/S7zT4513B0jnMrrKowo83cN5PBIPzc7a/DjS1hlu5vido0NrG2y3spI59U1b&#10;UT/dhtoFZFZjtwrOPlYHkYzqW2m6tob2D3nhux02+BZLO2sREbmV1GGDSuSyxgHG6NCvYZ617Hpu&#10;iePrjTPtOj+FtB0Ce4tGju9WvZl0LT/LYQKzfbZFMr7ywPlR7gCz4VQa5Z1JxiuVLv8A8C78tTSN&#10;OjJx55NS0su681b+meFaX4FsNVvzDb3k8M0t2LOygmtHWS6LOqReYhbcpLyj92rdm5wM190/Hr4m&#10;eBLfxx4e+GPw3n1rVPhz8FfC1n4F8GWyiLwna6xc26Qy61r2rwWpyZtRv5b+ZkEgYR/Z4yQI/Lrw&#10;7TvCGsWF7ZafB4m8PeILi3g/tfXbnwfos+s2nhuFpRbFJbqe3VrmTMmQkAKBjGA+5mC9np+ifDeP&#10;S9VnttF8d3GvSAyjUdemS10y/dt5MhgSN1YHCttcggEjcc4PPUqSdNQqT91NvTrpZa9ld/M6sJRj&#10;Cu6843k1yq+yV0+vVq3yNjX5vGHinToobr4k6Zq2iz2pmn0Lw9Nd+HdAsdo3Kl1Z/ZYhOx/djzJB&#10;MzZOTwcUfCNn4i0GXU/+EXfX1uNP0e7Qjwit5ptjLJJ5cKSSpFGgePy3uGATOfLXK7dxrYtvFnwv&#10;jlhtdRa+sGMqxBzqbi3s8yRqIysVk0rSOFYKxUKNuWVsc/SHw91r4QwXmvaXr+q+NIpV822nWz1P&#10;SdH01lEkqACS8iSd9pTccKhZZBh8YU8j5ZJua5U1+iPR5sQrQitY+mnyVj5+tk+KXiAWlpqOmeMd&#10;bRbPyUt9W8Lz+Jbe0WYL5ZtGZP3ZcqoKhuA5yo4FaeneHL3EjeJ/hZptjKFSK81Df/wjklxGi9JY&#10;Z5ZocEgDYsQJ2gADBI968PaTp1slpf2HiLUda00l72/t9H1PTTst1j85ktXm1iBnmCOuUjQvneFQ&#10;4IH1HdW/hbUPAdvca34//aPv7SddtrpPif4bx3p0hYGguYfOnhvZituGQBMtysYfBIxTtRjecZaO&#10;2pEliKtJRgtL7Nd1q97dz5B074X6N4o061uNI8PWmlRCR4ri8utUs9WsJOcEx2YuhOrcMuY7aOIK&#10;AwZjuFek/CrRPip+z98RdC+Jfwuk0291jT2fRvEHw/XUJNW0vxTZzLHFeW81sfm+z3qSMktu0TIr&#10;/PGVZBj16x8a/DzWLuPTNU+K/giZLyIx6hputaFqkWp2ZMewR30lvdPcmRwDjyYlOSCSR9722L4J&#10;+H4dBl1P4WfFb4JeINDkhN1L4a0rUbix1u28wrKANO8Y6bbXBwyrtFpNNndujG3kSkqt5Wul1aXk&#10;io81K0XJu/Ze6l+Nzl/jlovxU8A3+ifHL4Gz+PfDnwl8dCO9tNHu4JrvWvhBrYjjkvtIvYAPPVLa&#10;SKVYplIE0MhwcshGpp37Q3xm8U/C/VpT8Qvi1Z2MU8uleM/g3rOqXuq6Ykk9p9ifUdOsNRKwtE8G&#10;+KOSJ1KokcYdHQGvePBnjDxb8NLu38G/EFfDGpfDLULP+y9b0OPSLXT7nUJn3JbTmSOcM/lBXDHy&#10;SJPmXzUJVh3XxH8Pa9DoHgrTNE8davpPwWs5rvUfh/o0nitfFfg3R5bqZZdQsLbTLtkSHdIHWdUd&#10;3dFiYR/IEPPTpYeNN00mnJ6K+lr9f8jplicTJRVSzhHZtX3W3c/MOP4n/DbxOlodP+FPgqfxHaW0&#10;Hgq+8Q6BbP8AC7xn4mt4wiytqaWZlsr29aOGWPF9HKX/ANYrK6uE6f4Q/bPEct58JfBPxNHw88V6&#10;1fv4j+DVh8Wrv/hHtL0/xRZMsSaIdSBOnY1CCZLZpT9lfmKX5dsi19UfF39k7WljbxXo/hDRNW1y&#10;y0577xNoOraMEF1Zx/vGv9LmXbNKIIZbd5nQq0IYyKZE3FfhmDQ/Dcmq3fhz41aF440Pwd4m0xIL&#10;zWLGCG8vNBP782Op2W53HnxOm+CUvlk3xzEBgG6IKca1pPmWt29fTbYhTpeyX2WtktLvR9ep0th4&#10;v8P+IviR4a8AfEv4fWf7Ov7Sd/4qn+Hes/FDSZdO0X4ffEC2v7e9sHsvF/2gtFb6wJZ4rW01vavn&#10;Zb7WwkZriR/wd/bK+IH7N/xk0f4B/tM+ENXh8Oa5r/8AwgFlp3ii2lsbbw/c3rHSxLawTDbBLALt&#10;mb7OfKkUhmhdFVx0nxS8J2mk+GbP4ieEPizoXxfh0O30XS/izqMPgkaDr2r2MrW9vofiaWxa5crD&#10;OYm064nt3nRL6AHapnGz6Zms/wBkn/gpB8Orj4I6xr2gfCH48W32DxJ8Cr/4l+ItP8EvqV89rGt1&#10;4VurW/uYfPtU1FJPssun3JvbJrqIpbtCH2dEKeF54Sq1GpfZa63t/kcsquKcJzpUk4P4otbO+6X4&#10;6Hwz8d/2cZfiJb6r8f8A4D6gmkax4Pa28IfF2bwhqMx0Ke4gkktYtVudNXzp7WaU7La8gk82Nmgj&#10;2qpBSvyv8T/EPT7m1n8K/E/RY7RdOeWLTvEelWRu9GvJHmeQie23lUQBwhFptQCJAbYklj+hfxZb&#10;9on/AIJ3/tieMfFXjnwD4mu/hv8AEC9tNd+Ovwc16ykVdb0fxXD5/iCwnt02sQ0kmpT2l5b7Xjlt&#10;4nRwV3V2/wAdP2Kvhn8YfAPi74w/sjeJLnxPo/hvR7Dxd4n+HXjrVre/8QeHfD+rRltM1i9vikcc&#10;+mXbZjGuIEhtLmC4gvmtmjeVdIYWpTkuf4r6Nde34dDJY6nVp8sNYOzaf2e/y632Px/W10RdESLT&#10;r+GGwWf7Vp93A41jwxeRNMpfKRHzreVcn5ol+Ub99uBkHL+IGm/2fpPg7V763uLmXyZrWzE7hrSW&#10;WMxfZpFOMSKYwzFgfvQYbkbVx9F0KfSb/wAYaToK6hp+pDRrqbVPB+rJjUbS4sXhu7iNYX+8PJjl&#10;AXJYsq4JyK62DXooND03R75EvBBax301hPEJIElvoYLtPLZ1LRukJjIbkB0cEYYitanNBqT1136/&#10;MypzhJOMVvuunqn9xvfDjxjHoHwJt/7SnmN34s+OOuaLaahGqi80jSrPR9Fvr54bgYZYzdNahol4&#10;c2rZI2KD+43jTTdI+H3wC+FfwjMmo32o+CpfC/ieO1ZEXRp4ptGuLe5e6B4EzutvD8x5ja4BUggr&#10;+JN54N+36L8Lfhh4dEk9y/ilbMpFELq4iu/FWnm9lZtgB3RC8sISRknyTkZHH79Xuu6H45/aRt7H&#10;+yBq9l4j8OeFPFNtbwo13BpOnaVrvjCe92JuMTJLa/YMvLgBbOPDKGapxSo1KkG37rk//JIWX4u5&#10;ph1USfOrpR5vTmqL7/dVj4M+K3xk8XeFvgl+1v8AH5JZn1745SeK/gjqtw6futJX4g67pVzqjhm2&#10;kXF/pNv4qhVkzIFlkfhBIa+LfiDpdjceF/D+maJbx32pWPi5/DWqy2IH2u7vvEPhqx1aaARA5dxq&#10;i3kAVMsRgjkAHc+K9/4h8S/Bv9n74ci5nGj/ABW8VSeL9Yu0vP3X2qzu/wCwdLWaED/XRxXeqTK7&#10;ZP7/AACAxx7X+y94FvPEvxgFtb+JdK8F33jP4iXvxhtPGGv2YuZ/gR8OfDP9qR+IvileD7yX0Wmx&#10;3S6LapG9xNNNBNFGTLZyNngqCqYWMp6RUu+yik36att+hvjayw+KlCq+aTTeie8rqK03+FW83Zan&#10;0F418KQ/spfsbeBvGt5Y2sX7UuheA9LuNNs9TuIdTg+F1uPEK2Gpa+lo5K/21aTeIrHSomQSR6ZO&#10;9wwxfIz2X4K654o8QT+JdF8b3N/cXutahI95qOp3shu7i9vFZkme4kOTIXRkJL5JBPAxiv1//ar8&#10;T6H8XV8a6t4R0+fwx8P7D4TRQ/DbwpfXBvNY8O+FvD13qdpo2m312ZHM926aba3d47OfN1C7uXAI&#10;K4/Fu7HnQzWaeX5loj3dvHkliEbEgwfqpz7E+ldNCrHFVZVpLe9l/LHXS3d9TGpRq4bAxw099HJ9&#10;ZSsr37paJdj1h9LXRrZdWht2XSdfXz9Ou8A2s9nerOkKKMjPlXOm3ls5GdrW5yeQK8pvreWeNUVd&#10;266d8cYO5gOmenTk9hmu90vXJtT+GT6DcCJn8J61DdaNsjAupLe4laa7hMn9xZm80K3AaaTGNzEP&#10;8UWq6L4U01XtJItU1ad9SeWWIxD7DvVIDGSeVk2ysWxg7R+PXrTbjJdUvvt+hyRcqsFSvpq/kind&#10;xINUtNNMm6GCCC9v5yqq0qxLsUfRQG29M+WD14HU+F7eea41jxOZpLZigfTmTBjt77UJ4rS1DN1V&#10;UgaVgFxnyyOMk1yZiaXQ9Q1dgIp7ue30yAtJulRSoLMB6YQfi4HvXf6z9m0Lwjo8Q2pPdi81G4JD&#10;CLNtaeTaSNzglTfTFevzRHOMYMX5E4p3a0++xoqVPVrqk/kjzy4lhm1dNSAWS1tZTqskvARTGzC2&#10;x7LIS20D/llxivR7a6h0fwDJo7LIt78QNUj1nxDOpzdQ6bpvnpY2G4H5Y5biVrt1OctbwHqgzw+j&#10;6Ncahp0Mzxu8d5dRSM0iEwPEgDkHHDF48sATxvGetb/iG5aDUtYsmlM6aVZSadbS5LB/Iyz7AOB+&#10;88xQpwPnXrnNZzck3Bbrf5Wf4tr5IcVJtOK0dmm/u/DV/ceb6kTfXU0d1IJkhdr5JM7y4WJPLXd0&#10;AVPJGT6nsK9B8HW02q2njKdbW3lmi8EXkljEqgNHJp1ul1uGON5S3kO7Gfv8nk1yWnaM0+jfapyr&#10;S3+rxaYilzuMfkNc3JYckBQ8ScdM8d691+Evge88YeMfC3w80i6l0/xH4tOoWdxdJM1tDp0DaXqN&#10;1ey3DbG/d+VFKrgq26JnQqQxFTJKcfZRev4ebOqEYck8TUWlr2fbsdH8DvA3hEwJ4o8eRzXfhDwd&#10;C/iTWdOiRVPiKWJo3tdNgbr5k800EOThVa5hDMoDV97/ALLL+LPiV8XX+MGs38dnpenfEJ9Y1rxm&#10;lnv09NctbSBgtjbHAkh0DTzZQWNqWbY81ircGWUfCVtHqusab4Z+Gvgu3lhOp39iumWNy/lzajfC&#10;N4be5vGz8q28Vzd3EmSQJLo7SfKRV/XDVfAWm/Dj4Z/Br9nnTNZ0zwrq/wASdIt5ZdZ1gmyPw58A&#10;WM8x8TePdfjQGW2fVZo9TuLVGAk+zRzzCILNaTVjjq3JR9ordoro2938vwt5Dw9N1qsqcfitd9Wo&#10;rTlXrr6vTsfY/wARf26vDn7P37B3xr+P2lxWujfFX4238f7OX7LvgIaiNUg8HfD3QZVaNWTdmRp9&#10;Rln1vUbh/wB3ePZ6dEXuPPnUfycxNf6xc2iTPe69rmpao/iDXr64Z7rU9c1O6md3aVvvuxLsxAxk&#10;ynPQY+sP2xfjy37UHxTtoPhxp+qaP8Dvh9ZSaf8ACTwrqRSGXw9ocBW20iW+EYWFLm6jQ39woDFJ&#10;tTeLzJvKRjyHgbwZFG97YQ6tD4c0LQWW28efEO5iE1/dTsiyvpGiQ5DTXDblXbEQ2GDSPEhBXDB0&#10;3ShLFYtrnlZLuorb5t3k+7aR31pTnTjhMOnyL3pW6za1S78kUor0lrqesfAHRtV8E/2nY+B/C+gf&#10;Eb466zA2o32u+I7WzvPhp8DdPtDukvb66ut1rPdBlk8x5c2sPlopW5kXbX09+zUviLxP8W9T1zwZ&#10;8Rbm3vdC1WfWvjP+2N4rujavpnkrJNew+Gbq6Ym1by0kmk1V2S7jCbklgWPfL826n4xs5/A+oeGf&#10;CazfCf4SW8oufFmqzzrcanrIST/j81G+jCyXN5IqssNuieXDwIYwVWUfZv7F/wCzr4z/AGwv7GiT&#10;Tb74W/sneBSJIdMe2aEeI3tWhc6hrEgK29xdO5hlSCY+TAxt1Xz7gwgwva42c6t0owtq9FFbu/6R&#10;Wr3ZjOdLAUYwnL356aK8pO60/vPz2il3dz600DVta/aMey+CHwU09PBnwF8Nz3ajxfq5udPGqRyl&#10;hqus3rMROk2orMXu7mRX1K4jZYF8hHeN/SPHHjf4d/s+eCL/AODP7Od3p2t/GTX9IWLx38XPFFva&#10;zaL8J9EjVZBeXVjDvt1uZPmfT9FDG3tIVWa5a6uG3TeY/tQftY+EvhRCv7LP7Lf2W68bPbx6brPi&#10;S1uEh8FfCqAtHJdzzqykX+oBIyrSSnYk0hd1wkcB/Hn4x/HePw34d1L4TfC25uHsLzUftXjjxrJO&#10;174m8Zag7B7iea7cmV3kkUYOQVRBkljlPLjU51Khl0W6Te7+Kp3bfSCf37I9Wrh1NxxOPsnpaC+G&#10;ntuus326bvseq/F/9rF/BnhXxF8F/g/JfwQXeqNN4p8b3U7XHi7xZdEJ9suNXuXyzy3EnmtLCSyx&#10;oQHJcFIvzm1DxJqF9epJfajd3moXLjfcyZkjDs2FW3TkkIuC0h67QABtG6e50TXF+xLeW8UEl6AL&#10;OxmuRFPBHl2BnG7KBij7VbG8jIDErj6n+CX7Muu/EPxBoOn6VcRWay28uv8Aj/4jXzqNG8AaRBgP&#10;JADlTcyMXjt0Xe8jIWVUVJGX1MLl1DDOVet/Ea95vp6dkjzMbjquIcY0o+4tbLre+r6uTfzOe+DX&#10;7Mo8aWusfETxr4i074cfCHwWVvfiD401eE6ldXChPNe0sbUFfNuZFMYETMgPmDJGRXvPiPx14h8f&#10;WyeKvFuo674e+E/h3R0k8FeE7q4Sy1HTtBhxZ6bp0SRJHBDd36o6mGwREiSaX+5xb+JviTS/i7P8&#10;PPhT8P8ASx4H/Zd8Da02n+D7a/t3bUvjDqNncuup+J9ULqWlsoJhPL5jBg8u4DzZGLxYmj+PPCvx&#10;O/aGl8TS2tzP+zd+zNaj4v8Aj+OUJF/wkVr4XuLdtI0+dsMpk1XUo9N0tFO6LztSk/hBNdFOpLFV&#10;Iwqx9yLbSttFWbnP+8/srp6nG1PBJzjrUlGzd976KnF9dfil1fkj2P8A4KceP7L4PfDj4JfsY6Ne&#10;yw+IdB0DTfjX+0HpdhclNGsPEGq6bu8KeF44QRh9C0q+mmmV0VorvxFOhDG3Dn8fbEziCOeMedqd&#10;86WmmQhButYyd+1F6rliPfk5JLZPo2ov8YP2sfjR4w8YS6HrPj74ieO/Ed74/wDFsej2z3UNpLf3&#10;DXUz3VwzCG1hUyBN9xIiRxJGpbG2vqLwX8Avg74e1K1j+KvxKtPiX4ps7kXF/wDCf4C655uj6RFE&#10;JDIniH4gSwfYbcRhA7RaJFfs8c+ftMEkeG6oqMIe0xL5Zz1fddorq7Ky+RzqMqiVHBpyUFby5t3J&#10;vZa3av0suhnfs96Dr9p4H8b6j4I8MeMPiL+0D8ZtKufg38EPBfgrQ7vxJ4zsdKuAp8eeJYbC2WSR&#10;0n0xrjw7DIyGNTrWoyBkaGNz9qT/ALL3g39nb9m7WdM/ao+NPh74IfEDxbBpWp+Kfh18O9Mj+Nfx&#10;tv8Aw/e3Q1SCwtlhng8O2v8AaT2mlANc6lMVt9KaRYyDNGn0b8F/iB/wg3wEh/aN+M2nWvwg/YX0&#10;XUf7B/Zw/ZH+EsB8EeJ/2+df0+5E9jD4t1yMnU73wnY3Cx32pajfTGC8lmWKCBg3+mfFX/CvfFn7&#10;R3jrxh+0x+1v4jntbPxFrba9J4R09E0q8vYJ3ULFDA26LTrVoore3iCrlY4oo4ohFEuzmxuNjSm6&#10;KahFJKcnq4paqCS3nLdrW3XsVhMIsVJVKrc0neEYbznonLm/lhbl5rJN7N6s6P4U/GXRJL7SvC37&#10;D/7JXw68IXsGoQfYf2jv2j/D1p+0f8X0nXez3GmaZqAbwxa35jZv3ljpkpgBUG6iOx2/Vvwv8SvD&#10;PhF38XfF3x3rv7RPxvTTVm8Q/Ff4peMp/Gt54aLBYJ7WDW7xsWsJjjtYTY6B9n01VyoZz5kafjl8&#10;Rf2m/D6wy+C/g/4W0jwL4X0ax/sfU7jw7DHb6ZLGDueF5+ZpnbJR03NuVW3qQVB+Odf+NHiLVXm0&#10;exvp7+Axy3Fybu++wpfCNZJSLqQybVTA4hQ7pHYIC5ZVr52tPH47mp4TmUH1k/efy2ij6nD4fAYK&#10;knjIRVRJe7FaJ+ctXJ7X1P6PfiD/AMFbNE+GXhKXSvAt1plhHHcXFxqHi+3tRLc6k0rOzQaRZrsV&#10;SzGLIjNtvWVllmdAMfhL+03/AMFAPjj8cbi9bXvGuu6ZouoOZLDRW1ALd3qO4cS3ZQJHFuGGK20U&#10;XmGNcqxLOPA7L4e+LfFcFt4s8a6pbaBplzGZNLu9ZQPK8a7Miw0dGEjImRtLiKJzuAk3BiPcvh/4&#10;20L4TNc3vwf+GGjeKPE9lD5+p/GH4o2VhfmzIZGJha6DxxAMo2QWsTPiQ4DF8gp5PgqLVTHuVaas&#10;1Hotvl94VM5x9WDp5TCNOLWtRuz6aK2r9F+BzHwL/Yd/aW/aI8Pnx14L+FXiO68CocP8S/HusaX8&#10;GfhHByyF5fF/iG6sdKI8xGjEdvLNM0g8tYmf5D9S6D+yR+yh4Bv49C+On7Ztz8R/GEli1x/wpb9g&#10;f4aXvxB1S2cxSCO11Dxx4jtLe1jG8Ks1xZ6HfQIN22V/lI85+Jfx3+KHx1v7Txf+0L8XfiV8bdft&#10;7SLRdD0/WPEGoaH4V0+3iIWOxsbF3+2SWwQQgRTNaRgGT/Qy4Gex0v4S6nqmnW0XxY8deF/g18K9&#10;OtTq0vw80rUf7FtZ4hGYlur6zt/KnumYQShbi+EMe2FyolZfKf05Y+rKTp0IwpwXW3M1b8Pkl8zz&#10;oZRHWtja06s3b3VeKbbv5y+baPqrw98WP2Tfgv4XvG+Hv7Pv7O3wcsbeM2Gq/Gr9rvx34j/a6+LV&#10;yyTR3QUeD9Nmfw8kjL5EZsktdPRlkG9Fyxr1K1/4KFftDfEnQxpfgfxP+1j4p8IRH+y/CHh/4LeB&#10;fD37Ff7O0cHmPIiw2FtLcTNC0alhHbiB1/hkbbmvkfw94n+Euk3umeIvhN4H8M+BvAtqs9lZ/tH/&#10;ABh8C/8ACc/EXxzcRFkn0/4b+DBG1vIEbzQ97OEtbUq7y3MPkFG+ffjJ+0z4r8Wrd2F14o13wB4S&#10;Fobe91PxnqL+J/2gPiOk0KwyrcvbmKz0q2KpPtsLSO1Cw3HlFrlY0lrlUaleSqVZTlv8TsraK9lt&#10;5fkb8kKCbw9OnTa6pc8vS+17aN3t3PtQftKaT4S8QSzeNf2efgB4/wDFdjbNf66Pij458UftC39u&#10;yGMOusX0viEaNGsZDkpFGN7ZQSPv2GlpH/BVbx94dmtdB/Zw+A37M+ueINN8y4u7z4efsV/D3SNF&#10;0YzFlCtqq6HNesijgSSSwgoEBdjyfxhf4h6Orix0TwnBq9nGZJI4/HEx1G0mkfIM50mMi1VgdrBZ&#10;muskYZmUKBzXirxt8QPGAj0zU9bvv7Hgkae28NaYU0jwxp7HbkQ6bbhLZASij5Y8/KOeBXo0sFdx&#10;5W46dHy30777I5sRjYPlqunGa296Kla/Zbefl2P0x+IH7f8A+114w1Uy+PP2j/C3wrjtJDcab4S+&#10;H2opp0OmM7vK3k6fosdw6ybt4OTbgOyZKjcB4V45/au8aeOxYt4t/aB/aD8cWsGnxIunNpNhYWcl&#10;15Hkz3H264nlv2WVgkgEqkhndQNqqZPjfT9E1xrSBHlS40+NvPij1R9lhGR1LJJsx1bA69COcY3d&#10;I8G+Gb4XdzrvjK20CKIGcAafcXVtIyhztRVLLGq/d3SSLkMOWw1dNPA4Z3irW+//ADMZZvXpxXJv&#10;5aWv0srbevU9ms/jfrdj5R0XVfjHHEZWla21fxvf3EbovziQW1s0MJbBHJTCgdMV7j8MP2ltK0q5&#10;09tfm8S6bfaRcG+8OeLtOW58MeL/AA3cMTIJrTX7SS31Ab2ct5fnSROTh4yCVb5S8N+Cfg1rOppp&#10;r/EvWobG9DJLdeDPht/wsTU4G2/fOmQ6hCZmB+7EZ0JyOemf0t+EX/BJtPjjoF/rvwx1n9tDxJpd&#10;qTbx+MvF/wCyP4H/AGf/AISxXXkif7PJ4m8XfFLSrKQsrxkxwCedVZiIHCM1aQyfCVqXs41lDXS+&#10;n6HP/rFXoNzrUXUi7J9fxv8A1YvS/wDBRn9o3U5k0nw7+0t4/wBa0iSR7QeHPi5LbfF34a6tGwUJ&#10;BrPhzWre8sCuAQbiG2SUl2L78jbP4e/a4j8T65B4U+LHw48IfCvVbOJru31r4N2D/DfQ/EMskh/0&#10;gaGj3Hh90l3OUextbbcrBdp+XHsngL/ggR8RvFUDXmp/tB6v4MupnWax0Dwt+zH8Rvjh4ouYzyjs&#10;dN0m20BSwPCxa1NHkDM2MMfqvwr/AMEMdQ0vwzc+D9b8X/ti/FbxBab7vT7XxV+zz8Pv2X/BWnK0&#10;U0s5i8Qav421WS2BKnJe3KSEDdGjtGQS4WcISmqqbsmnrc558X0JU9cPJrty208nZNHxlN8A/hJ8&#10;R9P1Xx7YeOf2edGvrPX4tH1fVPEviub4LaZDdzDzFstUt9Vs4rOaeSKGYR/YpJOGyH+RwPLfjp4d&#10;1v4GXGjXXgLwL8MrK4uIUv28c/CP9snRf2gvC/iCFPN320ek2djAbOXn/j0eeaZcfKXGAf2i8K/8&#10;E4f2VvEPhzXrXwh4b/aj8WadpNxdeCb6Xxl/wUr+Bfw4ur1LRlU3QgXQVWVIJFaKK42OmYXEcjiN&#10;ayPEX7A37HngTw94ivtV8Z/EfRND8TWW/wATeArr9ur4J/H9/EtxZbGtZrWzsvDDNHfCZYwoa6tR&#10;Mnmok0J3Oip4VPD2nUTStdtO9tDm+txWKc8PQmqm6i3Gyb1tpY/Ay0+LX7P3xdvm0T4m+GbTwJ8R&#10;YbdLG4+IHheW60uRZlUlJLm3bykaQ71LrOqFssUmQhQfuTxT+xb+ztLoFj4g+Cvx0/aF+I9zc3hj&#10;03TPGfhDRvCcdzGqna0V3b+KroTT9PKtzZRNKIznysKrfRGuf8Ef5/jJ4futa+C/hzxb8WntbCTU&#10;NGtvh94p+Fnj3XJLJLeWbdeT+HvH9xdpJF5QUwjSpneQiJFDttr4UsPAX7Rf7HXi290G/wDg/wDH&#10;210gXBttV+H3xq+G2p+FbPVoVkDbtMS/t7S5kOSpRoo2I42yIwzVOli8NBrDyVSk7N6JyVuz+exW&#10;HxWWYqSWJTpVktLO0Xv8St+I74feBvh78Pde1wePvG+saZPrCyaJ4l8C/Fr4YXvhe28ZQAqk8Ezt&#10;bW6XB+YbJoJmmiLK6sGxX1bp3w3svhjHqviz9kD4vaz4Q0LxIG1rUfB6fFvU9Bk8MTQ4U2sbXGSz&#10;wnd9mv2mYMreXMAxJPN6XrPxc8W+HPHXjD9nvx3/AGD4eTSxrXxa+D/xiuoG1zTfsaxpNLZabqGm&#10;3FlqdvCrqzJexxXVvDGxaWRQ1wfA4dc+Ms8j+KtI+Emi6teWWnx/2JrP7OukaJ460Xx3DO5iIk07&#10;QHltHYxPI7xNCWdI0GPTkxMsW+aMIrka27aeqaf5nq05YKauqjjVjd3bdn0tqrOPo9z6e0/4neIN&#10;du/FXiT47+CfA37UQ8VeIbV/FvjW903UPgh8dPheYLGPTHeO78KXNnpE6CGG2kmSXTZbW5lt/tJi&#10;84ysd3Sf2efCXxC/tzxV8Av2s/Cuj639oS50j9nb9sXwLZeJfEOpWM6mRIdO+IelvBaRhWEsYOpW&#10;VpK6FC8gy1fHHhDxjpUfiGe98L6fa/BrxvqcL6f4m+F/xLudU+BOla6FLTPFo+o6nBFBps6MGaKC&#10;5lWGFlfy5Y0CRClr/wAcviN8NNRutOuNJ8MX3hx4ort9M+IHh621Yam7M0jxXs5iezmY+dcYV1mg&#10;lVXZNwAWsas68YqValzR6XXfy3T+fodUcNhZyi6dXknbeLs9kuzTWnbY+jdUi+KPwEubjRfit8DP&#10;iD8LX1ILGb/wZ4wn+IPwb1hiY2e4iSfU76ymMzchLKSF181sIoUKOI07xVrFn4gvfEPwa8W2zatL&#10;Y/bNT8FRadd6Xc3IRAXEWlXeJ22kSf8AHu8oxjkg1yng79vX4Ua1LDo3iTwT4v8AgDaSqLbWdX/Z&#10;h1SK/wDAU2/f51xefDzUGk0e6DxswMdglixyQNoARfWptH0XxdajxH8E/iZovxG0holt7nXfhTq4&#10;8MeKLATrvL698N9TSRonVSpLadOwByfKUKAvBCnGmpKgk/7ktvk2bqWInPmrz97+eFn5JySbv+B0&#10;ngr9vz4leBIpdLvRLp17alrTV9I1WyubW0dDlmtWbi5tXdGP7mVBGx28Y+cbWq237M/7dV4LXXjq&#10;nh/4qDTgieHbnxRc2etzF5HDPpVtPI9nOFL7ljgRlZlLBgThvOPGmgfEfxD4XOieMtK+Gvxx0fSo&#10;2TQvFF/Pb+APiboyB23xQa0izTxuCSxs5YnhbygSm0A1+enxO+Hfjfwjb3uv6V4V8VTeFNMmNxDO&#10;ESfV/C4+8pmazkaPcmzi4s5CPlUlF5260aVRNTwz5J3a5W7xfozDGVqNvZ46CqQtpOKal5Np6/of&#10;VnxJ/wCCbvjrwX4g0/XP2WvjHH491rS/IvYvBfxU0OH4feLLGaPDFItSkebSbuNJBGvk3jwB8HKs&#10;mRWn4/8A2r7jwr4j0jRv+ChP/BMD9mjWPG9uUfSfGdn4A1P9kHxtr7xoAJ9M8a+CLqxtJ/O3oxkV&#10;LiJyMhFLNnwv4E/8FFfiN4E1HRbb4haxqHjrwzHNbw23iu5Mc/jvRlibaqteMwW7hCbQY7gFwEUL&#10;Jg4P79eFv24/2dfGfwzh0Xxb8OfD/jnwR4khgufG3hLWtMuPGvwt8XiOPykn1XSEZpoJFEkvmSW4&#10;bYJGK+WpK11yxU6UlHERlTlveHXptqmjkllX1ulfByjWp9qiu46X0ldSjd+dj8GvGnjz9g341avb&#10;6NoXg39o79lfxVcF4YP+Es8RaV8cPCkjSHdbR2upQxWl88eHUbrlZS6KCSzMzV85W/8Abfw98cC0&#10;8IeKdH8WyaXdKkeraOJ7WHX7YSO32aezuFWWKQfK2xgecFWINfrJ+1t+zH8BvC/gk/Hf9mb4CeKE&#10;+GfjCGXT7rwVb6fpv7TX7MURufNjln0q/kvX1Hwy9qxUpbXkJMJhVtkXDv8AAGlfAjw/rfhvWI/E&#10;GteMdAuPBTRD/hbfwu0yL4x+CtL82HfHaa9Hal1MajerTwzbk8plYqQQLqxhilGm2pQl9pry2b/z&#10;McPUngm21y1I6cqlfZ2ur/o9ddD21rzRvip4bimif+zdascyx+ST9t0maLL7R3IyuNv8QYD1BveD&#10;fEF3epe6LqcSWuq6RceRdQsQUkDB/LlQZGY32MVHGMY4r4Q0/UfFXw/8aarpnhbxnpfjPXtMgF5D&#10;daZdyjQvGlgfmUC2lCzCWPCs0LNv5wrH7w+hPCvxi8P+M7yPxDFEdK8VWFstlrmj3D+XM8GNpeNy&#10;BvCcALngfQivz3NMmxOFlKDV6Otn2fRejPtsDnGFxrWKhpJqzXdK2q811PpWVGkYBkyYwzjKBWAV&#10;QzEgHH3cHIPQD14zZyVLqCQpUDYpy6LnY5OO2QMc9FfHWrUV1DKpmtSr2lxCHgmTKqiOwCyAHGEw&#10;yEE9B19KqupkZpUUSMw+0FgCFGQFOOSCR0Oe4A9TXy8YJXm1yvqj3mouN1t1f3tW+RlyNkzsNvmL&#10;IyHyy5DgMcAAkjHAGRgEYPOSTUkaQZQhY1eERxHduB+8GGAckkbcH19ecXbh3AWTBw8gZQHIKlcB&#10;CMZAAwOPfj1qlM6OkhSOQQzAxnON6r39fbOPU+pqo2jaV9Lf5fkc0Yuycn02+4pMEkKhtshBDIHG&#10;6EkAEEjOOSOckVWlYNKBAhCz5ZWIJCHOCMZ4G7PQnAA4OObMyYMqMqrvUbCZMqoY7+OByN2P0AAx&#10;itcL8jrCTG3muAYxukJCDsTjB3AA4zujIPTFOLsrRV9t/kVye61fRf1/n87EYRQTGcrHgIVEpO7I&#10;zgn1GACD03cEc01Y8iUryZMZYn7vyn5W7cBh9OPSljdTErlvvgBwQE8tm+8AMDI4PIyOOT0AsFMM&#10;oQL5it5gBXAB+ZWyM4IweM4+719VHa+6BON7O/KrfkJBGXMRygJYskfTzQA20DoMcr+GOCTVpYyZ&#10;AUYMFUKjEEbQQcYX24JbjkL9KgjO0MrdFQIVkTaGJ+bBbBA4xn1yOTVkkLMJVBIaUsjtw8RLFt24&#10;dCCwIxz6EYrZRSfLJdtSZzXKtNtiVYyZgqneHKtJEoyqnJ7ccc9/etOFWhdgrFQwyGVNokZvlIK5&#10;6AnA9eazITJGyxBGj8xdzbl2hxkAHPXoGG7PO7HatgEZj3IpjYgFmfPlP8uRjuOR+XvkYOMlNqO3&#10;S/l/TNITik5Lq/8ALYuQ5TEYDoYomLI7hgxDJlS2dw5X1x2yO+jA6iBiZSxAC7CCcjkZwenYYOOv&#10;aqlpuDBpQjqjDeqqHJJGMgE4yu4vjvgdMc3rVZJEA2Ntik+TBz5gKjgMBznvz1OO1S/d0e+gRkoN&#10;RXrr+XyL8EO2IvIVDAbSSSFUknaTn+6OBnHQZPOa1FRjtZGXaJFYybvKDtuVVGTyMFl56cjjoao2&#10;4jwgUELGCrk7juAAbd6nqF/4D9a2kRudu0BWOcqTjgKoBHIDDHYY6Y9Inayl20N4csoKy2LIhVkR&#10;oCWjiGA7x+WuNo5wfo4557YHNWotyZKqoCLhAT5gcYUgkqDwdxIJ6YxUMY27SobDSEFSSoOFyMt6&#10;kAcEHGQSCODaVmRI1YuBDmRlBKoAAzcZyP4RxySc9TzUcvOrtEzTm0ouzRYYsC+wGVUBMmVKByB1&#10;zjGRhQAR3x6E2GHySNEQcSLyi8lSknByeDwg2g9WOeMGmgSKzqU8tFHlybjnbgMhPJyeg+uCeaUJ&#10;jzAACNwkUu2HYgSALk84+d+4+8OKtr4W1rb8AjaFO8pe9/X/AAxVVSoJduZCUVWzwVAztPTHDde7&#10;duAGPg4YeYjOxUhdpK/dPrjBPy8HJ59edCRy8YXaoIzuVZlZuikqee+7AYZHy9RxVKZmRgFWPaGk&#10;UBCQBtDEYUDjhflX/aAx0FNJqTi/+GE+WPK3r0t6/wCRUupGTKgKASI8s3lxlyQq/UckDgZ3DOKz&#10;DGCEARFAlVo4mBRAoOWBBI7kg44bZzjrV5oSpbKbQr+XInmKgJcOwVR9Ub0ALAe9UZSsnlxkI5EC&#10;rxIoEYP+0DjI3Ee3PSmkox5fvZNT3lZqy8jNZpVD5kL9AzyA7iygA4GMf3mwP73FRIQN0jsgYnfI&#10;QBKMMSoJ7nJBYYwSSB7VaLEBTKkeEZgymRyygAAYIGcEgKW4HOc81XD7ZGdnGDtZIxj94pXLKcDg&#10;jnkYwT3wRVWlJ6Lt+BsmoRWl11/yKp27HSSMB1iZGY4GTwx75HK444OB65qrMwffvImDh2Rz8skq&#10;KrbVIIwcBQPY9MVYZZHUvkNGR5RYhVQt8zEbenY+xw3oRVSRjbhGA3jzGER4UttbIIOOvIPX7w5x&#10;2cmp2d9Xv6bGFlObUXeP9ag6lxzuLnahYkjcd0a464wS6qAf7vPTimZZE2yMrRjOAfKKELguDgEE&#10;c4YZ45J6nlXkjZ2Vi4V1YrukDN64bPfAz6/MOKz5ZHcyEqYyGLMi4RSfMILbRgHgckAdQP4SA4Jt&#10;tpXX6E+0copK+haaUhgiKCV3MFJHlgFSFzk7gFznPsPQ5q+ake1GkTfGRuZBny8YACg8kcA8ZGAM&#10;cdaTzESBi4WQPxhiuRjORjt09ev4Cu8oKbzhY1bd5Y+Xd8qBiV6bjgdeTVqM7pR+4yjFOKin0sbQ&#10;ugNgYIVRsIBt2lRHGOwHcHgZ6nJHBZpuFiSR0XcqtloWIZJmUl1AUH7oKDg9x0rHMrEqQmVUlC5w&#10;Nw2/MGJOeAoA9sY6VHvkZpMMZIwWZmMm45YqwJ7EkMW559uuCUZVKl29P1NVODu5a2b/AOBobHnu&#10;xKuxjyyjaw37h0IOcj16jPy8Y6lTNteIHqXGxSSBGEKnGDx8v3fcIPUtWYkytEMSEbSqKqkSEklS&#10;AWzgYG/nnqehOQqtHDEJhLudTuUlvmLg7hnuAQy5J6nPJxTd0nF7/wDBMbOXK4vRa/N2di+JCGBb&#10;AEYELMB+7k24jZznPDZ+hzwOKT5mXMboQjB1ZsA43bSRjn1XHt700MC0hBEhR2KSBtxKGIFhntgP&#10;9Dt96AjNIFQbMDIZSTGoZipznJwpB6kk+uTmo0n8K2/pGkHzaW21+/8AyLMTOixBFG6QKrqWVghB&#10;HVs88jqwGfwqFJWdlklQASjYu0YzmST93gEYO4gYwD+847VOqsCvzpMzhcwtkMoGcMWJCgfIo+bP&#10;XHAHKAs8irsAd13IGJKhiGyW5yNp6k9BnNa7w5Wtd7Cd1BTTslZDBAUdIzsYBuXVfkc5A+VsdMk8&#10;4GQRkdKmOx8+YGXYWJZRtVgDls+pzjGedoAJ4FTMisEQyBlZ4yoWYBmzuyc8jA56nPOeRwJEi3CN&#10;nACGQHaw+bHzYAPPdmOOxC81mlNwV0KKvLlktv8Ah7kKwlpJML5UaElXRSRGG4APJIHzjGfX61fR&#10;dz5EQ+VAPLDbo+TgH2+8n5HipUhcAyRsfOjjLZVtqtGrZCcfxZzzyT8oGMCnRxOxRFIXAyoV/mKr&#10;tUNnsMgrk85B9Aa0inpCO39aDVNvTS1/wTK4gjfziAshcfICSSTszkD1/TP41owwku2Qcbmi2McM&#10;py4yccjO5SR1ypB6ZNq2STKoY1ASZD5rYBXC45bIHUE89dw9MG3axOqsdmEZVfjPRmy3PJYkHgZG&#10;cdOTWbenv2SX+a/Itx5Zcun9WIUtXf8AdgoZFXcCgEbRj5jnkcHHc8fKOwyHi3cFZZI2aMAJHjhO&#10;pJIY8Ho447itGAPvVW24CZIjXcAjFgAAByMDbxgna3SrMdtGDGyyOrtEcLjaVbPynPUYxJ/30eOt&#10;SpSUrPb8/wCkTBQdNTpvXzKqwswV4jHnAxGxb5sfKOpyQOOjZPI44NTLGu8COPbKJG27gPLBIXG0&#10;nv8AKc5z1OPaWGLeFCW+4iXIYOADtdCSOfZiT39B3smJEKss7AkNv3OIlxtzt6fXn6elac3d6bfq&#10;OUHSpRs+n5WHRwtuMi8JIqRnd67dyk4JHLKx7Y6VBGhYSJtO5ckvjIfHTHOe/fqRmrO0KZXjJZn2&#10;tIwPznGSMcjliFGeeM9TzRG2I0Uq23IO+FdjyEKVwcdMcYPYHnHNZNSk3dv/AC2LThKad9UhCrHZ&#10;xN8soBDjEaDIIAA6DLk856N0AyWh8srqEXClycmR1UMo4z0YbWfA4yfq1SiUMzwxxS8SZYGQF41H&#10;J+YgnkE9jn8qqwiRdyk79z7AYlZd4LEABeeAD0PuM1cVDmt/VhxvFK+2uvmTABGCP++Zi2AN0e5g&#10;oXkHnOd2R3y3rUTctK4w/mKsgIf5wQEBPBIIzv5zkgLwMEVEzSS735SLYArfeEZO9t5boeCg74xn&#10;nPE8UgDqJBIrGUgIcjA2IQOf4mBPbptOTmrtGMVH7h+7KV0vidu/b7howAQXUKMlRnaWxs2qQDkE&#10;noO4XJIHJjClCDKCo272V2PAO0FuM5OCOR3YdcmnBn+87RhhFhgw3SKy7FwM853BwOegHB5FBjJj&#10;YK+5VB/eRZIHUZAPUkKcA4JK+/GfNGWtrX/MiUJ+0S6tfhoQo2C2JZFUtGkkrBVZPmUlev8Asry2&#10;OnOOyoWGxfIAwvmPGQzNEw4AJBDY+Vepz8vanAIMRhWJK7eGBJOOpGRxyT3HHXtUSFv3TIqqxy8i&#10;K5XapDsSehyW2YI65PTg1quWN5X/AK0BSg2oPfT8xshHmSYWUKXJQCAPtXPyjPJ4GByaKDdSoSpj&#10;DEE8ktx7DBxgdB9KK5ZU/eepyurrq1ckkRHYkoNu7cmA7BM4wWP0J4J4xyM9LKpsKBlO9l3KgO8F&#10;soduRg4xnnnHl4zkjLGwvKgbXQ4J+Vo8qQSBnAOSCepz0ODSHBdDtLbJCF80fIuDjjBxxtzjOcY4&#10;rnc0/h3Onk1tbe39fNEAdywY5AVGOxyXJVceZzyRnOc9u3IAM2w4Ltt4jL5QF4wh+Tgg/wARx84I&#10;/DNSOoALPkhm+R9heNFLEcrknohboeBxTJDK5iXGApZFLqJANxB69OgYg56/mNFKbine1wlTkrqX&#10;XZX7dxI/P2xO6sUjX5ZCmUOQcjJPPc8e/AqQRkARIxUsxkdifLBJx3JA+XkHk9D9aUIA6oi7kJUk&#10;hifL+YNsz2zkHAPRfaoJkWUKxwGHyK2GJOA3zEAZGAx9OdvthKMnJroatNq0tZNr5IUL9ow4Oxom&#10;3NCFby49q7nUAkttGepPKjnvUpzIPK2lCyqTiLKx7ckfMOckrxg9CBikZRhThFlMgbaOhHC49QAO&#10;ScE4B4JpuweY7x4DAN8wUhXIxuxgY4zik3+795fIK3LGEoPy/r8hm9X2Agswn3IQMlQrENwOnIft&#10;/FxkGnFnDFy7SgA4aRh5jM6g4Zufu87tx+bv3ygLE/u4m8xNu1QSUclZCzg+p2qec4359QXeUSCC&#10;EWF2yy7sls4DAEZ54Az/ALPPSlJ+5zf10CmqLuoCkygoQQr5TYyfI0b53gbgf4Tj8ccmgR5WVVJC&#10;BHt125ZVBUKDkHhgdxBzngU4KFO9VcKgLKcsyAhiS2MjhcMOOQEGQT8xk2GMbVJYqrIxI2Q5LHC5&#10;6gckkjsQKU25LllorFU4vmU5bf59BrESNNKFVS7eeVVN0ZJ+crtGO7MuR/d4yMU794irG42sQFdz&#10;IVYdFJJHqBn8xgdajKFWPyE/whmYnaq5wDn7vGepxyOeBl5UHy1aVg7zoGZcFIy+AGyW6HP3un3v&#10;xpxpuScXv9+wTlzS5baL8tP6ZLl3VWVVAMY3sSCVHy8DBJwBn1xt61H8yKr7dyORMrqzM4wCxKkd&#10;eATkdAufoZ4AUqimIKrng5zlQSD+OBn8c8IXZXIBUbk2RHgkhiYwzA8gAkDb146YyamEbtSTLlK8&#10;kktv8tP1LKMVZ8L5UflBCykhZMnYwB6dA3Hf16VAm9UIymQxZiG3KQxDDd7cn354xSq4dlVWIIjV&#10;i2Nm0k4JPqO+O4HQU+TawjWQrEigRuGJQEMVG7kdgxbPTAPPq4/DsQnOpS9o3Z/nr/mJuJfDfKAc&#10;AEFlfgKSeuM57f3T1yMEwyskchcbwZFbCs0Y7MBkDJITIGMkYz6TKzncRHJlAyEOoccqjICRkZyr&#10;ZIbHfkgVEImCzAJ8wXaHj/elCeh5JblQxJGMN6YOCnd6dV/mSuWEmm7ytq+g5QBvEZZUDEAfLKgb&#10;KsoIPUYwSTn7qjvkSEMjkAOkgdmjVFD4xz82cgg85Ug9OmDioeDtAUbGX5H2sduVwd3oe/8AKpwW&#10;DJlFDOrqqh1/dqCyktgkDOWx6hvehpt2b7fgZqUfaclvP0JI1dgxkK7gQNh+QEHuvPPOOaeQjjyw&#10;VAIVCHOVIYgsSfXGfxwDgHhiO/zsDkb/AC1+YKU/iHfknOAepPPepo1X5mV1fzG3AqCDIwx34znH&#10;P1FJ83JePe35HQp6aLS2vfsSxI+x+WDq5bg4ULx23e7emM96UbhHC+ZGJQuHz8g5DfKOmAAoz9em&#10;cVGH2kblCxYK4yfnxjHPH4Dg8jPSp/NChgyhiQ8hYgNhMjCjj0OABxheecZGrPV/8EpStFJKz8xH&#10;EgkfzQcgsImOI2zjacrnnPzEEjsOmCamZJFUsoYoP4QxDKDk9TnJ47/XtUatEwRxjey+YS8YZVGe&#10;OncD1PQ9+afG0bM7hpEy5+UNtJIUjjrnOScVHM01/XYJeza9pDUjY4YqscaEbRHIRsKFmGCBkkHI&#10;6Z5xjJApZVTYY1LhlO3ZtaUE9AAo5GODgf3fc0hYO5QNiZeoIx5p68jGeOT17HtSBV8zYqqUfCqz&#10;KxVsFckEcn+Ilj3fqacVFztay/4Y0TSTb7Fk/NhEKqyMS+8iIEAdweCvTgjioy7NKGaMBk6MuQpx&#10;zk8Y5yB9B9aUZC4SRiVkyhdf9Ycc9hxz0Gfu4x3phjdm5AfJ8vO791uGRhueQD36cdRRCHV9P+GJ&#10;hO8VKa1WhIARtUIGJTcSAFVhuA5A6/dOM4OMcdKicSpk8MyHKs25gnBBI7DBB7gf1lUsVZn/ALuV&#10;kQBmfkqflBz2JGccYxT9sjZ5QB4yomGDGWORjHcjA9qhy5JN27fNFRimovr/AF/mNTeDGwCncGR5&#10;c7WRWwzZHQqdqnaOyr1IxUcgKEMoI3lRGSRGFAIA34Oc52jg49CBipGyymFz8oIZkbCll6DBJ9j6&#10;00ttUsVBLKRJEgyTjkbR36DAz3yelUlKSWn/AASfejGKWiIDKzfMxCLHGZGRcOy4DFhgHIAKsT/u&#10;n0rwT4h+O77UdSl8CeF5p0vfLVPEV7ayFrmw8wti0hIOBM45JwdqgMSOa7T4oeLD4Q8PPPYug1XU&#10;po9P0iFwWWN5BKzz7QOfJ2q+AMksAOuK574S+DBo+jtrepQXFxq+o77yea6YLc5mxI7yZ/jkznJU&#10;/KqgYxx2UqMIqWKqL3Vsu8v8luzmr1KitTovlqT8vhS6+re35nP2ui6P8LvC2p+MfFRt4Y9Ftnv7&#10;axLmK1sE4cBWJ5lcqdz9ScngV8I2upap4z8SzfF/x/aTT6Nos7t4B8H3gaKTV7po2aDzIW6LGD5k&#10;pIAHyg4ycfYvxz1LTfFt1Fod3eWyeFvB8i6nr0csoa21a/lCm2tnIJBjjVVlcN0IxgjcK+FPEXxk&#10;8E2nitbvVIJ9Y0nRol/snQrD93JqMgYmJXOSqq7jzZCefuqfug19JkcauIlKootzktLfZjrt2lLW&#10;z6I8PNoRpUPYqSjFO8ntzy0tFv8Alj9pddUdh4iudO8NWFz47+IGpWFx8QvHkpvtWa4mWG08O6Lb&#10;FpI9MteM75tkOQmDtG3gFsfAfxE8ST+NNZn8SlZT9qmK7hnZFFGAsMaZPAVAFUdQqjrXXfGT4zav&#10;441T7RcWGn2kSAwWGkXNtBfjS4txKRhtpXcNx3EZOSee1eNr4l124VVhuUhRfl/dRrCqrnsAMe/0&#10;zX6TkOWVMNSWKraS2im9Irsvl+J+e59mlKUngYTvF6ya+0/0V+m1ktNClHFd3F0Hggn+WNoxExOf&#10;m4HHuVrXg8Oauq+ZHYXqwzFRve3KiTcQBiQ8HnPHfHtXQWfiK/uLaOGQ3mpSQqUg3TFbO0+YEsEX&#10;hyc4O7j69a7vTPiz4k0jR7jw5o+l6GXvENvc6zcaLDfa/BG5O9bW5k3fZwwZgxhCswJyemPcrVZx&#10;jGNKF36ngU6NKVS86to3/wDbf60OY03wHfwW0l7NZh03mNZp7qPTbJGGCQ9w7BRgEE4ORnNejaZ4&#10;BtptW0XT9b8W+FYbLUt8znwXfjxRJaLEiuN7YSJpHVWC7ZHG4AckgHzlrjzHNpdXEdxdFQ0dupy8&#10;JdgS2BwCeMl+MZ4OTWtplvbxNbXN5NL9pSX5SlwSsZ7liMnhe2Px9YlKsrc1jSFClzuKv066q2/o&#10;eoy65+z1oDQx6b8O/HXjbVVnEkt945+IQ0bRyAxA26Tp1pC6kg/MJrmXPQFeS1+H4kxahdTP4b+H&#10;nw+8FRznDS2+hrclBhV3Nc3JkmIIVfvuyj5jjLE1xs+u6SZLeLTbC3vL2GRpJr6PTIbNJWkYjJdR&#10;vcjnDTMzZLfMOK1tAtNW1TVEvFtoLm9NwtjaWtzIJYpLmTOyQIpAYKDuC87nYZzkg80b1NJOTfra&#10;/wAkdi9nSXPGCS6dXr3bPeNK17xFBpE+s+KfH3hPT5bRY49N0LSfDkBeRrgq0fmtGIi+2NJWKZJy&#10;iAg7uOB1PUfGPiG5mv8AWPGk1nHJYE2809tGsiRkOIUI3bbePOeQS20NtRzlWztUkg0qSxsriysb&#10;6/0bz4H1gosUAuWlaQvbIM+c+SN07HgRgKByWw7iHXpJIvtMbwmRBNcea5luZ12bkZySWb+DLHnB&#10;A4wAOeclLWCXKtF8/wA+5004yjFRqT1fa11to+1ux6ZpZsNK+zRaJPbSXDwn+09WvAXv9VOwx4Wf&#10;B2hjwQGUBUbnIUG9q9xr+sazLf6nq2mX0Sugt5NL1iK/sxuBMW1QWdUVS4+VAAAAvavJIdP1a5nR&#10;oZlkkd/s0MbSRadasWXykjUkqACCo+Yj3Pp02i23iuS4vIE8P/2zHpkPm30NvuubawQbQ0jvESDG&#10;x2qXUngjHeseSXO5z1S2/U6G4xhq7O9/ysu+rufT/hDTnj8CeKryDWbLS9VuNV0vQdM1A+Xc24Ms&#10;99JIkp2Hy1dbPguSDtyQAu6qRvvF3hOFLXU9Znk1a4IeS3k8NtpkMUUm7yJ4LxmZJVySC0KhCVPz&#10;nbXn1t4otdQ8Ka94b1zQI9PYazpWswy6TKtowhgaeOcRyycl9swIOcqN/AzmvRdB134b2vh3XY28&#10;R679g09gmlfD/wAQW+qa5d6wk+FeWz1O1ga3t5oSgdnnMSHZGPLnUsFJqE1y9LJfkVCUqEVFK8t3&#10;21em/XYpt4h1nRi1u6+FfEttLLE9xH4j8FQXD3rEqrEX6TM0uDkmRiBJgsyHJY6Hii98C60+j+L0&#10;stY8O6hrlvGLxfDHiW40ptOurXNtO0kLxsRG4CMDllYHnOMDnNT1LU7fQZbvwkuqS6ebeIT6Zew2&#10;mm+MNMjIUKskUMUaXUQZPluF3Nwu9E+WuI0yw8WeM9E1iwg8J6jeXdrD/a2nS6hdvpCTHasF0ihm&#10;DMzoqPtX7xhJ2nODy1FOcH7O6itfyvv0Oyi6N/aVJLml02a6b+p9EeF/EDNaznS9abV9F0mQXlzN&#10;qGlJrKI0rxxpM4hjQkeY0Sj5eeQcEkn1nQ/jFrGiLcWOpQarb2Vo88msT6Rq2raHdTLhku4yscpj&#10;i/1hVhIjNhypHWvgfSvAnxRtzJd6d4R03TbSJvNk1K10+SezhBK4YzBNjYwSNzcbzzXdxeCPiLr9&#10;rDJqms6IY5QEWGC1FtEckYaV87QTuHzuQeDk9Mc9Sg1TjJvT+rHRDGUpptuy0TXSy6X8z7lvv2ob&#10;KLT4bi28fzzQwWm61tvG+gaR4tWGRmkS5XddRSeSUIQrNDsb5wcA4r1Twj+2j4Z0bwrPoE48PeML&#10;M2Egi1PSfEWreDdZ0iSSMYluDHPc6bdNg8LPZ4dZMEqfmr879F8DXFjZ+RqHi/w7p9rA4lkubiC5&#10;S1hDgEF5LeCUOBuc7slgMgDAFNv7nw/4f1caH4m+KGi6Lby2/nW+t3T6lLpF5li4WL/RkuWYmTzD&#10;uhXvzjNccqVVSl7Kq9fu8vkdnt8M+WM4JaO/kj9cvDP7YPwO1W31N9W0290aE2Flpum+HpDptjpd&#10;/HbQiFy17paWcVuyqGl2yaddeax/fOxaQSfZ/wABf2h/2WDpNz4H1z4gaJqPwW+I2rx6JrfgjUPE&#10;9nrfjn4b3rJ5kXijTVW1iRYreV0jmUtmdGfKKFXP86vhoeCriW9aw+JnhTW7BdQeC1kXTLm1Opna&#10;CvkRzyRTrk4ALR9cEgYJHuHgzwy0s6XMsNobMOlzHf3UU8FmE80IAk8auCOVyHPyg8kCtnTx0Ye6&#10;7tLtf+uz9QccuqPSNlb+Z+VtNdj9xvizo1x+yd8YNO8G+P8AXvFvh/wX4pgN98Lvi94X1f8AtPSr&#10;/TL8ZXWNK1SNI4wu1Qz2zIytukiZgpDx018RaBqeg+O9I174J/Df42eKtA06ObW08M+JG8Hy+LNN&#10;1C0vBY654YklimFtMVSaU2c+nyLHNGyq6ZTNb9lD9obTfjD8P779ib4z+JtT/wCFceMNK8rwD4vs&#10;tfXUR4KvS6mCzvIYJD9p0yWZ1XynQgZyoPQ/Onjn4deOfgT8UZ/h/wCI7DSvA3jXwxazR+GPEdtb&#10;w33h/wAR2qGK5tzbF85gnV1lZFIU7+CAxYP2tSNLmptxaTTt3/y7GDowb+rV7S5rNPppbf8AvLZn&#10;lnwL+JXwW8P+LfEfgzX/AAlqNl8NvEseoeFUsfiBPCunaVpGtoIte8MeKIwoWfTJ9sLm4h8qSK4s&#10;rS5RElihZPlb4z/sRarpsUPg3TNT0vxp4Xbxatz8MPHN74kgvtM1vR7xYfskl1d5MMFzBI9tFPI8&#10;ix72mk3KrBh+jupW03jXwXqN1a/Dv4Sj4iXUEVtfaZ4i8OQa3ofiJ4o1kl1DR9QTZd2rOrsZ0Vlk&#10;jaRgoZCQnH+DdG8CeM7Kb4KeK9K1T4MS3+o/a/hp4y8O+KZvFMHw414lFkt7kXDfbW0i8iuI4S8j&#10;u0LRq+87HFdOExVKdLkm72sldLfT8DmxVKrSftqejevut6pPf1W/mQ/D/wATfELxB+zx8JvhX+0n&#10;omo/EfxF8KfFuoeEfh3YfE/WP7Os/j94ImitrpvBGieMpIZHF9GtheroWp2VxJJBNFHEhZ2ix4Zo&#10;mor4V0zSPjj+wJ8R/FXgn4qfso+JL7xJ4N+HfxJlt774o6D4N16Y3niPwZqWlofsfinQ9Pu5J7yW&#10;e2hA239+ZdNtVkQ17rN4D+MR03xz8KP7E8NfFK0tdJlt9e1b4cotj430jXtFkW504+IfDYmWe7kV&#10;z5DarHpM6HKhtQljWLP5u6jrmg3d3ZftLfAfV9Q0r4geBNetde+IPh3T9dkmkupHYWw1eW3gYRxR&#10;XSKba9XyUUyXClkYzbq9WpWldcmlPTTu0kny9rWuedQoRTkpq9TVc3ZPa62ad7P5+h9r/Er9nL4H&#10;f8FAfAtx+1x+yT4S0H4V/tEfCey/4SH9p39j7w1K1pBb2FvMqah4u+GSvltT8MyCV/tOkx/6ToUh&#10;EaO0C20E/wCJFjos+q/FG58M3yqLjVdafT7C4jgF9banZzLLHbSblY7gLR1ZZF3bgoJJPI+z4fi9&#10;rvgP4v8Ahv44fDTWfFHgH4i2muH4p/Dr4naXqzjxFp08iMbqx1HczQXssBLwyrcxkXNq5SbzYpZ4&#10;q2fjV8SvhT+1p4qufjz8PvA+jfCz4xx+DtTT4peDPAsUKfCPxJ4hj07Ukt/Efhazz52nQ38t7bfa&#10;tInBFpcRkW7yI7ERLFe2nB1laSvfTR+fq+pDwTw6qPDy9xtaPda7Ly366PR9z5Y/Zt1m70/9ovwb&#10;rmr2om0jwx8aLbxnqNtMxkt00+wv7mWJW+XhPKjtstg4Rh9a+/fD3jO/0P4o+Bb2SacT6j+yBrCW&#10;jTlg2+38C6xqUW5yo2geVOwJ4zJI3vXxz+zRq8Ol614kudUs2l8Q3fhJ/hzCcgRh9Rn0yOCWck/6&#10;zyxJAuOWQHOCRu9l1LUbqfXPhPrKxNdyeIf2Zbiy0u1ikjjdPtPhTxBayMpOFEaQ3dwWByTDbuBg&#10;hWHDi+WdSnBaWT9LyUjvhBwlVqaW+z1bjFp/d2M2PwiE8R/Ae01mxis9B+FXw70D4kXFlrNnLZX+&#10;v3c9tq3iC1tHiYK5hns2tbmU/KFt42kUgFGrzL4p69e/C39n7R/CnittC1D9of8AbK8CQfHP4uX8&#10;VjHFrHwy8Bx3F3d/DzwTHHgranWZILjxNeWwIf7D/wAIvFIiMshf37xDc+HvFn7SXxB8MeMry61z&#10;4Z/BPwHct8QdSs3luV1iw8LeDrbS75baSXDAXCONMtzJtCIynEY+QflD4x+I3iH4h/GjxF428bO1&#10;xrnijxVE92Y5WMFtbQeTZWdhaFixW3trKC3soEJIjgt4hnAzXbQlKeG+rw05rteUeb/278YxtszO&#10;tGVPHLHVNXFR06c/Kmv/AAC7l/iafRH3FLYXGreANX1bTLc3S3fwt8UXaRLO0gthp8WnauwIGP3S&#10;C6lUZyMdOpI/NmSzFrrWkzPCPLGmsLiAZDyqzyQyLk8bipz+Ir9Ov2cZpNU8Gw+HNTjjBibxR8Mt&#10;VWSEyw2b654R1O380jOf3baVJKD/AA/Z14IBr89ZvCms3HjTU9DEc002lS3ds0mzESCKXeshY/dj&#10;ZFdwWIyCO5xV0eWFbkg7aXf3u/y1Rpbng5TvJJ/qvxsiTw3pkOjtZiZJQl94mnsYoUhRppYDaPHM&#10;TnJAZJFKcEbm3D7mRrfGK/tNX8U+ILnT4J7Xw9o1pZ+HPC1pP8stvpGnada2WlZiLMEaS3t7aeQK&#10;SN8znvmtm802z0620fXLq/jkV4JH0yO123LPcxtPYRAl8LnaisR8+0xYK5yK5fUZxqXhSwv4kQz2&#10;EP8Awj9+gUySuFiBgaU4AJZA0Yxk5tiSORm51fa2V/X16f15mcKSpqTnHW1k/Ld27dCno0D/ANk6&#10;DLdnz7WWSe9uImQATiF40XaccjAb5hnBIzzxS+N7y71WLStJiRZItQ06O3gUDy/s73V07KcjOSFk&#10;jXtwOQOtbi2yXXhnTra3gf7Xpeny2sLwr5lzOzRtdXB25xwsR6ckoo6nnL8X6TeR654cSyikii+w&#10;xqhU+czzQQJJJKu30bcwHtxQpqWIS6Xfl0LqUWqD5Vst997f8E3dHmaKfS7ZJmXTzcS6rLEImMTQ&#10;abbNKMYOdm21hRjnlVGSSBl/hDw1d3WvaydQi+2R+HvDN54k1MSN5is8Np9oAXbjDB3V144MPJGO&#10;dnwr4auPEd9FoFqs6tY+GZ31aWLmRUliYleMD50WRATjBIORnnq/hnf29noXxQn88R6xq+l2uk6H&#10;IjOyTwSFbaZUwCuXDuSuVyADn1mc1CnOfNeTXfWzdk/67HVhsG8RyQaaSaXyST+/ozxjQEjhtNeW&#10;eOeOc6fNJbSyEp9nUC3ikYDozbX49Occ9fpn4QeM9P8AC3jbSvHl7am0ul1nUPGGsSRpvFlYJaXk&#10;drYQsWDlLi6lVnyQWigVQDnNfN3iIpY6/rmnLO6Wb6lfWcSxOJAkcd3Khk64JPlgAHP3s4NfoD+w&#10;x+z1pf7QHizxn8SvjZqE/wAPv2WfhRaJ4q+NvjjTrISX3khZW0TwZ4aSU7LvWr1VItrUkxwRRfab&#10;n9ymJSMKUYSqTny00rtvZK3Xz7L5GGKxEYyWGowdSbaXKt5PpFL5/L5Hvn7Ffwj8L/Dzwb4n/bY/&#10;aN8OpP8ACfwDLcaF8N/COqakPD978afEyW8VxbaNbsvzfZLeJlu9WuYVzDDIII2NxdGS2+d/jF8a&#10;fEnjbTPEfxK8f3ttcfFf9ovxCvxB8ZXoRdMsPCHga1meLQfCtnZKf9Ghu5Le1aO1QMY7PSbVQ37y&#10;Zpd/9qH9oTWf2oPGegWNr4YsPAfwd8G6OI/A/wAF9C1RrfwH8Ffh/pk/nWWkQ3LkvcX2qTPJdalq&#10;0im61O8khkZfktreH4p8Z+PdZ+JHiHW/F/iWOyNjreqpq2m+HNOUWNkiwL5GmQLADvitoIHKxx8M&#10;VUAN3XzK/PjqkeVOMElyrtHq3/em9+yVrnbhqSy9bp1m7za2ctHGC/uw79ZWdtijoGnaVa6Bu1KS&#10;XT9BudXS9vLjds1zxJHa7mEYYnYkO9PLaQDC+WQA7LivUdKl1PxtcyeONbih8P8Aw68G2M97p2k2&#10;Fk1rpUEe5UItIt+WLu6h55C0k0rHLuzEHltO8Dz3dpbeIfGbpFpVvMjWeiKzR3WtzbyFV4lXEcMY&#10;6R8cKuBjivuX9mP4DeIv2h5/FWo+JPEknw5/Z48JQ2yfFbxw1srzSQQXCz2Xhvw7aH5bvVr+aBFg&#10;t9yqnlGWVooYZJBbXPOTlLRLVvaOyu+700XToODdOm6trKL0SWs3vaK823d9dtjpP2Qv2Q9Q/bE8&#10;Qnxr8SPtXgD9mf4WyG71ueeHz5dY1KYeZb6Tp1mGX7dq11tbZbBgI1SSSV0RGMfvX7av7a+u+Cho&#10;v7Mv7McGm+F4NFUeF9I8NeB7qG80vwFu3QPtuolC32tv5si3Gofdtnkljt9rhnTi/wBrT9udvhr4&#10;Esvgl8FNO0z4baPZaU3h/QfBnha7a/l8Kaa5AYXl79+51S/eJJ7y7OGkcBQscaRRRfmhol3ffCjw&#10;1/wmmpuknxS8f2cjaI9zJ+/8N2EqsXvAx+WOWQLIE3DMUKPKqgyQypy8312HJGLjhINJJ3vVl1b7&#10;r79NC4UvqVaOLxDUsXJXSSvGjHTVJ9flq9S74vbTvhJFqHg+HXZNR8VvAbr4heKbK5S6mtrpwAbO&#10;GQgqyh2aMFSfMKyMAwCO3itq73lkby8nk0vwnAHt447ONZtT1Jl5a3gX7087lI5JXkbYmULMCUUZ&#10;yL/bMNxruvzXJ0H7Y11iFvs+p+Kb1yAyRlsFY8mNWlYHy0OEBY4NqxTWPFviLTIU+z6bZy3T6ZpF&#10;naKI7Gwgs42nuGjQZHlxIrKqjJaSTc25iS3oYahKknKKXO7X7R2skvyXz6nL7d15pO7gm9esm92+&#10;70u38j1r4P8AgPXfitqen+H/AA3oe7U/E+upoWh6Pbu91N5gQ3E7PKy7naG3jeS4uZMYGMKkaoqf&#10;pd4/0f4WfC/4Lv4F1TXNQsvgv4amfR/irqugH+yfFP7SfiSKBL0eA/D90pDW2lRI2/WtQXP2GwVb&#10;dTLd3kq2mT8L/CX/AAz98INJ8TzLc6b8RPHGnTW9hp9tZfbfGWmWuqlXXT9Ps2ALaheWkNpHIPuJ&#10;AixysyG4gPxr8UNctNauf+Ei+PfiFo4fCmjmHwb8GfB+urq+s2NlM63K2moag263sTeySGW6kxLf&#10;yuZXlgUoI4zEV1Gp7JS0TV3vd9Fbrbftf0On2VFx9q029lbS/nfoul90r21Zw3iPx98Ufi1f6vF4&#10;d0lrnxb4p0xLGz0Tw1ZR6b4a+FHhO0IhtbKB8iGwskQLGrSOgERJYsXYn1rxpeeDv2cP2b7f4DeJ&#10;9DsfFPiH466/o/xt8STeE9fhij8TeHdCg1fTfCOjalqcayPBaPe3Wr6y8NqVmnYwMZQgtnrxTwB4&#10;r8UftHfEXwb8HL+9i8AfBzX/ABFBeeM/D/hBP7J0u00i2dp7+W8lB86+uBbQTRxzX0krLsjRfLTa&#10;ldt+0tNb/tI/tZeKbjwRpl9d+Fob+x8DeDdG0LTxd6mYbK0gtLHTbKzt1IaUKsVvDbwAtlkULu4r&#10;qcJxjGjC8HUu2/tcsbbvpd20666nnRft6rq1EpRpqyW0VKWkUu7Su/JWPE4/F/iXxbpt3odpLp3g&#10;zwNHOq3HhbwxGdE8OykyBlE0YbfduoJJmvHlceUDuzyP3g/ZA/4J3/D/AMFfDi3+OP7Zdungj4UX&#10;3htfHvhH4P63eyaLr3xm8P2zx417xIoKz6X4QuNQYW6NhbvxBJ9mtrVBbSSvd3P2Qf2N/hj8F7Tw&#10;vr3xG8P/AA+8c/tC+AtNvPiv4w0nx7fLdfs0/sg6ZFLCbXxT8U7+HzIdV1Cwi+zmx8L2BkL3U6LL&#10;9ouZILaD57/ao/aavfjb4y1SKz8R+N/FfhC68UHX7STxyywfEH40arbW8kR8YeKIYnMdoqQySR6Z&#10;ocWLPR7IpFGrTNPLLx4/GQwEPZ4P3sRLaT1UUtLre7v10X3HZhMJPG1pQrrkw8bXirpzfbpZPd9b&#10;dkx/7Rv7RF5+0L8XdP8AjB4hhh0bwT4KtR4X+CvgZ9HtodI8I6VbF1tRpeiov2eCTy2V8qoCsyoo&#10;ATK/m98VvjjqnjpbqG+1u/tNDnvTeT/ZpWk1TWGUeXshnOSE+aQvctn55m2BpCXTrvjP42icWPhX&#10;QJJtd8WXDIrLpTN5UkAhztcKuIYEZ2XaD5jlWZtgUGT5UsJdF0eLyjaf8Jb4vkOyK3m+Xw1owQ4A&#10;kRT/AKQynCpED5ShcnzCQB5uAwSr+9iW5O91fW8t3L1fVs7cXiY4ZqlhoqEkrO2iS6RVtrJ+vXcr&#10;alf6tqkEX2S3j0Xw0q+VaXfzJZ4yXYQ8EvuGMtlizcknKhdnQI7fTIZZ1tp4xlZmubmEw3ahlUiR&#10;w6hLeMq2BLcFmOfkRua3rzTNRivln1+a41fxU8O600UkBrEFQACgG2FAXKqijecYGwAEV9R0uzWS&#10;2ufFOqW93qMMgksvCGkSbbGwbczynU58AGQBlZo4SzkufMlDKyH0VWpcsoQat5au/wCv5I8tUcRO&#10;1TXmb0T0SXd9l+OptQ+I7jUHma1s11aQxCZnv5p4dIWQlyZLqV3Es7H74RikZ5/c7Nu7pNHuoZra&#10;K/utRN+1vMQb26f+z9MtwGG/7FCFCIEBwoRSeFJJAJrzm7dpoG1KQyvYR3DWNtNFbMLO5nKkm3s4&#10;lB3nrnB4yC5UdKtzfQ+H4GuNfgjufEKW6y6X4Rdc6TocXljypdSIKl5CCHS3GAS29yF2o3NVouqn&#10;C9r7/r/Xc7oThRjF20X57P5Hsd58RYfDcEOtwPd6FpzbptP1u2gR/F3iVNzIzaMswZbaEzI6tqUx&#10;kAPm+WsjIVHaaBHpt3YJ8Qvj3PPdLeQ/8JB8PfgnNql3cv4klnUSW+t+Lr6R/tJt32wNH5rvfXyg&#10;FDBCUkk8S8I6nb6HIvxR8W6dD4g165Zm8LweIUQ6fPdQpsGoy23yqLW0KosUYURO0BjAESHd5/qf&#10;ibxF8RL/AFC7ury81KTUL6S71K/uHae/1aaQ7ZbiZiNx3FU5Odq4GFHyjopYWEI8iXvR3b6bfj3M&#10;J42VVc8npLRRXXe7fkk16nUfEL48eL/E2pXqx6yLc3dutlq+peH7KDw2uqRRE/ZdNtlgCpaaXaL5&#10;ccNjb7IR5MbOruiMPHUWO6ku7rUtdt2eNlImZZr1ACMeWrKhRT05LFjkY43FVu9OhUhI1nvL2OZw&#10;baBBKpcEbI5HJ2jHLEHOFZOucjr/AAL8IvGPj2V7XTbHU9Smkn4SGEf2NZrGD5hku2YIzKAR5ce8&#10;gnB24wfUw9GjSpSnolu2/XXc8rFYivUkoNPyS/rsc7FJo1qsMkN/CLreZHudSsvtMYGOCkZZVPGM&#10;AjHOccCuv8G+E/E/xA1H+zvCVvf6xLKoj+2Wul7bCMks2FIbkd8qpx3Fepv4d+BfwkSePxPbQ/Fb&#10;xfbxsiaDaanLZeC9PmCTBY764iXzJ2VvLbbFJGpGQd2cqmvfHr4tfEGw07wvpos/D3gy1yll4J8A&#10;6Lb+APB0ilpnU3/2VY2unRZHjFxfzSSeWuDKcDMrF0Jq1OLm1s9o/f1NI4GtTklVqKnHqnrJ+i7+&#10;pYk+EPh3wtcRp8WviXZWwsrgQXvhDwhJbx6+5AYMrTyC4YE4PztAn+yCVwPRvDfjP4S+HdSsNK+E&#10;/wACNF8da/K8f2Gbx1o0vxE1S8lyoTbYagbuHn5RmO3i7bQvQfN1rbeEfD995/iRn8X6vE4I8L+H&#10;ruHSdDtghVilxqKqx2sAVIsxHkSFlmbjP1p4U8QX2h6emsfFLxjZfAvwNJaB4fBXgDwdDrHxR8Xw&#10;TSKht7LSfOgDh/szOt34ivIIE+zkokjsiyeb++nD35tL+77q+/dnXGlh4TkqdO89EnK8m/Pl2XzP&#10;YZviF+05JpcNxqepeGPg/pkF4Y4bK4sbK6v7W48tjHHYaWJJ0WZ0aULsgjbbkEAbse06VffEHQTo&#10;Pirx/wDHv4x+DnjjEtrrdx8UIfhfr12qKoS50i1tIReqI2CNG3lxYWIssu5QD8BeLP2l9WkuH/4U&#10;r4Vh+E8Edm1lcePvFerHx98XtVR2Us11rt8DDY5bcBb6JbWUKqx4cks3z5rut61rwbUPFHj/AErW&#10;tblhFrLPdxXGo6oY8g5+2SRrliQq5VmY7SDkHJ5p0Klb3YL5yu35O2v3ndTq/V5xUpJbaQSSv11S&#10;sj9ovFX7Yek+DreDUrn9q/8A4KN/E68Ko1w2l/tO/EO10PUJQJFeNdXv/ExjVA4ifeljcsS7YCkC&#10;vMrn/grP8a/CM81pJrf7TOk6a0b2trDrP7Yvxng8TRB4zGHlu21+BS45cGKGMZHHSvzJ8I3epeIN&#10;TtvD/hbwLD478WZVLf8AsLwDc3+t2pk2pHIZIJVCAtsBebhiqZYcivvb4d/BH49+CbrRda+MPjX4&#10;UfAKxDJqkOm/GFPDeq65eRrcCFleznl+zMsbK++G6vo8lCFjIDbOn6hOUYvG1p2ta/M4dPW4v7Ro&#10;xk6GBoQmuqced9L6W0drbHYfCr/gqTceEI4PDLeK/wBp2Xw9f3kMk97b/Hi08R39pCpmfyLaLX9I&#10;1e2WOWSWRm3RtuM0jsrsz7vqPSP+CpfhuS+im8V+HvhprAbWkiZvjN+y54QstUlSKJw6f8JR8Opv&#10;C12iyqYpA8thdFncOflwlfK3jH4c/s36hFFqGr+MNb+MWvwfvU0/QvCPh7wR4bvWwhUpNp+kRpJb&#10;OjjZIur3JxE2QPlY8Xomp/s+abfxWes/AX9ny906NRJHoXjm28R/EvUNOji3ESwaemoRkyOJSP3k&#10;zgYGGxtxi44XA8saNebT362sr3euoo1sfi4uni8LF62Tu49vJn6maD+018L/AB/LqOt/D77L8NZ5&#10;rnF7qPwWl0f9pXw1o87s3kf2l4X1nStK8aaVHIwQTCxudRCZUrJMQUWj45/bm/a5+HnhzUrfxnqv&#10;hD9pr4SLcvB/wkXhTxnq3jPQNCBRIxFqHhzWDNfaNIPmKJd2UKqQDG+0V+fWu/H3wf4KsH0jwD8K&#10;/hP8PNJ1GL7PPb6Z8AvDHhqyeCW4juCrQyTS30sYKrKGaUkGJSxLFaoR/tKRS6t/wkfiPWfCmrLB&#10;G9jY3fhnw9p3wy1N8ED93d6XbmeZAVJ/fGVXP3lbJxhXrUJOdRKTb05leL/A6oYStSoq3Io3vZpS&#10;St5yV/uaPqi3/wCCgP7K/wAS/wCxNQ8R6fL8MfH9nMN3ivQdSbS9StwuVRZLlHmikWNtihJbPb5R&#10;2k16B46g+G/7RMFn4n+DC/sx6prEdmp1/wAMWCn4FeNo7mOTE194f1bSr23tmW5SGKRrW4g/1zsY&#10;1VSEHyBo3/Ck/E8Vzd6H4C+DPxW3SPqWt3uv+CLjSfHOltIsKPH5iPa3Bt+hW5twcb1J2Esgu2Oj&#10;/sVX93daL4j8Da78MddubYWmm6x4D+IGpIdMmZo5Ip7a11O3vVYqYXAV5l3bnDMBhTbmnGP+0Np6&#10;2lG99O6d/wADmnTpSV1hLSjezhJd735ZJL5XPsq18dX3gDTI9D8Z+Gfj98PLmN28ix8c6lH8aPCt&#10;6qSkLLY2d9bWdy9tKPNCsi3SNxszggweP4Lf41z+CtU8Eax8APEnjPStRTT9M8H3ekXvwp1fxRBJ&#10;KVk02axmtrXTTHKWVAdyTwvIpXkMR893fhvxV4a8M3Nj4F+OOq/FzSNOt0ktvDfjKZra/SHLBY5d&#10;MM80KbA8uyVAN+58qnBrxS71ueTQNP8AEbjUPhlqOtyXHhxbvx1HB4l+EOvtG/kSrO6xzTWDKQci&#10;ZHymxliUFWPVGNTm9o9lbZtr5PS2vkc6rQlSjCqvebaSaSl62e6tvZn1N8Vf2Q/hJ4yvYvGUfwL+&#10;PH7OmiyeErTxF4lvPEvgT/henw4060vdR1TRodds/E2iWVo1lp1zqOn39pbvqMtwkslgQsswAY/K&#10;0n/BPKzu/E9lqHh79t/9nTw7oV5K8en+MfDbfE5NR8PRlg0f9s6c3hATxqvCMLK4uuSMbwMj7a/Z&#10;o/ZH/bw+HGnah4p/Z+8S/EzRJPHPh43fjGP9mH48aL8b/AviXTX/AHun2V94X8L6/wD259mSO9u4&#10;Uhm0q4jXzLojYZZVPjeoXuhX4nuP2jfCfxL8DeI4I5Hi8eaF/aV94WR1kaAjVYC8Gq6W4eEjF9C8&#10;bnf8oCrV1qynVjKlySs7O9pbdNFfsnocdPCxnGVKUqlNrorwav6tro7a69jxC78Dt8LJtav9f/4K&#10;H/sz/F600qIyX+ifDL4b/E2++KeoRRIWwbLxBo3h+3Z+NoAu5gNy/LjIrgtK/af8AahqtppPh7xL&#10;458KXcuqC0vNe8R6RYCxNjymZ9BhmdbjDNKcC8R9rKgJwzN754h+DX/CSWGi+INC8Dax8dfBuoyR&#10;L4g1e/8Ah5aJ4c0dZGdo4V8YrKtsjZwuyV4ZSwO5sqa8L+OH7CvhS503+3/hFr194a1h9OOpWvw3&#10;8XpO92SIy7f2fdO7zjcdyKQbiLKgl0Q5MThDEw9pUShTb0tH3fv3+e6KoOvhJqKk6tlreScrPyst&#10;Lep6H8XP2AvC/jD4eXHxY+GXjLwp4llvbJdR1TVfhlq02jQS3cgRp7GfwhqcKNJNG7IWk064Y4nX&#10;5Sc18KeDfFPxk/Zj1CG713SdR1DwQ141rrMEcUyXOkPEmZRNEVE1nKI3Zh5qiNgRkkk1n/Cb9oX4&#10;zfs+6jqWj6paX+peGLG4gt/E+ha1byXWlxrK7LEJ9rDyXbawjuI3Ugn5XyCB9y6T8dbP4rTaFcaf&#10;aeHfF+qXz3WnajoviBb2y+KkcF4jMtpa6tblbbUbdnfai3cMjxmNlwQwY82JxGJpWpY6nzR+y07a&#10;eT6XNsNhaFSMquWVbarmg/xi1fbXdI9b8B+N9TuPD4+JX7Mnjm78NXupbU1L+zdbutI0qWSeFo5I&#10;9YjhYrG0ikxiVo2DncACeKwLj4u+KfDuvLrs2mW/h3x/BLLe3/iv4R6ifhl4jknkB817+OOMabq2&#10;55G3edDFO4VCZTwGr+AP2R/ip4J8R6x8d/2GNdN98QPhi8Xi3xf+y949tdP0/wAXa/Z2bC7uDpmm&#10;TM1pq4Ro4xLpqBpXWVlWCQCRVyPF3xr+FPxo0jxl4l1n4c2/hz4h6x4gPiD+2NOW58PTeBr8u7X3&#10;hy60EEWiQNIzSWjNF+7CmIOg27+SE4xh7Pnet9V300kr6O/U6pqdSp7RQs4292W6WmsZW96O/p2M&#10;nxvrPwy/aA1P+1PiF4Cs9a8eRoqaf8VvgTb/APCsvjzpn74FZdb8IIv2DWYlQSBzaxM8r5cz5Iav&#10;jjxR8LfH3hXUr3xL4Q8Q2/xc8H6dPLPpvinS9PHhT4haTGGMg/tnQJGMkbY2M5iknTORuXir15c+&#10;HNf1Ke9tvEdzYXtk8cT/AG7TUW5tLoFmDxyQqLq2bsQHbopIU9O78KePPiV4Q125ub25s/i1oupW&#10;4uNY0vWZ4r/WJoUjILwTEiWOWNVyG3+YdvIOcntUpUqLhUXPDs916NnE6UKmL9phpeznfS3wu73a&#10;21tvZHd/A/4y6F4xsrTw3cJPpmu2o8u+027+XMilC5AJzgttBXr8v8WK+jHcFWZQuxy7KrFXBIJw&#10;D1HzYHPTI5A5z8KeJ9E0jx/qY8a/Dq51K31exha8mt7KGK28Z6GgUyEXdogEV/bocoZY/wB4EjJd&#10;QMGvqn4b+I7rxL4bhur+SC4vrfEN9cWr7oJsqMOF+8hLecWU4YkDPv8ADcQZWoTWLoL93Lp1TPsc&#10;rzCVaDw9TWUX8rWtodfMpeNVDJB85dYWdsj5lwS+O2ey54NVGCkCMktEj+bneFfgguR145bPU/MM&#10;9MVdm2MqSbNo6ozZCzjBw6jHPBPrnI9CaoSc5ynEKgOGBKkMEbdHjIOQcZ/3uOhr5duMeVWPUfLK&#10;3s9vu+ZTmbYA27JQAqzbWzuA8sn1BznHf8c1FJCCRhQCAF2kF0yecjPA4OTxw3Iz2sS7lwS+3ynW&#10;MjIXJUBAwbnIO1icAg5z6VUUqQqmMAiRXCOCmMkAEdwflX37/XRQkvdbJTk+aMldW/Hcrq0kMlxG&#10;SuJRuhRnADnpuyO2QOR6jjIIqwAQm5cbl3hXPCSHJUjnvlGHXAIHfINSVkS5tnVQ7HMT+WNy425I&#10;/vE5VThfUcVfQEhVRVLomCz8GU4JBJyfmyBk4/iHGSMptqN2tf8AIVpyjafb8SURksAsYG0FRtXE&#10;TDoQMDJ4JznPKjngGrMJC+WpBY8zEuBzsGd3PUbU9eKhKiBlIUsm4gOAy4UtgfN/wF8Htz6jMips&#10;G6NoXIC5G0gqNxznJwDgOQPmxkcU1z2u3fTQcKXNU5b6rp935l+3LqFOyWRwNimU/OfvZLHI6dsZ&#10;GTyMVoxqznkAvCcKiH5pdxyM4OQeMZGBwPbNSFTJLG20vhmAQghsKzcDIPPBIJBwCPl7VeiUNJHh&#10;tjEqDx5mSqqgce+d+cYHzEYxwuc5ON5J7HQ4c0Wlo+n6l2BH3RnY8iyOAGH7xA7bFwVznJ+X2OOc&#10;mtCAeS0cZw6pJllMzl5dvzEZHJyVbJJ9OucjOS5kCmRdrrJMssbtvdCu6NgVPXlSq554ZjnPzDVi&#10;BcsrKyhWHlMDhwu5QQcADngZ5xnrWbi3J1J6f1/kxxSlH2q6W+ZowA5QKwYMAASDhiN8hyoycffJ&#10;IxkLyOK1Y9+8HbnacOuMRBgSSCOScYxn0xjvWXCynBWVQoxGwZuoCHlhwNoOOmScp1xurUi3l2fc&#10;GkCkHIMkjYAyQOcDDMc4BBGexp9U7+Y5SjdKG3f8DQhCSbQsaEBclWY4J3E8tx1HHHPIx2NWMSok&#10;alWZtnzFTh8ZYnGM88sffb7VDGoj+58rK/nv8wzIPLJXnpyARzgncBxU6mQ5wnIJJEZwME8hV6Ed&#10;SQOvpUXvo3YqKcYKMt7WuTQPvySoDk7dgYEZJVlXb1Jzx0zz05p28vIrPtyGLlNoAGCTjHthcHJ5&#10;PsKVQAvlttdvMDgOvzggA4I6EZ3Y4PDL6UoUSFfMYLui4BkBEvmA4HP8KhQD7uR71bs37zun1+4T&#10;pubcd5JasjK4VgOEwSQTnA4HKnqep6e2earzLjynUMpkZuAu4AEdQAPqM9SR35NSt+8Qx5BJOyNw&#10;wJ5dzhgeMYYAZzVV13NyzHeRGrAMyR4Xkgd+ABxx83rU1JWWn3/IijZcrWj1GO5BLFmKqGC/MSoB&#10;wCQ27HpggfiMc5Jij2nCRiNG3K6lolUbJVUDqMEuCevCDJxnN2XeNgRSHlAJdxgRkKeSQeT8pyB2&#10;IPSqLeXvMZU5DlcqMAFmyMc88DGcdz9a0vyys9wvHmV/vM6Y52SkIZCrDa8gEm1eenXAMmR6n/d4&#10;rzEATqQxVG2qw42yjIYMfvfKVIbv1HHUWPNhA83erAZZI/N3nJYhiATnAbbwc8jB61TkZSshQOWj&#10;IkiyQfLZM84Hv5YwMjr1wKq9ny30X/ACVNwin1f9X+ZVZniAYoA64dCpDHAJYjnnAOCQeMhfQVn+&#10;ZtjKkg4LATMFYLwOCc5JIUEdfwzUsjRxSKsjpFhwPMCZEeGZTyCeqkNj349az55Zd7LIoG0YdADu&#10;yoK/KuOcHIHf61acLu6OdQkqfPH4kEs6lXQttWPaEYlnYhRhQcnJyNmOCflHXNZrzlmR2UqE+T5w&#10;GRuWJ3dCefTAGRweDTZpQJA6sVb5hILpwvI6YXBIxjoec5yeRVL7QJFwz7sEBnKFVHKsgx6ZBHQ5&#10;6Y4pcrumrq/9fcEppJwtvvb0JZGZWYB9xVzEuCDjaSrYwCSM856dORmqc0hkIUlmbcTIoUlIQNpJ&#10;G0jsTjt8p9MVXDqyudwDbip3fuwec4GBwM5xjngdNy5RjMyeUPNYgqWdQHbAzt4BOc7SB3469BW7&#10;g4TcXt/wDLnVRJ8mnkTxzK8ZRlbzGkYYVid4ym4FvUhj2xjb9AB2bLMHYhWjkAbMZAyG4HOTt4HJ&#10;Ab86oEqLG8bFwi72UFWUnByG/A7iD3qeJTHGFBGwsTHlgpIba/ynHT5l6dc9sim+WTUbb/LZ31NV&#10;O3xLVa2LnIUsyZMatgBg+WUEnBJx/DkHPJb3q0SXLyxJvwu+FnClHDgKwx23YTj/AGR3FUIg5Z48&#10;OwRTIqL0PKkgYPXHYnvz3rUijEmEKuQ8ZO0fNkbslhzgLg9Oo7cVDi76PX+v1KjGMveWz6een3E0&#10;LMxdkkUoYpI2jcYdQUYHOOx4Gf8Ae64q5tnQGJYkjAYxFMMuAud+7p2XkHoBz1GI41Vy5CRqoBYh&#10;UycAMwbYPqB7bm7DFWoIyG+RlOU2+btA9g3HA52kggZJqOScZ3TSv/wBOMbON7bfcWLaM5O9lGPL&#10;IA5dUUrnbnHPLHH19qhKx7/3il1JB2kbjGAxBAORzhmxk8+XxjnNyEMm5FKhWULnOGAAO5unU8Aj&#10;nlh61YMbZk3ABQAikyfP/efzCRk4VSoGSeOegJUm+XfWwOSUOWzexBEoIfAD4JRpHyWBXIHytyAT&#10;jH1q0sZZh8v312gDiNeuCc8gnIGDyOM89bHkFHkkQeYVjVd4TcwHIAPU9gKtLAyLIWw5wYjwAhBJ&#10;bnnBOcHJ9D26Nz91OO3/AAEOcZJxaatpf/JfqV9gizv5cE4WIbchwRtz6fMDx6dsk1dt7ePhipKj&#10;aESIZUbnClQMAk9Cc85J5JNWBCNxaQxlC4GxAcoD0Ax3HXrnggVbgTPyHC7XVkOGVguWDgE4BJ3K&#10;O2dg5AzlWc/eT2+8bldpRX/AuyKC2boCibzvRwSNo67Qvc7Sp5PVse9WVQCSIJw20AMu0GIsAqkn&#10;jjORngfKTgZxU0MZP3QpJ6NtAXG9HYkKDzwFyfTBNWI4tgDMoZQ2FLqN64Dk556bmXAGANzY9KlK&#10;DTjPb/hhwWnNJ69++v8AWgxYty48uOIOGVMIVZCQPlx0IyrnOcn05qypbCgFArKHXyiQgDnCYUnk&#10;4J4z0PB5IDwq7mVVUK5DJzhy5wSSfpt4A9eoANTAyCMKRtDKQjdCBwuffo6tz2GepNU0nNRWy1/K&#10;43UVN+8iKIsHIULEQ5YxdWIyBnkk88ruK4GaarStECXVXUKzEA4fgIwAPIK7pc4wR7Zqxja0RRSu&#10;ULfOQocE5CsvQ/ezwMHIGc9It3ZSqMihdokJB+UscAgk42gDBxjPcVEmua3bQqeqWl10GMzoSE3Y&#10;GJyQOTtYBlwD1IXH0GfTMRJRUVzyqcANyDgruJz0GTkZ/HOKstGQCW2eZHMeTlo0xIQpz93IIxzk&#10;cduAa5EcbLGGckgqABtVQc5x9ORn3HJwRWijaL18/wAjPkdN82+n39BSZGYxx5QgAOQFXk8EZ4GS&#10;ePm4weaiUq6lBuVQiLtCgsw37sKPbOTlvm2njnbUj8q8j7mLyFXBb5sbSQT+IBBPI+lV0DqEkVSC&#10;g82TcoVlU7GOeM4J2d+hHBxUU4p3s+9/VITn+7SXTp11HKJBIAiqiKkjqcPsVUT92oA7fuySB13N&#10;0BXCTxtI8oEgRg5ZGKAPkBgN3scA5wcn2yalUKm2RkyJCUgjB8tUAy3O3BH8IPqHPTvFK64d1hLe&#10;XwGwd0mV6MwzjoQM5PWrld+8umnzsjeKfsXfR/j/AEyJHkkxkwhGcBUdTIDwwJXPdefcYByO0ucj&#10;bvDKQzKOEDDHG9j15x15w5xxmmSyqSxCuyMnlsqLiXmTAJKnJJI3dSPugDgmnbMnc7eWgYn9yqoQ&#10;PViMjjHAxhicHg4qFBt/vOvYypylfla7Ja+hFHK2VAV1YhkB2+W6BgTnGcHrjLZ6/hTJA4RgAY45&#10;GCsIFIeMtkEFScnDo3XrjPAOKkeVjFJIcZUFowuS54+VV7kkkYJI56kc1GZPmcQlAI5G2ORhFwAM&#10;HkfwuOvaXnOckvJTUen9aitFO8krvYq/aCODASV+UmKcbCRwfvHOfXPfNFWvtDR/u914+3jfHL5a&#10;t74LDn1OOTk0Vs99V/WhnKMVJq/4F5n8yQqVIZ2LOQuVibJwuOMdT0/T7tI2UiiQgKdikIqqPOOC&#10;3OBlQNpYk8ttzjLYI0bxjJcyE4yFAGc8swHGCPTjgVKyptwd2HVpQSq7xu3HnJJJPzgjocEgfLXm&#10;RktJS77+h0wlHmtD4kl+JXZ4gpaJld0G5ACcngNsyDtyDnk9cY704gbfKaVCm4xlVUNHIpZu56Y2&#10;ISO+8ceiPEVkVyVRSzkoigK7PjrzgAfNjOPTPFRjy12IT+8dtyAh5HGcjbndzn5uD6g9hVwSlKy2&#10;WxEk5XTeu/5IDJvVAqtukzI6vGHCZ42qSOeDng9jUsjbvOGQchJXWQlghbgZxwWyrnk8n+HAJqLc&#10;6wxlijs/KIV2hDtAAJyPvcnqM4P4SGJgJPlyjPvDKPMWFV6nqR3B57njAq1eK81+JUKTSUn6jpES&#10;RyTnyw5jVSxYFTh1BYcEqGUMQBkjt0pS7I7KDhhhVd2DkrmReeMBj5o5XA5XI3AbYwGABWNGDkhZ&#10;YwFxuYHk5PGfoMD8aGCKy7dgRiThmO0jIKOwxkYG4Y59iah81lf+uwmqk4ub3W9xkTFVRANvksgX&#10;k7NozkJ1IwMj5v7oPcins8ZYl3jQDJXjBYhOoJ6kHaSBjjqRkGiIHywyFDuVWVSoVjzuUZHULz+D&#10;fXMzRkMYlO9ArKWnBXj94V+UE9ucnB5Ax3qpSUvf/roEU2l/WxFCDtbcZD5rBgo+82eVG3r94p2w&#10;CencWcrlmJcjcQjqobzhub5gw6KMJ1PORgcVULNlJJFAcIVxuyoIwT74UK/JwPnbg4BFkJlZUGJF&#10;KFizxqVYFlOcYG4becHOc8Dms6ienfy7FRknFyWy/wAiNxKqkbS6hmZCr8EgMQDwfUc44yeuKe2y&#10;NVj8vysyFVLKdyvkZOM+zcjgZbOSKYqZjQSbFjZcxHeZHJbkgknsOuf6U/Dxz78sGcrHnYFIzg42&#10;geq9PYmjSau9uhTkrWkrar7tERGB8iRwTIgZlbABAbylKj0IHzZ9VP0Mobe5YBETO0PK2WDE5Ay3&#10;QZHIPtQmfLD7SWUKN4AZ8PhWBP1dWI7BCO2Q6IAKTjA34yAAobhWKn1HTg8AY7VUrRTutFsXCN1K&#10;Ft3/AF+BH5jqrLg4MZbc5wMAEABcdAcccdMY5qdlHmYYI5JMmAC+cKG3EjkZGR1yc9aSUEAMwb5S&#10;QMuoKL8i4X6lRnA/gwacpd97FfLaI4XnCkAZ3Y7hQCp75Ymm5WSlBev4EtzqQcY/Cl+okgcKWdGa&#10;RnJbB+TnAAPHzYxnj8+ooJI37AhfhpY1GRHkvgc46bcnqNv1p/lOwQ45YlkG3EqDIAOAcHj5sAfh&#10;0o34ZA6b+AEBf5Q2BkAeuARkHsR65iys3LZbeX9akT1bl08/l+gpGCAMHDMFcr5gXq6qcsCPuqpI&#10;7nNSoQk0W9juUMpkDKdxwwVcded2BjnjOM9IkVxIqOisqsI2VVPmodoLbCOM/iP8X+YjGRxhgV8z&#10;lQ0ch2lyTzzlQcZrRNNxT6/qX7NS/fNdbfkTRbMqjLGXkkVcEK+85J4c+vB/EelLvCP8r7pEUssY&#10;IKE8ZxznP61GDhmVMq6HyI1d9qtuTuM8kbmGfrwai3OrJINrLFgbGVUVDhSFOCccbTjJ7YzxiKip&#10;xUtdbf5WKi3KKT6f1+GgBzu8x1V1HMrseAgD5B4HOQuRj+EngECgsVQrGzRMG25I3AHAOWA9eQBT&#10;WRIhuEgclifLKn5CQoRcex3Z9fwpGwpyvCyMD8mcHrtHp+HUAc0oaqKi7mc04b/L8ySSVVZly5KD&#10;CseNg3EdCfQDp/SrSTA5EhZWKkh41+YHHUgck8qCMjoOelU9qE5RkO1BKH6I2Qw9DnGMgDGNw+lS&#10;qQAxeIAhN21XzJl19QODj+IHOW96bUIpRitdP6/A0hGau4penzLu5ZEMit2CxKsY8yIsNwLAd8EZ&#10;4Gd3QZp6eWzAoQdrAKARlQMEZ/LOfb8KiiTaRvyFYKjOiAOwIyp4/IHHGBzzVkiRMsVSMHHIx90K&#10;wIHp8xCkH354qJNOWnb/ACFUpK909Ev6Y7epJVj5jAELEyZ3Fm5znHHIP0B9qcsg2CEgPlAERmMk&#10;m7coy3XPAbknkgdaiXa7MVDBlYNuZd2c8jDdehHPv609E5XCSAhAygDcq7l6ADPY57+mamTjGWnl&#10;+Nik3TS1uOB3C42s2WGBjDIuTjOMj644zjHXApjlQxBjCqXKwxqOGGANuDk9cY5zyOakZYWePyyh&#10;GSH/AHhBVgQCT3yDx13DI9zULK7F/lCl4ckMAxiJGG44+6cZz3BOe9WpRd+XoL3eWMn8Wv8AwBFJ&#10;AG9iFlAZAFAA4PJA5XOCTnkkjgcmjb0eUgBFMgZm+Y43ZOB06gZ9zSuA2D13ndtwGYLnYfm57BTz&#10;2I96wvEOsRaNoOsarKU8uw0ya8mUExbUhR5PvZwM+WRkdt3WpleUbfL+vkax0mnNf1oeJCL/AIWT&#10;8Tr2YhJdD8DSDS40A3pd3I3SSkr0POB7bMc9a7v4oeOdP+GXgjVtdlbyUtbfyrOBJAUmmc/KMDsN&#10;zAjPY56Vy/wj8Pal4e8GWs85ghvdZ8zXdWvrhjI1w9wxmLBeABsbAxwBtOM9PiT9qi81H4g/Evw3&#10;8L7HVdU/s/T7Yav4nNlL51yu+WVRGkSthSUMYCsAFPucn2qOFljsbTy9SUacPifkleb/AMjynjIY&#10;ehWzmqnd7LvraC+en3tnjfxB+NF54y8MXPhXwbd7LXTLCbWvHHiW7iMEV/PICkiR8bmy0oiAB5wO&#10;MZNfE7S2TtdXUOfPQeXboZyCXJ5kOOvT5fqOuMV6J8QPEGm2vijWPDmg6cNK0G1kSye0jlMrEW2U&#10;Ek8uBvYkFicYJYkAV5rpet6XpUlzqaxRTXdnxYRSx+ZbIf8AnqwJwxBAwOlfsWTZfh8Hhr4am1GS&#10;TXd+v5JdEfl2c4+pjK6oVZLng2nq7Kz19b7vuzj5ZHkvJGuS8k54bI25PQ8Hpmuhjjjjjg8xzHbN&#10;GSViTfNMRwVx2HJyfr14Fc/HdTahfyXbbWmkbzZZTH8rs3UhfqegNezeGfDWma3DbT35ubaANm9v&#10;N4LSdSUjBIxwpHSvoMRONGlGU9EfJ4enPFV5QhO8m3bpfVM5uzhv5LVk0+OKxtSmCzP875IIDN1z&#10;wenrXUaVpenWCyS6w8s1z8pi+zL5HlDJJ8rOSxwOuD1+mL91Fo1kbyWGJo4ftLrb20snmMqfwMeA&#10;CeucYPy+9UbvxPdxwLDDZ2hWFAouGgSSXHGByMAYPf6EkCuH2zre7TTV9P1Wp6TwsaM4zn0vo9tN&#10;Ht6BcNalo7e1tFsLTytxMzNcX82CTlmxgHOcABcYx9aN3dXdyIbay05/3YCvcyMCrkHljg9+Oe2P&#10;fNMGp3OrTefdTXdxcSAQLDb2m+aUuAFWNEA9+FHbgGu8bwVf6Lb3H/CS7PBUkYBsrTxnIdL1S7IJ&#10;VibIj7TheRtEecsc4Cmt1SslKe9+rCFWMpypx2207P8Ar8DnbWx2RrNq0kYIQSQWizeWmdzAM+08&#10;Kex7g/ifcvB2h6h4f0zUvG9xcwRpokIstlzNFCllJfRyxQRWkIO8zFJJJGkIwFiweMg8N4c0LwdY&#10;RT694g8Zx3zwRLLFZ6L4ee/kiLELGWe4kjU8/wACjkHrwa9z8YaP4LsPhd4OvNX1Gca54kjk8Z6Z&#10;YW2nQt4j1OC6At4FuSdypaRQ2/mowABmupVUMwkZOWvVjTi2npovv7d9Ls6MLSnOcYzi++61UVfX&#10;olsv8zzqy8R/DxbKBPEA8YX+pXRWdxpWvad4d0iwfcVwZLi1u3lO1ycIsGOPnPOfZLLx18J/EEt1&#10;pk3wb8ea3JZxSQ2moeF/Ff8AaerOse5YnkZLNYZBtUZZ8LggnvXnHh/xt4U0jTxb6J4dm8MvtdLj&#10;VNM8NeHtY8RT7kwjvf3tjLPFggYNu8ZAGOmAOpj+NXj4xxxWfxp+PEEImLXVrb+PbvTNIG8sSirD&#10;cqmfurt8skiPB5AFZKtCKdGnzPvol+hdLD16dR1Hy6vu3a/zXb5HsQ8GfBDwtpmnWaaRda74x8Ua&#10;BFr8sXxjTxHpGieHbW6BltreJdGurWBbkIoeWW7FwqmVAsIK5bwbWfCOpWenS32laFZ6u9nqb3Em&#10;o/D/AMTwfEnQ7SLjEbpbBp7fyiSMXSI6gHcPuu325deMPj94++C/hrxR4J+Ofxn8LRfDyzj8LfE7&#10;w9N45mgsJbSS6nk0fxBeW08pjnhZJ5rCWYqwSW2txlfML15FoXxW8XRMI5/EvgTxnqyyTW11fat8&#10;NvD2t+IZQWO5RrFvHBfvGxLMDFccfJgnPGVfERlOSqfDbRLtcrC4fEOX7tXfVu9m/W/3WPktbnxZ&#10;eMPMub4RW2Y2Zykq26jPyENlUyeobbjJ713Vjr2msJl8SzeIbxhE0Nu+kkwpHJuciWUYWFgvQxs+&#10;0lgc5GR9m6d4n0Tx7PJb/ET4GeDNZi1CS3tBqXgvxFq/w0m08gssey6lh1B5G4ZsOsyLl/lIytX7&#10;L4D/AAZsrm4uPEPi/wASzW8ivqHh/Qdds7e+0SyZ5XQRzX1julkMX7vc7WQfaT0JCjKFWgrKEuVL&#10;vv0enqdcKOMcFKS59baWt8+uh806Dqq6JLp+n6Jo2kfFvTNd0O5kt9J0i91TRL3wvqE6vaQTXUyw&#10;xCS5tSTOIYmmtnygk3jcg+lfBPwO+JnimytNJ8Qp8PvDK297FdweKhp0GoajqiPCrtp+rWTA48vc&#10;6xyxqPnaTKSoY3Hs1j4E+I2iaTFdfAXwn4S8QiaRx9r8D/EK38VPCFkRlWWzuodOu3fGwmKa2LI0&#10;UWA5w1eBan8UPijY6nP4d8a634p+Ht67md9Pm8E3qNfSBZNkm6fyoRtLYBiWRsSEDAJBVWq4J1KV&#10;PmVur00ae1zejRTi5Va3Ld7Je95XbX5H1cn7F/hvRdPS68UHwPaxmBmtNV1vxX4b+HeoXsWWO62m&#10;vfE2hQNsQx7srdOMOxznaqzfD/4J2jWkfhb4sw+HdR00xz3lwfj14b1+0hYq6K1loul6bdXe4AHa&#10;f7UlWQfx/N8vhvhr4mX98t54N8U634n8bafeQm+0tBpwtMghHlVZRmSJ2G54xGh3MTnGQ1VNfN3H&#10;Zvqvg/wX498Q+HEuTNqmp3PiDVNK1C1jljWRUl0xZIxGsx6y5aOXcRtTI3crxVWcYy5Fbro+nbyR&#10;o8FCnLlnN22v5W6+p9Zw6J+z1qWh2Dap8adH+Ivi6dktmsH8EeMfA8dpAVKzSX8mr+CjYXcwLIY3&#10;h1mJFWElg5f5PXdP/ZC+E8Gganqlr8RtZ+GHiBJJhoniCy+EOu+MfAuq6eqxs9yfEOg2OsooIkRm&#10;jns4tglClQUYn879Lt/E8M0R8N/C21a6EQdtO1dLfVZl2ModpUd5AquzMVVCRtYAsSCa9v8Agt8Q&#10;dQ+GXic6trPww+ElzcX0BsngurLVPCkmlSqq+TdDUdB1/TrozRFAqebK8SiT5ouoD+v1ITSnSXs9&#10;rpbdtL9zaWAw7ppSk3U6Xe3bXbY9m0b9lK2vNU1SbR/29vhtok2pSRwaTeaj4C1/WvBuqSywyGC0&#10;1HWIfC6T2hDwAM1xpjqNmSsZ2qO20b9gT9tbVdSeX4YeKv2ZvjX4j0dluJdL/Z//AGgvB+t6pPFI&#10;58rzZ786VZJctk7op187K4KgnA6W/wD2kvhrrllHqHxd/Y+/Z3+JkMFrKFi0nxPqfw98T3IKytHd&#10;f8JJcRX17I6ERzASzSswJRc52nqfD/xG/Zd1vRox4d1rXf2edf1GH/iUf8JR4K8MftK+BlkYKrC4&#10;8S23huHXNLCMABNDY3boRgvJgE6/XKMp3cIu3R3W/mnY51gMapxXPJJ9mpLp0aT+R4lqPwS/bt03&#10;xFdDxz+zv+0hNr2g6jFZTXcv7MZ+NXhzStQijjZ4JdY8NpMokxcXBAjuAG2oUd8gr+j3wrv/ABL+&#10;054K074B/tbfCnXvhj8VtDvI7T9n345eLfhj4u+HPhXWb3ysQ+FtbOsWsc8EVx5uyC4Msptp5I2I&#10;khkaOTw9NF/aK8BeGdc8a32j+G/2ivg3Ddy3d/8AEDwr8O7r4h+D9PDQRb7hPiD4YubTVNHdFEUj&#10;W2u28UcKkF4I2YocPwv+1pBqWh2mleC/2nIdf1W6af8AsbwV4rutK1/T/DtzDse2EV1d+ZBfxTtK&#10;okS5tbR4VtixnlL5TK3sZRqzpWb6qV1bqtnutr9epvGm8Rz0JYiMlfT3WpJ6WflZ+TPmH4i+HrX4&#10;I/EHxJ4e+Jtv4k+Heu+G5bix13SrjTPL1iDUrK8lWWG4Cz74pIopLSRDF9pE0bI0LS2zw3EnSan4&#10;x8N/FK18GX+l+IfC8vjjRZWGkfEPVbCLUtH1WykRU8jXbdA0VyEkOzcwQgTOrEAZH39oHxW8X/tZ&#10;eG9D8P8AjXwlYp+1b4b02BfhZr0N/D4fT40x2ME3meHTqF0Lm0t9ZECSro2oSl1kWRrSbcNob8s/&#10;jL8Sv2bdB8R+I/FHibS/j14D1rTUv7bS5Nd8C+FvHkWva3aW406Tw54ohtrrw9daPgRi3u5ha380&#10;bfvVtbg438joU2o1cPLkT6O1rb2b73OqGIra0MRFTaSXu7vpdX6Pz1PcvGfxL13VtGsPEen6ppfh&#10;P9oj4GXNm8badGbC61eCJDDpt9HZzSvcNGUEMKXNvcMxRlxK3zGvJPjEfhP+0J4z0/4v/wDCF+HP&#10;DHiDxr4WuvEmqfEn4eeJdP8ACXjRYkM9r4v0Dxj4D1AwL4hhhuGufLutJuG1iO3ubUmC7WKKIeL2&#10;vxZ8C/FDU/D+g67c6ToNjpMpPwV+IGm295cQeERIqTx6VffaJpLqbSbljkwSsfJZ38sKQM9Z8ePh&#10;vP4y8E3/AIOj8KtpniWSO38V+G9EvLaDU5fD/iKGIPPDpupLtNxZavZebJa3MZG8RWu8F4m3bYXE&#10;VoObjK8r7Nfn6omvhKb5IOLS/mXqtvR6n5+fEn4X638FfHP/AAp7xxr1vr/gHxDbR+MvhB4vubyS&#10;RfLMskcF1pd4+BPCdk1pdQErLCyESRo6BK4b4eTax4D8TeNdZimvtM17R9Ht54xtRrEzHxFpFmk1&#10;x8rcqpJ2YUlSpJI+91/g/wCNNxrfgqf4N/F7R5Pi38PbbUjrmh+EvEmqvZeNvDciQlLuTwvrE0cs&#10;9jdGFPNRUDxyNaJHNC6KoWt4k8A3ieF9R8T+BvEcfinwtrXgyzm8K+K7iXZfarb2d9BJd6Pq8e1D&#10;DrFibcLLEYws0SpLEzowA7Ye9DklZXTuctSk41o3lzJtK/ztqvu9T6A8Fz6D4x0XUviPoGhR6d4g&#10;m+LHgvQfFXhi3thFNoOpC/v7pvsZZgjWtw1ozRGQqY9/luzBN1eY6lam58M/BuRFmW60fwdaaEPO&#10;YwsgMnmxwdAT/o2osMNgsp284Gbvwv1u6sfC/hCC2gVm+IP7VVnJcTW8zzCe3j8H6Xe2k2FzkLPq&#10;8kW48K+/C+voVi1rPrPgPUYtPuWOiyXWm6jpl5EpkgubTQ7q7tpJwygFSYLdvM24kXJwTnHHjIuN&#10;SMHu3FX/AO3df68zow7qRg1bW0rL56fkeYNpd9bS/Hjwp5i2Hiv4n+LPF97exXQY3k/h/wANM8dx&#10;Zkk4Avbi4S5BbI8vTtvPAP5h+ILeRhpt+3nAi2MS3gJCs9uyhWHH3jGYcjP3g2ec1+j/AMbtRn0L&#10;496rPr8t5cTy+HtR02ynt5wiXszmbTrmVW7k3CiV1zncGyAcivkbxl4LaPw7req2EUNxYNrN750d&#10;vL5kuj3qStMsEgB+UzQ5kjBA3bMA8OK7sNiFzxel7JW/wtr8v1JxNKpPDvXW7d/Wzf5JLyPpr9mD&#10;VYbjxd410QXkwu9d0nTPiNpyC6EUd7O+qwWt9Eqjo/2bVNQLMCQodwRtyT4N4104t4v0fxFEBbw6&#10;1octlrEKAxot9bx3FtGwxzuIW3Bz1ZMsGBOdP9njXX0Hxb4Z1maJ0mg0u48MeZcMY0CX1vPbxoWJ&#10;+Uo8gdQOSYOnGR2Hj/Q7+Txf8UtKaBTfeDPFP9pW9paQiOOS1ursB3jh4xs87SpEVQTtMuQAvNYq&#10;Vq0Y76O/9ehWCotJyi9Lx+a/4fc8XbTftnwzSG9XdJa6ndpCzAlbYxXbSwv1+6zzThh6Z6jArk57&#10;Ga0j1qzsWQxXjpPa4XCyTrGsgVkzwQGkHB7j3r3fTbGDVk8caQI932jT0vdLhjfaqpEqpOgJOMtL&#10;I7DknCgg8GvNtP0921C3vkhklGiajZ3erq7FV3NPbxltuQDkNGvoS4zWUKrnWlRasrp/gj06uDVL&#10;D+0S3Ts/T+kYGnuy6nLbgC3j02Ga9UhgWkLR7WycYwRK3uODxWxqmqvHfaakUIk1CNnnjm2ndIt1&#10;aWsCoqjkbWVjxwdwHSua1K9uLm61+/jhmja0vJLe6d4yshN1GSCWwACVQEE4GVyDxXT38LXni/wh&#10;OG2rNDayXAD5dkglYhQCc8EqDnJ6Z7Gno5Ra0v8A8OcVONSVKbp62tp6tL8z1D4braza/wCPpLS8&#10;Ntc3sz6dbGNgjR2yxTpKAOBtWAP06l8dDzzXgqysdI0vUlv0ubiOLU7rS7xmfcUeKWyns2BI+U7D&#10;N/316Yy7wndTaVA2oxrbrPq9vq1pJEUDXI+ZtNDxn1EkQcYJzwejV6xbeDNX1LWPHvhFmg0/Q7DX&#10;4PGvivxPeJ9msNFtnt2ix8gIzKzQpDAimSVwiovORw1ZuVecJ6Rail8t/uR9DhYwoYOOImvfUpae&#10;traeex5N8HfgfqHxu8c38t/qbeEPhp4Vv4ZfiR4/urGTUIvDdnPcSCK1tIcZutUvCphtLRSWkklQ&#10;t8i8/ZHxe+PHhbX/AIaaR8BvhNpd54P+Fnw48QajFpvhmO4Bumigg2atq2syQkJe6ldzx3dxeXJ3&#10;5ZIkjcxxJWD4msoPh/8ABv4O6vYpd6XpfxL1nVvGHwZ+E985j8Q67ptnK+ky/EPxGEcFZNUu47+z&#10;03cdkdppl/8AZ2kRpZZfC1+Hnhvw34f8HWrX2sX/AIo1SW91vx0jxtBpmmwovnWmmSErva5kX/Sb&#10;qUEIi3MMShzvaujFJ4n/AGetK1OFnbu139O3Q+bwmIjhubF0ofvpcyT6JO693179ehzlxG2meEdU&#10;1vWAZ/EnjOdJrW3AEdvYW0CtHY25QE4BLyOyHLYKHIwAMXwj4V06zubbVdW1OzN804ZrPyyNjAKm&#10;AAdvmAAgdkUDjP3e+8R2V5rCeHVgu7CK817UZ2ubuCXfLpavOnlxRyklSzIHwAOFAbJJJHCeFfDO&#10;t/EzxxZ+HNDdLWKG5NpHMZfs1jplshDT3c8p4BIWRjI5XaifwgEVCq6TdPRv8EkjplQjRpQ9tdpa&#10;vzbe35Htfwt+G+v/ALR3xDbRra+n8O+A/Bsv9pePPG95HnRPBenqduVAH729uPnhgj5DSzxA7QCT&#10;9l/tB/tC+HPhV8MPCvhTwDo0HhfQ/Dj3cfww8MT3P9qy6epAt7jxJqKnCz6hP5eftMqbXm3hFEds&#10;sQ8+vvGfhLwX4OPw38AING+G/hWZ9T1jVg32fWPHl/AiR3Os3eS3Lh2itYxlYYnkKlpZpZD+enj3&#10;xFq3xV8chdRmeO1ubj+0JUZsQ6Pp8SgwW6DqD5acK3bYOmRXClHGSjhqV1SjZu+7tu3+i7eZslXp&#10;OeMxEVzv4V0itLR9f5vuTNT4Z+HYfFmsa38Yfibd3TeD/CSvr2qCS5I1HxA+8+RaI5wxlup2RPMy&#10;CPMdyw2HOH4o17UPGGrXXjPx8VGo+KNSa8t9BslGnqISVa00q0tlVVt7S3URrLJt3bY0hUBgTXb6&#10;x4k06z8LxaDdW01n4Q8MxLr2r2UfE/iTVGEtvo+nZ/uwRzTysxAKC5uCA2AteF2/9u+J9UsdStre&#10;61nX9VvUS00nSYDJLDGjs8FrbQrnCjaPlxjlixJLMfYpp1OV0VaCVorsur9Xb5JHmSpyjOc6s78z&#10;bk79tl6L8/Qr61Le6v4gj0NSqvIR5pgHl2elQqV6KvCxQoz4Ud2Zssck/cf7NHg7TPDPiCT4veOI&#10;ksPAnw28H3Gp6TPrNkj6FqVzNIVgDhiPMijCyTyx4Zpi8cOzDMRw3wa+FWm2Wu2Ta2mneK/FGu3b&#10;xazYQ3cV34O8IWNusdxcSXlyMi8mCqEMUP7pXdFJlLMF7X4ieJo/i54uvvCPhydU+FfwnSLUNZto&#10;mWPT9Xv4iy2NiF43wwsxeRdzFpGySdtRWrRoQ9nSfvtO76Lo3662XmztwtCdfEc0IuMHZJdWuiS7&#10;PVvyOk+NH7Smq+LPh7D4q0c6l4d8TeM9Uu9Es76+uAvi19KlGb+4aRVzbfaFZgyRMTmUIXYLz+b2&#10;valDcXlpp8skhsbdze38zgvNIc55yO/3Rn6819G2ngv4i/H34raP8P8A4c+EfE/xB8XDT2sfDngT&#10;wnpE2s+IZLaFjJcOlrCp8pXmdt9xMUhi875pUVFFfSmg/s7/ALN/wb8daRoPxk8QaZ+1l8cdbvrO&#10;Cw/Zd+AfitJPhToN7LGLj7P48+JVpN5ZigeawjuNM8N+c+xLkS6jbGKSI65bhqVCKniW05O66y8r&#10;fm7mGa4z21T6tgopqCSfSN7+823sr6d7Iz/2SvgP4z1/4ceOfihY3Xh3wFb6tbtYat8WfiJqEnh/&#10;4cfC/SbhhF9tubvY8txNgRx29hp6TXdw8axxws0i5/Qj9kX9nLwnp/gDxlqXwu8Xaj8K/gX4OP2D&#10;4x/t/wDxY0iXQ7yQXs00OoWfhLRwUuoZdSt4JLWx0W083WNQSaWS8ls7aeSCP3z4qeFvgxoXw/8A&#10;hZ4+/bOux8Nvgd4MsItc+F/7K3wj0qDwd45/ad1lZxiHwv4dMxOgeFbZ1it38Q6kZZZ/KZ98013b&#10;QR/mP+17+3L8RP2oNW0XRpNN8PfCf4S/D8SWfwn+APw8mktfhl8EdOkjWJhCQUbVNeutrrda7dKb&#10;iZi0cQghj2pGYZhGUqlKkry0UV0SXWb83d8qfa5lhMJUlGnXr+7DeUu7aWlKPV2SXPJWjfS7TO7/&#10;AGsP2s/BfiPR0+EHwH0TxB4Q/Z48Ha2tx4W8HeJrxdX+I3xv8Rx70j8W+Op4SFuNQCtM9tYIRaaP&#10;FOY4VM81zcP8oeCvDevX9p4u8c3fifSNNh8Paa8XxF+JWuXUg8IeAFuIgo0OxKKWv9XnjfaLO0WR&#10;lWQ4UudyfMN2uuXNtfa7pYOm6N5v/CPQa3bzGG9upGH7+00rP+tMYZvPljG0HhmOWU73xX+Lk+vW&#10;/hfQdVtLHR/BPgjTV034efCPwsGt/CvhmI7vMupgWL3d/dybri7v7lnuLiWTl9iRRpz08NGF3VXN&#10;WlbX179F5JWOmWInVUKcJONON/v06u92+rd+55/rOsSXd5fajp9xe6TpuqTvE2pyxA6pr0ZJRYbe&#10;BG4JXCuwPlqNqgnnf67ZeH5fhPo+ha7r9hDZeLfEmmDVPDXg69tWutU0y2uUP2XVNT+6BLKhWaC3&#10;ABx5buMEK3nvgCWTVvFml+Jdfs3XSI7xpbS2gRYBqBtArLbC45KQjCK+3hQc7ScKe0+IPieXx34l&#10;1zxlrUkFzcXt75TwwMYLe6YA+Vp1muSywxIF8yQtvb7u75jSk5qUcNFWvrJ+WyXq/LYMNSpU1LGV&#10;HzW0iul9NX5L8WcFc61OkEckE8i396rPc6uXDXV6hdtzg9QGOQG43biQAuCzvAXg7VviF4rh8O6Z&#10;bXTZCT3s6qZpmRyFihixy08pIRE67jlsKGI6K+8NnSvBtp4nvfMn13xFqsukeG9PFoYQqWghM85f&#10;OGCtcRoqDIGGyxzz9M/ALw3p/wAOfAeteK9SaZvG2piZLW7jm3rp2+KUxR26LlmuTE5vJ5X2rb2k&#10;USqVlukejnoUKFSrBarT1emhtClicdXhQn9v3v8At1dfn0POPiRPY/CyzOl3UWlXvxKl0x9H0Oz0&#10;27TUtN+GmnIyiIYXKNeXEkkkjv8AfZ1HQDC+OQ+GdE0vSop/ES6ndeJ577+1tZZ5mVHWRSbazhj+&#10;8802VlklbGFIAHeuv0zQ4bCxsfiN4jmjvLLXteu5fCdlfAfafEb2Tql1q1wpYFbO3crFCMeXJIkz&#10;Z2xANj+J9R1XQS/iTWh53jfxJAdZ0TS52xL4VsZ3zHqV2MD/AE27UYtoiP8AR4F81gJGRY9MPzSV&#10;pu0vtNfKyj+o8aqVJ8yV4pe769ZSt/XZHnnjC5urm5XRZpVa8g2LrSQgNa6SAAtvpVqo6mJAEcrg&#10;bsqoIG5p/DukeJ9RuX8PaLbz2sdxFtu7W3kEd/qKkhv30rfJFbjcCS5VQcE5Oc9Z4B8HS3gLrFp6&#10;XZP26fU9T3R6XoMByJbuXcDl3y4TBLEoQMElhu654sY3s3gX4YsjWLQrc6n4r1BU05dR8tBu1G9u&#10;pWxHbRhmZGkYKoYtGgZlauqdWHMqMFeVlp5935HnU8LJRdeTs3+CfReb8jYvPCvw68B6fpk/iDUb&#10;bW9asnWa70Tw+gghIfAVN7qstwd28faJAkQRF2RSxukh898R/Fvxh4oM/h/QEi8PaE6rbTadpEnk&#10;WTx4Xak8u4mU/Ko5O392NqjjOTp3g/WtdF8IornULgRT6nqGqgM7zQKB+9aSQAQW4ZkLSSbdxlRf&#10;mcxpWeIoVj/svS2iiEWf7Q1VovN+zIMn9yAfmdjnLcngYIAyM21VfLWfM+y0ikXGl9XlbDxstPee&#10;svReZqeG/DMMmpyR6sIdQNjbi5u/OuDBp9hv2kNPJgleOAi5kkJAUAZZej1S9s9RSLw74RtY7PTi&#10;Wub7VXb7A13I8jB3aQtiCMZ4wx4ckvuJxykdvNeGPR4Vs9M0yIPPPDcOYATgmW4u5ckvIw/hGSSQ&#10;ijkKcQ/b9Ukj0fTR5Ni7s807KUKjKorEDn12gDoT6Gs3F1ZKF9O3T1Z0wpRkvaRXvee9+x13/CW6&#10;V4GuGm8OTx6p4itgvl+KDah49NlHzBtMhYfLIrD/AI+pFL5ClFiIJbgNT8S6jNcXN3c3U0l7qJ8+&#10;e5ZjNelmyWLSHLk44yT69K6ZfBS6TNFJd3KRCCESyyXlu0jE5G1VhXLM7cMoOBz8xFe5/Cr4CQav&#10;Z2njz4g3D+E/h9eXL22n69fwCfV/FjxSBJYdFsS8fnlXVkeYlLaILJ508ZTZJcfY017arK6V7vsY&#10;SVdxVKnFqUmrJbt9X5njvgnwX8UfipfWXgrwRoOteIb25+YWmnRF0ClVYyXE3+riVUbcxdgVB5Ax&#10;ivvSw/Zm+CHwk024i+PnxPPxS8b+H5RAvwp+EWuWsfg3QLpFYmDXPGM7RWxKsFVre1kMjG3uVjiu&#10;/lVue1j46+F/D1jfeB/hDaJ4N8DQ2C6ZqsovZJtZ8VNH+8mOp6oqo8gdkLfYrZUhCryj+UJK+P8A&#10;xF4kj8RakJxPcS2FlK8m67AjtbfcxYiK3VvKgDYUEDLH5izsQM8sczrTThg4csf5nu/8joWV07Ke&#10;YSvsuRbdHq/w0PtvxT+2JJ4Tjl0L4FeHdL+CWgWwaz061+GN/JYXEvmlop3n8U3Vquoy740RP+JV&#10;b6cXVImLZyx+Zo/iT4x1DXbjVrXSV0rVbsm8vtX0vTZra/cKGka7vtVuBcatcspcsJZblS2NuGXA&#10;rw19Vka683SIbhHc5l1AwrO0CFgMxyONq9SNyBWBzgnOBcIvbmZJbafWdWe5jUXUVvI8vm7iAfNu&#10;iViUAOeNzE7Tg45odCNWp7XENtvu/wCtjop4hUm6WGSjBWXur9T1efxprF7ZXMN9rM85uZM/alhW&#10;ytLP5tzCGBD+8JLH55ZGJDNwMkVDp+v2tveQXt/Z3DwQlWnU6k9jZ3CLkAAx7G/vKQpJwSQaqaRD&#10;fadc27XOs+FdAi+zhJLe7trPxHfQEgksJGR8kZbBEZyRwD0r1nwT4v8AhFp0lx/wmeseHteS6d0f&#10;Ude+DejfErWLlW3Bo4rvUDDJAoLnb5Uig8rkYAGbjhpT5Kr+4arYmTahC6e1/l/wDhJfGvhUTqll&#10;eaFpACuZprPwzB4lvGZirAlpmUl+XUOzMRgDGOnqmk+P9b0zRLPX9D1qdbGe7m0eKWfxQnhGWW8i&#10;iNw0yxwMJFZopADtwrbgqjIw3YePvFP7ETaPZWuifDhL/XbeWO7Or+HvBel/D28uY1VwyShLy+hD&#10;Mzo2Vjx+7ABUHLaXwo+J37IRh1ix8cfs7+M/FvgXRkj1/VdAtfizP4TukUOtklwb3T9HeYpGb6NW&#10;ji8nzSEBZeohQwKqclOUnok9H1NVHM6aaqU4p725lqu34nLQfHv4qacNkuoXkmmymO1S31bxVqGo&#10;WZAUgMod/wB5j5wS2RhsHPOfpDwB8QNW1/Stcns9M0az8UxxNqdzounW9l4j0LW4UAl862ilV1Ek&#10;OeYJAsoGT2ZRrWfxS/4JnQwadJon7DuiNfxKYr2X4gftf/GTTbLVpQvl7jZxwNbRbsSuypFNyuRy&#10;SB6npvij/gm1o6+HfGukfsg/GrwNr+p5+3r+zd/wUW/t7SoXkDIhh0HxX4SdvMjO1gFj2DepaV87&#10;am2VRld1nGS7qVnfppd/gcdSrnM6aoPCc8Fe1pQUu6erSt89TzKD9rjxXDoreHNW8NeENfI1CNra&#10;+n8NHRrWyt7cK8KRXFikTQvHIFkVo5EB4BVutfRNx8WvgV8WJtCn+I/waXX9btNOW5vPiL4S1618&#10;P+NLGTKpCl60yPZ6naxyuwe2u1YsDOA8bNvrG+HvxH+B/gz42S69puheHoPgpDrGow2/hr9qz4X2&#10;Xxm8T2TahBpjSW3imDw/LpBuUlNvLPZy2clmluzylP8AXXBk+jPE/wCxnf6/Y+Grj9jXU/8AgmN+&#10;0lbaX4y1LXpLz4DfF/Wfhl+0f410/UtYutUi0HxV4X1WQX0tnZQ3C6fYw287XtlbRRBZpMCWPpwb&#10;hOm44Ot+8T20XNd7rm+fp5HLjJOM4rMcN7sl8Vm+V9m43s728t97Hyl8Q/2PLbV/D3iTx9+yx8XP&#10;h3rnwk0y9gbxx8F/iZouueEvEfwou7iMst5DplnZahPb2kroEi1PTTMsUjCOX9y8UlfKOkeBv2iP&#10;FN3q0fgzxvr3xP8AFjadFNpWl+H9Tl+NXiq2jtLc/wCj6fqGn+fcTW1vF5hY7I2hSEiZE8pwn3T4&#10;Z+JHjzw9rd98Ovi18IvHnhX4h3mrXdpFretalDpP2nSZoLcQado3iCdRaXE9strcrDPNJKzK6NLG&#10;zRK9c98QNC+DfiLXtUm07xz4z0jQpAs+3W/EVn4T+Ovhy2ViYv7VuNMtoNNv1hTbbnW7O3gdw8Rn&#10;tNzqqxGdOal7akoTTV3Z633atodT+s06fs4YiVSlJaRTTaaS0119L/PofnR4Nuv2w/gZ451LxJ4V&#10;8JfFvwN4v8xDr8Nj4J1bw0s5cRiNdW0yW0jVxKjx7VmiHmLtIbB3V9O6X+054m+K9+dG+JHgbxDZ&#10;eJWiWwZ/DmjS6Lplxcrwsq+TGyQ3AO5uUAJAHmbTvHvXj74d+IPD3jbwhqHxj+Lug+M/CPjfUJtA&#10;+Hfxp8VeP9c8dfFfwO+kx6ZDp9t4zaz8u50+2u4Lu2XTr1o7iG5trQBYoI0jaXqPjV+xR8QvHWk3&#10;XhmL4e+C/Eut69rsWtaN8R9MstN1jxc80qTJHFF4thFlPJbXIliDW95btH5ixMdsgSSr9lKrJUqU&#10;Vfyle6bVtNmn95wVXVhFOc+aGu8bNW3s11XbY+evEGueF/FGsfC20+J2g+DvGvwz8M63cSeK/HHh&#10;b4YaV4W/aD8S6ZeDff8Ah/xP4ggja51C0wGeOSdblrZlLxH5QlfHXx5+DngL4Q+ILb4gfsyePfGX&#10;ibwRc6p9oh8CeNNKiHizwbEqtMk1rrVoVtr+3Qx+WVkgtblC+TFIg311HxB/Zw/at/YX1RH/AGnv&#10;2c/jX4A+FY1IaI2p/EPwhqXhrwnMS6hJtN8QKr6bKw3Iyqkz53gOilxXe6XZeAfGejS+Kvhp4muf&#10;EXl3WzW/h3rNxHDqM0WUHn6dfoymO6Qqp2uPnPzCTPytvVw9amo4fEaLVcr1TWmz1s+iVznw1bC4&#10;qP1nL03OOvMtJJ/3ls07b6nnfh/9obXNftLTVJr++1LVLVBLfQ2sSLeWyqpAkgk+VgysOfmyNwI5&#10;AFYvij4o3PjHxZpHjiyup9V8bWtrFoniCDxH9mt5vGNhGCqwX1xtjZ5kViq3E7PIMqPMwqgZGt/A&#10;rVfBPhu6+MXwt1O68VaN4f1bHiLwlqdqlvrnhzdkSRX6ggGOUExhtoQkgZViFrptC1D4X/E7Sry2&#10;0XTimrRzRSW+iSTNLqsC3Cxs32G8LKzojFx9ln3bdwCsea810KOHmpVdYS0TW3o+zR6MMZiMXR9y&#10;K54auL0a7td07s9xutR0nxP4es9S8OQeDdWh0+SC4uNB8W+BrLWNYufs91Fu0q7u4ylwqp5cqtIr&#10;4mTy1ZGAJHnnjKfwX4x1GS3PwK8M+HtQu7d3jtfhF4y1ixm0i4YbITPoV/LN8qNGCbdMhshVl6bV&#10;sPB/jH4OX+na/pvhXxTp39oZjvtPn8I3NhYapHKkiOWnYAx3CqY2jAVmbl1ZNseer1Txz4b8QCGT&#10;x98Kv+E8M8sZs/F3gPXm8MePdMto7YRCNbosIpLhEVGkMiSvI43MOSo2UvY6VbtPZ/duu5i1Trp1&#10;cNCKtbmT3T8n2fmfJNxfWnhrXZG0jVri31GEfuIPFFgfDOtxSBzuW2uAzRlhgfMyoPmIJ6lu98M/&#10;Ei31e+kvrTXl8GfEG6kV3e+tg/hnxd5Y8totQiQ4WVlxiePklQSCN1dV4g1/wJ4it5dF/wCFg6pq&#10;+jS2ks+m+DvjX4QMGu6O6yHyo7PUNitMSGAeSCUjAJwTgHxVPh9pfirTdVl0vTL6z1jw6xlu9Otd&#10;SOp6Zc2wU/6VZO4E2BtZikmTjqSM1eKoYedJupLps16b/P5l0cVXou0Yt63Vt7aa/r2Z966Tr09y&#10;Law1zSzomsvGlw1s0hntbpCpy9tKMIy4PAPJ3cCtXaSXUeXEAzrIisJFLAsc4GenzDI7fXFfG/w4&#10;+NFpZWNr4L+Il9cax4TjkCab4msrfzPEHg9xzHLGCQWjQ/fjY7fmJDDOa+s7A3sMNpb3V5b6rpl1&#10;bnUNE8S6afO07Xbbk+YGyMSqG2ujfMp6gcCvzzM8pqYSd0rQ+/8ApH12GxMa0IO6069328id0WRm&#10;YttBjUhsBCx6KhUDIHzMQOgKnpkVAxYFxJucyqBLk5cgccEcg5GMnGKmdthbzj5RkYBFQNuBAyRx&#10;6/Nj1B/ONgJA21wWdMQA4IX5w27jORgYzz971wT4iqXmlbyO9TbfLDR7v8CjcELJCX2IzMUKL8ij&#10;5SBjHB5//VgGrobYvmbvmA3gtkqRzxjPbjnr19qoShXlt0cZIR2YBcP0XGPz+6D3JrQRHDucsSpH&#10;yPHyoU4bC84z1Pt71ftIqXL3/wAxaum5S3uTI+UjIG7axI4WJSSMjBOOpHt0qwiPKE2syK0vkBQp&#10;RSQCABzjkZBHOfQY5qDKBS7RptO9Wyy7gOcAjjoCSMdARz3ugBnOZFEQPlgBCCvQDnPoRweOfes5&#10;3TTX9bEU4p3UdZK35mjuZWJhMcaN1jVcRRAkMEyuOnIB6nHNXbd5C6M3G18fI3zgZO9VOOPTnAG0&#10;dOaz0OcuUBDMm5AgAUsTjAHGD7cfKRU8e0PtZXiUMA7qhJQNklgAwyQCMcj69TWbvzar+mbzcnVi&#10;o9bmshWMiIMxWRFQK3zKh2kMAe/Ur74rWjlfCbVZvl2kfeDAEHKnG4cqT7BuhrFtQpMburfMDIc/&#10;vSu0EZBIw2doGewPQYwNVGjBKBwRkSR4Cop3cMoIOex64OQeK0UYJN9dNPu/4YFHnXJJ+72Xy/U1&#10;baQ7sMUbCbAyDGCMEg55HUDn1z066VuIcQyKgAjVd0ajy4VKFlUgehUdRjgsOg5yo4o8sd5QrLsI&#10;QGKNcgAZB6j5uAehIPatdEMDRecpJ6yKF9GDgAngjAK8DoOOuaibkoef6GkacvZK39XsXo1L/u5C&#10;UZJpIy2CWUYG0Z6DOMj18o8DFXIi5Adjh3OGB4jb53KkY46N68DaOgFU7UMlxE6Jl1AJLKHUsNoY&#10;hcn5cow5OBjvk1bjQIDD8xCMkS+Z+8ZNhKkbsknlHyck88npUVKjbemi6fcEIS5Wn0/HTUnVSsbO&#10;y7gQRyd4yCOVPGRjAxn6nvU25w0hQJsdgzIQsjLuwFb3ABY8Z6EEjgmvkqQrYBYYYK+zaBk5x0zn&#10;OMdc4OalDKC4UKRIGkKKNkrLuJAJDYzg9sdcYqXGEoOYRnzOzej/AMhgkUBW3Iyuu4FlUgDaGy2e&#10;pGM/0qq0gEjn/nt8wZAGZTyWIGe4ODnnKDucmzjBTIKl8cu37sKT3yOeOijtmqrcOZMASSHzlRox&#10;tJYqDljx0B4HQE9zS5oP3ddPzKjTnGPN11uZszFkmVE/dnJYo+fL3ZCEn+I+WzoSMHIJAHKijKVj&#10;izhJGQBnXlywA4XJHPzDAxg8cjmtRwrmQqSYw2+Us2I0+6Dgc9crwMZ5IIPByZxuiYkcDLo3qWGe&#10;PcY5ycdR9dE3P4dFt+RL92ScdbP/ACMyfKAwqy5UKspAycAONu/IY8YUnIJwD1Gaoz4ZsIWDlGiX&#10;H7pRgoASOoBBHTIyp/G1cZyrkFI5j8rGLfGuAcheM8lhkgZ4PGemTNKA6ALjMZxvGSPlKYH0OD+A&#10;7VpLlfutmbnf491/X/DFVn8w7XOCieWpPKjl2wBnOAZDg9eO+azJpzG5BAfkqVKlzgHoCQTxls/7&#10;voObMivhlOVDKHRg+xQckBiOo6fpnuBWe0as7dcFSrEttYjLYwTk7ugyCeWGciteaMdHq/w6GWse&#10;urZX80qSXjICsCSp/eH92SOf+BMcHGQpGc4qDcse/D5UIVUeaC6fMH3KcHGCM8cYyKH2qpCb2k3E&#10;K+CSeMAfnlgAcZHT1jJ+ZQ0bKC4d4xiM4JBYc5HzbeuOcZx0q9Y35300Czbakyq0ZQhWwXMoVusb&#10;HByCMdcFOo/ukdqI9/mBg5kIGEkDBckqQVHcZH54Ue4e25WkLboXyVUAAZONwB/76xnvU/kQj96y&#10;EcBUDZBUMVUHGduSXzk4OeetOUoxgklo/wA3qiacZxg4296+vp0INpUq6sdqAknG0kjPXHHA2fdH&#10;p683Yo9xyWETkkSHG1Ig+0Y+UH3wQOQ+MHgBoyQzHdkRkjEmzPDDA7Aj5vxzWiURGVDGMf61JRtk&#10;OVDBV3LkqS2BgHqoPIwanWLi2tHv+H5EUmmtHu7X/AheMrIJEZA28KAMupOVJG0HrhjzjqV7DA0Y&#10;4WkWRNuQ+GYcKhbI3YHXs2B245HIp0cWxygTfvxGg6DJJ3gg/L3IIAGA2KuxxtI5XKszjCIU8pGH&#10;TAXod24AemPwpawu3tY3VNt8jdm/u6DUhBkdmRgMAGRsBTgsSSMZ3DpzknOema04oPMaKCJHZnkM&#10;aKCDv3HAUH+8Qc4HcjBpkSQKqLLFKAVzCqMpXOcAnuAMlsqCTjv1F61ttq4l3ZYsu7G7cxj2qTjH&#10;3TtIBJ6jIx1yqVGp+nUpKXNyvoIkf7yWOQny1maBy37t4wpkBIBUk/OuNp6gnGcYq5HHLHMIS6hu&#10;Yiu8Kjs0gUb8nB5AOW44z6VFGoUOkgHyvhY0GWUbiVycE9Tnjtg4OK040BBIZyrKGJchWUgcNtHX&#10;aHIK5H3jycZJNxm7piVV6cn9LciEO1QYsmWWPDsjqDgrjYD6YJIJJwWJHIq9FHG0eN7FTGJYzt2h&#10;SwJIIPXIyePQe9S28Wx/uNgk7fvZ6lsEY+6ShBzxhWOe4nEUUflKyqQVKjeGBBLZIHPHzBSeSMZB&#10;4NNyvywkaJWk6j2XS/TqOZZDwCMAZY5UhQFI6glSee5wSoxnIqWNRjcwBaMKyOwAcj7uDt6/eAHY&#10;E5pVjyS3K+XkRox4AwpycccnIyc8ZqzFuLIDGjnDRlnwHPmMVCg5wu3IHPHTnAOMotKPLHf+rota&#10;N+nT+vQiVZcpHCFdoht80phGydzBcHkgk+v3j6Ah7Ha6noEBQ4PlrtO3L9eAPmY5J447VKqYMjEP&#10;ncVI3ruXOMbuAect3zg+tMxulxsLEgFc8bx/EM44BAxkZ5NaNwlK0n7qOWUJW5ZPqh/C7XJZ2+4p&#10;GHYqTscZ5OARGOnXk9stLB1YKVIV9oQAEl1PKktkZ46AjGcZ44cseCrNghtzSlhnzgQGHHp8vPf5&#10;weCMFUKMMqgZlYFN6q7R/NkvnJOeCM898HnNaTcYO+7N+RyhGMnqP3MJmCvlY3KMyqYxgEDIUgcH&#10;noPTr1IkzDcyqirnb5bnYynHJY9+cD6CmLiLOAzK5LqCxJXDAlATnoR0zwcfQiCPaGxnahVjIBEU&#10;yN2MsfXBx3zjtWDcXOTqf1tciE+SLSet9vIajFETytjRg72DsGZecrx1GT5WT3MYHemNGN5VztJ+&#10;ZyG6KPm69edh6dMVJIUDiMAI244OAFYBSwY8/UD/AHuo61A5+V9ke/a7hcgeZkddgOOvyjIHPWui&#10;XLpd+n4C9q4tW9SZwkbhXBDNHnAA3pgZwTyTnAGF7nOABVVX2cpgmSPOSDtJH3jg44yy844IFS4z&#10;hQWUgjczbmVs5BwcY5xjJzjOcU3fmNHwG3hkKxgEZLO/XPJGcZ4H0zisobyd73NFLepBXau7/MjU&#10;7XQFjl1O04EYcjAOexGM+nQVGxf5VO8JIw+YZyR3I46Y7459+8jJlBgZJQJGzjcHcYLED2zyR03D&#10;HWmgBnkAIZRIqRupIXaRw3Y4z0zyMjg93FuL5UtROc5Racd7DXDlSCEaSOPdlZACcnd9eMKuWJ6s&#10;SeOSNSpmZiFk2usYwQoYsSVPTjaSoJ/h/WQD5QNp2Ku1lf5TlgAqevtt7EDPOBTTlcADdgMysPmx&#10;wPmP4LjPtj6OpUcnzJ6i9nbTsiJVSRRK4jLFQ0jHGCSCv7s4BCkMowP73XnAhaUbN7LkMyo8gAyq&#10;gAgoPYZwMDnjpgidouSS7FnVURW2ZndgyFNmSdzMWQZIHTqTTdke0KhjkWVmXDZbcNo5/vcFWb68&#10;/RqaWt2OMOaHtJ21T/D/AD0Kju2R+5jyFUEu4DOQBlsA8ZOSB2BoqSUShyI8snG0ltnYZwOeM9OT&#10;x3orndSmnb2iMbPdJml5QYtulkEYdojsG15VdWjYnB4DDORkgZPXGS14XaQM7AvKC7DfuIJPygkj&#10;ByC3PPOc5yculkYAkBWZ2ZUI+WFyMqG9egHXjpnPeP5yqmRjtZWZH3KSyqzL3wM4HTnkHk1jJ8qS&#10;S06fPf8AE35u3RAIxGZULAso3zSIuTnjGcDjIIxgnjOetQLH/rIVZjBsOx1IbyyuVKrgk4zt6+3I&#10;+Y1akYPCpXLuYlWSQSGQybGZOmeAFVBxnPOABgVXPliN0iXKqcBg27OEf5jjsC2SO+1epAxcFyJS&#10;b0JSU1zyWhYBQbPk3SIfKkIYnDKQeee2Vx2z6jNNKKQCBl2IB+Yec44425xzkEZ4yp6daVRtkDNy&#10;BswLkbl+TDBSqtyoCgcgHgdRgFu1lUMUVcKeCMsvHDknOSHKnB7E1Nkqlnsy27Lnfbb7hgQOQ5kB&#10;UKxUEfKMEHngA4K9MHkdRUzZdUKMFXduLAkZyOhGCAcZ6f3h26RqzPsLOdshOxEYBj8pPy5HfBIx&#10;6HrzU5wpwc5xxIs4JUlUOeRnK7gMYHQ89qc7qSi3sTFc+k9+vn21GxxqojZXZiTv2nc8cZXC7ivT&#10;kDoOuaE2O21lIAG+RQctyT949R95s469+gw5HK7yCI32tG6EcRKuSec+oxjnr9KGRiqgnCpMMhDt&#10;jAf5MnkAZzzk9wfSnKaScYb6fp/mbRquVN6dNfwIGVmkBBwrsGA2qCfuuXORjBLHg8/KfSnEI64+&#10;V2iclg6hY2znYM9BzgnjgDGeTSqpKEKhw6L5eHDSAHI4POOvQ9O/So42bEkhjkQbikOI/kUMFbnH&#10;UYUjd1OWHOaLc0fd1ZzU4tRcfs3uXDsQgM+5HO44ACnA5/THp7YpoCKrOuwBcEGTEeABnlv7oKk5&#10;OfrSISEdEG+HbtKh3ZkOFX7nZiAD05AHA4wbnJfMm9ZZDsVQSipjJBXBYcE456YAwRismoxtJO9/&#10;+AdN76PZ/wCaJUfaG8xykqbwiBSjw8qcEeobd/30RSgZPnRuDkCQjbhgRhc4Hy7jvbPPRRySAKaz&#10;squFXnJJVt3y5+YEE44wcEDPK00BshCNpcFmZzjbjkD8BnnqfpTUvfb/AK+8TndNpX2sSgb2VgVx&#10;txuzuCZJUuemQDzx1+b2y4S4b5VCpCwUKSDKCxQbeO435Pb+jIpH8pSw3gKh2BiHbg5T8cKBjpg/&#10;UO3kKXXk8qdmGU/eKqeuCc5H068Cla8uToW5JpRv0+/1GoVOB5ZKktKYwBGykEBsAnHOUA6dQCRj&#10;AmaNcSNu+ZQzN5bDYNxJZgT3GT144AxjqrthiiFdwO0yGV3xgMd3bjkcgDIC5pplbarZlCOmVYEb&#10;cden8OeCOnDevAuUGlZbdRaNOE1d7fgBeFVyjKuHYthcqQ7MxAPU4wPrU+A4O4IinO9HGRxkntjJ&#10;JwMnvURXKtwrAthVDFCwJzgjJBI5wRzz9SSNgf3qqwQbvM253KPLxtbOR90MSc9QPTiJyTfLfXv5&#10;2X/DhK6lyXtG23X+kSqcAOYshAFbJ3hiG5Occk53c9yRzVKYeXII1AID/ukLEhz3wCMdSzdR1NXP&#10;34G1niU7hEDjzNh4OGOByCc8ZPHvVRmctGI7huUUFXzGgU9NwPA5Y5PfA9AabTU7ryv8rfmTOd1C&#10;KWug0By2dpJjdWVjmMDBLMMLwcBFPzDI3cHnaZCUeUHjZtVlxkK+AGzx2OBwD2794xIx25eV40Yx&#10;n7oUY2sR64OT7cmpmdmEJQhfMwQxU84IPr6k+3FPljKXLF2ewlCKjKK6NNfJIk2BgoGGLR7MglVY&#10;4YseDkYUE8noD0xTMMwkU7Q+1gWVdpCkAYKk/pz9884xTgwOXjTbwxzEpXh9pAU9ydqnrj5cYyMl&#10;U3BsoRvztIU4O77zAcf7xz79qh6Jwe/Q0u3FNK2mvp/SLKqWGXfc8QAVthZMgEDB/PODgg8HnIux&#10;YkEKYXysgn5m3fM3OV/Hd9SeO9VgCpHlvhyMAyybugO4bsjIBDHBOME1NH58a4kKBo4cnahMiqdh&#10;yST83DckADAHXBNJxcm3LbZdhQfOklv1JxHjeuVEblgGDHdIOpyenJJ9fyojYtHG5VTGxCsqkoDt&#10;+btgjkjkY68Y7IH3OqOZJDsQAspZThQxA/PrjjFG5EDIAZZCqiP5QMArvBJ69sZPXbweQSrLm5ls&#10;/wDhja6dpW0X6DM7iEAWTy2CF/8AVtHnaWIGOhXPH19sMMYyyKyjCqdqjCuFzwCenoQOB9eKtKWO&#10;BkRkKFGANpLnDbj6YyeMEbeDnC1WdDiQ7C3ynZznfghiPbAfd+PaqSs+TyMqkOaUZtilCMIqCPy3&#10;EhR9y5XAYcjnnI/DvXlHxinkXwXdaapCHWr7T/D/AA3lrN9r1CONwevymNSrBfUdA2D6sYwVXGYn&#10;kXYURhlCQdpz2wBj0+uePHfjNJEmkeH4DNJDH/wmmmrP5YCjabuPJYdNoxtPYZBHAJq6cVKrThB7&#10;tL53Q6smoVb7pSfpZaFzxZ4ktvCHgfVfEtyqHTvDuhtNClziNbl44ysRwD3Yqm08ZYcgZNfEPhy8&#10;svA3wi8U/HnxdNbnxt43Z9T0qOV1ivbc3DSC1SIN88ixoqZc5VQ+CdzDPp37X82o6v8ADLS/DWki&#10;6RvFfiew8P6XbQs8zTKXBklMa454UlsYwOuTXwr+1Xqen+B9J8M+B2uZ9W1TT7KGW1FzdB4tJiES&#10;iBBGvyghcYAxtAOV6Y+qyLLqmN9xStKtU5NN+SKUp29W1d+R83muNpYRQ9or06VN1Xfbmb5YJ+lm&#10;7d2fEeuai73V9qd1Ixnvbh5mRmJnuDIxJLDsCSTk9c1xpea7kZWBjQH7gHQYz+P48816Ivg7UvKs&#10;rzWxM1/rMiNaWhQh5Y3ICtz03MwXp+PpgyadNHq01jJsVoLhoCkR3+YynBGRzwR16V+5YaVGmlSp&#10;PSKt5K1kfi2IhWqReIqX9581+9/Lz3sX9Lsk+yRKYnBddyLtO+YnhQcdunSvUtIF8NLjspJFupo2&#10;L20FrEFMLPs352jLHCLy2fqO+x4K8I2t6kF34g1VdO02GVIbm5aM3E6K235IEAwWOerHaOCTxXqX&#10;j/xn4b0vTV8K+C9Ig8O+Horhg1/d7bjxJqrRKFUzygnCPydqYH1KivLzDGwm/q8IuUm1fsvn3PTy&#10;7AT9msRUahBR36ye2i3367dzxi70DU4rBdXuLUpZ+exV725jW5lX+/5edwBwcHHsCe+Va2Y1mF9T&#10;vkl0nQLeXyZ9QMglNw+EzDbQ5BkYId2fuqGG5lyoOpc63banvjkvpRpFhbiTUCZ1W5uUHlqwUkfe&#10;c8KADtyTggGuM1fxHDrU8KW6x2kNuottN0y2J+yWkYyVVASSSSWZmOSzMWJJNXhVWkvfj73Tsl59&#10;/InFOnCKUJXtpJ92+i+T3PQP+FhLpOn22h+BdJg8NrcSH7Vr0dtFJ4y1De6YU6mR50SZAHl2hjX5&#10;mzuzVK/8P3Mt5Fb31zBFLYRCCWKV2lkt2UkvvDfMWYg5J7jnnrBo/wAP/FcqRXMnhTxKRJh4bmXQ&#10;rq2siCSVxO6LHg7TyG528Zr0lfh1q+lfZdS8cXZ0HTpz9ptdP8uY6hqCNwHDKh2LnPzEszFSAp+Z&#10;l6JwlBxbfd3ffsl/kcsKkZRUYq3kl083/mZ2i+HbfU30fQNK0y+13U9V1MCGxjgbbM+FjiBVcsU3&#10;Ow3dOMnFeg6n4PvINevF1XxTpWi2cVvHpKXCtNq8kCIFh8gW9okhXaV27ZGQhVyRziuWg8VWUt3B&#10;Bomp22laPpsB32WlxRx208yI8jNdySyZlDMSAJCxbccKOAW2WtadaKq6pHqGuARm3tNKt7gWVhEx&#10;HmZVwM4+cgqiEk5JJ/h4581ScdG+1/u2PS/2ZvlcrKyvZ97PV+vY7e10r4bWNrcJd6n4u1lLeeOO&#10;GSwitdE0N+S7l2kEs8ruoKqoeBUAyw5JGnoEes6lc6h/wgnhHxWjyibTrS5gjuGnSGZT8sV2kMax&#10;/dydjqzBwd5PJ5zw54f8Va47HR/CtuI7MtcDUL24mltrZzxt82RvKXaUbqmeQMnAx61P4G/aD8Q2&#10;c0/iLxLqul6bCos/tWt+KDokk0fkkRW9jb3EkT3B2FdqW6MqRLuJVcEZ1Yypy99ayT6pW2Mqc6Sn&#10;zU3ezvs5ea8tfzJfg7J41+HHxDe/1XSI9ftryzm0Lxv8P/FWrT6ho/jnRtRt/Kv9L1MZL+VLG5Ky&#10;RHzIWSOVGSSJWH0D8RP2dPhl8LNFsfjD4X1HW/Evwd8Ual9h8LS6tfC6n8DaizCT/hFvEm0KJNSj&#10;G+OGeUGK8hWOaJPNDhO407xL+yloGgafpXj34MfCcatJClz4n8cfAuw8XfCLxDqEcMEKk2Z/4SRd&#10;JMr+TI8k8mkMZXf5I0Gd/qnw/wD2iv2KfhlN4q0r4ceDv2nvFPg3x3ZJ4a+Jvw2+N/jTwn8Zfhz4&#10;00YsTvSzs/DujXMN7bSlZLSdrmeeIrIy3MJPz8U8Rhr+zp1Haz1UW9b9HsepQw+PqONWrTs3ayck&#10;lZa2avex8D61481W4uXi0G8vNEsJYlme30QS3l/KC6ZimnC4jU5J8tMkE4XZjjqvDsvxL1jSXbT7&#10;W48R2VzA2bbU/Dr38DLyN8l1cqqKwBBVkkLDzSTggivuLRfAvw9ufBOrfF34K+GP2OtQ8IWM6w+J&#10;vCvxd0Lx9ZePPhSpO2H+24YX1KzuLaYbDHqaKsTBD9oMMonz6V4b+J3xVh0mO48Mfsv/ALGPxU0H&#10;ULVZrAfCvSNN/aHsp3iiLSsdO0vX5NVjbZ5js1xaQHav3crzhOlgvZ81WMpS3urf8OdtOtjItpcs&#10;F0vfp8rHxf4a8R+IPAkkcnibwT408EXVmixzN4R1DUtNsHWQNtZILsXFqokEcn+ujMZaPA4zX0f4&#10;J/aK0rVLg6XqXjHx9pui71vNV0fxDaW02jXK4jErtYXK3Xhx2K713yaYiDzWYqchRzXjT4iWFpr8&#10;8nxC+HHwT+F3iwTAJ4ds/Bt54Ev3khdd6SwTvMsSnzGGy5VmIUDJC5XuJ/GvwdTTmu7/AOBo+xQS&#10;CFjonjzRdN8Sa+zIZBc2/lWok8v5QcynJ8xBtPOOWKhBSq80o9la/TyOiF6sPY1Yxk2111duiubc&#10;WieEfE94dU0jw78JdVmknY6dqvh/wLbfDHxJBJkSBvs2jXUeksxZjjybYgFD+7VQFr0fQ7H9nLQf&#10;EFhqXxJ8BfHfwHrkttdw66dH1W10/RNRnljEMMhgl0lpIIJiZC+03BZbgABeSfI7S6/Z+ks5NT0u&#10;2+OngK/uplk0t4/EdgP7PQMzKkNxHBlwvl5zNhi2Tv5VV+sPDya/q2l6Npng/wDaF8CfGXRNUt86&#10;h8Ovjx4Tv4G1R3KH7G2qrOwhnVSwEsVuvCKVckEVMKzlL2bqW6X7bPZ7+ZX1RSXPKlbe9v8AOO33&#10;HG67+zL8EfEV3ba54Du/EcumvqAvNS0jwB4907TvEt1YSoJYjYWmr+HoUSYhsl5mk3nBVAuAvn3i&#10;j4V+DvBUOu3+j+Lvih4Rt7NRF4R0741eEBfalfJJEzSrqOuadFa2KOxVQDbwHeFG0gg5+otR+E0F&#10;jZQ+ItOGl+Bby2gTydHs/Ew8aeHJ3kIwkE1orX9mgYBFF1bMoxl5EQNIvB+LfjHrvwgOl6p43vLn&#10;w+mv3b28fiebS5viJ8Op2yu1rm9tDJYoCBvKXEySMdymLerrXQ68mpqUU9elr2du5najDlk6ji3q&#10;k2+nS/Z7a9j5S0/WPFM93PIfF/7O3iZFheOH7N8QbW01J3LmQm6g1G5G12VyDkbW+XgHkuubrxvB&#10;ff25o37N+meN9OM8NrqNx4Q8ZeGr7w5e3KA4XMeo2pgEoTGLZ0LMCQWd+fuuHVvhj4j17+xvFHwd&#10;/ZN+I2sX9gutX8dn4C0OXxTqyPbSNHcR6bc6et/OQkQwLcyI7bDkjIr558Q237G3iDX7vwnZfAX9&#10;mZPFl3O9rc+HvFGpfE79k34q6ZcL5ZiSyvU1S10dI12uozYSqc7kBGA0qlSqx51Jp+ml/VXL566i&#10;3Omn5XWz+48p0T4k/EPwJr0/jbwZ8BP2iP2U/Eulzf2pZ+JvhJdeLjbJDI1uqQxa3bXF3PJEZCJG&#10;tpLqSJtwO0FDjtvEX/BQbSPiLZwaB+0v8KPhR428SXOowf2z8Z7n4UWPwi/aBudLZwt5DdTJD/wj&#10;2qXLRxyfZ7nUdH8xJSrPcOsYAxLf4a/ADwrqOoaB4w/Z+/bn+HepadYx3NtrXwT/AGhPC/7R3hjg&#10;spubvR9d8JaLqr2kmHYxwXcrLwgl5Br588WeLfAXhHTjP8Nv22rl4NRtfM1H4UftC/s7a/8ADG6u&#10;GUM8NuNStrzXNFn8lmKNHe/ZclSSkYZRXTD61Rk6lObcbW30ffpbsZurhsROMK9FPl621T6JWba3&#10;W+h7h4i0TxLpljd67+w3+1JYfGrwnquuw3v/AAzd8cPBsPwT/aN09raUXNiNO1SGS48K6s6ZFuk2&#10;lahYXsjuoS0w3y93r/xO0D9tPS72y8caBF8PP2ttNsRovi/wh8StHlsfDX7TtjaIy3GnXysPMt/F&#10;NgsbOl3G6teQxCaOSWZLmOT83/FHxFWDw8l74w/ZV+EmrWNzMtw/xV+CeuxeDfETmNuWkm8N3EVu&#10;zMzK2dU06SRlCnOw4PlB+PXw/n1eK3vJvH3hvR4IhdWeneIZF8UXvh29tnilt5rXVYBBcxzJJCJY&#10;5BCoSSNBg7yayjGbnzRp+9peydvW2q+4qnG1L2Fed0trtNryTsm/meheOfhvo/h+HXBZW/jLwTpf&#10;gXyYJrpoX8XeHLdLpi5tb8xFbq3a2mdiJ1DIY5nIRsYrv/gh+0/DpWqaf8Mvi14mvp/AGpaUdE8K&#10;fEvQbv8At2TwLcSSiW1kaF1ZjbxzbXaLK7QWAXqh+iYZNB+P/hu0+JfgfxBo9j8cdG0ddO8aWn2Z&#10;JfDHxo0YhImuL+wA8u53KzLeQgLLBJieFVR3CfnN8Xfg/baBq94fD1nL4U8RLaDVdZ8BXF4dS0p7&#10;WUkx32hXjfvJ7ccK1vMPOt2G3LKPl0jCnXTlUfvd9rsdGfsYug03C219lfp/wD6Y/aW+Cdlbpd/E&#10;7wxc6b4f8SaNeR6z4h0rS5/t/gfxFf3a+dFrXhi+AZIotUjK3K285EZk8+IOjlQfAPhj8SNN+HOq&#10;+PE8W+DE8S/DzxQlndeIfAd152iXsAuLmS3uZNLuHXzrLUtOmlS5gm6qYAjJLFI0cnXfs1fFeKzf&#10;XPhN8Sbq6m+GPivRJfDQ1S4lF5/whUl1ICsV5FnedMmnwzgBhBIRIMBpCeN+JOkal4VHjP4Z/EUX&#10;+taf4VWDxD4e8SWRa68X2tjFdWirDFeNxd2QWS3nRZc7o4CqyRs5I6ISgoqP2nf5dzCVPkq89rwv&#10;16rR9Otz3LW/Di6N8Mv2bfHngC407xB4bg+Ner3d3JFNCZtSgWXwuqzT2MbFoJlgguBPEpAt5M+U&#10;FVQI+i+H1kYPFPxYsZ7qSS103xNrev28q3DWsWIfDWo24jBLEqPtLW8e0j51JHzZIHJ/CjxBH4Y+&#10;F/gDwjcMmt/D34g/GHxG95relWjtceF9W0+z8BanoN6wdVaCSOdrhZedrJKV3uNteg6d4Ontviv8&#10;S/D2v2w0241Lw1quh6bcxOLezu7+ZSBMGwSSkkETKMc+Zt5FY4yfs523st/Pki9PuNsNGnGF5Xtd&#10;Lz+N3/M8w+M0VtfeLNE8RJcJqF/oVhN4hv1u4VxLZeIfD6SnZGAF8uG8vblcjgNGeSFFfHWl+Kr7&#10;w94kF28UF54Z8V20b6rpd+d1lqatFHvicg5Ei7VZXXDq4z1zX0ymqx/2tocuoI9x/ZFrNYaddzS7&#10;ZNTs/s815/ZU5PyMrJHcLHnG12IAPIrxjUtJ8N3V22jZm0uzur97XTr6W2b7FYh2327Bl3FDseMh&#10;gpVgQMDJrmoWm4zekf8APU75wqU4un23v3Oq8R/DW38M6NpV34e1m1v9E1LSrbx5BeOoOp2F5JeJ&#10;c6fZyRJ92X7IUBLHa6zMVIKkL7Z46Fqnifwv8TLoSP4d8WPB4J8UXxQXYjVdMQ2k8iB+r2d7bSHp&#10;xY4BO1s+IXWu6no+h6hqN0Fk1L/hJUtHeJk1XTb3Sra0jtbERIC0bKhll+b5WHlRkYK5r6I8APp/&#10;iHw/r/gK/Z7LQ/FXh0XfhWe/njvHsL3R7i+tLYAgDGbdkTKqpMV2uBkVWIqptVH0a+7R/wDAIwsK&#10;lOCiu1vx1/4c+ctB0yXwv45l8PXrx20mmveafCXCypKFmljuIhjIzuXAzkcRnnk1z3inSo/D+oXM&#10;sqyhPEE+k6etucgB7K6a8dz82R8tpGS/OQwBIIAr1rxLor30Gga3cStDqmmzP4f8RJEfMlg1CwiE&#10;MczHPKXFqllID827O7g7hWl4l8NweL/As9zCwbVNJiRkdCzm3cPOd3TPzISARnnODghRx1MVOliI&#10;1W9Nn6HvxisRhVRcfd1a9T4y1hks9X8T28GLiz1y0lmsmcYQTWM4VSw5z8kkhBHqR3rRud2mtaX8&#10;Unm3GnG2YtjcfKuLMSLIFJ5CzIw69cE8ECvWf7L0OPwNJazW9vc+JNK0O9EswQ+fvjv7FklzyAZI&#10;LhuMkZSQ8cE87b+G7jU00TUomV7bULGe0nuJB/o9rFCGtnklB5Ai2xuMD/lomODXbDEQT5Fsuvy/&#10;yOV0KlKbr2V3dpdru/5s0fA2lPqnhrw3dPLDp7nyE1W/u5CLS3ia6aWSVhyzMTEQiRqzMWVeTX2L&#10;pdlovxA1zxr4u8f3N/o37LnwQg0/xL8VItFuzZal45vrhHtdH8K282G87W9caGa1gx5gsbKG8n/d&#10;RQ3U1fP/AIQ8N6p49tfhx8N/AenPrfiPxpPBomiac0iWc0l79rytxeSE7YIY0SWV5pWCQxWzzOyo&#10;kj16V8YvFHhLUrlP2e/hFq1v4g+FfwdgutKuvFenwslj8aPHOqWi2uu+LlPDtYwC2ltNIWQrss41&#10;k2tJczSuqUuacsbPdN8kX8vff+Hp/et2ZNedSVKGBhJXajKpLstfdT/mn16qN2c38QPHd18UNY8V&#10;ftAfE94E8T+IR9g8MeFfDsR0rQ/B9jFbW1jo+h6PZqcQWOkafbW1tCqlnkcrJI8rmaQ+O3ZuG0rU&#10;NZ8Q3s9tqmreZNfRxt++tVmcvKNv/PU+YFCjoB6kEWtR1G58Yap4eeJ4rHTdFhW2hguCUt9LiiiV&#10;DOqYO55G2beCQpJHUE8Z8Qb6VZYrO2neW3gV9Qt2hTdcyZ3wqzY6bmDSbWAxlcnHCpylUXrp8r7v&#10;ze7OCpRi1T59Ixs3bS+yUV2SsrI5bUrzW9R8UWv9jG4so9ItRb6VaRHb5b7ds0xKjO4lgCQCewBJ&#10;5+tfDVlB8PvDMuk2MUlre6tZGHVLu8lSfUJpWijeaJWjzhPMBDKcnKbNzBSB4v4N0O58NXs2t6lH&#10;nU4ryTTdDs7giX7bfGMF7xnBw8FnFKzArgNK6+hA9evvCs9zoL+JPE2syeH/AAgkE11HLdxvc6xq&#10;dlakvLNa2ww5F1JIqGaRkiPmH5m+Zayry5YfV6bstLvy/U6sM3PEe1neStZR87LW3Sx5f4n8Rxap&#10;PHbXTx2um2qtfa7PMg8iKIOHgj28k/LGJirDndEoHasPw78PfiDfeH9T8RWnhbXr6yutPfxNrutG&#10;xey0jTbfBNnayXjhYUe5cKqKXy21Qo5Irrr/AFSK1t9DstG02TRJbqP/AIWN4v167H9oeIxEkUU0&#10;cBkdTFCJJDDHBHEgwbyMF327h414y1rW/GurStqmozQW1kq3/iXXtTuWuIdNSNypjUu3LEgxoEI3&#10;GJcgbeNcMoO9OnG/d+nX79vIjGTcIL2skr6vrrsl2v1f/AOj134ZeNPEN42iR/8ACKadovhi1ii1&#10;jUF8ZaPf28F3cOZ7y5vWhu5GRgWePfKFDLZgINu2vX9H8CazoVrZaN8ONPGupeSJbeJPEvhvVbC/&#10;1i8sxbiR1CJM0kNuXlXfEgMuFZZguSgn+D/wi+I3jbw/a3nhTwc+jfCJM6hd+M/FN9D4V8HaxMZF&#10;WKe71a6eOG5mQQMFgs/OdN+xYWbFe+fD/wAB/BjwFB4m8TXmrP8AHTVLO+k1O1tfD1le+CfAVreQ&#10;3AVIre6mCalqRWOGOQssNgi7bjAkRfNO9bE04WjVso2vbXmb+X6meHwacuenectEtPdjp3el/O55&#10;vL4L8c6LpR+Gfwl8G614m8eatDFCyWdm+LUzOis9/dSFYra0hc7pLm8eGEGOQl2xGR30Pgj4Lfs6&#10;eCJvAvxJ8Y6z8RfG/ii1ie5+H/wHvbOdpLsTebdy6z4wukayttzzOQNJt9RfdC0LPbEq4ueHv2k/&#10;iH4ivvG2tSXOm6B+zz4Pkfw9qPws8LaHFY/DrVLi5hnUtJYsXlvLlVuUtYZ7+S5uikk375ipLcfF&#10;4FsPiJqlr8SvibqEvwMvvFVzBaaXosV7BqfiXxLEBMtmuh2N5Kiab5gl4n1OQWwlMTBsJITyfWIW&#10;5HaN7Nye/wDdiu3fZnaqbpuWIk+aV3GMYaW/mk+rt30XZ2KOh/FX4ofEXwb4r+EXwa+F2hfDTwRq&#10;10uqax8OfhHPc6Do3iS3tYL37PN4y8U3lxNqGrWsck13e3V3rd3NClvpcRCxRggdP8LfHvwz/ZF8&#10;Py33w0l8MfGj9p66D6v43+L+vaI2ofCr4RwiWGUadotldANqt4zRhXluE+zHG0IxKs3h/jP4laze&#10;w3nwo+F3gu4+EfgG3eHQNW8MyXbS67rV3ZxSzIfEGruoa7uoreBSq4itIIrbzEtw5klelYeH7Cw0&#10;mGLObS2aO7t44V8sancyncLpiQWCgblto3Id8mZlUFVqp1J2kk3Dnst/fa069F1sccIUZOnRglLk&#10;1aXwJ+fSUlf5Puc/8RPiX8Tvix431rxx8RfE/ij4hfEzxMsmt+JPFXi2/a+vo0Vd8jySH5YisYA8&#10;uMR29pEscUKRqEQYdn4d0y18Jxax4tnewt7t2vNL8MWTOnijxvO5dI4Ld9uLaAlV8+66xRYjiHmE&#10;+X2EV14T0bT/ABFb6pdPq14+dMTQ9Oby5fGGrPmSGyuLoMPK0nTQWuLqRdzXlxHFEo8tXJ4vW9Y1&#10;3XZpPFWu363uu3dglibyRFjttF0+2xaW9paQgLHAjbGiiRAo2jOOXailKjSglRX9X/Hv/wAE56kM&#10;TiKzWIfuPTztZW/X5O3Q4jVPEFxm81TUobONrey+waXp1hELfTtJiT5YrWzhUYjiXAGQNzAEszbi&#10;B4xbaVf6/eXWq3JmuN10lpbhFLl5HZVXBP8ACoZc+u049K7/AFeYjw8dWuVY6h4hdtP0S1jUZeAK&#10;qXNwfmyoPyRIQAWy5BG012ngm98P+En0HxFrkcV1pXhgLqkHh6RjHL4jv1xcRrLjJWDcsSHodjMQ&#10;2enZSqOi51JL331I+qPFVI07Wpr5abFKY+F/hv4bm8NXUOp3/jfULNYW8qdbLTvD0Eke0lgd0kk7&#10;KzuqgoFYoX8zJSun+FPgODV7+31rxVL9j8K+H9IuPE2s3VzMY7ewsrfErRpk4aWYoIlwDuaRRg4G&#10;OZ0DwhrHjC/uPHPihrm81PxDrU8rXBG9r25cvczHZy2xS5LDI7DdXo2q6df+P/EXhn4T+CL68Fne&#10;JAfEN7JI7WVsyr5kqZCDMFnEzM+FGZPM5Oc1jOrZqKd5vd9I+fovzOqhhaTk6843oQ0iusui+/8A&#10;A7Xw0snxC12y+Jeq6RbjSY76Tw38MvCW6S10eztYBLcTXd8ysHEMKv507JtaaSURjy9ykWvinJ/Y&#10;Wm+HPBWlXd5da1rNr9t8WSwMlu8JutxXTI1j4E2wtNcBcfvLiKFVAhIf6M0fTtJ8MaV4jtYrHT1t&#10;vC+g6bpnhTSGjaaV4FZ5rC3kJk2+bqE19BfT+Y2FTT1RwoLKfki6uIdW8QWPiXxFHc/2ZpYf7bBC&#10;rrNrUhQTpbxk4CtdMd742ssWcK5Az57qxqVlTh8EbPzfb5vf1Z9JUw88PSeMm7VZ6fKy0XZK9ku2&#10;pJrUGl+GDa+JtXih1fU/7JsrPwT4NuohJY2iRHesc0TE/wCiW7t/qsZuHQ5CqzpXj9lHe6v4qk13&#10;V57XWJhqU+u+K9S8QxO1jB5L7POvgrKZPMaPZFbqQCERAVQ5r0XxSl/HdWf206a3jjXo5ry7vnUw&#10;6L4JtFVctFCpIXyhISoZmJMKDk7s9D4S8N+HvDHgNPiJ4msvt+gRytqXw88Mal88/jO4t52t49X1&#10;KLI3QSXKCKGEqxk8ghV+YNXX7aXslOTs/Lvt8/1PCnhJTrSp0lo0t+ysr2ey8unzOO8d+K7yLRba&#10;XWtPfSbW+C3/AIa8IXdqbbVPFjuy41vWwu391tVWhtFRIiqoqpsG2ub8OeDdQ0+1TxZ40tPtLanf&#10;Nqek6JdgW93r0w2Kbm7GC3kRfIMEEAuFVS7AV754Z8JTjWW+KfxV0648cfEHxVqyzaB4SW6iLXsx&#10;fYkUgZl8mJGILSfKkSQyHIXkaXiOfTtJkk8V66x1dY3ktp9Vij26H4gvYsrHpmjuD81pa7mSSeMA&#10;EyYjwS0iYutGjD2cd+r+7Rd33Zt9UrVZKdVKNtIrvZ/FbovLd7nhHivUNTh06SyfVp1l1yX7frNv&#10;BmH7e8YcQwkD92IrfMuI4yY4t2NzSl2bAt9La7NjYWjKJpT5stxPmG0sh8ouLljkhjgIGkIyD8qA&#10;EKR1NkLHWn1Lx/4sumNvFcfZtM0yOMj+05I1Xy7aIIAkFrChIwCCdvAGNx3dOsLeS8ur3xklzoj6&#10;zFFd6D4fsYguq6yrDfbGDTgUkNrBGUddzJGSyl22jcHTk4Llt71rv/LzsUqbqNzqfDqlra70u/LX&#10;YxNJsvByyawrSW93Lsi0zQrjUrgQX2sXIGHvFt+CtuiFwqdWZkLEAYrkdV1m08N3ES20kLPcwSxL&#10;qdyWsiWXMckpChpNiyLIquAobbwRtG30+91W/wBA0PWobSw03wJFrqQxXes6xa2+rfEHVkbcWWG7&#10;ZX+xxsVbFva4JEqbnYLkZfhDTPCvgDSB8QPFNjaX3im9WTVPBXh3WoI9UsdBtGk2J4h1qJ2JuJmE&#10;edP0+Q4kZVuJkaBYo7jopKnK/t7qPXu32RFeNWi1ChFc7vbta+7flHX/AIJ1Xg3wX4V+HGixfEX4&#10;0RnVte1GBdY8IfCm/E0Bv7af95Z6v4lZXWW3tLhT5ltpkbC5uoz5sxt4DELrjfiL8RNe8c3j+K/i&#10;Bqt01vqIRvD3hyyt4tGuLqxhSOC3SC1hURabpcMcaRW8MagsA/kp/rZDa8Sf2mLS08b+Pzf3+s+I&#10;iPEvhvw1rxe/v9fN25Ka7rgfDTrMfmggfH2gsrMBAoDu8MfCvxd4yuofGes2oB1GabVXGpSp512l&#10;uFMlxelQBFGflHO0bQAigAAZVHCvJ1KsrQT0XReXmyaNKcPcpe9N/a6u+9u0bnh82oa1rPnQaZai&#10;w09gbQxzzCw0a0U5ba8jN04TKJuZmBZmJ5roW+H+qx24guZrVN1r9rtNW1G3/s/TwABue0tJAssw&#10;+YBXVSGY4Ga+kofBGiaGLHUIbrTbi8uYH+x3mvBFh8+KZhcy6dYqWJji3BFeVACd5AyARr3cvwq8&#10;L2o1z4mfaFuZHMdjbRWM11rWpx+YEFzKksomRJGJ+VUREjGSAW2iFiYWTpRuvTU6KeXVZ39vKzWn&#10;Zet+h8qWvguxmt4oE0+a9ug7zR628czpMgdEUpHLItvCq7GIZY2kLuoJxwOvtfCek+ZFYy33iee5&#10;nlWKOaLXNP05Z3IKKsNu1uZJVJHVQcHq4GBW1rmo694hljk8K/D/AMR2+hqpltb/AFiH/hGLaSEy&#10;5Ega4CRunKKpBIBLFdxLA85HpusXfmTS32h6fG6myS20izbUZ5ywEbO95M4QthSVkQuoEYUBdvGk&#10;K1bl5qqsntf+rowhhcPBOEJNtbpbLzTO0uPDXwxtYbiKDxD43gvbe323d1qniXSL+zsZ/P2v9njS&#10;wHnKIkbBLjDt3UDfoaB4R+DmqwO+s/HD4g6XqBQDFz8P7fWdEMzsD5bTx3EL7Aoc7kiLkggBhg15&#10;DqGkXlvJHHFHdTBdqRtqE8cA3kkMkUAcSSkkn5Y0ZgTnAAzXWaB4dm1C2DfbtGtDZjE94uiRXphO&#10;1wfKS5mhLOcAY3LwGI44Nf7TBXjJLRa2X4mc6VBe5KEvW7v5HrcXhQeK5YbAftJeAtR0vTR9otof&#10;F/w41vToIFXALPOxnVDztwAd2MAbQSvpng34YeHG0y+1WTxB8APiLHqX2q11jw1YfF66+HaarE62&#10;wht5VVbWRIHkEMscVuWJa35TZt3eFW9prai1tPCP/CVeII4FEs1zpvhjTtI09GbZtAl8xwMM4+Z5&#10;CAWbp1Pqeg2XxDNva2eveP8AW9OkdzLFp4+Iej6he6aoVWL3NpBZ3rqNoDGMqpJGCpI5wdWtyxfN&#10;HT5N6+p0Sw+Hsn78pO3S6/JaHqd78H7HwtZW2t3en+DPhXouqqn2J4vCvi34oeDdM3ksD/bdjbXQ&#10;OEKl2PnyBUIERbGMDwlbfG3xRpQ1P4b+MPgda6lFfm0g0fT/AIkaZ4N8RSRW5XZc3VtePZ3YjkbP&#10;llnZhtJJUlVrr/DnivQPAmrWuo+I/EfhPxhHYz7JvC/xi8JeGviR4Z1JC7xCKTRbjw75cqPgHy7m&#10;NhleSTXufin9oP8AY78YR+F7VPgL8EvhJFb6er+KtW+BH7OI+Fk97O0kqCFLfTvE1tBdblYSNcmy&#10;s2V2+WPy0UNdSvgJwcsQ/wB5skk2mm+6tqjL2OcRn+5jaju27KS7RSfT0Pkf4o/E/wDaIS+fw/8A&#10;F7w7c+M7zw1YOdQ1xryD4h2FjbXlvsEyaxZy3MBKLIxWQzs8LMD8jItHwV+NXwk8M6tp/jrxV+zz&#10;8J/2g9F0OKbTNU8L+KdZ1fwNqiRXSrFLq1n4n0O4ttVtru0iM2wiVoQJJAYHl8qSL668KfET4KaB&#10;4j0jUfhn4p+J/gaO3ukA8QappWpapo2mzb44454xdQZhZQWGZLyUDbu8wD7vrXjDwVZfGm21A+MB&#10;+zvq2seILe4Sf4kWElp4T+JHiK2ugIGzFZxz3V5DI4Yn7QAisj/vg5UNwUqmCpTU4PllfRrXz2et&#10;uiZ1ThjqydPEQU4tappptLXVxduvdHs3gnxR8LvjZpkw/Yz/AGwPEvwR8bWdjHc6l+yt+3vqtt48&#10;+FGq2zeYH0bw38UY4DqaQLK0EETeLLKZdiq1xfRfLI/E/tAJ4kt7UfCb9pn4YfFP9nP4jalH9q8M&#10;avo/iG18b/s++OUjmjZNVtoEW5S8tma4bdd+H7tliW5US7syQtwOl/s+6oPAMup/DjXYPB2g+FtM&#10;Sw1nUfHXw/1S70vU57KHzvM1PxRZaZd2tp5Cxpt/tV7C3XDSBtzbk1/CPx3+IfwBm13w/wDFqz8B&#10;+I/2RvFmoXOr658NfjF4Wi+Kn7MctwJ9lvqeg6gk8cGn308zPFHe6Xe2lx5zoWV8AD0aTq4i1VwU&#10;4tfFFWdvOOz+5Hh4jC4fBTcKNblndfu6kr2b25Z2TV9VrzeZ49Lp/j3wx4FT4U+PfG+o6J4a8Vxm&#10;y8B/EDw34rnHgrWXDkDQ9bZGWOawmcgQy3CF7OaT5ljWRwcT4aftJ/tM/Bu9g0nSvHWrfDs+Co5r&#10;Xw5fppMdubKJmdruK8u7aEzzxSNJMpYmdfLUoq7FwOrfxnovi3R9d1H4H6VpQ8N+IruZtX+BHxH8&#10;U2Wv22lxKpYpp+qzhIr6OMSMEmkC3GxgeSN9fPXgjx9pS+I9W+FfiWz1C1WfWI9c8NXkURbXtLuI&#10;gYIYDdE7yIE8vHLCZIVGSRuXyMVFSUpUNEuq05evqe/g3VjWVPENczV2n1ttrs36bo/RnQP+CiP7&#10;XWn+DdY13TtA0H4neCtSR9A8Sp4U82HQNR84q8v9oQ6dc2hbf5bpHFqWnXEDcjY+CB+e3jmD9h/4&#10;l+JYtdutQ+J/7CvxNu44IUi0P4VaR4o+AmoRwzSM0twNJSx1C1mfzi0l3Dp11u8vHl8V7hFfaJot&#10;7Lb+MPC3hO/1qWSYXuu23gq4W+msyAYbyz1fSnN5LHMrOGYRyYbjCkZMGp/Dn9lv4g6rpujeGv2h&#10;LrQdU1BXtToWtXmo+IPh7a3kq+WizHX9I0u4spCXJDRTXMXLEuAuK6cFXqwhL2tVpdpXcW79n+fQ&#10;87G4BVp+5RvPXWFoyWm11+VtSpL8GfjV4Mex+JXgS68KftP/AA4sk8u7+LvwM1bSvii8lpKrsLbx&#10;Z4Pic6wts8QKvJe6fEVEhy2a+QfiB8N/h38L/Emn/tJ/CzQZPGnwU1K5ay+M3wbl1K6m1v4WXF1n&#10;fPZamrfafsAklWW1nci5tJAsdwHVfMn9q8Wfst/FT4E+JIvGPwz+MXgvUNS0a7iW4j+Hur3OheML&#10;NmlRYZba2jBivBvkVne3lLEI7Dd8u/d0P9sPWJdYiuP2kfhtZ6r4uac6B4m8Qat4ZPg/4j+IIJUf&#10;zo9RvTEI9UimQPIrXsc4cgfvQpNdtPGVKNSdoqVN78uqWu6WtmvyPJrYOFWnTjGbjWW3OuVtWV03&#10;opJ/KxwPg74v6jYW+iz+HdR8V6Gmp30914P8dnxVdyW2r28igW1vewwmSF7iECSJpFiVnVsgnBzi&#10;eOPD3jDwje2vifxLBoWr+H9Y1IS3N1pGu2WoRJex4LQTWcLiaBikO7fJEokJbJLnn6u+E37Ov7O3&#10;xZ8Sa/4e8B/EDXZvhn4jjude0z4dxhtG8SfCbXDKtw8sVh5khuLCURyqbmxaV7Zyr+Xhio8u8deH&#10;PG2n6tdfBn42XV9ovjWzEV54B8bWunReI/D3xD02OTyIJnu4th8xB5atLEGdHOySEH7jeHwuIoJ0&#10;J3ffZp9NPP8AApVK9DEuNenZ9raS76+X47lvQP2hP2N/HkOl/C/4veGNY8CadcQrJY+MJZtS8baT&#10;o4lDb1+zJP8AaIoVYg+ZCrOpj/iG5W47XPgV8Lre+fWvgD8YPDkcsesSjTbr7dda9oGrQR7BmRJF&#10;j1GEOSdoubdiQ+CMKxr5qfwz4M8Pa14l+Cfxd+Hdn4m1G51SPXPAnjS1vrrR/FGgoIwJl0m/hByk&#10;qukhjlWSJgrHa27jzn/hl74yX+oanqvwk16S/wBBtENxHLDrdt/bZTDmM+VAwMxITDNFGu0gEoor&#10;roYevOly06yk1upry6O+xw4rF4SNWNV0HFWXK6b6ecbbrZnWfF74Ma94TsNU1vUPCMuizXmoHyvF&#10;fhfVYNa8E6ujMuC8Ubs9vvG8kNhlZtpUHFcz+z38e5tBjl+HniW43+G9RkMtvFPKI49PuApKzwOx&#10;HlufmGRw/wB1gRiqPgD9pD43fBjUbjw98TvDEnifw3dL9m1TTfEGnfbbC6gbICzfKRsJ6iVcHBB5&#10;HGX8SPBvwg8fQX/jP4Iu3hW/W3S71DwE82IoZncsy24LblwGbG3g+g6nHGYGNeHsMauSelpbxfz7&#10;eprhcZLDS+t4B+1ov4k/dkrP+V/mj9B7K+juEKsYpvMQTQXMEpW21C3cEK65HO4E7k6jkHPJq1ku&#10;xbzCjHeQWbDH585Xk5JySc4+8BXwf+zd8X7i2vL34e+MhLEwYPpV5fkpcaPPGQpibP8Ayzf5hhgR&#10;nkFcA19yx3UVxaNcB2aOZjLjBUZIyTkZHO0KMHt+I/MM0y2tl2KlTl6/16n3uBxuHx1OFej7yf39&#10;NH5kYG+4d9rKyLtVi5dl3BWQcHgcAgjK9QT1FXgdxUb+VdIzuQB9pbDEH04J9x9BVe3TcHkkLZnz&#10;L8i7FBzgDaMcDcRjBHXseLijBUEgN5hKoXKhMgY4x/ECM+wX1xXmVGvdfU7IJ35EvUsxFZIVJDhZ&#10;CsRG7aflbAU8gc7enIO3JyeakhQK5yqIiSASARnDfeHrgkEH2wBx0NVLcFFWMO0gRijFcgNngqR/&#10;FuUirWGLrtj6D5A5LO4bBUcEdcnnnt+NRUZSaTaXchPlXtfK3zL8aMQ0rFCxYKAD0JGFITtg859T&#10;9avh8FyMKG3BiH3AD+DrgHnHHbb2zmsvOAgKfMxLAlsFVLE4BwfbgYzgYrTjcoqykPnarRl2ChTv&#10;yxbvjD/qMYrJqcZOMdX3NZTc2u7L8MjKpcKsYY7VD4YgnIzj0GCD+vetBCCjSMERygUR9Iz/AKzI&#10;AIwc7gSP9jrzkZ0cjxmQxl8bJIWVVIBBD5Hc9yCO4bnir1ufLCRtgxtN8iKo2qucED64bB74pPnb&#10;+759xynJRdNrdL8P8zWiYR4ZnILnaCGyVyykFlz22g57nFalqWOGLcysgIZFjVQpVslcbuPlxu7O&#10;Rzk1jxq7CPc5Xy0UHdGwc8kgnJ+pHJ429RWnbMx8kAZDM7xnbgDAJyzAnqFbgjHOealRsvek7/1/&#10;kOV4txivQ04pFRVfzJG3BFYKpJcA9dpGBwQOMNwT0wBdVCjN8pIUl3R23Yxh8HHHGB9W9c5GcJC+&#10;RHuII4xwFXkg4x07fh+NXUkfZuVwFLEPgFigwEG0H6g4yPcYpSTloviNaU7+7FbP9LFrDK77lUlh&#10;uf8AhMHT5SRznOOMcccmo2eNjGchVCFiwxuRTuAyFBUnnrz1H0ETzMEuPNDOWyRIG3b1AXdkY2hu&#10;/A9fwkDAMyPkKCYgrt5jsOGw2Pzz69hwA7LkcGtXv8yJK7UEx0rr5aqyJvVmDFZC4j2nAOR2IAPb&#10;hgDgnFUC5SQu65CspUEbQhTbkE8HB2tk5I61JJJlS2SVjcJGQu7ZuyO3GMADI7AkDIxVaWUs+wLk&#10;riNXSQNC7ZwOewJA9ue+aIRSlFPYbhUjPXd6fkRsyOwaQAKr7XfiVk7qq9ThQo6cdPUVkTSShSjB&#10;GfkurKdrYJ3lh15LAgnqG7AVaL/KySwP5bFHcpIYVwRn5SegImBAOf4ffOPMxG4M7EuzOXOCZfLJ&#10;IPvySBjoQenOBQlJ8i1sZuadtdepWcqql5JQTtG5WQnAxjAOeSFHp9egJy5pFlA8tN+NqqHZ1ljC&#10;gghVHruUndjoMHPFXZZHCCSPDuEJWR5txjKevPOAeABn5MAEjnLckMMSLHjlYVBLFduCd3++UXnp&#10;uzxWqm5NxitgcJczcFo9/kVJQ+FV2dSYxKCCJAg3DKlc+5xnoF9gDSkTHmeZgF0AjcSFniBKSBhu&#10;yM4B68fMePS28kqiYNuMajewKtIWAX7pUd8ZAPr+NMaTziG2lgxYyAMWbgFsE+vzE960fPzbXI5I&#10;SjzS0f8AX5me33zjerEBtp+deuclhwQSQcEenPQVDs3sclSxZGZS5DlQWB69CCeQPQYrRIXCjzGe&#10;NSpbJXcANpK4zj5tiqQPTOOOIvLeRZPm/eNhdzjnCgKPoAFUDofkA6cGm7P2jjq2RCE205avv92h&#10;UEaFUA27WXcjPyrDA2leedyhec9eOatRxbgkRESRryGKLkbQCDgEtjBUc++B1qVUclERWPlgR7s4&#10;C8A8gHBHydMc7s/S+1rJCyZZwOfN+bBjIBOP+AgFuecY98UqkUrwV/8AMUV76TfT+kVUjCDe26Ei&#10;MLtHUEgNt7cDdz7N061dht3G9WI28AEAEsO7dfXOeAOOgzgTPBLOwkCLGQ4GARkjLDG3PONrcMO/&#10;AIIzfjzuMmVLyYG5gGKndwuccbcsvHqRkgCspOXIubW+n5BCKjNtrRP8XqRRLDuLKCyRfvFG3cOQ&#10;BjPUjqeP7pHOasx/MVxGUcESLwY2G0HGTweSpxnuwORuzVlIw0ipG4I8wNIzHykkZVYhdoPI+Qr7&#10;FxnGebscLh+mVDB5S5Xavf8ADhh1GQWHfpDag3FfiauXNJ33/DoV0jG1Llo1jCpgqUIZGwFBA6cZ&#10;YnHAxV6Irgxou5o8szc8KwBGACOflHf8O9II9sW2UxylVwu5wAdxO07vXkHA67ge1X443JeXB+VF&#10;Drk5XaxAXnA6KOh6A/UppNPm1HGVpSpRd1+LsrCQo26QqI+GVkRDgqGKkZ/XHY8dOTV1eVQggMRh&#10;duN6cHaQwznhskfmM4FRRRyAKVViQVkA3NvU+YRhjzzuKeh+706VcAEchZty4XC7gQqjIJ6f7LZ5&#10;9vrVTtyc9PRMKcpUmo9fw3/4BJ5aDJwk0ZbdlsMp5wg57kAAE/wjtzi2kYiZXkTDGIkOVysh3Y3A&#10;9/uMP+BDrg4b5McqSI25YcrKWdvKncHAKkdAT0yPUfQSSNG+TMpPz70ZTk4JKjBHqcnBPftXPTV0&#10;r7f1+ooRpxkrrTXz7fgPVEJclUVU3BwCxLMp4+YjHGNvJ5JH1CqG2lWWHCqYwQdjYUFFB9SQAuOa&#10;YGyFXd5UhYwymMnDMAxODnoeRg8AqoxzT5M5LbZPlfC+W+E+6MHb0xksOPf2xtGcr3luXColFKLv&#10;/X9fcMLPtBLZYukoOwN1Yr82T1BDDoOO3WoiAqsyHbECWADFwu48ex4XoeRtGOxqdHIILRk/LtLc&#10;B1JJLYznux47Y6EYw1GUNl3MhP3OyZHQf72ApPv060nteP8AXkRZvbW92/xuRSxSKrhgHk8xogSF&#10;cSKSSucdQcEEcn0JFPGMxqynBYkFTwxyfu/XIH48460zILEbwzCQIMAoM8k5454x9Sw9KZseMhwW&#10;DHLpIZizLjhcHPHQfn9aqUk7QS0exopu7VNe7tftsSghwNyLlkJ+cgBQdpznvg8cnqpHPUhYhjtA&#10;Bb5vuncWUAkg468r6YLDOKQeX+8CE5JAjCSfMOF3E8HJ4ZvpkH1p8bSyMDtUl2DSCPlvmZUKAgf7&#10;R5HqKiMVKbujNpXvFddRgDKUVjFGfNIIDblYKCRj5cDICnnHc5zjLXUsrsGwnDfIpLufmJUD+9gI&#10;Ae24+mDIGfbEsjmRoURnwSfMAJCkcHI+YnHB+fBA6VVZ9wIAURxRqgiCkbCqEcYGMLtbB+6RgAEk&#10;CqspST6KxoklONreZMiI5IDlt8Y3ICGDEkkHpnOc4wf5imFWOGUFYwQI2UnJ3bSD2GcYPXke/UWR&#10;nlcsUjJC7SBskLgEKSSdo5O4jOOnDYppJWJjsDymIrt+4wzhTg8Z29sY6cdTRy2vZ6afK5FP2afv&#10;xsnf8wPyyRb2cEMWCsm9yoYg/OeDgYXdknO4k9QUvJFjQljHLvj2hMgiXP8ACevB2nJ4Jyc8Yp/y&#10;/u5ZVKsG3MoUleACQOORz05HzdaYwM5COx2bEdC7sCiY8vPIwMdSOhCjkEiqXMnddP6/E2jK8G6e&#10;7/IaxIRnEqIrD5iGKxqoPHPTJ3Htz+tRZVI2KsAW++3mkogxuAAJJOCcdece1WPlkyz7xE4MhIAR&#10;olyWyQTx+PIwQcgVGsIV33AMCN0iSMN+7bIGAJ+UEpsKjjk5GcjBdLR9H+hjGbhNu93+G5DDnzlK&#10;KJQ/BYOwI+62TzkH5gMc9R0PNNEkrx5KoOm0KcEDJJ46knPX1HXvVhi7BtjZaSQDIIYEopUEZ7nY&#10;SQuMnsABioqv5QDMqxsfMVclY8M6rtHTBXG7HI4A96ItSXMhOCtystxrZBAHhnZsnLRsNh5Ppxn1&#10;x3zRUaWU7qGQAqehVyV69uRRWf1alL3rb+RPPV6W/q3kTLLKZE+cgxxMWc7QzMDg5GOCCOehyCMD&#10;inbvMDSD5mkCq2GyvJG4Lx35/KmGRSYlCq6KGB3FlX5WIBPAzkD6jJ47U8uFk2uVWRgrMisSExyM&#10;HqfYZ/wrJ04wg0tdS1Go3yL4f8x7LGgWUPtDMVidQI1HLcCQA5YAnoOQRkjGajYKm2NtyLudSRFj&#10;JBOB6AZx1wOacCz7hhGUuGG4hCfmY4C98bmY4wSAfTIYU2hmKBmdlJITJU8c4zkYxn5jxkj2qY35&#10;HCW7tuOHv25HaxMQu141EeTEu0HKghVOMD1wVJHUBQfeoFwcrhBjJJyd+MAkcnvhDnB+5ilZy6oV&#10;USAgK+RulfGQMj6soyD0XP1czZEsrnd53yhQu52UYZtnHU/KQe+CMkE1coycmt/+A0VJxqO8Vcao&#10;klUYysRdjGowhOCFy3Q4HPfnvggmpZSXADuCGyWIOOxXcc/d4wcY67sU0sIlwxVyrqYkUh5OQVA6&#10;85MbYPTcT2Iw8RSAZdELR5UbFwgOwMScncQckevt3qZXk1KWy/4AU+VRcXqRIryKZZCyovzBnIXe&#10;D9/OMnk8+2Mcg5pxUlX2qwXzBG7LkOinH3eccnjrz+VSNJ/q1ysald7gYIJYE4454Y8Y9R6kU+OR&#10;jky7Q3mscENiLjONu7B4A4wTlm69TDmoNSkuu34lJRTUdbW1K8aSHY3l5UASgMO5G1RjHAwGI4Ay&#10;w6ZFNMQ8vY7kYl3btgCgKASSeCcMWA+vQZzTQXfzAWIwgUpJk4OFAI4A45GRj1GAKnc8eR8qvJGQ&#10;NzENyPmxnkngg9jhqbfvLk0Wt/TQhSakof1/w2pJ5r7SM/JJ82cBWA64XPII+nQd6YrFlKbIgUdP&#10;mIAUnc4YcHA+UNgE87OoycPMfyfuwj4BCqBlQMkqwbp8pxjPXgU4QjynDZV94mdi24r8u3JGcjIG&#10;AATg5PGSalcqgovzKhSlLZ2/roIy7hu2KHIAKlsFCVJwTjgEb8cckjp1p0TBC7MSwLDfIyu5DMCW&#10;w3UEkevaoyd7kDBkwzuUXO3DhsnAx/EW4x97nrmnj50cMiBQFYFgN6kcFQe3f06A9hVTSjdLb/hk&#10;VFNvV6L89BsLuFw5VMICzIwKJyE6Hk8kEfKDjPYNhxVzvUHazgbWJIUsMAlSO/JJHfBpgZ3kjJ2x&#10;bG3RxZVjg4AyTngE8YP88GwrqMIAoXccA7hgqGbnIB6BsAdBVqyV1u/0sQ06k4u9ml/wwBg44YKR&#10;8qsSVfGNzYOR90DjnPGMccjIqNKseR5a4IL5JJCkgEfLwcDHPAPTNIwGWSNyCo8oExKkKBUwd2cH&#10;C4Y8YzjqTjLBl4+Dt2xYGJDvDEDnPXjnnPU/mKfKubo+5rK/KpN6p/iyQDhGlDYdwGUJsADYIO7k&#10;EncQSMj5ePcjlOGx8gxlW27PM5HyseSDzxx9cdKYwMr7N0eCfM8pjsG8gEtgc9S3Ixjn1p0Z6oBs&#10;VQ3TLMc8ZUnt8oPOe/aolZ+8o/1/WhmpQvzL0/Fa+hPmT5QCPLAVsomOSV2nIPA6j60R7Sm/yht2&#10;cYHzNg7iDxzgsuCc9Og7NQB12+Wvlicuj7TLtdQMHoepP8Pv65pRtc7VcoxjZM79pUZwc/TOeR1A&#10;znFTG/LZL1LUfaKzezX4bFMqPm++WHCvH8sed2E6/wAR3ICTjpgc06NWQhmOPnBQH5iQoJLE5J46&#10;kKDx781cXZu3lYV3EzSKoyFYKCxUdCNzHnH8R4FOPzphIwEBO1Vw8eNxUKO2CB6D71U5OKStdp/g&#10;JRSj72n/AAbfoVY1LgM6+UpO2OEKSQQD8uTyOwIOfv8ABq9DAd205mfBLK4Duv3QFC5HJyB/wLGO&#10;oCRpt3uUzu/cxSH77jALAEnnGxM56bV6VLtjDLtUk+aAqgIyjOfmHGO2MfTrjNZcrU7u/wDkbR5r&#10;pJ6f1p8x0kBkyFRQqpkgkJJJiPAwOnPPXuTzkVIqPudY1dUSFlEwQ+YTyoIH64Prz2piZCiNlWQn&#10;K5PEjDPHzE5J7dgTj8bAkmQfMVKGMnCKQGYnJPPfJH4Grbbil0vp/XyM3Hlg5R3/AMxWaTLyCNTG&#10;AzbFXe65UycZzngEjOS3GMlsU4lvLbBQRkFvkBPmY64x3OO+Og5NQl9qYVEHOBhwRtJ5Y8Z9SQMn&#10;nv0qY7WjBCCWQuAFIbcwIKMMDJzkqcdR6jrUqE2rT2uhe/zOSe5WT5Vw0jBmYBHPPmkH5ieMcADj&#10;3NTb2DfMBHvGQQuFXBPP5bfrtpBGzRbcBwQNgHyeYcrzkHpx265I5GKIVd1ZmVwytsEk8m4ElhuY&#10;BSRkLuIDYJzjg8HR8ri5NdkNKbVld9f68iTDOrPggYVihJAyeFOPrg89QR0J2jwn4xr9v08Qx7Nm&#10;l39nqc5c+WrCG8t5nWIZALOEZSOQBIxIPWvcHXAViqMJArjPBDAKVOcjpt4H054rlNTsIdbttdha&#10;NAs4mt0bZ5kqjysgYOMkhl44+925wUFyVIz/AJWmTKM1GUY/FLR/dqfBn7ZvxNuPA1z8IGDJHpsN&#10;5Prt7CIVElyYoAsAaQD7hLD5RwQOcg8/kn4j8Tar8QPF2peP/ESve2b6yrtEqkRyLkssAx22Lt49&#10;K+pP24vipYeM/EfhbwJpkaTT+C9OGm6neHCs9w4iDIOmEXYMepds4zhflfwbY6bY38VprOoXFxpt&#10;vc+fqtno9vJdEQry48zhQSABuGQA2c8Yr9s4Py+lQyiGZVYpVXzOLej5W916q1vKx+TcX46dXMnl&#10;MJfu+Wnzpd0r8rfk27ro/Q6fxX8RL7xbaXFwmnxafc70e8uUXDWsMcfl29pbg/djXAPy8knJ9K5v&#10;RNMeJIZ5LW5uNRvH+VbeN7q5w2SAFC5yRn3/ABrc8ReLtH1fV55tG8L2Wl6f53+h20gM3I4QFOI/&#10;lX0TGRX0roXg8aB8JY/iBqcYj1Z7+G/068nfZFbRwtMV8q3+6cuq4dh/ARjg17FbEUctwiqcluZr&#10;S+rvbQ8ONHEZlj1h6cotpPZe77vX5LQ8kvdA8STaNa32r6xpXhPSFJOlWGozPNqN0QwAZbeJGMaE&#10;/wATkE/NgHBFcPPpdtqd8sF/q1/qclrGbi6ktoxa2lspYhgJn3Y5brtxz+XUa7PqOuPF4p8StJ/Y&#10;ciPa6UsVwsb3QRSdypxhdzHJweRgHrXmL6nO6TxQB44b1lSVQTukAYMqkenA4HpRhPauLaSU38+W&#10;/d9WkPExpUVCLqScdu1+rsuivsOnm0sFLLTdDgnjaZme91GSS4un2nanClUIzu4Knr2zXrPhvxTr&#10;/hrQdQuvD8zaPq6BYru60uyjtL+C1lDK4gkjQFSc/M+dx3cHAbd50I4LRIpFcmR4wqIFD3DYAOAR&#10;0BJHI9+a67w9omq3EMOr3X2hLaQvFaW0IEP2nkho0z98EMdxweoBIyorvqK8LX9XtfyOJSpQqLS7&#10;b0W+mh6h4Z+I/wASJWuNafxj401Sa3wsEuveLNU1IXTqBwVknYbQvJ4ycBQV+8ujd/Eb4otqVxqb&#10;eOPGmv8AiIzGS4ntvFtxq8EBVchAgmaKNVycL8yjcQVQqa4e8le/uhaaZnTNBtIVijtJpDvhj2pz&#10;uz8zMyg5A/iOMYrqPDEus3N9Jp+jSQabpo2mbZAtlYwxpys87Ku8hTubLk5Y4HVRXKpwk3OnG9lp&#10;+G/a50LnjGVOo7cz10+aXnob+j+MPHGo3TnxJ4ttDJHZvbwQeL9MGuXNuZNwQ2luyv5kqoDgMNhO&#10;fkzgD2XRp/Aejtc3Vx4W0DWb2ODyIrn/AIRWO38UrG8gklnnmtJIYrdsK21GWQrvjHklfmXy0TeG&#10;LOeafR7q/wBb1WJdmqanKxtomkfrGJB/qVbcABGd+08kHbXJTJcNfRKmoG3n1GX7LFp+mGUWr+bu&#10;X7PBaqzPKCCARIeTu6j5jhKvVcUqbs9rrz2sdCpUpPnrJcvml5dD6Quvi1o80ps/D3hM6PfW7J9i&#10;1LS9afVL62UbVt9kcwkaLY2dvkzIf3jp5YHB2rfwhplgTrN54smuvG2qRS6bd2msab9hk0iORi7L&#10;JfrNJjON8g2ryWUkgAnitA0/wJ8I7BvEetTHU/E2j2wubG3u7j9zpt7MphE7wI/lGSIys0SvllMa&#10;thSSK87s/GniXW7q61XTLOLUIjI77r7wz/aWgQtKJG3F7tGh35G4llJYqcY28cfvVOelB87V7yf5&#10;L9T1Y2o0/a1Eoxb0S0btbV+SVkl6nql1pVnBIqvNp/xP1FNyCz8La9ZNpNr8qqqBiVvplAIICpEu&#10;FG0qW55ebxD8XfDd0LzT/Cc/g+EiRIIp/BcemWUED7Vk2+fbsHJCtl2Bf5iQc81Lovi/xG85Q+JP&#10;h5pU11IIobDR/gVonjHVJZN2BEo+zAoxIA2qVHbBJOPrvwZ4W/aK1yOG0stN142l6V8mWb9l3wd4&#10;JSTaIw88FxPOrptwuJoIjJhn3ABgDtDAwUeab0XbRaHPLGVI1eaDSe+q5n5Hyj4W+LvxJ0nXk1O0&#10;8Q32iiJDa3+oaQkNs7Ry4Lwl0hRcS4IMbllIJ6g4H2JovxlsPHemRWHw/g8L/BD4j3Fy1trBuvCs&#10;MfhX4k+YIjHIdWSEzWN2zJGTAWisZGmeTfEzPu3NU8C694f1NLz4ma94NW50iyeRm1a90LRbu3je&#10;MMsdwL29UumPLkwsOCrLs5IxRXx78D7x7WKa98Frvt/K1GXwlqek6VqCMzLED5Uls0U64LK3zHzA&#10;xz0DDgqQw1uWfw+Tvt3t03OunXxcp8zXR2uu2uiemp6HD+0L+1x8Pbi28MfE/wAa6Ta6Xp8SPYeG&#10;vjjptxq/hK9gCK0a2ulXUF7BdWzRSq6GG3MTI+QcYNWpPj18D/Edy9x4u+AnwD1m/v3MNy/wR8Ia&#10;p8CxJleiJb3EWlRltgKt/ZnAQHafmFY3hu48F65YL4bb4ieHrrwDDctfL4U+J/gyZb3SHbAY6Rqm&#10;nTg2hYMG32gXhX3KxG0d7Z/sq+A4hf6joXw1+GnxU0XWJJLywtLP4n+KNO8XaIAoxbac9lqgimHy&#10;tsN7ZSSZlCyNIRmuOKpP95CryW6Xv+fe53KpUjDmr0VJ30dkmtr6pdF5lvQ9T/Y+uhBeSeH/AI8f&#10;DeRXdjc6rqejfHnQ7YvhoIzZ28WgToUAcMyTyNIB8qE8V7P4Y8EeD5UTUPBXjr9mvxRqN3Mz6dpm&#10;qeHb/wCG/wAQ3gwrwOLHWpGLPgyAxW8s7FsgLjaW+aLr4CfD9c2/h/4W+MrSdJnL23/C0G03xjYm&#10;PzG2AXmjWwxlVOPNkDryCd1cZbfAbxTqGo3GleGtdn8KwSxCF/DvxpvI/BltMzLIXY+IPMn04g9M&#10;TGH1LDeFrSSxEm4U5xl0107DjPDQh78ZQ66Pmtp6/gfeWo6r8c/hw9rFq91FpN/d6nHHoWk2viyH&#10;ww/mOS1pJJZ3+gCNRuBxLaXEy7UBY/NXqPhP9qT4m+EItQ0rxrpXiQ6TqZeW/wDEngwWHiwak64W&#10;Uajo0lzaySthiQFnSNx03Ahq/NddA/av+BMS2Gn/AA8+MN74Tv2eyXXfgFeal8dPAN4EfzHhln8P&#10;f2hpUiZXzGS5jjA25ZFwa7fQv2utS0Oe2/tfxf4Mupru4EV34QttQsfhZ4o0i8iZMfatOlS3hhu+&#10;GYIyKfmb5cLmsp0sTTjzum/VNvb8zo+tYGt7qqxcknpJK7a3v2/zP0BsPiv+xn8RANM8YeO4Phdr&#10;jAjQPFkV3P4GiubgsI1+0aZrdobPCmR1xaapApKMgEpwz7Pin4fr4g0PSYPEes/Db41fDe3mSLR3&#10;1Twxa3mg38TFGNpdbIZYIpWjij3hH8xgilZD94cdpv7VWr6l4b0K28a+EPhb8XdB1uzTTLQ+OfCW&#10;kWnjvUgYo45NOfUobe7ebYcxx+bPAp2b0KK4B6zwp4n/AGQNA1KbWZtC/aC/Y0udQhXTry38AWFt&#10;qnhC+uYyi51VNauL/SLuFsNJIn9r2MqboxBCm4LH0ShVqtRi3Fro1133XbzRkpxjGVSUFKLtpGSe&#10;l/5WvyfoYHhbX7H4SNLpnwPk8a/s06ZdRz2+qeGta8Hv8X/2dteu4ooHRofDlzeeZGk2Yopp7WZj&#10;GoG2IlPLbnvifpOgfGvw14yj+K//AATi8OfFuwjvo9Q1j44fsM/EqafxFpCRrLK+q/8ACCyMmvWg&#10;G8yzRQ297YRLbRo0CxKd/sfibTbPXLixj8C/tQ/D/WdU8RaYJNIWw8Eal8I9Q1BkV5prTV9JmaXT&#10;L5Utojcs9lfzBwejASAfM/irwL8ZNA0Sx074YfAu/wDHXjV7m6sofEn7P+q3vizUdfcKJpbo22nW&#10;dvqPmJHEYlt7uG8dJG+THl5GcXmFGVsPLmltZP8ApebJdHBVHFVaajHrzLRLe997+jv+B+c/xQ/Y&#10;N+ENreX2t/sr/tL6f8QrGdPtt78HfG9vL8OPi14TnlhSeSw1xmtlt0lVG4SS0gkL/KRGAXr88PiA&#10;nxa+EN5EvjX4XaRosLIsEN/428FWvjzQ9QjhVEbyry/+0xbQWCsIJFAZioVcDb+0OvfG3Q/Bi+T8&#10;W11C98SX2qx6fr3hD9sf4M6jrKaT5j75orTX/slnrNp5W1GeOK680IkpWRW8uJ+U1Jvh940hupfA&#10;N/No2lxaarapY+EfiTdfHPwZN5c8rLLDZ39lB4hgtyNp8m4nuwm1Czszcd1DHzptrFr3l1Wnnrbc&#10;xnlftYKWEmnFr7Xvbeb2/E/Jn4YfHqx8P3VvaX/hm20KJrr7Zaa34Cu7jwZPp9wrSGOWAwOEiA81&#10;lZYgiuo2sCGbd+sU2gfDX9pb4MeItY8G+NdMl+LHgzSW17SfDmvJBovieR4oliD6VqG4RXVjfFY9&#10;8M7fuLoiMsGkgkk+PfHv7NngvxTcvqXhu5+H3iGG7cC6b4U65ZeD/GMMwUg250S/S3t5mIKEp5MU&#10;u4Y84Fgx8e0fR/iZ8HfENla20HiYtptz5yWt74Mu9A8b6KjAxzfaNGuAwvrR1LJNDC00c0RLDBCA&#10;uXs8RHnwslfqn5ltTp01RxceXltaXTfqZHjLwdrtlrE1vd2P9h+LAjGzubKcJomut96URyHaIpS2&#10;A1vIEyxOQjZVvbvhJqcXxpsR8KfGMOPinpmg3vhzwNezjyh4mtL2zmtnsXL8m4t5HjeONurRkqVb&#10;Ar7M1Oz+Fv7U/wAKtN1DSvBek+D/ANqD4a6RcQeKrSw1m4tfD/7QegRxq0Nx5cinyta0lIl+zajG&#10;FmubcCG+Wd4IpZfzW1vw34k0rU7PxF4ej15dc0TV4p9FvfsLQeIvC+oWsgmjTUIYgWUkKpS6hYxy&#10;KjEEgHbU7QqqUdV91v61Fh5QrYedGq7TXzXdP/gGxpsmtaT+z5o8k6zWl74D/aRuXRdhiF3Dr/hL&#10;T3QTD7rxb/D2cHI3QrnBAx9ceKtdufEetaxq2kLBJqY8LL8RrK/bUJZ44/7Rt9Hn8tRwRn7ZZ5Kf&#10;LGYCOSTu5O+0HR/iF8LPjJq+lg2Ut3Y+FvjVd6RJZrbjQtU06a8s9Qms41ILWszahfRyqg/dOMZA&#10;kXG/pHh2TwnoXwj1HVrC9tp5fAeqeAvGNvdxsL2f7J4mOgwIYiFdZ4VsbcMoG4tGSwO4LWFdx9m3&#10;U3Vvyt+iKpSm3GM97vp6P+vmeTeJdKZXtdLs7dLRtT0y38VeGp9qiCC7jjjmNspAO5Em8xMkA4vc&#10;EkbhXl/xH0rSp9Y0LXbOTT4NN1zwTaNe6ewTNtqdrJJBKJG4XKrEmTgnDR5O4gV7v4vRdZbTvDVs&#10;lzfeJPBviG80zw/dQMsf9uWkMs628TbX2t5tvCiR7Swd1hHTAHmeuaDaX+uReCXWO38L+PLGbxP4&#10;H1y5BZorpkuEmsmYkKrm7t5LaQNgrIFO0kYbjw8qkl5foexOKhJe0+N7/f8A5Hiby6rZalpWnO3l&#10;aVfaPJNBIkuUZZrptsUhxgOpUdckbBnAK163oGrTadZ6HfwxQpJbXV9ZzPbQiK30uYxxSW+6NCBH&#10;5j28aEABR5QOOcDhrqJraysNOngYzWqBLhbl9s9lerK0UzRP/wA8pVXbtbg7Q2emOi0B7+GTUraP&#10;7HJHqEdvNfSzW5mGHf7M5VtpwwWdmLAnBXOCdtXWUKj9xWsn950UsPUgpVJu6/TseqaNr2l+KtW1&#10;rzZoFi1SWziubYvuaK4toZ20y7V+MFRJcWLtkcNESCABXV22hTWfhq9n0xVTTNQspbC4mvAQbwwE&#10;yFVB+bemMeuTgkZrxXStAfQfEOpWq3r2T/aW0a5ju13wWLSMTEWwD8qtIw57sMEkivboLy5uLeZ7&#10;sSXF2yvFfG4RhFcybMreqAOJWC7HJyCUBOCyMPLxkZuEZJ3t/T/M9jAcsVKnUVtreV0fKd3od7Hr&#10;uqaFDGZLiWyeytndxDbEXMTsm9iNowYgST0xk4A56HzWj8Enw1oV0J7bTb/zL3VBE81zqs6+QlyI&#10;4gu8Wy74FiTO6VwGIDMET17xbpi6Npn2u2aa+1eW2t9B4RkvvMU4hjESkkmQFkcgFmDKgzuAPovg&#10;zTfCH7K3ha68W+MoV8V/HyyMGq6V4Fn0xLnTfh9c38ato51LzGCy6qUkWe1sGj8u3hDXM7NJ5EM3&#10;bhpU6lJzq/AunWT7L+upw4uM6GIjCNnOafKr6JPq306W/A8t8Q6Sf2YPCuqeBb97eL47fEPwrHrX&#10;xFs5JWmvPgF4U1KJLmz8LkocR6/rkUtnc6mUfFlYmKzjJkmkmX5Y8PWl7p76jqih7e61a1Y3kKIh&#10;FmkvnTKyLjau9HyFxhYgOzjF+/bVvFWrNe67c3OreJNV1KTxV4x1e7ka8udWe5lSVvOkb7/mSBse&#10;zE16VrVldeHvDdpqFxAs+peNrK7uoEiVSlmsVzDBEJGyNjOVfHT5WHbk9U60pc1WSs3ol0S6LzV+&#10;vW1+p50MLFzhTpy21lLvK2/6LsrI8usLogQz2qyRRWMsiqZSWN1O2f3rE4ztSOSQngjzBn+HPQ6D&#10;4Vutb1HSpobNNTbXL2W00qyGJb0ItoUEiIT08xo1BJ24LMeV2npdA8Gahqrx6NYwWklxp2nGS5ZJ&#10;vJSKS5YYlfAKhWiSJQrEFtx6nivZvC1taxaHcaT4e+3ql3Ztbar4pitzpz30ccaNeRWzsd0UDFJA&#10;AGDOFJYn5hSq4iFKF1v2EqMq9X2be/fptp69TkdPi0TQbiMQyWvjDxNZhtK0fKxXfhLwrEhLzuik&#10;Mt7dOYyzM/7iIRIqrKWLR+f+Kv7U8XHVbSY6te2uvakljdkzSSymJdu+EE4/dqyTfwhcRRYCkha9&#10;Pt7S0sbOK50+1S4lvL8adYRqGimgt4nE0rs5P8IRHYYzuC/MAail1CeSbWNR0a7m0Pw/oYkikktZ&#10;ms/7RbyVVI1bltgUeY4Bwd3bNefLESj77jft26dD1qeCjT5lTvfR31bd+nzsji9U0vTNa1p9Pl8Q&#10;W2i/bpBfaw8emnVdQs7e23tY232USRRqNqRzHfIoBCHDVdv/AIgeGvh9oHhKX4X/AA48LXOp3GiX&#10;/jaTxJ8TtEs/iHr29LkaZp95Bp10r6Wjym6aZEmtLl4vJjkjmRgDXnPh/QtU8R3mtaPpxkuNT1As&#10;Ly/IENnBFP5tttEjEKFjWQyDkMGWNvQnvbHw9ptz4z8QRXAg1TTf7btNI0wJG9rptnptnfwyM4nI&#10;BKutng7UB+ccHcQeumpUaWs7bN9Hb89/yOL2FPE4hzcLpaK+1+rfT8zt59b8ZeKfFdtr3ivVtS8Y&#10;67oMTWsE+r3T3qfZ0tUCmBTuWGNfviGAKp8pgFG4CuzvoJ9H8Jx6TpeoQaZf3+lRWjSvIl7drcXV&#10;q8VzN5IkGGUnyzGx4M82AxBUz2pu5pIksli0dLhrUwS2kYL3EyxiHeJXy5VhZyO2DgSQjAXIA8Qn&#10;8YXEGpS+I7TZc6XYT3F3bafeylzfu11PH5/QliPJaYsc585TnO4L5ntHVnyRXZt7330+bZ7MoSSj&#10;NySivdSWmrS1+S/M2Ln4o+FvhN4W034c/DzQotQOj3lxf6p4r8QoLjU7rUmdllvhCRsFwWACu4Zo&#10;wqbChRceD6hea/8AE/ULGwmv725utR1P+0PE3iTVpnuAvmsyKrMdzMiKSOOSXPGBkyXOjX2salqm&#10;pX0kInm1Ga51G3kkeMXN1K25LeNhuPWYtI5yF4GM7VPomieHdRTUmV5ZLDQtHt1utcvrG2KSyyZ2&#10;SbAV5CZW2gV87pDI7BgGr1PY0acnXq+9V0euydvuR4FepNTVDDe7BaX6tX773etz1f8AtSbUPC2g&#10;eCIIbTxJLoF3d6lYsAkereK5Es4baCC7lOZJ4oI7cBIlyXZ/IQNudk4+K90fwBoI+I/xHji1rxlr&#10;qed8NPhbOxfT7WCRA7+I/ErBg0aEOGtbDCtc7C0gjtwq3fY2epWfgzVYfiNrEUdp4p0vRo9X8H+G&#10;bG6a307wZFFGfsNzdAFpZLg74EtYS2XuLvz5T93zPnz41WUd/wDGi4l06ztrfwvr1hpvxA0XS43Y&#10;WWlaZrdpaanDp4fAyIJneyYjjfbOAcJxVGmpptS5ql1dvXlW9l52W/QidorkUeWkmrW3k1be32W3&#10;fz6nK6Fpd/5z65rIW4kCxTXFvFAIkjW6bziu0jCSyk52DHD4JOCa0fFEU2rXGm+Goytu+psNS1Q2&#10;6qgtIEXzpyCpyipEjJGzcYYtgFs11p06SG3h0d7sC7ubtdT1WRFMUsU8scjRuoycCG2wwDMCHvoV&#10;G4DjjWuZIrfxY1zbmPWfFtnH4c0S5jKpb6NYxT51OfdkED7LBLDGBkBZWbjC50pxipx2tb/hioxq&#10;why+er8urv6L8TzXX76DWNRtNQe3t9L0iBILWws7WPclnbKv7uKOPlmIQoWySWLcnOatrpbeINTt&#10;ZYI2T7bOPJtY3ysUcUaRoCuTzIwAJ3feLEFlUEUrHSn13U7UOgS41Ofbptk6/LbJINoZkHYKpGOp&#10;54ycH6Q+DngW7e5dtJsrrUpp7a9n0+78thDFDZK1s9y+Np2LOk4DD5V8ld2QSa2rVFTpqb/q/mFC&#10;Eq+IlTnpH+v0NjxAbbw3p2h+FfC6zT+KtTgh8K+GrlY3dbdLoXM99qRTITc6vJt6sIY1zkRoD67+&#10;zn4N03R/Fuoyp9nvNN8P2DJql+8Jd9QtLWV1UybsnfqVyEUhskxQuu1RnOR4N8J2+qeOLjxPLqcW&#10;o2nhezfw7pM20PZ6jqt9DJa3t47ZxHFGzNDGVyBbWyjIDED6r+C/g3RL3wF4x1XSdQk0qDVzc20m&#10;t+S0V1ptrCksAll3AKspguJHQEny1nJPLYHk1q0KFCScr3Wr9Xp+dz6KjRp1sTFU4WgnZL/Da79X&#10;seF+PvKgtLx4hex33jK7m8R6nfyWai40jSoZ106e5VuCEctJbQgECRpCdzBBs+eRrOh3eiH4gajZ&#10;3Ft4U8IO/g74a6Fd263UfiHXpbdZru+nYhdzW0KrO7AOFZ7BHRlK133xC8YT+KfHeu6nNpl5daFZ&#10;acmk6NpcZ8sPp1jiLTrN2X5g128zyk5BBuJjkbRXg3imeVra08M2pF7a+E4J7WwiQC30qS/uH87V&#10;L/AOP31wAvPHlW0CqqhAq44efJap3/BWtf1t+Ou48zpRnVUaWsFa/rpf5fmi54I8PyeKpBqPiGK4&#10;udAn1iE+KpUmWK/vIhmSPTrfcwG0gK0rsQieagboy16xbWkHi6TV/jX4wvrHQvht4Z8Uy6Z4A8G2&#10;tuZ5fEVzY2YMKWVm+1fstossaGadgAJG+RGZwcfxr4cuLODwb8P/AAct5d6p4it7TQtLhtYZLe51&#10;dbry2vb+ZG2sJNRubsBVfYyW0RRh8xx9KeFvhXrety+EvCGsWENt4c8LT/2TIkgDWmkQmW5unT5d&#10;y+ddG2vLp3fliIR8qCFB0yqKNJ1G7JaLy7y/Rdjmo03Kfs5XbteXmvsxb6Lq/Q4f4baRLq9jrvxL&#10;+Khj8O+E5tH+23Gy48jW/EkEzhDZW8zcxrdzMBI6APLufGI0CL82/EHWtb+Kmv6UNQl/sq0kc2Gg&#10;aMkTWmieGNLhkO2O3gAPlgbyCMbiY8ZYk4+o/jj4+sfG/i6fw34dSGTw/wCHR/Z2jwpAkHh+2eHy&#10;hcXhX7zR2wh8uBBnzH2cEfKfnfwxp0nifxzBZRafdGxEqWULrC0t20LsVfCkhchCSGYgbpHBcIcj&#10;kw1Z1P8AaJRskrxT/P1fc7sVhvZwWG57zduZ21v2XZfmzX0n4ZeLPH1tb6j4XfR/Cnw48EQtY2fi&#10;XX7INbXk0dykTXIhYlCweRGkupm8pGEa5LMiV6pca74G8CWt5qPhK0svF9zqibPEX7QPi+0mvZta&#10;nMYe4i0i1YiW6xHBtV38uIJKoUIpC1qeMrpbOTw/4ekg1jVLWwsVTR/CVhG50meVWZYEe2UKPLXM&#10;7PM4VnJZhgyDHzf4j0TxJ4w8aLouvaxJe21hawR6yNOt2j07TEXLf2fZocKGC7lKqAoAduFAz0U6&#10;1WveLfLHd66vq353/U5pYWhh4y54881ay7PpZbbdX5uxyJtb7xxrZ8bTWmp+L7y91l7TwfoeowrO&#10;2sTo7BppoYlEMdlbnJkVVWH5BEobLhPRfh54SHijW9e8feL7KPxF4T8GWk2ralNqpEfhzU7232o9&#10;zqLg4axtm5MCfNcuEhUqpfPe6XoEl19o8E6C09leeJNJhg1OWWQW9v4f0SAhRa2oGT9ovH8qFEXb&#10;tiZmJIdhX1b4Q8CaJ4wi0XwVo2nbvhJ4Bk8jXI0s3S2+KviqBoo4LG3gBWWay05xJGsa/wCvuPNJ&#10;KAMQpY1KKUFZR2d/JXdu/TzZjh8uqVqjdV3b1a/KHz/LU+UfCvw81X4neOYPHfibSfEHiC81vPir&#10;RtH168fSbm6s4mVX1fW7gjNvayBdscamFY4RhCixotdtrHjjQvE/iiXwvMD8R7jTIGisPCPw0sI9&#10;G8D442rNqCLHGlvbuXlklBYyuZGB/jr6QvfCw8WnxBf+Ltf0DwL4JubvOsatrGpRw6QroqOgiVmX&#10;+17tUjVBEVeyh8zESvsV08d8U/Fv4dfD/SpPDHws0CbW7sIW/wCEi1XTIrW4vmLFjeNayMrvIxDM&#10;rTx/JlQgzgnmliaVSNppvtFefV+fnuexTwUaNNvlSb+Kb0Vuy66eRxF54F8QJpGpwa/r1l8P9Km0&#10;9LfUfC/w/wBN8rXNbfymV7e71WWRLkWqBmZkj2hg33WG4N5u+heEfDGo6beeG9K0Cym0aeTUE8S6&#10;hodvNqz3AZED3FyzMryxiNJdryOkbLgAEk1kav8AFi+uri4bWJ/s95exvLNaW0humuVRjKsdwZCz&#10;nc6Rg5VVJRMKq8Lysd7ceKJIB4d8ExrcyBZdZ8QeMD/a2msVZE3JbyRBVRVeNB/rD8o2sCuFrD+3&#10;hDlelu233+n5GGIhQjFRtzPu/wBF5mp4iivviBfXPiDXvHmlzxxXQ0+fVPiZ8QEa/wBfkQ7YzZaR&#10;F/pLwKxYtL+7gjUAiTAweM1Lw1LrE11pui/2h4mdbgJJe+H9Gu/D+iSbA26aGEJHiKRQzKko3ARk&#10;kZyo9ksfCXiSCaeDSf7f8R6tHpcuoXPh/wAC6OPDdjaQqigTStZqLuOEuxV5JZViUFSQm4scjT/E&#10;V3ultLbQvCM0JRit1qGqS6xqK7wC6tLcvIflP8BZjlMNkYC6yxiikopvy9PM836lKbc4qzbSd7/k&#10;cXZeHhpdsE1HwiPtsLGZLm4FqtxeSsQqrPdeezxoigMFAChhkgkk10+i6Dq1wo1jR/Cng61ZlLPM&#10;3n63qNu+wEsPPhKKSSxxbhAAGIOAKuNq+p38sdzpum+HbO0iHlfY9OlBkyhBaSURuTkgMTgHg9vl&#10;NdDeeKvFHm2tre6M2l2tsEaJv7H/ALPe9wMklvJR3Gc43EkAjGMkVlUxNedOLs1fz/M7lhacJp1G&#10;tNPm0TWnwv8AjL8RZ7e30PwH4g1iQwfZLc2t1pnhq0G2Mksj391bozEDJVCWOOBnAr1fT/2Jf2rr&#10;TQ7nW5fgT8Vm0LTj5uoahYa94UiEaARhiY31TzXZQykhFLEMMAqQ1XPBXxHmsIktm+BVr4ua4QFL&#10;iLT/ABBaXMJJ3B4zaT5JHY7DjJOMqTXpukfEy0hvINQ0fXfEPwt1faZorXUNC1i7t9ObzN5865Nn&#10;bzhdqthhJIe7buTWEsbKkowjSWm7d+nyE8vqVm6kK7ir7JJ/hdaf8A8j8BfsyfE3xxeSJ4Y/Z2/a&#10;g8a3TXEtoT8M/g7P8UdUjuIELSBINMWaSR0S3kZ/LhIRQ53Ltrmtb+CHh7wz4tbw38T9f+K/w18b&#10;XckiweBvHvwO8SeB/HVwqtKjA2NxHb3akOrqyrA20j7zYKr+lPwz/ax+JN5eR2urfErwl48gskhi&#10;ew8VT2niLxQ0ELLGqWV5eW880AJZm2llUHaG25r9PtD/AGstc+I3hDTdL+JC/GWX4eK0UxtNL8ee&#10;ItV8HPCk7xRXE+j366toD28UqyMYP7KaMmB1ZMDaKo5tg3L9/RlF9LSTVn3TSt3uceLyvNoy9rSq&#10;RlT6pqUZPfrr934n83kfw2ntdZtIdA+Lvw/8K+Ini82BvilN4r+HHim3gWVhHJby6jpYtmUESASR&#10;yxqSmQxO5qw7v9nT4mrPqGuDQtY+KAglM954t8CywfETTYSHlDSLJY3l1LGqhY8PIiqd5I+XDH+k&#10;e9sf+Caf7S/g6L4b/F7xyk2r6BbPoHh3Wk17xJ+y18bdIgN39tkGhXTzS+CNQJld1EFzpekpKgKr&#10;CnyFfi/x/wD8Enp/C+pRf8Mn/H26+KN7rCx33gn4PfEzUI/2b/2kdXUYErabqrSf2B4mG1ZJFbw/&#10;NC7KqgQu5cV3wjgsXD/Zpw57L3X7svlumeZHMMywVV/XaVSME9Jpc0GtEr2s1tu9Oi10Pzv/AGef&#10;2wP2gf2WvFa3vwi8V+PPBXiTRXg1K3sn8T32laBrFgww9vf6PtVLiJp42DpLhcKuMNyP2P8Ahf8A&#10;8FnNI1i3mi+Kv7Ltj8FPEfiu0e1+Ivxb/Yo8URaD4g8ah0mkmvvEHw/1HTjoutpIJJWntruS4Moe&#10;ULIgYCvyl8S+NP2nPg94xt/CXxy8E3znTLci/wBE+Nfw0h+IV/oj2jpCLOZdc02cQOvmygHzYnUx&#10;OAQ2cd3qX7W8esImj6Dr3h/wPcx6b5Udz8LrXTvC+pQhAVdpNCu4Z7EqPJRnNnPAz7l5RiWJRvhK&#10;jpYX2kJvpfS/Xy+5GuJoYXM6PtsbTpVYxXxaqWq01Vnp2baPubw9+xB+xz+0RqmpeLf2XvE/hH48&#10;arPG+pa38M/Ben3XwW+L3htfLnmuJNT+F8+29M0JUyfbvDN6sQBVls0RWYfnJ8evhh4W8D6lren+&#10;LPB3jD4f6HpeojS/BFzJ4il8SX2gajNcRSS3l1Ne2sNw6yIk6CxldZkYKDcyRh2b6w0z4E/t9fEj&#10;wt8Irrxp8Y7S2+DWoRpN8MvF/wAfLeX4R6N4HUztBYzwvEl/c2FzMTKbZ4tkk8dpLLFugiVq9K+L&#10;/wAafHvwG0fWvD3x5/a8+Bnxq+IPgKaxsNA8RaRq0qftB+ItC16K80q9tdD1WxhubfWm05ftI1GD&#10;xJPaNFZCJ7e4dpIbWT0K0ak4N4qKi2lrGSd9P5fv1PEhGFCpBYOpKpFuyUoy0bf822notD8qPBmk&#10;aR4vbw94Z8YeMrXRtCuYLy18MeJdM1ny5PC13mEyGS3WYSm1YNlVkXYwaVoSXjlFe7+K/wDgnR+0&#10;z8OS+ueHxN8aEu1E+mXHw9+KWg/E+Kwt5Fjkjubjw5HeS6vJG6OGTyLfaAw+Zia1vgx4v/ZXtvFf&#10;jPUfF1v4y1X4ReOPBtzod1ofwh8MaV4z8Z6GqR2LwLpr61eQJBKJ1lmLcC3hjkhR54zIB7h+zL8Y&#10;P2avB/iPxv8AC34++FPjt8RvCOn3E99+zfqx+IWleCPilqfh1Jp0m0zxM+n2V5Z3F7bw+VME0tYV&#10;jb7Qoe5R7eQcEamEp0o88o215t7q3VW3T0+Z6NWOYTlN4aM+dJctnG03dLl95pXS1vfbz0fyb4f0&#10;Lx7oniHT/Afxv+FmjavoNlcCeHSFl1r4efFC1Fu7KzxaXJBb3scalG3CJjGphUEEhTX6LWHgL9lT&#10;4sfDK38M6n4P+IXxK06bU4bJ5vAXxC034w+J/B904mDwt4b1eK2ur54WR98S6hbzxeQnK74g/wB+&#10;/Dv9u74LeHdP/szQ/wBn/wCNPxF+HjzqdF8IfFr9qS4+LPg/QJI1xHJDp2uaHe3EbecCwW3ESCQM&#10;4w2zZ87+M/E/7IXxUj0PVvGv7LPijwFrmi3gi13xr8JPi7Dofx2dQXYySWMtg0M5gjVj/pFpcEr5&#10;pJEmJFiWLweFnF4LENczs04uy21v5+mxgsJmmLoVKWZYO9rW5Zq70vstNNum/Y/DP9pL9mG0+BHj&#10;bSrz4FfEP4iW2i6bs1BNQ8efDHUvhXr3huVmUGG40+ae6kg8tsES2mozRnAIVdpB5X4t+MviF4y8&#10;IeENC/aFsbjStVgiGrfD/wCKOlarb6nouqPKqRzWuqNbysUMi/I7yIkg8sNtkAYn+jbQPF//AATB&#10;+LP9qfDmf41ft8eC/ELWhtprTx7pXg2HXLq2liNrcI1vLpdsk0T+cy+Y8T+ZFvG7JZB8t/tB/wDB&#10;JP4cWlpeeM/2Z/2u7Pw38OY9LM+seF/jn+zX4m8VeFrv7NGqtd3Or+FpdTtreAlZfNP9kwJBtBCu&#10;C5j9KX1GbhVjiKftZW0+F6eXbyt8zxlLMqX7nG4SsqCWjtz20/mW2/R/I/Cv48+GvGPgqx8A+PdC&#10;8SL4v0X4eNbeJvDmtBY59a0IoEaSwlu0wslvFJ5gyUOQSwOCwP1ReeLNI1/wxF468H6Z4S8Yvf6P&#10;BqGp634N0tfBvizTJJYkae31S0tW+yXGGLkzmEM5+8VcMR6h8O/+Cfv7TWqWGseDPhNe/su/tseB&#10;NZ09p7u1/ZJ/a08L+MPG3grzvPh8u68J+JBoGtI6l2YwrZvgMoEhZXC/FWhfAL9oH9n/AOJOpfDf&#10;xz4B+LHwU8fWVzdXXhvQ/it4B1b4WatrVhHdNERYDUYYrXUo3jdnBs5biGURSbJGA3V3Rw2OTjUj&#10;FPT3uVqz89P63R50sZlsl7GFV82socytJPZp99FprqeaeIvD+mftDw39l4F1yTRfiDoDSSjS9QkG&#10;nazqBTIeIRMxS5AbkqPnbaCOQ2Pia8Txp8PPFOqeGvGGmJpXiBU8mPVIrYwJcqhBV0IC5IO3PQjd&#10;ziv08+Jfw01jUL6+u9Q8IXvw1+JptvsM0lvZy6B4c8asn7wMmQDZagp2NtJWOVsMp3Yr4L8T+I/F&#10;vjUan4W+JFnqOra34eUQ2kuqQtH4js/JxsdJCA5xtCsmSpUkY4OO/lqKEqGIheOjTe6b7rscUJc8&#10;o4vDVEp7OK+GSt07PysJd2Fv4g8L2PxH0mdh4l0jUBoniXZD5VleeYha3VpBwsjhJMMT82zGc5Nf&#10;aPwR8WL4x8Ly2d0hGpaTbpO0Yl82a4jO0NI6HBDKBh+OPL6mvmv4HaDc2PgTxovjW2H/AAivjO40&#10;bQ7F0CNb396813IjkEbo5bcQHzEYAgMpIwQTylprPif4B/Fix1Ga5ubrTtSuzN9pcBoNQs5jtuba&#10;RRwWAdh8wyQQSSSTXyWcYWjiU8JJfvYq6e/NvovRH12SYp4NKq9KM3b/AAy039T9KQEZfmYRyABt&#10;hA3ncQueeOisVODyB1qMlo43kLB9sg3buspyQAFycHDkk+oH1E0ixS+TeWMi3NjqVtFqemXZG4XV&#10;vMoMcoIJGCWJwMgcjqCarHe2I49ik8gPFjcCDlVA4HII6dh6kn8ynHllZ6O+p9pGpzt317fqWA0T&#10;KrqwkAQgKwAEg+8WHckgkBu+BzV1I9rgZygGAQCMg4IJH0OevfqOazo15WPG4ySsQ5G4kBHwOgxk&#10;4GeeScZq2rdSiMiKvmlkjJUcAjbz1cAdOenWlKDskxwjem9fe/Vmmh8xC3K8hcgdRk5OzoOApB6n&#10;PIAAzaVcMCkYfcPM8shioKrnGzp8wzye/GBu+atG0hjKMwbLsE6hFUYONuRyCe443jp3tKx2nBcM&#10;rEK0bMxBYMMDnoFwScYHsAKi8lPT5GqdNp1LPRfluaEabTuEgCxuIHkTBSRgFGQp/vcnI7t7EC7u&#10;iMYk+R5AQr5/5aBgo2gE8ZB4XHVj3yKo2wZXiAjbKqEIPJkORkkY6Y2jjnHcnmr9tKRKYyozsIYq&#10;pCyZYDnJGePxwaJOandvRdPMuMrRvPa3z6GjGN0K7dqE5Z1CDOS2DnAOTnaemeBnjNacJkwhBKFt&#10;yhmTIZzjerDjJIPfPQcYrEW5jjcsNpRUYlZE7PwWwO/p9ec1dWZlkRcuC4HyhQMEZbcPY8DHrkUn&#10;eyS3t/X5iuudtPbT02N6GcRbHdCAXH7t8K8m19oO7POdzDAxtBHfNWA+U2B13ecTvkXDEDdkLgfd&#10;wrHjsO9Ym92CGJF3MDgbWJUsApzjqDnvkcDgdacJvmd8QlGOFSNS0MeMnGSd3UAAnsAOpJCn+7er&#10;97qU5OlKyVr2S69nc3FcfMWdRJJkxqWCK2AygY47Aj6/jVcztIFduW3At2wxyGLZ6kE9R1xnHes9&#10;Jt6+WQpKDarE7SSoPYHHzEA9uwBHZGnZxG+4GQQ7o1WXaGwqnkZJC45yAeFOB1qFo+ZO7HUtTfPL&#10;Z3LDXGCN0IXaSjOpBj7nCrnb0x0OPl7VRkeVFhEeZAA2FOArAkhdp6d0POMH1GKhluBHDGygeXAh&#10;I+YoMEE/Md2Q2Cc85yevSqssjecwkITb+7YgrvO3CckDJOFAGe2PrWibatHR9yb88ot730Ys1xHt&#10;ZQ+EEg2l1AJWQgLnP94lcc4JbHORijJIAIixWRmQbmfbucjJIJBJ9cFsdKrXE8ocpsR1cK+4guSC&#10;oIHXI98njHaqMksjspMgYkhUCgFM85I44++Tk4xjuRVpNvcic483I43aJJA7Ps2yvK0gLow8xXPI&#10;XjBAHzEHGAT+FQSTbAYgAGlYCMMWlJC7SOuWznB9SagkdgCoEZaOUzJGwaTOCoDBuhJODjqNuee1&#10;eYEoUSEJubbufcoUFQGOM7ccgEEAAEk9QQQvy6f1ewc9uZvQkcsI38sho3UHLKNspCljkjkjOcY5&#10;OF6dKrKZN0iBl8uUlSyqAF2FsE4GQD5g4x7c4NEsg2sE8oq2BkLsG4ZGR3659uQc9KQOmG2FA7Mq&#10;OpGUUHksBj1OP95SCuOrjz6a9TKM4q9nul+n/BJUiJmR8bw+JB+5zw3zHOeMLnnjB2kdABT7YgKc&#10;nLAkkNEVDjCphSM9M8E+nao+G3I6oH6bo0Y/MuWA6+m3twAcCpkkdnO5RHGqjO7gEBmOQRwwxuyc&#10;55HNXJc1te41VTb5Fa25PFGXR0DxBPMCR5OHX5lY7R6MoK/NyA2c8c3oYwI97nJCiUxmI4UgjJxx&#10;g5I6d245qqYiGc/MhRirxkKQCoA24x14IIx2xWgoAJcxDYSVYBSwiyWGdxOM7WHPqCc1MmopJaai&#10;U258ttbixRK8aL2J3giQlF5IbuSBwxIPHJq9FGUkmkG1pJPmkAXcxAdF9TkhTnIxx7AVFDCHJ3EB&#10;IwW2SDlwrDnK5wQQuD15zwAcW1jkBRNxdW5U7/Mwc9Qe+NrDtjceBxTa5ZK+6NrxlUSgupZji34E&#10;RYruAXPzPngv8uMk5OCBz167hi7BAGbzBmRJCZFZxhEJOV5IPIHA4BxwTxmoEVpJQdoEWThQAxdS&#10;MkEnORjDc+nQHNaKhGCiP5tw3fdZWBLqoGOcEl+cHs2RgVkm5z5uhpyU4yTp7/8ABQgClmVwpcDC&#10;7lDKIwQMMwxnBJGR0yo4zV2GLeIAjjfMm8t5ZkLfKSMlSegZsgjJLEAE8U0FWXBUySmM7N6FR0Mm&#10;3rnO7djd7DripUL+WpClXVWjCocuV4JI55ByOfr2pt2bm1baxkopTjda/iMiWKMJIFSTy0WVo3iD&#10;bh8r7cY5HYY6gEd+Z9saIkMZ2FML5gj+8SrBASR1I3YHUhcjOOFZNsRRBGqeWIA6fNs+8Wx24xkE&#10;gAgAAGpFDSJu2qpMrSqnJQ4YAjlsgZOeCCdg9jQoxjFOT/y6EyqRcVTS1/yHFhLtklaPeyiV1kKt&#10;HhcjBPHC7wSSMcDPAqwHMqMCr7lBXCqFxuZVLZznBZgOSASeexpseXwylTIoAGEDb8EMrKeCMlDx&#10;0bHsctUNEyIqKzYEYXy/mTC5AB6kjpj14x3qYNcvJbr/AMObKMVG+9/8xw3AQvsIcNudWUKwBUj5&#10;SQA2SFzjg5PQ8013OwbGAZJAEZlKo7NlQFJAOSxj4+oxmpmy5k2EKEk2Kr8KpwOg3HrleTz+HBiD&#10;tvYPu/eEjHl8kSffMink7gzAjqc8+lOLna0ls/8AI5+SEW5peWhIzBIxIwfaq/fQhAxOQS2eRn5g&#10;eO46daGCkqUAZWff0IDjKrt4I4YSEewPvmmkOQXIUf3h8zADA6depPPpmkYOVcOQxTmQcjcMtwoP&#10;B5Qg46bh65Dgrrsrm1SpGKcox30/r1GM0akuFzGJFymzy3cKVOwkdcruX/gYJPamk4CttZQpRCka&#10;qGflskc9xjAJHf8ABo5WQHYAqYJPygHAA4+71HseWznjDCZAiEZCglEC8scMFQAe2CMY6g804wjz&#10;xv0/4ciE2ryltfRCsBHHiJI3ljCvJGhUqynClsjJGDu7ZOzoeaerlvLBIZOnzNuJZwQAOm4ZC/eA&#10;PB+lQjO95EZFOFAD4YMAGIP4fOfXnpzUqblkUo7M5kUALlkVgzDk45wRzz755IrNtxVmtf8Ahhpx&#10;gnd6MGTEUhQOWVWRdhYNJ97ng5LYwuFxkKBgnOWsRzkkxKdzlU2OWznBzzjhvx/R0nESLGiney7R&#10;5mAu0bQCRnd6Z+vrSLjeysGw7yBfl2s+3OQoJ+g7enTrcJe6ove/3XsNJRnG1ve6/cMQuzyOVYR8&#10;iTzIygYMoUlgemMAZPIwckHNDSEqkaEONvDSADeF3MRxyANznkcAnOOTQpYMpjjdfLZXZQPnlCkg&#10;YwSRjrn2zjgYYGdmLSxBFUoRHGMh8YJyDwRngYwOBkEgkv2TScujE5KpTS67f1/XUkQiRodio6j5&#10;xvTMYG1HwT0JAG3OccNg8Gq5mAfcMCVR5gfZvXPJDZbI6jOCMcdAMA20QZdsjO4tndnACMMjrkHA&#10;cnOOuCcHFeZ2IO1mBYHEm3cpJwBuyMgg5Ix6gdiKuLVnG+mn5f0hOMopcr1/pIUbiWAAMgk3llyg&#10;GNrYzyMqMA9Rnn2oZTIpcM4KvyI4zHG7MWBLN3wQACAScAkDoGSId4d42BZQgVct83zEnBHQg46Y&#10;wB3JJbnzD5bK6Rhd2xZAHAY7fUHjcM8ZA5GcEiJ80Vvd9f6+4pyiny2ur/iBIeaVztUGQskAQRMm&#10;8mRU2/Lj5ZPrjBHYVHjzJIyU2I3DE7vLyrDOVyPunPXuM8c09d4RZgFBkQbU4RYzyMNjowOOAfSm&#10;pMcAGPDhi53KcqSoCgAd+Qfm7kHHqopuUZS07A5e5y301+/dEpeMYDKwKqFGbiRSQAADgHHIwfxo&#10;qg17AhKK0bKnyqzuFcgcDI9frzRVNtO3MYXTd+b8DV+Zky7bQg3GReJCec8g8dG4GB155zSyDJiK&#10;FsqwcBWDr8u3O78e2CCGqPBUNtZeVdBudt2Cm1e+MbSc84IGMAdXvvCR4xtUjOSQsTFRtI56fMeT&#10;0Lj3rjkk27m7bilHv/mN2ouzaSjucyAvtcjnLbf++s4/vHtgVIqzKWQAsyfIg8xsRgPliQcHt1JJ&#10;56UDEu+QJmQIdu2LzN4YEbip6gDqPc+9PcEgbnUSjgyOM8hcAyHOTksDye59yIjHngoT3/r/AIYd&#10;LmlTbve35P8ApjZcKqEuiKzJ5sjSYVfmIY7c8dAe4wcADFMUSeUrBQko2MwJLbSWBZfocbR7E4I6&#10;05lLu20gYGDCyhQ3K4yO+BnGByGbP8OGOwZXdB5uVYeUAPnKKyDcAeeWzj1Xp1q05KVo/Fb77ji4&#10;3bS/rQYTKwSKRHCocbTuXBPGMHIP3ePq2evMkcjNIfOOTGQS+WMcnKkZXvxsLA9iaVCFLogX/Vtg&#10;cuisUBXJxgAZOOvQeopSjgkByMBI1QPh0G/Lg8DjGT8pHXqM04ty1T1K5VG8l1/r8yN0ldShOQjg&#10;ERkZ7kn8d/Q8/KPU04bR+7XBOzbvK5eM7WQNuPTDS5U9MjODg090J2opXa4KMsZO3JQEHPTGeM5P&#10;PfuUCgo0gQMTtZWIIZdwVgOcYJBP4jn0pOEpvn/q46lRrVL3bf1941mBcqeUWPBDOuMHgjqPlOWB&#10;UjBG7PXmw2GIaIkMyYb595GMjDNnHPy5yclj06ARoh2bm+XG4ZA3RkZJUdcgcgc4557nCBpYid7D&#10;bhshQwZfQqgJ5APXOenPQVMpQSund6kxbqJOWif9Ifa/O2wY3AbixkBVU+ZQemeo9e+cerBh08yf&#10;/VmHKnBBOQw+ZexwCe/y59KkWLaqIu1UU4VYwSg2lSFP8OBnI29S2ORTgihdrKJEMh2iXDICFOCM&#10;Y6AntwCfcUnKKjZddy4ybaXX/hiIJud3O47y2Qww4IJ+6D3IB5xzuHQUi5LZKswi+UE4EbdzjoMD&#10;J65HfGcipTG+4PtUfP5UhB2hgWYlSScHBbOegLMRjpTPlYZG4YjZwJH+U7gSQepydvXOQB04pyqK&#10;MFJ7sbmnPkT91L8fIkjVI9gTLAbCAW+ZyzhcbiQAADncRjjnHOANuQhQqGVCWmZggIZRjgZIP3uC&#10;f+A8AU6MugdVyu9gCzggDOSCvQZ+Y5x6jnio23IoUxeZsjDZXl1bsoB/h4YYJJ6fiNNtLr/wxjNx&#10;tzJedx28STSFpGchcANIZCAHcK2QefvMduAOTgcnLHh3vsyJMrt2bgFK7lzkdz8xOO5z3p5hXb5a&#10;gs8xClZJQzfMAp5OeSCuOQQwHIxyodyNqsFkKHawPmAEliOB1xknBPJwBjqXzc+rv6FJupBQfxaf&#10;p+gBQgUhsqTmYlyI5BgKBk8A7dwDdt57kZlkBO0p5ZO7Lb8mQKrBuCDx/FjPoePSoIzGyozNl2K4&#10;I424OOcZ/iPBJOO4IqYb2G8B037o1VosMwUMpYL97+7zn7q9hVSbnZva34aGnu/Ao3ZMqdFztQqE&#10;IRgWYqSwGc44woyAenXphI0Jx5YARVyVkb5sliCQRj0B5AOCR9ZRtikRhu+VA6sVJ8rKgHPPUEnu&#10;SccrUYDNs8tQOQqLFGpCjcwIJABHVhyM474C1KaSShuuo9ZKUJdNixbj5FAdC8jMU2LhZFON6nHQ&#10;7snseQcAHBGkKNt2kIJNzHzNwB2g7/qAo98e4pSsafusfMpzl0DhSxH3TnBxnntjHHWnLGRIsm7z&#10;GMYjjbYGZiMAq3PYbec/xMO+aUbP3or+rkzlTdJU29Vr+QscbEoqOJIjkYY7l25HI9ScA/gp5qcK&#10;idEUuj5yFAZMsVCv2PGWx7tjqaYY5MqVCBR84ZAf3ZAXggsMgl24AOMD3pMMJzsBQScxlQWROMEF&#10;QRxj5Rk5x1NRz+8+Z76/K5cmo2a8v8/zJmcDbIXl/dIwZEJJADKenfG0jj+8fapWZGSRpEYHf5WM&#10;7ScHCn3yT+eKhztIffucEl127GLMcqDyTkENnjnOaaCxUrIpUIv7s5KFiRgnIwRkBuhHTtjFU1KS&#10;vf0+RacpxdvO49IyxkBIKlSWDNkjk859MBvX7tLGzDBCrtY/KZeQw2jgD8fy79KVdrZDZAI8xgoH&#10;LZYDjP1/LvTlSEgL97MjKGQg7SVY5HHUYJx1O38ayjKMpPXUiEfd92Wu/wAwSWQIXJGRCArFS2On&#10;4A/TGcHmiPfhhNG4LRh8hgVOAvKnHBPIwfxz1KojhlXbgMNqgnCOQRk/UZ6fWnYLRyoVyQpUsB9x&#10;e7Zznueg5wfpVe57Szd1q/8AL/hilaCUbbL7hswypCsG24UlWGN2ASuexJD4J/ujpyR4n8XvHcHw&#10;8+H/AI08TT3OyeytnisEL7ZGmkj2wEAD+8ck9tp5zivZmkTAdgxx8krtgtJtYHhuwJVW9P3a8+n4&#10;8ft7/Gb+1FtPAHhxxJpZvRe6tPHIS19IhuAqgADKL5mMnOeR2wPRyvL55rjqWBV7Sdn093S7+7b1&#10;OfF4mlg8LUx83ZQV/V291fNn5n61qF54n8Q61rc8ry3F7eS3U0zPuYBm3dB3Of0q/wCHLq4is9Qi&#10;aSaO0k/4+lik8kTsAQm89Tjn5fevW/BPhez0HwRd+MPFkljbWt/cP/YmnzSRyXuoN5TxiTYPnCAs&#10;SueMjODjI8gN5PdIIoIltrX7W94Cse0BnOcE9T0H0r+haNSm1LBUY2hTSj5JpLT7rH8+4mniKjhm&#10;GJdpVJSl5vR6+jvoadlqVlpt5FdajF9oXdvWFGJCLnn8eMZ+pxXqfj747XvjPw3pfhDTtIi0rStN&#10;K5k843N1dyINu5jjgY6KOAD3PNeFWmmNdytPPKPKZ9hJGZOeAqjqemM+9d7Ho0mlNbwW9tGlzNGJ&#10;F3iO6liU9C6D7mSDwwzxSr4HCV69KpXvJxd466X0sb4PH4qhGpDCpRUotNta22/EwYFvLxYUvrq4&#10;FskeYofMPloBy3fAGCOB6Hiux8PeHv7Q8q4BkUsdkc9wjNGnJC7UHLE8DC84Oa39L8J2lhBJdayb&#10;q41Ga4RotGsdqzvFuDyO8hBEWeowCee3Sust9RbVVVdNg0vQ4LfYiWtjlri5Y4IhtvMLMzsWGZWw&#10;uOdpJArdtLmpxWqte23mctKnWqr2tR2inpffTsWNN0DSdJljS8tJbm8e5QwS3kKedduWKRBbcFlj&#10;jDBSdzkkgjbzkdfepci8me7Zb6/+wkCWYALbJtVAEJxhV3KoRQBwo29j5VrOrX2kXBdRullm8yOC&#10;W4FxcEw/vNzuTn73OT1Y1S0/VtW1y4vUurpVutXjSGTzDsFpCJBI21VOAOmPcDg4FckoVKtpt6Ja&#10;6/dY9GmqNJqLi1J/P5tne6dpdjqs9wn9oER2qvJqF/lbixsPLOd6j7pZeSZDuVduQDyT1M/jXwY2&#10;mwaPb2OtjR7WQSRC2vo7I6lJGBulkl8s7lGCFjxtUP8AeJ3buR1FRoPh+1FyUaDUZlgl08Dy3lt0&#10;KzKtwUOT5m9SyZy+0AlU24x4rS/1RJ9RdLWEEB0ju1EGn2kKtnzZscKiDkAADAHPAFQocycIO0Vb&#10;7/8AgGcXKLVRq8n/AF+n6HpizaHrslrpy6dq/wBqhiW++x2eqQyafbIyB3mmzbouQNzYDxgbyD2x&#10;pp4p0zQ0v7Dw9f2y6tdxtZPrUdgrS285271tGy+GWIYaUZ5ZiAAMnzDW/FUsOmSaNpEk32O/t44J&#10;9QezS11fxOVyC6oQWhtlYnYn3n8tWcZAVWeFLN7jU9OtYYFhjsT9quw4xdXgtwbiYMfvYby2JGQo&#10;GfXnmdKTlaXwp/f1u/L9TvpOjBqW7tZdl9/W+h30+lX072um/b9O0bTodzXF0tu3ibWb6d2JnldC&#10;21JPkT5XA4CgE9a9G0rSfCPhu8s77xNc+MPFmqRW0T23h281Dc84YI0SNb2Ji+yoDuzGZpXw3Pl4&#10;OfO9I0a0tZH1OaAi5v7iRYru4mEQYsGzMXAyxXr8mcs6EEkkD0/UJtM8E2OkXMWsf2pqup26N5+o&#10;wrF9iEiFlK5aSQlwQwLtuO8HA5Fczrex92m/ietl17fijoWH+sNe019Xpa+rdvme26d8RdD8Hl5N&#10;Ph1Hw5dzW7pLpPha7PhS0toWCRmG8urSP+0p1wHWSOS6ZJGIz0yeY1f4oeL/ABbeNpum+NNf0nSb&#10;i3c2WhjXX0ea8G7cLc3pcTzO5K4NxLk4UDHyivNLW40u6t5LZprLTtUuBG5mmgn1G5uVCqGZIFx9&#10;9RH88zcBhtFdTYeE9PnuFe50LSZ5hEFi/tbV0065/chSGNvNJEse0BcAZYk9zispwdSSjiZc1tUu&#10;x0xnCEHHCwtO/wAXV6rX8yhPZ2unBL/VNDgm1AW6xi28XzrZX6s2HZkC75NmNpBYoH3kknJDVrTx&#10;dp9xdXlpDoNnJJLujtING01dTnglHKRRs7ofmYBclyR6HpXYXb+E9Vnt9M1XRbd5QY4wttb3eq3d&#10;oodgDH5KNIykMxCneoJ45wa9f8M/BLUL7Sjd+HdF8RCAL59vLf6A2gWasM7S/wBou1YEo4cFImBI&#10;ClhjNOFNu/M7LotumwpzlBPROd9db+tj5ufR/F+pWl1ZSeFNb0XVJRGpW+upNHvIo2ZnyI9xYchQ&#10;FYbSZODya9K8F6D8TYlitobnxIbmCxjNlZa5q9g7OQNxkgn8yLaWC5CuN33cMQwz7DZ2FtoUWpRa&#10;9qGmK0NxF5pke1lD+YrsFMSglhIdudw4C4B+YEbGkeIfg7bm9XWfFGpeGmltXEN3o/hu31mW6JjV&#10;gwWS9t4x8+AXAkGRwpxxz8uGqz5JQXMn5nTRlilFSi+WKWy87d7k3gb46fEzwDcSQ6xe2ni6xtLd&#10;4JtI1nVbjVorSIMyPHEzssiNtUn9zOF4G1h/F9b/AAu/ak8E3UkWlWuvXvgzU9RUxx6b4lvbjUdB&#10;ld1VzGl5G6XEaEsoEcovPlBJ3HGPC7e18E34mj8FJoHiwPCI4JNR+CgtdTlfcgMlzPFfz+YxTKlk&#10;aIgx5KEACvNtX+Fev3d9cTvcfCqwlurJVtfCPir4eeJvBF3cs7El7eaOd4Qfm+bfIFYbQqcYrndK&#10;k52pzUbfn0tc6Vi5xknVp306fd0+/wCZ+sPgi61XzNT8RSeG4rY3tk9pH4w+FV61vq8MdzmIqJ9P&#10;mjkdZIzMjQ3sCMVlkBGDmvVNW+M3ib4h6JeaJ46+N2ofEfQBCkEPhr4z67d6rqV1EGMi28Z1HTtS&#10;s3RmWAlWSJsbQHyCw/Hr4WW3xX+DniO01TSPGnwq8M6ZZabGi6Dpvx7bS72WcRiJ/I06dAxaTaxI&#10;KiMvNgdlH0n4G+JfinxHqurxfFHwt8OfC+lXEr3EfifUfG95b3eoq6lFaCylsDZzIzJiORZbd9wy&#10;VcFQudsbRnF0na3ndaJfNFung6s5RcdJaK6s79T9NPBA/Zqh8RadbzfAr4SWRvIALi58NfD/AMEf&#10;DmaZwmJUF1omhwiQSmPIeZ5HGx2dSSwH05onhH4FWEVleeCfhRpOjwasJ7zU7XxxqMXxC0qECcQm&#10;SCDQJdBJDgM2yadpBuwy8bT+WPh+LRtNtLUaN44v7OHUPLeK01DwVZfEvwhelSN0TQyCG4t5YmMe&#10;JEM5yGYFQRX1LpvxT8R+DfDunXNzp/hPWdLhdf7J8R6RDqHha3iuQYitsbgxSEk/dSK7ZlDbyBgk&#10;nelmePj70p3aa239TlnlGBT92Nr97rp+djvNX/YO+HvxF8Z3Oq6f8AP2Ktf0HUL1r7UR4b+Mnjb9&#10;k74hWjIv2pr42q+J9WtbqQiMKv2fS5pSzKWZjyOy8W/s7aB8LtT1U+B9M/a8+C2lWPh6PwRH408C&#10;/FxPFvw98URm2aRItUOr+Gf7O1a3jusu7TBb3MbeXNBuBX1nQPidZaz4Ya68OfFCHWLi1t0ubtLf&#10;4IWHjS707zRiRZ9Iu45VlERlKyXVrIjxoruiEBUr2z4V/Gn4r6hoN/Z/DDwx8G/i/p1vLMviCT4d&#10;a9ep4xvHgJWewuLKwNprVgw2hGtHt79SXIaFlVUb08PjXiKPsnq1d3jbrot16nmvB1sJOWIp35no&#10;lK6SSs9NfPdn4d/tBfCfxJr3hG40PxLof7XPidNYD/avih+zP/Y3xl8K3MULYV9Z8CWV9b37KVSS&#10;R5JtIkjBiPlTYWRq/Inxr+zDcW1nY67oeufD34geHrG0U291beEPEXwD+JDxCSRwuo2KRXNpNPEZ&#10;DE00c7btg3IvNf1i/E/9on9nf4i+LdH8JeOP2PPGfgn4kaRcy2Wka/8AAvRl8eeJYCYop55kskm8&#10;Ma/NNH5U2Y5YLtQ7b9jZ2n538ceFf2FPigLjxDpHx30H4DeIL3WGsNasfjJ4m1v4Ow2zySww2y3c&#10;OsafBYPMhkuvtDJLc3Cl12zOY3SUvBU7U5Ky0tJW282awrYiL5alJq+/K+bfvZvt5W2P5Atc+Hfi&#10;uw1GaXwlqlzOQfNGhXPiOx8TXaLnbJkW5FyoyCQJYYzgg7TyTPoPx2+L3w/R9Ak1vxXoUTGFLjQL&#10;2S51nQb8qrHedMmcDLblP7ho2GO+AK/dv9p3/gm18QpdBXx5afs9eO/jT4DhlmuI/jN+zx4r0P8A&#10;aW8DGAXDqNQtrqxt7XXoo5j5lwkc8X7pXAaXhGf8i/GXhTwlp0z6HY/EjxxYajaSeT/wjnxl8ERp&#10;HZKEO52Rri6KOFCgMHiuCGBAGSK5nSpcn7+Nk+vT8D0sPi5SqOEJXfWL1t20fkyz8NP2vPGXgN71&#10;dE8c/EX4eprN7Lqd5f8Aw48a39vYxXDyeak4s3lLTI8x3zwXDyrIFUAAqWb1nxpeQ/F5W8aaPr+n&#10;WGsXYb+27fRL57fRr67bBN9psL4a3W6YySTaY+4QytKYmEbhR8M6z4Sitb61iSLw/cw+aEOoeCL6&#10;eK2hP+uczWN/skx2DQuF9FyQS7RJde8M6kl9YLLrfh66uDDrmnxrNZ3BAAXzliYBg6BHImi3fdyW&#10;IwRxSoXXJQnfW9m9LI9O9CaUqsOSV90t2z7H+AuoRxfFOw8B+KoJbPVdV0PVfBf9k38zJYa1puuw&#10;7LqGPcwHlmaO2nVc4VopOMswGgdE8Sz/AAw1HQvC2n69qFv4G1mw1Vlmtnn1M2aeIGh1SymMe8Mb&#10;e8s44nHILPuJywNeaaP8QLG6isbHxlpMPi5fDzCbwN41inNl8QPAtwJhcQzw3COEuIwYxuguhJGy&#10;sdskblSn3N4e1/xV4g13wp440DX7qfwj8VvAt/o3ipLIG2lsNetJ21AQhI3URfbp44l3gkxySDcW&#10;UDFwlCpBK12v87/gyqtCUJOcnpK2vX/gaHwp4u0IafJJ4n8L3d0NJjvbiO9Icte2kTXYutJuVOcM&#10;NjujkgASWy9MhTH4i0+w8c+H5ZdJurtPEhvk1zwxOs/lW9hq8TCeeJ4mb939rWNQpQj50j6lSDkw&#10;+OvFXgPVvE+mXckl1pthqVzYahoupRC+g1vTZZJAI40mV8SxxyxvEcbleJcYIBq8+o+G7m9vNG1T&#10;TDo00sQ1HTda8MNJajWLRmZo7n7M5MQliJfIieMblKnlRnidZ2U4Oz/4Y74YJz93dbJ31X9fqcf4&#10;n1K28TaTo2tDTjp/iWy02Wy8XaC8ImIkilkjF7E20KySqTz94Fs8H5V6Lwbc2eIfD1yxmtdRsnk0&#10;S9ikEF2yBmFxZGfbtWVdwKkru+bIyDXe2ngc+PPDsfiCw1i0v/E2lAQXunWObZ/EGnpM8ccqrvJh&#10;us7naGUBJfMJV9x3P5Hbw3Wi6s+mvATAtw1zY/aleG7sznDRSgjAdSpLA4OAc4xUYiVRvlh6/wBf&#10;ed+CUGnRqbrQ9UbTJW060kmguF1y2sF0nVpHQLFe+XGyq0wPzCTyRDMrEj5iW5yGrT8Oz3WoaT/a&#10;GpMZ1kiaGe1hhGVkDlIpYUwCuPKRxjJ34IAwBWNo1zf3s99IxnvIbi6iMkJUPeRNBCNhyVZmGJFT&#10;AILKOo25HtHhK3h8HzXWpWFlatrtzZ7rC0u9t3a+EQd5W8uY3O0uWCCNHACFt7g4RG4W3Fv2j0f6&#10;7o9n2VNtUqS95JJfLY6q1TR/g8ml+J9XuLfUfinqWnpc6BpEircW/wAPI2TzINX1OFlZH1NxJG9t&#10;aYxCpSaZTujif4Wvr43njDUL3WLq5vYLHUNW8RahrWp3z3U+oatfrLM91fTHLGUkJCpchmbdy2/N&#10;e+6rc2t5NrUN5eajLrWsTLcLf7mmmkE0jJcEzyMd+1VMjFSzYOScgivNdSji0u21YaHp1kiahqba&#10;Y1o9sus3lxPbhRDIjSoY0w5aTdGisAGIzjA0w9Zzqd3skul/6+8wxGE9jGNNq8m7tvd2X5bpL57n&#10;D6D4aujpJlisruy1HW5RcXsl0otrKKYwzSRxRzuQOAVjCjjc/BORj1v4i6Fp2vaR4Tey3waZ4N8E&#10;aD4c1RogFjfUVhN5qdzPK+AUG7CsNxzHyBuWovBFjdan4o0LUZJLjULG/wDD4uLSe+u7iea3lYvc&#10;Fo3disK4hkUpwoJ6Akmuq8baRYL4RtPDkmoxW0Vhq1xrnieYszXGptBCxiUqAdyIFkdQGGDEjEE8&#10;jeWImppQ0baf3Ky+5XOWOFkqL5l71nt2dn97Z5HHqMFjFpmneFLeNbDVZJdc1eS/zLqM06ARW8jM&#10;wCYVPPlWLpF50ZB3qQvpOlJqGpWmqPNPLJc6lb7dNup0Y3kHlwvbvGUP3SYIzJgA/wDHw46Yxwdh&#10;e2enpbatFpc+qtJYpPZR3MLeV5UcbFNsMYEnP7pWUueDzgKTXo13qWp6nBp0R8nRtN0vTDFefZCN&#10;2o3c7M0xAUkhQpEQ3sflTrnNZV6zd5Ner8ysLh1TinJJW+++35jYPD1xOLaS8litYoUazSZZ91y0&#10;E6SNKFxyFfa2WwCdu3LBDtw9YsotRs7zR/Del2qWkGqTX9xeapIttpZmeOFGuNoCgqkcCgKWO4uv&#10;AK4ru7ywvxpthNY2hiikuktrOW8nF60rXXILTDagVU+cqFYqIjyu0mvn/X5NRktL97cytb2upwIX&#10;5hDKPP8AMAXrjcIvwDZwSK44168vesu/5a/ed1Sg0lSpp6dfVHYeF9GTS7PxBcwahb+IdX0zTXuJ&#10;jDGttYWqqrRCO0iGDlgjLkhSdzZHeun0nSbU67okBukjs5RNNf2s6GKNhAIZW2gYGRvuB83PDc8k&#10;1y3gmwtLXwtrf22Sa31AWS2du7jLXRZHk8xn6EhwjdOSRxivQ4biW90ddSs4o49eXUI7iUNAphmh&#10;uAhlYKPlBkIclcYDbweu0dM5VZPnqP3lb8V+RhTwdOMfZLSLX+Rm3OuT6VbXWoCVJD4f0G5h0WON&#10;VdfOeR2tyDztCedN053Ek87jXzV4q0v7Rq+k6HaCLTdI8M6XD9s1CSMMbG3hmbZiPALTSMVCIWO4&#10;7SWUEke+a7Jd21nFFb+TepFci0gtoSBLdOrMAR1zGWfd5hGCVJBbaQPLdD0+18U6xDbyTh9GGsGb&#10;xFrcTszX9zFIWnn3McbEUNDDGOFihLcNIWbfC+63Vm9Fb7/6Zhj4udBUF8Vunn/wyL3gbRWa91HW&#10;pbS1ttO09LZtKsZUF/J9omb/AESJlwvmud1xM+AA0iRghVdBXd+NvEEHh/T9D8LQ28Hlf2lL4h8W&#10;3Ucwe78TaqiF0twGyWtdMjxbL8oR55r6Qb9ytUeg2Vuuk654zt7ybT9PbUnXwhAVbz0UBYo51fdl&#10;ZY1dBGVG4SShgVMZBjtrC103xDNrmo6bY6v41mt7ey8HeG7xfteg+DXkcvFdahCD5dxdBIyVtGJV&#10;BIfNJfKx17WNapeUrQSu7bt7/e2cMsM6TjyxvN6Lt5v0SPmb4g6nqGnyXuqa3fXN54p128fWJZ7q&#10;QLcGSZ5C8qhemQdqk4+UkDIPMmh3c91oPhvxfr9nbkadDB4J0S1kibN5Hpt1c3sU0q7hvdn1JoA4&#10;A+RhxkEl+pW1r4r8SeO/EWoXVzrElleQwxXVwA9xrF7cSTqkrt90FxCjbExtEq7RtAFem6VoUkfi&#10;TQPDGr2kcsPw901Nd1izjCTW91MssywQjcdp33G0Yz/yzzzzntjVpUqMZx3lv6b/AJfmck6NSeK5&#10;d4r8ZaL7rlLxV4bi8J6KfE+pXcd/rXiW2VfsRwhsVjlaS9d1GdhaUlEzjMcAAUDCnx2+gmudfh0u&#10;C5dmk0eI3jAtGsIuLdZZkGeAXWZo26YAIwMsK+lPiR9guvD3ia8hVpodPe08OrMYUDXlyySXupbe&#10;pf8Ae3bL5gHIBJwSAPI7CxfU7nVp97vf3Fwjyt5eJjNfNAkapnKlY4/MZcAY5XOOVinWU05x3/Jf&#10;8C5rWwTg40o7LW173d7v9DmvBlvbza1dajJIqXMkH9kaakcbEQq00YYx4yN5Me/LDAVG/H7C8B6P&#10;e6d4Q8Z6/YzJbWcek2fh/SYd6qSkuoMBFEmPmjJBlYAgFWXPWvF9C8DSW1lrMtnItvrem6zd3ME6&#10;gxwJDBDMxnQk84+yRhACDvuOMkg19FyafLp3gvT9Kso54bl9V0vRbe2ZmO+9m+ztKfLUEOEghlOS&#10;ePtIznAasMdUk3GF7xSsl6rc78uwcudykrdW/v0/A52x8Otb+FI7TTbcwy300fh94J5nhn8y6SSa&#10;6YnPBj06G8LZDfMjEE+Ztr2v4kfEeKbwVf8Agvw/G+h6dcazf6/4inhSKzim0xNnlwwDDMBcZhgC&#10;lclnVELlXZa1va6NMZFmtPsOieCdHl8VasLiVvMv52igt4twVciSUTywq2MASpnAyTw3iKaHUPEm&#10;kafLcJPqmpwp431yDRrXzItPe2Dy+HtDt4weGjaVJSDtCSGLhfJArgnWp1OWNbV3cn569fuPXgp4&#10;aDjSSutE+ye9vN3R816tFrHh25muhqUFvruqB724ENxh7JNjTbEHbykaOIDG7cPlOevcfDH4faF4&#10;lvdIurmbbpeoTSX2v2f2YNINJskEj3MeW6TMkhWM4A8oNkLny/L/ABRBfS6zqNr5Lz65c6n9guRZ&#10;sj/ZkS2SaeOLB5G5tmQNo8jjOa+oPDuiy+G/ADTafGF8Ra54cg0N0DBZoRMLaeQJHglVke6itt+c&#10;7baYcYONJvloe3vo+34L5EYWjCtX9lZt3v8A5X9dTrfgx4e1Xxf4+8d/F86VaQ3CxI3hPS0RZbjT&#10;zfzra2EFs+PkVLa1vneRFG0AsApVK774x+MtC+G/hB/DXhsvfa9q0Et7fXhvWVn1G8gt7W4uplGA&#10;8MMZlhjiO3cqRqwEQ2P6z4R0u40DwFqdtotpZxx2+tW/h7R57ez8w32+3NtaPKmwIYzb2MDlGB81&#10;7tgxfLBvmPVdJ0zW/Fuu65IZ9W8O/C+2D3s2wynWtWmLyMHwT5riVlRBnaAC2zCtjjnVjUqKE7qE&#10;Uk/Ndf69D0Y4epQw8sRSV3J/i7Jfd0PCP+EcnszpVncSvYXWoxLJqs85ElzFbvHvRJOhLNh53JHV&#10;oV4bJPrnwj0GMafr3iy1lXQNPutU3L4iv7YXN7a2kaHbBYQN8jzTFoxvf5Q0f3WGQOZuNEvdV8Qe&#10;I5NXnnu9Vl0e81y9ktjumO6Ii2RTgAJ5htoiOCF345GD7zqHhiy8M+B7WS5utSifwxobaZoVmS8l&#10;tf3tzbRia/WH5i8g3SRRHHyuWKqMJm511FN1WrPS3ZNmdDB+0ppP4tHfu1+Xc8Bk1fxLZQeJtV0z&#10;S9Rsr/xDFNPJr2qXp1DxG2nyv5Fvb20nPlNIRCrzL87FigCqST1fgXwWNKsotInvdPiOureXmr6t&#10;qDLKBb2SRveXAuHyD50kkcCFNzskiqo3SMh6+bRdbvn0PwxqUMET6jYR+LfE97p8WLqzs7LbbwWa&#10;AHaixxyQwCOM4LTXErFgn7q7p4aHw/d63d6ZJe3s13B4W0W3+zCS206NFe4RSxwmXubiGTa2SNys&#10;wIABX1iEG+VaNW77afmOeCdWzqevzfX5HOeBPAskus3EMOqHTJPEFtLr+ua5cSBZ9E061+Vr5icr&#10;G7Fzb2ysOZHLKhSJ9vaeJvGHhTRdP0nw34LZzpFtps+lafqN3M1no8UEqssv7zk7ZQku4kB5N5J3&#10;CXcd6+0SDwayXfiq0n8Q+LNeuVtrLwZpafaI7+WO3FpbW08KYeWGFN48ssISZpdytnNeX2PgDxB8&#10;TNW0/U/HniGyi0eBr+0ufDmgIYtI0+SGUpchpE2qY4nnhWQIyq8j+XkICxzVVVUlKVopu79Pz+RE&#10;IKm06cfeb0+fXTa/meP+MvFHxA+JHjjUNG+HenXXxhm060lln1e90m2stA0UvEqPctNNL9ktoowI&#10;xFNdP8mIWAVzx5TB4E1lPE8R+Imv6rLa+IFzqGneDNXNrq+vKSrRRy37Ru6xM6odxiIPl/L0JH3f&#10;ruqaV4K8O2Hw8+D+nw2FsZj5k0MUcWm6leo0Ila4jPE8yJK+64ucKRhUjVdqJ5L4psI/DWmWOoa1&#10;ZeGdd8T6tFB9mN1NJNcFSvkkyxwYItlTa4kDiS6YHblX3S9VPE06aisOvd11e7fkuxz1cLjKkpTx&#10;Mk32WyV+r/O3Y+d9T8B+A/Ad7aXlwmlm3mjm1C70Ww1VtQvtLtwoZY7nUGAVrlgCCI1Y5QrgMdo0&#10;7i78Y3ZSws9C/sHSL5Y9Q04vp8Wm6hDbYY+at9dsxUNzvlIdpGUCMDJRvZ/CHhyHXfEcOonTNN1v&#10;xf5UFujRwW9h4e8GWsMMjTSvayf6OGEYViBhUKlcvwa9Q1XwFD8SUh1rV7e9tYL25e30/Wor6bXd&#10;b1ZxGytIu5U83KIFWdY4rWD92I4cmTKqV7tQb0319eg6GElB/u1p23fQ+T7rwJ4F0bTnF747aO6v&#10;G33mn6fC/iHU9SLq6J58Uz28O7GMZkkJ+flfkNepfCrRPhxHeXH2P4Saf8SvMV76Gf4y/ExPAnhi&#10;zs4FDTMdHspbaOSRjHKESW+uSxdI0tnflvWLzTND8D6O1l4T8KaZpk9rYM2r+InEWq+INKt5hMXE&#10;cjxukU8uDi7uGeddkQhES7WbjtH0LwnJeaRHr9v4u1PR/sKPHoPh+/tvDuo3UgcloRcy21wbG3VA&#10;YypiaaXyy+AR5UfPPE2bmm+Xvaz28jupYCEZLnWna/XTf9DkW8Q+FfFXiCX+xv2e/g9BHbXsVhpt&#10;vZXninT/AAlCk7PGf3dleWUmzcN/zK0jGT5mACqO1g8RaB4YuoLbVfhz4M8Oyb2uFTwd8X/F/hia&#10;YB2VYTbyXt7GsoDbQkobOMnrmvdNL+DXij4kX1hp/hP4Ya7fWT+V9g8P6b4lh8OeG9Ft22mZru+u&#10;Q93cyYL75kS3XcGZAq4Rumn+CHwy0Bl8PX/i7w9deLItRFlqvh/wFolrqt+5dWklto/EF08147wY&#10;COtuhAUFTIWyq41MbyuMFO1vm302N3lWGqSm3TvK6bS2119DxvQ/Fnw91bVor2wn+MXgSQxSvIfC&#10;njG48Q6zO7Mwf/S4ItMmbMgkOG8wMHCkuFBNjW9B1bxFpt3daf8AGjWPF7uiCfS/ibrOo+E/ECtA&#10;FZGW8vbaW0mWPdhVjuvb5TjH09pPwj1C3sZF0D4K6/pWnwQPLc678R/Gt3cw7FRCbiDRLZLZPlVi&#10;xafL445ALGvaabrMctzYaho3g+YRlFhttO0prDUbgMdgllaIsw+VGUK2QwTJJI5wq45up3tfol2v&#10;+BtRyyNWTjR916db6NeaPznm0rU7a2t7CfxH4n0W1+2CzRBqMj6SsjfMgjYtJbu2SHJQ8gFioyBX&#10;deBNe+LngXUor3wF4mvNTeG3MwuNK1g2F/tjIUF/L2GX72wryAGB5UEH6clth4Elub21XRbWHUv3&#10;t5oF839raLq0boV8ubTrlZbXO0BVeOFWI2ENkBh5h4k0T4b6q9rr9mPEngPxJFJA0Nppl6dQ0ppp&#10;mWJGspLm5SS2VMwnYRIAXIHVRUrF0cVFJq911W2ndFSwGMoSUqbsrLS+y63T3Ptb4W/t5+KPGf2H&#10;RP2iI9I+JGmQJFpd/b+LPB+n+HPFEkQ3xbU8YaRYWurWzASvte7F0gOC6ttU19j3XiTwknhpdG+C&#10;/wAVfGXh7w/rkMGqXXwK/aCu7DVtM8T3ysgim8I+LdItU0e5aPLyKNQt9MvYwuROxbbX5DsPHhtb&#10;bSX1vS/inY6NPJejw74hefw946VigytpqaKbebO5gkbiRjtUEDAFdx8O/wBqOPwRHH4evLLwb/ZC&#10;Xc9r4l+HPxG+EV1NdQJ9yQrc2dwkE7MQw84W8cqO0bgy5ZkaqTp255c1PR92ree/+Z5dXL/a1Pa0&#10;oqnWTeztGV+8dU/W2nSx+m2pfFnVPEuly/8ACzU1n4xeJvC+ltb6TY+N57I/FnwDbeVNCbax1sNH&#10;c6lYxO4lGn6nPLCuNsU0IJc/nz4+/aDh+FXiCeDxH8Ifhn4n8ParcvpbeJvDvhXUPA1rKJUdzpmr&#10;aebqc29zGu5HSYlm2b4nMZwv0b4d+IXwR+Ml0b/RptH0i7skW5vNFkkn8J63pKxYSSbSL6W3yCfN&#10;RSEEq4Vd8T7RWJ4l8B+HPiIutWGhTQ+LmFqieIPDj69bax43S2l3BW1G2MSeZEXIuLe7jDFCjAfO&#10;HDelRxXt1yOq7X0aeqem55EsE8LVcqmHSvuns9tv+AfK9r4S+D3xUQQ+E/DPivwzp2o3E1yPD/hD&#10;4kReMfD2hSuwH+g6Lqbx39mZZPLLS2c7B25wSNtc14whuPB+i3HhDS/E+ma1YaAf7T03RfGiXdl4&#10;ijngVlubUQairGQSo8gR7GWQ+asa5wSD8/fFz4GeOf2ffFaz3kOuWVjdqup6Hrc+naj4dt2hLFct&#10;dovlJJEQA+4oBtGF5NW/h7+0h8U/B97LPb+LbnVNBvYgk+j6vcweLPD7EYA8zywFcKMACZJF+Y5V&#10;ucWsXi6cksRFSjumtH56/wBXE8Jh1Rl9Una99HdpWt6sd8RVTV9EvtQl0u28JeK7xIIoY9XntYv7&#10;Rc7S6RXxdJmiZWJ/0hWJY5LqvBZpHxei1bwevw8l8E+FfCnxD8IyQajY634Y0jR/DGv293YiOWx1&#10;KS6itg14ytG/mq8jCUSkZZS619DzfG/4R/FbRdG8PeMvgb4Z1u6uLia2kvPhpexaBq+nSHylt7mH&#10;TFjijHmssrARiNmEYzGCMDiPiL+y14L1yGx8QfBPxJeJqGkhZLfRfFVjLo3iuKcKrtah3JWTYAm4&#10;yMpcyccg56oKjikpYdtS7P0/pHiy+s4WravBOL7a22s11TZ97/Bv9qr4RfF3SrSXxj4K0fwr4+t4&#10;7Xw/rc1rqt5ZeF9LuoUMVxeNCZp/O8/fFNv+XaqnajEnb9R/FH4F/s8XYuNO+H3xK+F3xZudFv5L&#10;ebWfhj8WrS11O2dI1U3emyXmnw2V/EXaVDbo7OzxOiKxUO/88trpuv8AgrWr/wATX2jX+lQaRNFp&#10;/jfw/PZyafPA+Uto7ryzKHdXkkAXyc7N7gj5Q1foJ8HP2ntL8Ma7rPw5utZ8a+A9S8R27aZrPhfx&#10;nby+HrW/tJ1RXinEsgjkjfYZBKUBZQp3Y2kYyw9ahL2c4cy3vq2rab9rvW/katYXE8tWjPkm01a9&#10;lJ6Pr1ttZ9Xoew/HD9jP9orwlLpuj/EH4IeOdJs9U1SPTvAXiC5OiXZ8YXEsIeFdJWyv547yd41j&#10;VmsnWQ4XODkV87z6P+1v+zlrlk/gPUfiV4cvNPVb22im0u/0zW9OWKUl5Jra4jS9jRHST968Ziyr&#10;FZMZev2X8DWnwl+JPwWj8O+GPih4o+BWseGElu9R03xJ8Q7Tx18KvHUyFUWDSdGvYJbBbpvO3rEk&#10;0Ejl1VXQYWvzT/aR8FeKfhn4qi0fxh8RL7xBpvhO4Fzot94a8YanoHiPRI2uGRUXQLueS4t1kDyu&#10;yaTdSwMrsXwY9w6K2HwuIUakaSkrb31T0v2fRnDhsXjMJVnQr1uWza1ikmtLdWnb+uxUu/20/gp8&#10;Ur22tf27f2Yfhn8QtQ1m0GkW/wAbvDE8vw9+JErMW8173xHpvk3n2oTMGB1RLyJpIoiGJPPrWhfF&#10;j4nfCXws/h39kH/god8SPG3wvNr5ll+yn+2zpOlfEfRJYIWWR9K0XWr9dS0q8gILGOOaHSXDCM4k&#10;b5h8KeNdHk8Y+ZrdwdK+KPhSOBpdX0pLf/hG/ibo8Twjc+o2ZRfPKozhL5Ufd5KbywTavyV8TvhT&#10;q/hDwg3xC+D/AIvm+Jvwi0TVY7nxJ4cMFxbeP/hBeM+9lu7U8xwspKrNCz20uXDLHgBtcM66XJQq&#10;WXaX6SWvqmzjxUcHCXPj6WjfxR2205oO69HFH7f+NP2z/hj468J3ngv9qD9lf+wtBFsNKvdd+D9i&#10;NEvPB7BQiXdl4faaSJ4XZN3m6fcKiyCVxC+8bPxR/aa+Dc+l21v8VPAWrWHxb+FEWsLb+Dfjt4ND&#10;pc6PbSSRxxaP4009sXVjdKZo4t91HGGeRFEjbkWul+G37RV74506+i8KXpuLrw9bNLqPgLxVH9s0&#10;fWrV1AeazVSTbSHILpCNq/eHQY128ZeCZPiLoPjLwt4asfhhrM0LS/Eb4faPeLqWj/Ea1EBjMBE8&#10;s9vIJSu5vtMQmjCnhsIK78PmlalUdLG8zj566eq1+TujzcRk2GrJYrL1FS30ur/LbrvG1uzPi74r&#10;+I5vgP4c+HvgvXtNV3+JN7N8V/FsQYLJpsE0MVjoCQ4J8t9kd/eAjDFL+PI2tz2PjnS9G+Lfwxsr&#10;rQJ7W71rS7YXto0A33EzKC3PJIL42kDg5Hbmup/bI0ew+MFldfGjR7eW7sb6G30jx14QuWeWTwJq&#10;UMQt4prJ+GXTpEWKOOHagtCiIMxMpi/Pn4X+N/EPw315bGK9uLnR5LhY/LkdkOMh/LlUHgggcex6&#10;VvisHTzHCwxuE92pBuVvK+3ySszmwuMnh69XLMfrCdtV0lbr+Fmj9H/2a/E83jH4RpbXV35uqfDz&#10;Ul0mSKWRZLhbS5WV4Sqk5xFKsiMfWQADkCvcFzETJuMiKpfy3JDchjwCcdQo/KvjT9mTVbTQvjd4&#10;j8KxXRtdC+JWhTyQKMSqszRPfWsOMgKxuEEJk6osucYwD9mliHiUrwWIbfGYxjYB0z9SOh5HcV+e&#10;cQYKNDGOb0U1f56P9T7jJ686uG5uqVvmtPxtf5kuI0aNvOAzhQB8y8KSMYHIABJ6/eq1GwlVBC7O&#10;TGVUIp3rj72QCcjqd3ByOwBJgiQ+ZGoL52GNiSyFgAVbJz83Izk9xwOMmURrCxyjRGQ+WSXAJbBy&#10;xA5AHAyRzwODwPAvGo/aJvZ/5HoJTjNzT6rfy/4ctxhVVinllM8YYlMjpgnkgbupyfmrQ8nduGWV&#10;kDBlbjbsZgxBDdihGCMn8BnLjAld/OJYl8ldg2nPy/MOnTv1yhJyauxNLsDqpITO5HbaBkEAccKS&#10;SefqRnbkNc3O4w3djTSaSkveu7/PSxeWRleQscMVACdEcYZtx4x90DrnjHYZq9BN5YXKqphK+Ynl&#10;4bcAe5B6Fc/jisx5wCCoACId8kiA8/wkrkDBPoBz9aRDtIYvulddpVm3uM5Iyevbv+vU4Sk53pzv&#10;e6aZs/cXKl/wbGzHIScKzuGblQDtlGTlfU9Bkf7S9RVppldmVpGKsnUOMDBA4/FF59x3JziCbyc7&#10;tonB+dWwGjGWHC5/ury2O544qeOYxuG3KfkChY/llZvMQdj1IPOMDJB9SdbRbTXVC5oJOT6tf5G5&#10;DcEMjBn3MqkeZKPMUAcqSABx64xy2BxUy3AwCZmw2Q6/aNigcj5lxnomRyMBeQcjHPwu3kgrkbjt&#10;jUNkFSrYHXAyF79yKAnzKRE20Doww7hRkEnk9QT046mpUE17z12HzOErJ30+RuCV1fJAUltwjJ+R&#10;23feCHuuO/Qrx0zVd53IUAlomjDKN2QQAMNjryCQOpHI6Gs/zWIdHYNJtwNzZViQxODz0LMcdyw5&#10;AJNLLJhjIsmPLbDhlDKzADHP3SO2BnP6U4v95emjOT933le/6lma4RYwjKMrGzRIP3hYNufbk9fv&#10;Ec+p6dKrmdlLwsRjcVTaWbeFcEsD34Uj8faqvnKY1kXczbBEm0MdzEkEYB9GIxjGADnk4hfOyPCP&#10;G5VyGZhvbcoxwc4IIVgR3XHzcCm2lGyX/DhGNWnLlT91L9bkkxKKdr7w7ghgQvJXkHLcgAdO24et&#10;UTLI0nyB8KCu4lUXOCMAHcMZYjB5we2c1GZkcES4VUGBg5wTgFvqSSTnOM+gqvJmE4ErJnKyg5Uq&#10;VLDA6EDB5PQ8ZHFNKUfdvt/wCJJySf3/ANeo4/OEmSOT5V8xWdumA4YgnuQec5zhiKilO+RyVLE8&#10;8nEQDMWAPuTkY9PbinSERGRl5dSxfy5CwKDIBH+c4BHsKnmSF3TMnztn7vlFVQ8EjPquRgc5/Cr5&#10;puF4L/hgnTpxfJU0bf46WHggNsZBIzgp5anKQ5JDE5xzwrDtkDnrict8zGN32S7VOxg5kxhQQcHg&#10;Hjnjrg9M09rZ/hG58Asxcuegzk5ydvfJ5B55xZkUZ4Y4Zo9zKPL53AEKCMYO4jAzwe+3Ia5U423t&#10;f+vvJ3p8ttVb5k0ZUMFU7kdt0ZbDI3CjcRgg5yFBGeOeKtxhZPMDEpJlV3FnCMWYEgH/AIFnPPCn&#10;J4NV4i7bMZ+QBFLcKCX2ge44z+PPobsEYIeVkHO0KsnQHBBP5qCCAcbgcgjNJK6X9adRSj7SpZK6&#10;7/18iwiMi7XH7t4w/XYoJXKtnj22n0b3q9Bk+UEO/A2qI2JdNxUH2BY7RtJ52DPqacbkIRv+7h2V&#10;+T0bBHpnkYPGefStGNPLB3kgId7gkjGVzw3oC2Ce2COCDUyam1zrZ/5WNE4J2pry+ZMhcPHNxJhQ&#10;wlG4sW3O5kPPPLEKB0wBWhCPnkCncIiBsVw+B2UsOOAcZGepPaq+zbjzAFkTaHAUDeTGpYAHphnI&#10;B/2Occ1eSJikbIru213LKAPnyMYx24HPXLHk8ClOV4J/1qVqrXVrPqWrdGLSNG8rOYlAjDbiOeQQ&#10;BngKvIHGBnkjNyMBtrMPleYRo45aRnJO04HUnGCeeO3FVkMaFFIRogElJIXYMfPjqecnnHoKtJ5h&#10;VZMuSzMQVz+8G5hlsd+oyxH3OuSMjuoXen+RbcYNQitf89dS5GI0jchmeTcwaRiAoxliFYAjBxgD&#10;oMnJOV2zKkjBmYJyFkID7VAJRdg5ycnOfoBlcrUcpwNzMyuCWZsZYgNkgc88AAA4zjqMkhSkjEqo&#10;jDq+12QbOGbIIIPUZXBX0BFEGt++3pcHKnGSlFbEsSN5cYd3BRcY25MgB2g9e+SRRHtkJYy5jOED&#10;AjIHGMj6gHJ6GlKI4RfMkALq25Tkkjc5IXoBgbQOmeO4pxjZfmwZWZPNcM2ZHP3iPUnAIHQfyqJr&#10;mW9rmcuWasnpf/IdErldj7VXIYyI+1GI69G3AZz09PcURyypKrKNo8wAIjYlUnc5LAnIB2ovyjPT&#10;pmmqJA53BnbzdypkuxBXac5H3j83PXGOeBUjhTtAYMSAGdowr5+67Nk/j34HfrVNJpdEzaEWo77W&#10;/TUUMVAj2sqb/KD7txYEHksTnoowTnrg+lIGPmpsJKs4j3ZUYAYk444BXb1J+b1qVVV9ysspAxvZ&#10;VKkcbxjnjBAP4jjrUTblCFTlQQuzpwGPDHg9zkYweg9CqesnHqglGnGH3fPawxGAZUYDy1by5ACW&#10;yzEKAWJ4HIOfp75QBuQ7K0eD5jkZO0lQexzxk+5PvUm7OGyqOd0zrlW837qEdQSSH6DI/dqewIjb&#10;Lgk/uwzbEDybQTuzuIOcAFx2yQCB0wK5ny36f5EVJSv83ckl2mF9quu5iVCPscFlG1sHk/eJLgEj&#10;dg9QDVG6Q7mChDkEMzFXTkr8vPqoII3A5z7yypgNGZOA+SiOViTLAnkHHvz/AHu2Ka2RuAwp85tj&#10;P8pcoxCkHPQ5HGfx9BTunGK16Mqpeb1WzX6aiFFJDYjcKMorvvZ3DZUY46FRnAPOeaVkwhdJnJZQ&#10;gkEpaSQMQc7QeTlTnjjB9jQU3kuTnbKQqBPMLbj1+U49MDrjNKrShw8rqgc7JJN+So6lguOdw+YZ&#10;x05zmom4xlaOi1v5lxlTqRd4+XzutfxEBOBsbIY8eZw2SxwT3IDYPT5sjmmJHtd2kYeZIR+8J27V&#10;ySSc9sEN6/KfSplQHBX95yGUKS2xVADbgORk7myvY1ExEZLM7MjOYpUkAXPmMq4ODxwVY9wuTyMV&#10;SlCNnJOz2IlCLXM9u33DHjIiLZKSJywPSFshRlhwMhj1POeAeaR2GJFKjd5AKoGJDOoLbtwU9Srg&#10;AleWGcgEFyqHLlQpEjLlhz5ZyQD3zksfmzgg5PAyVdBsG8rEJMMdw2tz1JIBYHvkZP1p621en+Yo&#10;+0k/Z6WvqRvGmPNLYwzKE52rltu7jngsOTx+8Gad8uEdDIoK722nK/eXJ5J6djnJx07UpYqjM0ID&#10;PG0oBxHJ820tnORwBuJz0XHXFRMhBkCmSNQWIYjk5U5AUYPA5GOhA4pKyTFeSvJK72fyCUqWA3xu&#10;keCWljEmxsZwG3DAwVXPUAdKASsnzMsgXBdiuNvVRgk9MZHQZJGTkjCR4wQfl3IXLhxsfKngMOG3&#10;bSOMg++RU04Ky7BJ5khB+bcCo68jHbgj8QcCqa96XpqJLnp86dvX+uxXOVRmkd5CW2xqxY+aWU5V&#10;SemPm645Yfg1omUbwWJwcGThmZWIw30PPb7xyKsAERFN0ZRSQgRCBh944HbGQMDptUg96gOZEVSi&#10;rnKAbxIPkbJ552EDkg9NtKN5QbS2sJqFODprdW/HqDWqTMXMBY/cyIUZRt+UAH0GMfhRUTXCbmzI&#10;o+YkAOoGO3B9sUVTp3d9PvJlXipNe6XNoVH2kHAIwrLjBAAwOpJJ2nluuemTSsy+Z5QCgyEMAQZF&#10;2/KrbgeqscnPH3jgYpQJHjIHEJdS8QcGIYJVueOOT2zhRnPeRXJl4eQrFKkjEuWViAIzuY5BIYc8&#10;DJz1JOOSU5Sd3vb8ipO8oprsMMZDBlaNFBI6bGZuAMkjrh85HdaY6bSxwS+/5MYCgMmSPQcFfr07&#10;E1Ow83c0SndtOAUCrKCdqZ57AkEHrxxxmos8/MIxg/u9wERbIT5CQBwGGcHPQgYyTVRsmu7f9IFT&#10;UeaS8/00FiI3F3KugO3G7ZggZUFsZOcckg8fhlFMZCEuzYYSLj90i4IJI9DnAyenPHap4fkbGSWZ&#10;shncbFBcn6dMEEcZHHY1X8vCLyUbYwCiUHPUKwGD8uSx9ePrUczlK8l8/wDM1nFPWOj/AOCSbYwA&#10;ZXV9rfKvysBkgkHjOQCOvTHGOaiJRNxDKGK/KUbfGnIIA3ZxkkHvgA57U1Tl3KFyVckgKsbKCMnJ&#10;9jwM9PcmrCncQuVUKqoqkKA2AOF9hh+f9kDByMVpDVa/8OOMoxkvT8SFB+9diWKqrNJIvygFdmMA&#10;5BDK7kEd8ZHSlQgKi5MeMBZAvynAGeTxjJJ5Ix82OymbzG8xR99N6rHmQMXyqEYPtwP8KMnaMv8A&#10;uMEpEJDH+7c+aF4PJJ5xyM8nGdpNFZLqNSjyc7Xy+7Qa4yoBZREyiR1BxuIUA4PTup994NSMnmAS&#10;JuAaIk7ZAqqRgncB3zxjoCfahWLK3HzSRKyb2GAw3lWAGDghlz2wi46mkT5FBlYuUZmfLbmO9u2D&#10;1+Y9B6+1S48s027sHyxfJDW+g0KyjCOMEEnau5YuAeD6nI4Hc5p4HmYyCoZzGpHy4JTjAIwQw+XO&#10;B075OBpJcx4ysKysygIOoAMgPc5AU4X+6MnkZdgqFAyfLXeXDKNgAYtnJ6jAyRkfL8ueMxyySSfU&#10;zjBRguXV3sQ5QPIWwjbd4YHkDktjqMNhf6HrT2jMbEuwUGUKqZBUMM7AATx0cg98n0Jowgd2DRj7&#10;q7FPmMvXqPUnaPxPXilMbfK3KkAkEsVZR8xY4zyARxk8HjkcU/ebimtL7/13LhFqXKvl+v5EYVCg&#10;RW2up3CUL5iglsdOn9zgZ5D8jgU4KrmNAxX5y8gIGFGSThscYJH1xyBxh+zy2CyLGySLks5yu0Mx&#10;JIIyQMd+2Tnggpuljcny/LRmKv5eDgcjd06kqw5zz6d1LdTb9DSVNNPutPkKuDKxBwqnZuB4TBIJ&#10;KZGRj16044Ajd1Tay5ZZMtjJBAHOON34dutAVNzDyyVYkLHt+ZeGcBj6fNjP+1T2ZA5W43qka/O2&#10;0bkAQ5wQOPu/lgDoKluUZWT0MdIy5pPXb/gjSS42gSGRlI25ZY2P3MkcDcMuPXk4xk5DyFiDq/BI&#10;aXLE/KMEcc4Ow8EA59aZATIyyYBJIlbDAZZcAhSSMZ6kdsnHoXl3IbiQ/KjMQqh2K7/yXCqcrkce&#10;wrRK0ub+r6GkdJJN+nmPQEAI6gkr8rL8uAFBXnnsVBPfB6VYOGbIKoVJkQqpIzwCQT+XHp3HNROp&#10;ZVlZTHHjfKUZsKCVY4T/AGSrH0G5qXDK4DkFR/rWjl3gYYZww4IHPc59xSk0ve8tfmKSjTTad77f&#10;J9SWQEqPusP9XIAMgZBDEHjPUHr2GPdQQgD2/luOTGAVkDlfY5BPGD1zs5peWGfkUjDS+U/BYA5H&#10;XPJxwcZ49qsRooKsQzShvLZRJ8wOTg4PbOQDgA5981nGo7Wt3NXSu1zbPf8AAaySPICsZWNNzBtu&#10;BIM4XPOTnaPzYUzdI8yqGjKEY3gZEaklWyeox14Bzg45xSE7vlDNJEcbg+RhRjA9+in8znoBJIMF&#10;nPCxYlDbw0i7sKAD1wAF4+uOpNU6bSUooxa5oKKXn/kMWJGxuYhmdv3sZORgHBHPrt446nkZqR5C&#10;7hN5lKhkY+ZxCwDHAGOhbHA/vEj0qII37thMxDfIu4iGPJ5I6t0+YDPJ/DNStG+UPmOGIQsQwJ2n&#10;OeB7Oy/l6crRTstv89BKcqaSSs1a/kiTaVDMTGSUyDk5JIGcZPGOcDOB1p24AoGQ7iC2YycODz06&#10;A4B6D+AD1pgaNmLFhOrHKqqhgRx8uehGR3/pUkW5WRQfKbBIBJ5yW+XpjHAHU8EdQamcUlzqOp0t&#10;U5R5I76COzfeYqhZzuAG1ccjGB1IOOnUGo3aYxqIpSYlYllaTanQZKgZGM56nueeeZJIAAQ6hws2&#10;4KCcI3yEEqTyRsQgnv8AU1zvifXF0fR7i7T5ZslLXedjXMjgxqhHOemf+2f41tFw5rpa3/yRPspe&#10;05JbW1Zzfia5PiGS58MaVem0MSK2tXsLhHgiIVikbZyHdSpG3BAOeMjP4eftn6ro5+Ks/h3w9b27&#10;WegabFpcb2ZzGZI2ZpHBHVjuwTz901+onxI8c/8ACvvCupaJpFwz+KtQsX17xDeCUymy3JHI0ruC&#10;SoU4XHUBCOvA/C7W9V1TXvEba/qCedPqN410ZCfmKq+TwScZ7896/QeB8BN5k8VP+HTX/gUn+iV7&#10;HxXGuPVDKXhYa1qrSX92K1u/N6eh10ngzULbWvBUPjhNQ0zQ7zTl1Rre5m3XS2wD+V+7/gWYodoO&#10;ODnpzXOeMdS0oazLbaJaLbabzFbQxAEKmcrkjgnBAJ56Vt+OviJrHxF8R6hquozoiMoEvlOVt7dE&#10;QIkUWfuqqqqgf7Iryi51xkkUhkdYlMcHmDlFBJJ2+mM8e5r9Pw1HEVJKVdWau+Vbe876/I/L8RUw&#10;9GLp4eXNZR9+S191apdludZpdjGGF1dszyRP5kcJXcg5yCq55+pGB+Nb1pqUmpX/APZenCSS+upx&#10;BCyuBbRH1ZySWIOG5+VeeTiueuJLj+zraCyS4dtSImlkc5u5sgEAjJAToeO56nt1mi2v9hRx+XKk&#10;+r3U32e4aIF4rQ5G1M9GPU56Zxnpiu+dOMXGc/RL0/4bU4YSk6aVJ3crN+S/roejakoQ2mh20xa5&#10;itFbWPELKAJsAKI4lPVcBcueMkdR0zNg/tOI6UsS+XH9mtYjJshYgYaWSU8/Ocks/b8aivrO/wBR&#10;up4iEgitRGuo3nnhRLvVWWLdnaVHykgcBm9RXMG5uZ5fsWmzkWrZNzeOwXMceTtyQMAADj6cV5zT&#10;1pR6769/60O5WUuZR+G/9eb7mKsk95rFzLPLHcyktufc7RqpGQE9Se2B/OvRfDujzacWvUEczZVU&#10;RlJTdIG2ozHqRszjnadmcZOMnR59IGo3cUlrHJq01xFa2CWrbooTtwQ6jdlnJBJBGCTgc8bvi65N&#10;mh0Gxmd3s0Nq823bBHvwZXzkg87gD1IIH0ck4qNGK1ZpGKk5Vaj6v8/6+4zXuLjxNrsUCXs19ZWE&#10;hj3OGaGec4klC84IzvYlc8bjnqa7e/tXt7VbFhFdQSKlzOUJMUxDExmSQnAUYJC9ADlucAcNYh/D&#10;drFp2nXUsuoToyu8UbJORKAWhjXrhlYA9Dg4OOa6cq9wEt7hjdXinzJNPglCW0DbQf8ASpc4ABB+&#10;Q8ckZBrGcbuMYL3fz8/+Cawaqe/Pdq68u1/X9SjCbSO6hvIA91JGyStdTuj2xEJVlRIypDBtyE7i&#10;RjGAc12PhHUYri8vLLQBLqGsHT7meeSC1M8kmEbzWEa8sSG43liAMADBzk2tvp08kUmqCW/zCILb&#10;TrdzYWVoVYsAzAbipJP+rAzkc4zXQeHvGdtYXd5ZaXaRwxNYzwTJpqJZW0JMBVTPtzJJh2GAWB/e&#10;HrzXLUip03OTb0draL5nbCnKlaNNK71bfy2X5dvmXtJ0abVLi2/4SS5lEkdwQbV3859jyl3ztJRS&#10;wbOGIPGCOMDu5bS51G4vLtrWy06S4uxcw6r4g1IxuIWiWOHyrdTGpjVYUwSzkIiDocnyG01C7uoT&#10;NNcFGSfNlZWEAjkmIyMu+cnr04zn7wwK6SDw/fTwDVNZ1G5gRGLf2ehMtxHvcsu+QsFQYDHA3E5H&#10;IwQcY25tLKNnf10189jWmo+zlzXcm0tOy/I9FnisLWeCC68dh9MEoSb+xrd4EZgWBV4lEaOwyo5L&#10;ZG3J3DA6Nk8E6bDLcafoOv65NDGP+JhqWkBLG2DMvDIFCBTgFS7crnOMkDxafXdD0aGaCKfTrS5E&#10;wkgexkn1PWvlUZzOP3KnLPgrJztUgZ4CTeILfxFbJDaeDdV8RXlnEpuNT1TVtQuPsaHg7o4ZPLQf&#10;eAMpJwTjGM1hOM3K1tPLsbVJ04S5oL3u1/Tp1/4B9Dx/F240S30xtK1DT7C/tJjKtwmt22k5JJPz&#10;PuUgZHOOeR2wK3rTxfqvjAtJqPiqze9DMYo7fxeIjAxG/eFW4CfMAcN97I6jkH5N0i+sEnkS48O6&#10;Zpyx/KkdndOt0rjLAxoiuzs5UZYvksVyeTju/DOk3XiW+s7fw74W1/UbuR2eaLT1kaadEY4CQJuk&#10;wQDlyGA2ZPGTQsPTdS+svVfK5rRq1KaVSpblTWzV2j6ftbPxvf6kEbRfC2tf2raRxaRqj+BotN1O&#10;R4RIExqDJJHcN+8bG4ZBiALLtwNv+wfiLp93K+oa1JBJOqRTWd/Y2em3XlZdowZbeJY0AMkmXUoS&#10;WGSSc1l+FPBh0KKb+3NB8B+EdUSMyBPFWj3HiLxHOFkkJSJZpoYlPzBCZFflVPJBNemWvxA1nw8s&#10;ukW/xC8UWZtF8+2tvtcOi6TDvilkk8i0gVvMB8tyME87fvA7axq14wmqcLNtX/r/AIc7oYatXg3F&#10;tRv26evqeWXfhDV9Zvnt76bx7dLcyrHbxab8QJtZ02N23Hyxb/aMO8jD5iJARu9VONTTPgxpdjda&#10;dHaah9iupJGkuoFtZ9IurUjefnkvJRC8ny55nGec4PX1a4+Kd281learpnwygeICWG91TXIfDWo3&#10;hjUgLJ5TfvQdysTImQwBLAZxrQfFnQL+0kjg+Knw08KalcXCq2na1q7eJNLZHDLK8c9kPNUsQnyP&#10;EVAb77FSG5pv2vu8l/N2+RtSpV4PlclZdvPf7jy+9+G/gXRpNQXVNC8c3WITa6VquleCNFn0i6nI&#10;ZDLdTQajcYyzqx3j+LDEfdrsND03/hX1lLHb+PvE/g2y1SRY1e8FhqOk3lrkGSO4az1CUox3RHZP&#10;ahMKSQ2CB9B+C9YvJI2/4Rey+FPjjUbi1MttceHtOm16XVBDItrL5aXNospLTZVNk6EOrYBJGK8P&#10;jPw2+p6ZbeJdb8CSyI0t1f6Td+HdW065tplTE5l8qRmtWXy9xLrsG3qCBUU5xTtUi76L9TRyqppx&#10;a79b/wCR33wz8DafcXkWm3Gn+GdV1WN5Ir34r/A7XdOn1a4gIHlrrWlW07WFzbnBQzLFGxaRx53Q&#10;D640DxJ4r+Gtj4e1nwP8Tre01jUL6XRk0TW3uNMjzEjR3Eqak0bW8ERKyI9rqg8hgdofaSo+Snh+&#10;EXinyv7YsbzX7S+vEkfVPD/xgubOzsxEB5IkluCWVIgWVfMdmGckY69lb+APhYbVxpnjz4q6xpht&#10;WmbSrBNO+JtxEhTzFCTSXECyRyFkywGQH3DccAxLmlFx0bv1utunmawhFNe0UrLtZr539f6sfXGp&#10;aP4D8SahDq02hw+BviLdagup3mv/AAp8Ww2Gi3ylytxcx6dEZrORjIu5/s4x+7ypVXUV7vqOt+Ob&#10;V9Hn1Cfw/wCNH0TS7R0Ok+CbXwl8WrOx8tY7e4nVbZ5rvyUjeNrm2a6RPnDqQilfzg0XVfAngi6s&#10;ItSsfjva6QjJdWXinTfA1zoXivw8oERCR6TLNLZ3SRvF/qJoQf8AbjPI+tfhT8ZPgZ8avDfjD4af&#10;FS5j8ffCyB4je+KrrwjeWWseBZ5iUtbzUfDHmx6xol0rW6lr3TXuLRmXDSzKRGb5FyKmna+t0rfD&#10;37ic5KTnFXWit3va9u2nQ+lZf2g/H3h3Q0uofEvw8/aJ8BjNn4g8HfG74fR6drlkjq4RodeEk1lF&#10;LGvmAShtLZi8SpFIWkaP4r8a/tG/D7xb4p8UeAfjj8BfEvwSvdZuY4dE1Xw9oNzr/iqwkkdH3RaD&#10;rWsRQapaziIoW0i/nmaEho4RjaPQ7rwX8Uv2UYNV+I/w0trH42fs33dtHaWni/wX4mXxb4k8LwXG&#10;Sys0Amju4Gh86Mx3kMcy7tslvA+SkmgeIvgf488K3mo6EPhN8QPhtrNrPda58L/F2hy6fouq3Fyz&#10;xrNPoIvd9hcMzPGbzw5d28gYljb7sgqnXUKkXi5NRt3unfy/Qw9hzRl9Ugm/uktNm9Nb7Ox8JWf7&#10;Pnh+28Tjxp+x1+1p8KIPjFpIk1a68K6RqOsfsefEnwwrSBonez8TrYwzvIjK5iebYzNhZioLHyT4&#10;v/HPxx8QU1WX9rH4Z6V8bPF9nDJZat8WYfDV3qXjLUXii+y2p1LVbS6msrhF8sqt1aOJWSP5ZZFR&#10;SPRfjp8DNGitDqPhTQ7XQNH02Z4dO8I634jvtUt9JZxF5g03UriOKWAszQyJJOtsCjQxmWby3I+C&#10;r0at4cmlbTboW+uwbETw58SLS5ivnIAETab4nsXa4R1BOz7QsURLBmkZFAa58t3OhK3pp+f5noUK&#10;cJ0l7a7k9Hza69bOydjP1L4T/A/4hzRn4e/EzTvD+LRr7WPh22nX+u69oUqqN1pDaald219KqsZH&#10;zayXQVY+Y+cDza9+E1j4WmlbQvEHxI8YW0EfnXFn4e0HTtL0uBNgYm4hlu7m6hP3SfOtU2Z4ds5N&#10;nxDdXtxfvZ+LtI1Cy81AssGvXNt4otwQF3eRqaFXlTcWZXYSBhzubg1esfEWqrFZ2EkdprWh6RE3&#10;9m2HiCytNeaJS6Kr2t9FLHdWrFtpYxBMbcdD8xHFTUuScVd37dTSngfYT9pCT5X0vdL+rnD6fHot&#10;zcpc6To2pyajDILa/j1TXWllmQoUZzb28UKApIZeHDA5TcCF5+qPgj4siTwvB4esreK1W28Vah4p&#10;067u0f7Dp95PoUsYIZTuXeLdn8vG3MeSAwXb5xHfi8vLLUraKzk1c3yPA97FG+tITIq7U1ZJFLqd&#10;oyt4JAAeJVIJPY/CmW30PxTqemR2WpW8j20WtwaXqNvFbxyPp0nnz7E8wq2bV51XyywwFxXPKcWn&#10;CnrZfjozvhSpyh70fe0t17r8St8d/Cz2fiGPx7oUUd5Y69badcXWlDM0CzzRsJlSQHaS7xzqEPB+&#10;ykg7ea8J+yrpxewuJrq2sLi7Q6RJJL9mu/D8jvsCyKfuoDH5cq4VvkBLZBNfVMljY6r4A1nQ/wDT&#10;BbeD1bWPDg8sSzHTr3EU8RcZZhb3MZfBwV8yVlABxXhdtpU+v6bp8esBX0e/nHkSNbRlL1Imkiuo&#10;Ypww8qeKQrLsOGIdjjlWrgVZttp+8rX/AMrep7SoxpLa99vl5mlpVkNNk0u8sIYdJ8S6fdi6t5bZ&#10;VjgvWUI2+3BIUk7HbywSGzwBkgeq+IdS8L/EPTbpfFdtHpXimCz+0WPirRbaKOw1Y4Qx2+o2bFJD&#10;kqu25gVpI9xEsRA3J8+w32rJaXHhbUnNrqGjzCWG+urnJ/dYAMTsQxGCrLznD8ZGNvVaVrclm2nX&#10;Oo+T/a65jtZbZvNt7AHbi4kyuw5+6IxnqSTnh8XKrKV723/r+up3UqNCVN07Pm3+/wAzrtK0648J&#10;XET6mkUOpXGy90mKKMtBMFRozLLIPlIKKPLUZA+8x+ZQ2uLaHVrrY0zRw+aTNGZZA1w0pcmYk/M7&#10;lhg5OOmQcA11Vm1y1gRfSyXel3lwNQnF3AJoIZMKrXMaAlVZlRS+3hiPmJxmrv8AZWi38aRWqW80&#10;N1Ifst1pYMtorB9uXI+aDJcEGQ4ORg5KhsMViOeSlH4tu606np4SkqdNSlH3dXzL7keYeINJ1W0v&#10;9EuUkiW207UPJNzKohuphcR7VDqcjflIhuQn73B55yTbwG91qzhDzXOmmTUPM+xCaJLu+t0JIUq0&#10;e1TFCfm3BWupPXA9Y8R6XYaVbR23ii+hFqFhNtbnL3DbnDu0cS4aZ4zHwx6ll7ZA4vSNRvb+1vU0&#10;LSrNJ31SWUalfqpnMNxM8kKmwT95zHGozLIu0hdqEFWMU6k6TbWjt+di8b7KpKMb2u9Lrytaxy+l&#10;WWp6S2taYZw0Go3Ed5CtyFe4sbc+W8kFqAP3SoN0ZzwRMVxjrT8XT6XNZSEodTmvZpWmZHYSxmS4&#10;hfyk5HEO4KPX5h0wRt2vnahr91aXd285S7F1dwW0CWGm+RBE8koVYUXCGVEByCc85GDjkPEE8lv4&#10;vuYIZLW1ZI7O9aeK0CFYLgySEeeM5bZHAyqWH+sBA5cVvGopcvJva/3HlVKFWE5XWisvX/htzU0b&#10;StR8WS6Po0Nx9ne+S30qytYjHAsIeRIgZ03bQAzsHZuMOPc1radpsthBYaTeGZbu71v7JBHdZaSA&#10;i2nuRFICcFlAKnPRyBkEMK3Phc1jod7Za5PC0lpp01veRQPEA8kUEylA/GSHkg3MR2ODjBx0etW1&#10;na61oetTL/aSL4ivL52VsvPPd2Gp7Tkc4kkkTDY48xOhNRKtduEle/4f1qejhcJCVH20tklv9xS1&#10;fU7s6XqMsqZs/C1pdGwjDnE92bYoADt6o0qhemGmk3cEbfN/EGjx6V4Ks4ZYPLnOpQLciSRkldW2&#10;NKzkZIPdiBzj2r3DVtE3w+FdAvUgkk1DXLe3mnTMAuskzzllB3NlbZlYZGC3y45xS8Z+F7S+jj8P&#10;XK+Vdz3twzzuwEEa/Z/9HAY9Mu7pk8AhScAZrjjVcOWKlo3+quepLCOopSkradPuj9yPMfDbvaTX&#10;2lamlvHJJFDIyX2P+JhDFDCV8pm4EmYE2kcnyzkEk1oXrHStMsNN0m8jbFzO7i6j3SJEoeYEk8lQ&#10;yYVc53Oqgc89HBpEfiPStMupYnGoaPpcSG9gQorJCrMkrnA5KlVZf4s4wcnOOLOSOW5udRmtrOHT&#10;NGnae9lgNtKkFv5QnljIXHmE4Rc873TqCTXW6zcrt66f18zir0IQpOT3/E8v8czam934a8L2kC/2&#10;lrHhyETS2rZWxtUCW8kwJGRJIYJogxGcyTODnGbS6ZB4Y8N3nh0R7ri5T+1NeuYWZjpFuqmB7ZAO&#10;d1y7RQIZGG1XOckg1d8OC+v508beJIZJdR8TKDpNvCP32nWdlN9itLbHIxJ5MzcjJDRtnBwdLRUt&#10;Nf8AiVpnh+9mB0iO/ttf8UyMhnSR418xYE4yQkjYVsHHlA4B69NSpZLDrrv11Wv4foeIqc/ZPFTW&#10;my/Jfe/zuczq2pXNzY+FfCWjqkeptDZ6W4itDCLK4kaSe7cDOMiOSVYiRkJZA9WIHIa1caZ4XsdV&#10;v4J3F7rNzqNjo+ZCt3pohxG9znoWMat6nfMC3SvRNQtr3TryLWp4IJdXOnXevpFjZBph1AS2tsmM&#10;k/uraUkDIywbkEnbwvibS5de8UpYfbLbVbS1vEsILmyjK20kMNmJ5t0bFRwY2hY5+YozZYEElOSq&#10;TUIvR3bf3N/dsYujPklKMdUkl69/n2PPvDlhcT2FnHaWa2+ratr1t4j2yRNGBI8n7hSv3RHFEIwo&#10;AH+tIHANen+GrN9YGo63NO8tzr99BpxjiZBJHHpivdTx7+dw828fJyQAU+6TgFpbQ2Q1O6jlEtxp&#10;eo6Va2tuyt5EUcOnks2cjjzVTC5JY55GQK7rwfpMdl4S0oW1w0DpqviPSrx3CukTTxxSseRkMBas&#10;hJGAZDjBBA1r4mKu1s2rfhb9BYbAt6S0X62ev9dTz74xW8VloOl6MjxxveXcXiTUYzI7RNd3+0wQ&#10;qCxG5Y4XxjtcAnqKjfToND8R2tzJbPYQ6OuhXl+RGJrmQxW6ySuwyFLyrK2AR8jAAgFStbHxL8P3&#10;WraP9muFdZNUvNT1SC7XLRwi3tXktI0yONpMKZOABjkBMHo71X8R2Gt+I4HC2d/DaWy7lJZQtpYt&#10;DsbjbiWTy9uDxKwyQQA1WtQavq73XyVvvFVwcY4n2UFZJadddb/15mn4C8M2N74NTUo3mabWo762&#10;k2nysQrJEkaxA4JUvDPuIPOwY4Oa9b0jUYdQ1DS7CVJlbTVm1lEuHW4WDKeWTuPKyzmOGPenzBEc&#10;gqdprkvDBm03wJ4Zmg3xx2PhjSryKYQsYbo/2hfLesH44BmjDouCu4EnAGffvhhoVgwupru1P206&#10;5c2PlzIJfs3lQ286TSkjZyGl/dpwfJJIxgHixNe0pSvt09El/methMMpJUmt9/vuzzW3m0zSLDUo&#10;dY8xYdRtItcu7Mz/AGcavLbXM1zDaSA4YBpgsoAbBCQ5Ncb4Q+36d4W8UfEE213cazqEpvY5khO4&#10;y6pcyLBbxsAOfKhu2C7trBgACQDXp/ibw6NWk8baobePytE3XNi8x2/aXvZVgMTFsFD5TMOCTmdx&#10;jpWP4TvrnGn2NmIrbS4DN411KwUeammWdhpySWKuf4go0uEE8/N9obA3FTzRqRkuab6Jf152N5YW&#10;pSqe6la73Z5h8PPA8beN7SS2tM3l1fJpDlWDNFKLsC5nJPJeU2syADGMyADg47jxJotxqnxL8W6L&#10;b6vPa6R4HtILW0keVbo3s1z9klZ2AZQ5jhZwzgf8sW7EGu08A3N1olvoLzaZcP4jj0nStaso0n+0&#10;T3M2qw6kgSNSxyz/AG2LIH3RCudpdq7Tw34OvrPX/jLPqNzHHea3pGmaro1ilusjwRT3d35X74sU&#10;URxWMUZHOWI2kgBi5Yym37WatCKfpfQ1w2ClSThtKbVvTe/3WPXYbaHS/BPhuOO4lku7aO3vJEt2&#10;/wBIvryLTHiTJ3KWKI7EBDhmTGcAkeC3WhDw54f8FeCLWzhjub128QeKb6aQSLPdTSRtAs/QFV3M&#10;2DxthDHvX2xp3hu7v57+8ltFTTYEuZdOs1iZ44Y5PIjgSIk5zu3MWPXdHkELtPhGueCbvU9Q8YiI&#10;Twz6dM1vaqAY5HaWO3txH5YBIKPeS8k5O0kMSMHzp4iU0pX93d9PRfj+B69DDpytU6Ky9X/krnl3&#10;gPwclzp2raxb2MkuravPoHhaZhCjNbRz3gmuiZD0UT3W04+9sVMbRg+o+L/DU963hWOSZoLH+1Il&#10;u7K4AiLzW9tcSxiVySFVPKkkOO4UnhQR6fofhU+HtI0drGG5SZdetdRYxhJAginWbtxkMrHaxKtg&#10;DBHFZPjGO+1bxqdPui90ujeHL+/8QlI1he1/tAwaZbQsAPkLGW5ycA/u8A9CM1WVScXul+hX1FwU&#10;nHRdPvt+p88avFNe23iCfTSI9U8eXth4O8OWbxN5sNvfSJ5Lhh939xNDIdx3E38jJnGFueC/DNn4&#10;jbw8qRBbC98R6v4psvMcx2cNtb3yQ6ejfd3fNZ2gDNlsRvlWRj5ns03gSyto9VeeSaxuIdP1O90S&#10;4hRII4J5rCS3sJdi8osInaTC5x5K4Hrs/DjwlZW2naCbWVbV7LwhDbgTFYwsj3lzNMg6EbVlthhu&#10;fkOfu8XKr7Je0jK7X6bHLTwylXcKi93v3bf6I8gv/DV54RjubiNn1bx/4hu2WHW7kxtqOmKUd0S3&#10;d3VI4YwuARgM0ik8kFZB4I0Pwx4GsbWxvZJtJTS4MWCQm9ubuZ3M0k0zquCrySNLHasBtR2lkzvD&#10;Sezz+G73xfrdyixi3021EGkx3rRrG9xJGJZ77y2POzEEeCAV3MoO7aA1zxVqq+Hb2ytYNFttR07R&#10;dOk1KZIrYyMbWPExgtI9/wA81y2BvbIk83BDBya5Y4xrV6Ju1u1j0Fgack1BrbW/+fXt5HgOq6DH&#10;4T8ML4y8WaPLeavqjJB4H8NTr9qg0OzfP2UzWxz5l3KrK+xlABYswNefaP8ACfXNXtD448cPFBrm&#10;sX0mn+HPD1vIi2mnhp0hk+03LDaqRFzLPdDI2q6puBBb3l9C1m71u78Qa8DreqzM15qF/A7z3FvL&#10;LsH2DTkdRnhWtzIAAyzSucoF2bGp+HNZk/sHw9PNpF7r3iuWGS6TSrh49M8PWaLLKtgTMFZ33yR+&#10;c8YBZEbDYbI3deVOaS32Xkv6WrOKWXxdPnjL1Xf18l0RwPgb4cf8JUl9beCPD2gwfDvwNpUkms/E&#10;XVNNZtN8Tyws891NsbE94h+XEYCxMsUQbcQ270C+8CXel+GNY8cfEu3u5/DaNGvhHQmgTw14Z1m7&#10;naXZcXqRBXmQnmO3aRYolDSFCFUD6ZnuPDHhnSbHQv7XhsPBOgW0Flq9tZwQveeKLlTHOLK3tlGZ&#10;gjfPItuOZP3JwRLGfF/EN3rHiTxDbeJvGVpZSad4elaw+GPgLUyDb6RrU0YDanqgJMDSafE8fmdU&#10;hlndAZCu5oqY53t+Pb/h9kuh00MunOOsbLTTu10/VtnzpZeCrfUJ7uXxApvNE0+Irf6ekA0rQFvZ&#10;miaGaeNShKxqbjZBM371nQOsSxyMPVfCx0jwnALrVdNuNXivreSbS7Xw/pf23R7Py5fLjXyolL3E&#10;8+5POuXB2KhRBGCNvpXwv+GOs+MZZ7m3tdHntrSJ7m2udahEI1yVpRLe61cK+RcTvIw8mPCokKIo&#10;ZS7PXtPhi68FeF/FF1Il8/iLVWtVs7vWtNt0u7uSdy0ksNpMp2QtGdoeXl1AyMMQ689TFVYrmcmm&#10;+i30S/Tqd0MFGfwRTt37f1rp1PObHwD8evi7pf8AYHw28N2PhPwtqU6waxYa7r7+CtOtGEi/NHYb&#10;bi8uAoJRpLoSSPtwc5DH6K+DfwF8QfC6xlt3+HH7OUPiLSryd9V17xJ8XvEV94nv5WIKxzgaEiLG&#10;gRZRHGw4yC2coPQPDPxV0XRJpLNZI9M05ZlSbSorxbGabAYgXIjj+6ASBHE6r+7Bwx5q5efHfwLo&#10;V6smmy25n1G5ZPsdrpt3e+bhlOJ5BB5ZUhVJaRlz0zwM888ZeDhTi1JvWWt2t9/KxrHLKtTWpJcl&#10;rpaWT/4YwPEN78Y5rbVPC+ifB/4L2tsHjupfGFr4y1+KOHyFjkjWx0+TTws6vuJ/0i3CyOQMsqHZ&#10;83ar8OvjNf6xf6deeC9IWPUM3V9Yab8QvMksR5RSL7dNJBal5W+WQ2zugAYKVk3Mi/oXovxj8Bar&#10;a2um2uo6P4R1a7Ty5Jb+8udW1i3aV9pkVvsyWq3blTOZLiYRKrNuxgMcvxf4u+HQEmm6T4xuJbu0&#10;83V9Qi0+0ttb1B0EjSfaLmeFXRGaR4wzz3DFnkAyOVrJ15p3ktel7nVhMLKdVUYxS07Ly+Wuh8AP&#10;8J/AHh6+uLnX/CXjdL+5gW3aOTw0us2t7gEsZbnTTPFAh4YJHukKkb5CflXitUm8G6vrZ8K/Cbwd&#10;4G1vxTqlncGT7B9m1A+GE8mNXe9t1YNHtTAC4MpyCSowR9sXuvXN9ZRQaDc+JdSS+tjPfWOm2Q1K&#10;/wA+WD8+JgscQ+T94X43YVWO6vDdR+H+r+NzOniPwLpd9pthKb6DTNR0qG3vZyAQpnmiQXPl9XCe&#10;YFO7ODkGumOIrVLud4xXnb+rg8BTd41IqTWmur+a/pHyZ/wqGCbVrdNVvWvbOXUIrbXPFSW0i2Gl&#10;+e6CWW0T780UIO/MbHI3DKjg4vxL8AeH4rzULHULHS/ib4Qsp7ix0T4h+G7W90W5tisrIkkUkoS4&#10;Zx5bkW8okjKhtrfeJ991nwz4xttUtbLVY9f1HQdJIn0XSb/WIPE3hK1KSpveO2nMF7a7I1YqMyHK&#10;x7EUnNTz6t4fzJL4suNdhnmg+xfYYPLvdKuV3fu4sBBMigsAoKpzgiZijAdDryvGnUfKn1Xy37+h&#10;5tTLYNc9P3rK3K/v+T819x8Waf8ADyxsGNvc4do2jl0LxrptwLG9t2GNtvqNuJONxD/MhIPGQAxN&#10;Xb/S/EsN7HoV1qlzp3jPT4W1jw3qlpIXlcxlEYMB+6uLW4QDzI03bN28DAyfo7xn4H1Pw7Zf2r4f&#10;sZriyvVikkjudXF1IhkZ7mQtbqWKkxhyJHYbtuQCQa9y+GI+E3xi8JXfgD4oBPCGv6TZGPw38StL&#10;tnn1LQrgrJ5P9oxKd724fei31uhaESYkWWH5ouulUlh6r9o1y20fTXv5P8DwsdQi6PPhbycd4316&#10;XaXl1XU+Gf8AhbHxQl8P3eizeNvEvhLVdIvJ7650HStYYWclyFhj+1/2b5mw28uwCVjE4KqjbWI5&#10;8Pi+PXwwudYvbP4v/AP4SeNPEN/pD6ZPraHUfhF8QYvPjDpe2eqaPLFaGTb5L5nsblJRH84YMzH6&#10;X+LfwD8e+FfGmiwzweHE+Jdjeeb4R+IIiguPC3xXsbdWkh0y+YEwtI6KUWWLKhsiTKtk/IPxv8Gl&#10;fF3jO5T4f3GhLpWtrZSaTqGoGO80YXECXiwO0c7otu4mAidmkK7DHuKgZ9SjBpxnCbV9rdFb7n2P&#10;nqmIwz5acqcZKS1urWatquqve7R6j4e+CH7MHxTjuU8K/EHWPg74n02GPXTL480OTxhpahIXiW2T&#10;XtIKSRQ3Ek1kq3d7ZgRMVyz5zX0Z48/ZL/bA+Gnw00f4h6Povhn9sv4MQWZ1G68d/s7eK1+LPi34&#10;Y4MYUaqbArrdljdvEht3hRUYyY2nP54fDmw3QeL7LQ/hl4j1HTNb8OppevSeENbtdVvrG1TVNJul&#10;nS4hdPJb7VZ2ib2XC+cVJGTXvnw38R658IfE2neI/g58bf2m/gf44tYI/ss3ivwqfGWm2PmeYXMO&#10;t6QYb20jwCVieK5yEGRJya7qdapTd6tNS21V4y3vo1dPtqcWJw1OdNLDVHBpu6a54NJLRrSS9Vf0&#10;OC8R/Fjwd4v0JBoobx7pEjNZ6x4B8WyLbeNtGkL7ZV0jW1zDOYpFZ/s12kb5ZhsJOK+uP2bvi58L&#10;vFPhzS/hV+0BoXh/44eFLGzk0qbwV+0L4ZbWdb8PRQ+Ybe40nW1eDW9CnR4lMl3o97APlIIZV2V7&#10;X8V/iz4f/aTvW+FX7aHwX+Bv7SHxa1f4XXHiv4c/tn/AyXU/2e/2ltIOlWvmPBrWoXOlaZb+Ibm1&#10;gtI5U0G/tFtr2AWyLOJf3kXw98c/2OPEfwgS08a6T8QLP4l/DMwWWt6OniK/sPA37Q/hPR9Uluho&#10;lxP4V+0SjU4W+zsJbzw/cX9pGXZp/ssTKT6lWsvZqthKrhJWb5lZpaaXTs16bny0KdWLlQzXDxcJ&#10;Oy5HzJ+a6xavtJJ+Z9teLv2VPiZ4I+I9trv7F2u+Jrz4feLdMS58M+BNU+NGk/E7x3axpCft1i98&#10;q2899a74S0Nvq1s14QxRZZmKbvqT4a/tv65o+hXPgT4xfB+LRra40iTwj4p1A6LdXVm1xBNKk1xf&#10;6dqbTyWc0UqCOS2iVrRjbqot4QDn8kPhR8Rr/wAP6hoN5LrsmiWJvBPofjTTNRurTRL+9tWDtbO0&#10;Su1pfAhHMcoXJXdHwGC/slr37QWhftleFtLTxppXh6y/aNtdkOl/EO5nS1sfjvBCkFpaaFrsduq2&#10;ceqLmBINZ3R7Y4BFdQqu14eOdSnOp7Ws3Sqyd4yjtK1tH2v9w1hK6hGlSSrUIq0oy+KOuju3rbr1&#10;2aRyWteBPhhLpvhDW/CkHwR8cRxaXJOsdvC0+rz2SJEjz6npZlSaDe0sytPpt2kuyPJjVSC3xt46&#10;tPAfw71YX8vhaD4Z3k0c0nhSbR9bfxH4M8TRF1a+s9C8UujzzRqZGeTSNcV2iyflUyK1ev6t8Ldd&#10;0iDUJNQ0XVvBdzZXMi6lofiDTii2s0Jb7RDvRniDxnA8wbGBlQ46ufmn4vaD8OfF2jraa7PqXgv4&#10;o2TwX3w51dZAPBmuTRSybzcWrxtFqAdFEZaCSOaMSAsXVmRtqtSNWnKM58vmr7+a6dtTn9msPVSU&#10;HOPZ2vbfR9VvY/NX43fDrw7F4gT4l/BbV9K8JeLtPvPtMOm6fH/ZNveygltstkpZImYKGBg3QMGY&#10;AKQobufg1H4b+MN1e6p4f8H6Po/xksLYweJPAuu2yrY+LpoMq7WxOMTvG7bgB84UOuHGV9V1L4d+&#10;CfjWb/wt4m1mT9nX4z6NGLbUdM1Zf7W+HHjpIgVfUNNuWYT2zbAh8klywVc7dwr5S8deDfiv+z14&#10;4tPC/wAR7S48NaxaSxy+Cfijol5Dqeja/bxuHguLbUoWaG6t2CMm5GYp8ytyBjplHE0Ie2hJVLJX&#10;72st1vbs1sctOOGlWVCbdNXuusb9eV7K/VPf1O11qWHwHqd5ceJPD1xD4EvZW0TxdoeuwtJceEbh&#10;yyHT9ViJ3m3lAHk3PO5MEMzLivlj4q/AvSvD91FfeHpxdaJrlvHrvgDXWH7m+glXe+lXr85lt5BL&#10;brNn5jF8xOd1fYPxC+KGofFrRo9K8fWNrc+OJtN/sZNZjlYXOqQ/uxFFJKCRcwzYVlR87GYbGXAa&#10;uB8DXKeF/hXqHw/8UiLU/AZ8SSP5GpQhtW8Hx6g0UE4aQ4ceTcx2jo4IyCORlg2mAx8aN3S2ekov&#10;p5r9e5zY/ASm1TaTqJNxn3V9n59u3U+JfAGuv4f+KngrWYZJ1vLLXLVPIdP+PfMihoHzwSCShPPX&#10;6iv1iu2X7ZeyWgi2C6nkgkQFonO5nAQsfukunzcYz2wRX5ZeP/Dlz4P8W6Q0kLukWqxz296H8wap&#10;bvPGsUzNjAki+6wBII+bNfqDZ3Nnqdjp2pWkkzWt5aKcxzLK0ckbPHOG4HR1Y4AAwQPevB4yhelR&#10;rU99r+XQ9PhaqvZ1ISe0vzRIzMVjkkaP+GbeV2RsMcA54AJAPTJyec05JpN8duylfKVVd3fksBzz&#10;ncDxnJ5yfXICMrnAO1Cw5MmCAc+oOBg9c/3j65qaMRoECk5LMc7ArEchgTgEYLFceqEeufhlUUEk&#10;93Y+vUJN2nqm/wDIsxZ5iidGYkMpUupkAwMjdgd+pHGD05qWNlQiSM/vJFB3EedKwOBjBxgZyegP&#10;PJ6YrxlY8Sq2Wb92dzDYTkA8dBycY9VA96kLeTGHdmG9N4AHzoMZwcdCB1A/lxQ6jg+Z7sFRlGnz&#10;XVlZkzuyOpj3uY3DruYuVAUZzuyWGM9cnpyTkkilBIQMrmOQKZGByDywz69VPHZehqs5UBZELMCw&#10;cB1OCWA3Z5ABxkDnpnFRrIQx2v8AO6BlzyMhcM3Xp7f/AF6lXqtOO5C1kpPVdPT/AIJoNKIgSULm&#10;QlSJMyDoFJ2ZGBlFJxgkj1OamkuQ580mQBIdvkjcoyzEkkZOMhE7cnoOKzElQFzuJxtVQVxvHH3T&#10;kEDkgEHgoRjoaeJnJTBZjI+5CBtAURhgRz1DlhzweufmNVJuKTitiZSjGd3d2Zp/aGVmjwQobLBA&#10;Gzhug6jGMcnOdo6ZzUyFl2ybt6bRGA33nPPOOOhyM57+lZ6ys7KH2Da5IJba0JLBGBHY5C5WpF5B&#10;hDOCJGy6qCq5K7jnPOQR1B7Y60m48u3y7D5tb20229P8y0m2LBYvIAPlBbbuGWTP13A8Z5x+NSq4&#10;kYod2Y5gFYDbGB8rZOMHnIX1yp7cmJyQuDIrMfmYkYkGB6dO368A5pruzBp3EZ8pBkMU81l6siMc&#10;HkDOBk9DjgYUW3acTZwcF7vS17/cOkkdy2G8wowUOBgpywPcA4OD7bfSs7zWfoxWN3aYAf6lc4yB&#10;luT+7GCMnCryc1PITuRkwY8hXkj2rkZdRuxz2Izzww46UzcMXCBpGIGABs+b7vHQclWYZz2BApwa&#10;cfeRz2bmoTbSt/wCCRicyFlVd5j28hht25AHXjkn/wCtzXGdsgClWUMWyNjsPvZwORtLscjgbcD3&#10;slBKS5aSTLBTkBlHDsOfUjI/AelR/edWDsjAgIUBhcEEnIfuM55HXH4VUbbrc0VOLvJPvb1IAXaQ&#10;YlR1YmVkKkQoSWyM8A4+XHoOD6VOFVWKMyKCPvYztVVUMVHGcFsk56FenNLEzRqfvIH5lKZZQSB1&#10;HcAL6YyB3qYDY0aFSZI0/fMyiNMnbltpPQ7ATgn7g64zTUpN7DcW5RjzPzb/AAIBvUqzkmQBCx27&#10;lZgu4Ejg4xg8c4PFTw+WgDKXaTPcK2xlIBUkEcEH+EYwO3FLHCWG4oWaTJBKklPncjHpxt69hjgD&#10;mziN3kYfIquVUja0kuAo3AhsAfKy5Ptz2pwnCMr2+Zko+85RW/8ATDaAVYKSrZA25jVT3w2ASMNj&#10;6mreS5JkYAux3R4CBMDBLDjGRgevIx3qERSlnUAMfK+XeAyoSARu/Pj3rRi2rEoG4MThVL8YzwW6&#10;8dsDvk+lZ3uk29Xc2TcoqKe6uv8AgjYkzHsKEojGMRqzqXKqT83QjhSc5zluBWgiyBnG9EUfMJDG&#10;ZIyfvKQg5OBx04yRj5jUSRqqGOMPhdhEay53gKCy57+vHPB61YVkcqjEAsFVlj5XjknI/wBoL/4+&#10;OM0S2T2f/Df8MRCnKmrXu7FgSqFGR5sUY3SvI+zzAWbDHP8A104x6ZxwTWnbSCX98mN8SgEZyRgK&#10;5GPbpzjntVBBGGUgje0eHRFwSw4XJx1IUDHoy8jBFXYT5CqAGJEYPlxAKo47c8DgDDelCV2ovdGl&#10;OKjKSlqvPv8A0i1Ash2Bh8gJZVxlgeS3Pv8ANgjP3hwK0VJ81XQgFIw0w8wxq+R05PTGzjHOTkHJ&#10;qspLncZnRhIEMgdmOSykksDgjJHB5wrY4BFaMSlkhxmJVBYheqqQwbocdfmIOOvNZylJSV9f89Bw&#10;vy2Wuurv6ITaFQkGPYis8gOMcBjubJ/h4+9n6kg1ZYqyMQ0asQANnz55H8QOO54P/wCuGKNvNJY7&#10;RhlLxkAoT8wwR9Dxx0p6RqpAKIQCVAixhz2PPPQAHnPX1xSspPlvZ2/4cn2cr6rcesaqRGr7SuAz&#10;YBYjuB9OOenHvkTswJICMAuQpbBl4zyOfp06Z+tNY7ZNgKs/lNtymWU7sALxjPzHnPIC+mKRBJhy&#10;pLohUFzHhmJ3ZAIycEMgx2IbJOQBUU1FTTv/AF/mXGMKa9P8/wBCV2YpnAVlfeFACkj7u3r34691&#10;qNdqlsxzAxp1CZVQoZvvEg4GB0BwXHHORNcOUVWQskhZS+07A+VAOP7oye5PP4VCFdpSmwkouAUR&#10;QoBY4JHUdACT3VvY0cy5bz+RT5aTWl3ff1sKqxxuQBgq53Mq7wQAmOB6Z+vT0yZMBnygMi4VHTG4&#10;/Ljb+GZHJIIBwM52rgVjtfeDuddyqGA37QCMdMj5SfqeeMARSR7WRgv+rUFCeM7jyevBwevbk84q&#10;W3Nprf8A4Ypfw3Fdv8hm4AbiVOE8wEAmPb8vTJznkE8dAfSnAlGG75grBVPmbl2gBcE547kZ6A54&#10;xQ8jDEaFgWJA8tiokBUgg4/3sEZ6g5z2FKyBCcBWVvMkLbkUssZO0jthVHTPJ61dPlV+d7oyirwc&#10;fn/XqI2cyOjArtwgyImdcknHvkE5Pr27wlG2nbgMch1ZcCPJzw2M4wynHsfU1M5VFbarb0KmUsSh&#10;dQMkEEcHO7BOTgkc9WblFDtnKEk48wFevO0dTx0x2U1Lk1e39bC5tLXt/XT/ACE2Km4xuwjJ3ZdQ&#10;IY8ABie/IDE8ZFIu4vIhaNgqYjbCuw+6w/AAHgDgseSBwBCCGL8y4TY8qkkfKCRk+ozlh1UEUKSE&#10;yQ0hCB2cuGONpIGM9MsMkdgOvBqbpwUntfT8AlUlta3RfPUfHE6sHCAMCEZOSygNv+U4z1GeOTjp&#10;1xEghEoRNybk4TopBI6EEHGDgdDwcdiJjzhmZt4IB8wrtUAYOO+R83/j3HOaYEDbQGXCZARWyu0N&#10;vCqSccAEY9hVXXKmtv8Ahh2cpKMGvn2EBXY5jcMpwpaQfKM/Lw3TJ3YOOeaUpIswZ8fIzFWXLM2M&#10;HO0c8EYx3yPqGEqCFUzFFACuiB2fJGBz2O9iDxjHvgvZRIVV5lkKkLEVfb94BiM8epzjjKGldKPL&#10;b+mUnaMknq9fw2+W5HtOSm0Rx/6mNsgcNkngZwBkEc8+YOuKWUHzNqMsXzDqrSbPl3BwCewRjk46&#10;fhQw2RsxcgSN8wU7i3zHb8wJP8QGOSRjHoT7wCncWaRvMBbLvt3Yx6ZI/IGtILll57Ck3CLV9L/f&#10;sKuF5LSGQnMcRk+eNWKtGCT2Xcr9SecjOc0MGAk3LKrD7m87yQrDgnPfpg8nH4UxxHmQKp2FGHQN&#10;HIwI/i9Bx1GMdDyczO5kjZtjII0BMTkFoxuYFCpPUEx+wJH3QuaykpOKcno3/kOnFWdNfd9zInDC&#10;KQA7RwwBbKg9ifQYJzxzxnpVKflZFVmVI0WV3K/u3Zfvce/AJ6c96uMhQCNdrPHEdu1vlfGcA4GM&#10;g7QSew7nIqAmMMrqzbs/uJBxIQ38XQ8/L69SvPUVrC0bw3sFSanNprTr0fQYyWisyF3+RiihFiYK&#10;oOFBJYHIAAOR1BoqEzopKkI+GOGaUgkZ4/TH/wBaitXTo31f4CcYX1RcymY2LCRHQSOoO3bg/wAP&#10;qQWHA7ewqeQDeDvPz4UMrjg4IOR9AOfYcCocKJPkDANuV4iSE2bWOOpwCFYcjnt0NNkDM3zMpZ4w&#10;zKzgEbmUgBeAQV2HcTk7B1zzwzXvXWhnyuErS1u+nYmTcWBLyEp+7kVfkdlO7b0PboR0z0J6h6Es&#10;CspRkyhZiixlCxRcnA5wRnBHXvzULJOv3EDqUPlgIUd2xld3UAZIIODzk9DipFkWOb94/wArRkbQ&#10;ixqcLnkg8cY4BAqXfmXItDWlOSnKL6CbjG67l3Kz+XjAbaCvJ29hnjOOQT1xTsEq5mYBvJdAoiAC&#10;kOScnrkbmOTn+HtUcW4oi7suTuDSYwwY8ZCkjoc55x164qT5jEqqyRpGyqi87cAMCCSuMcg8c8dh&#10;wbkuZuKevUaXNNNb29QKsGRn3KEOZlA2knAU++ABnGM/nQQqbQgYFEZQsYHTKZIz6bAFwR95vWkK&#10;s7MpULg7thjxtHII5PQnb2yQTxUwO1IwVUugCh9pIlbKE4Ixx8zdM4yeBnNZtygkur2JpqSWvy/D&#10;+vkRN+9UOSd6qch0DsMgqxByuCB0xjgD5Sc5c5XBYlt6gAsyb8DK8A9O2DzyCRkgkUoQKxLqyo52&#10;sQplGeBwDweQRnpjb0zT23qmDLHvzvkAfzHUENlcnjO4j3G3APqOTt7z/plwcpOzetv1/Ww35Fkg&#10;YDMnlkSMDvfBPpwPmCjjIGV/GlYIQWVgQqsyqR94rgHgrgndnHAyKjARY9244YKmSXUM2cEjGSBx&#10;0Hb68yEFSmAyYY7m2jypTjt8xbA65I5A9ScNRv78NlYFPlpyqtWvs/6/ARSAkT78KZRtP8QB8oMS&#10;P4eAoz/tdu8kbtvVi2HBCurAYRgSucN7gDj196YjlQAAFxu2fPtIAVCw5yBn5V5Bzt9BmmiHKyEj&#10;MgK7CrlGJBDAgk47Dvwe3IqZN2bl5fLuOk3JKp1t/THFk8tI3YFlAJ3RhX6gKB6fw8Djn3JLWjCy&#10;ohDhMqkRUgsmQgZVAJ4ygHpyfWp2LIrRjADLulRUDDHXOM84yfr7U1k/eKWUM5G0LkgAL1IJ5Ck4&#10;H4DgZojNyk1r/wAMD5papO6t+Q+ML0hDB2ILxj7owcBgOfXv6kemYzGfOfy9wwu0O5ICMVLqvtnj&#10;Lc9QfXK58t2aFAAhycZAI8tQCPXu3Xg8e1O8v5ckjazAhhwilDuwTk53cevBxj1VVxbi01rZ+hab&#10;S3u73/r7xzsoCsAxEkhV0GOG5BBGQccNkdv5Bj81mZWXhPLbaxYgncSTgehYA5yNx4IprxiNZWQo&#10;SCzLlgfNORgADuRg9uuDjBppiAMqLiNcYYq53FenK5yM5BB45Pc0oPmjeP8AX9XJbjK8pR100/G5&#10;ICjk7olDBFVlIVkztBGc8FSMHJ5OelBMZA8vIjbkKVC7cr1PPTOTnvj8KVQYyglffyQMAcYG1hxg&#10;HnGSRnkHnjCBVBJ3nzPLWKUjPmAdWIIxk5Y4DAde3bRximuTZfjewVIqcklpb7+gxEVZliZWYMxI&#10;dSUXOQQQefT8Mn3qysnySswklHmDkx7VHykY6nuBx7j0qJjvwYdjPwF/uvwVYjHup9+D65qdAdke&#10;4EgoUUniPdkHOTzg8/i4/GZU7uy2LpO8nBev5EgKlgAjRqzhe5kkA+Xn2AJ47flUmVQOX/1kbn7o&#10;Llf4Qdx24O3B44ByAW7woGd1dXb51BT7o4OO3bJ9P/rU5EGPL77eUC8Lk7SMdeo75yG9gDSlokiW&#10;m05/1rbT7h6IjfKfMG1drFMrv6HBYcjjaOPWm79rFt5CbfMcunIVkKg4ORwozzyMg+hFjDPLgEL8&#10;nlmU4aIZPPHfAHUA1XKlHdWCkIN/loAZW53bs5HqPvZH3cY/ihuUJN31f6GkmoQdnt+g+SOJmij3&#10;eUxJdcEFhxg8DrjHfjB55xTpS0Yi3KFjPOMBdrHIBOev8Ix7dKRWVY967yfK+UkZYDjOD37dc/U0&#10;NuXE2eSp3FhtIRS4V8e/ByOMMBz2Er2cmDtOXKrW0+YnlruKh/nZ9oUrtUHqwTgcYOcck4PsA6Bg&#10;jKUIYqQpjdtuM/MW5zzwxx3APTrTH8w/eG4l/LVcEAZPVvpyfwI5pTtTy0Ursx8oSLbgAe4zjr0w&#10;Md/XRuKjyt3b/qxjzcslGzv/AMD/ADJAJBIpDEM+GcrgFiDkYBzgdgM9D15rwv4u+IbTw/N4du79&#10;mOm2Et5rd2EQlXFnb74FPYbpX2DuSygD19jvLyKFJzPdKoYEowZduwM0Zw3ruQ/oPUV8YftT+KtJ&#10;spPBoujNNaaHqra5qKjd5MsUMUoiiYDqskwgXjOdo44rTBUXiMVRiur/AE/QVacoYSrWtZ2e7tvp&#10;9x8y/GLxlJplrY6d4ruAfEHxKvo/EHiSy05jdahp+kyEtFZEcIPOUrhBx8p5J6fnn8R7kW+vajbW&#10;diukw3ErzQ2EYwLGKUhwm7qSoIX22+tet678VbSbx3q/jrxNEmr61dI0ul6QmRZRudwg6fcRARhF&#10;9OvOa+dfE+r3viHUL28uT5uoapcPeX8ka4VWdt/loAOACSMAfSv2/hvKJ4SMJyha6u+2+kV35Vu/&#10;8z8h4pzWGKco05p2aiu7svek+3M3ZLsvI59LrEEkUT7Yy5G9xtBYjqfaoLa3865iaYCSMNl8jcXw&#10;Tn8DUcqERpCARtG4qg6/Uf4+tdBYwvDBuijDXDosaKVztzgZr7SyjzSS/wA+x8MuepU5J9vw6mtp&#10;15PNf+eCQY7cwxKQQkSgEEnH93p+FehaHpd/emG9lSS00pJPMW4KKTO6ZChF78kZGOvbNct4V8O3&#10;F9fwWRdIxLNtlmLjBD9lJ6k98e9e5axoOn+GLmyshqVvqEGnWn2q4ih/dxLcOrsidfmEaqzZYAlj&#10;kCvMxOIpQqxo/atp1PQwuHrV+epTjaMf1skv66XPONW1iW6gGj2jsulWkgeeQyFbi9lzl2OSemcD&#10;suD61zV9cxoFjgPlxuQyeV/y0bI4OOo5GfrVe8dtU1CYWzGO0VsyypuWJODlYwen1qxE0EFuLrYZ&#10;blMxWCPxFHjIeQtjnBBA9/xFSqbi1KW7+81c23zXutvLR9P1fU7DwdpMNpJcatcF4Y9Die/1fdgS&#10;LMT5VtFGp5L+Y6EnAxgc9qvaVC2rXJnQQjT7AC6nNwG2vI+5y0hJ6Mx9Oigbc9c3Q9IZ9Ic3U4SL&#10;Vb8SyMpDTukK8Y5GCXk4D4GQpyK6W6htobEOkItLKCNBdQiUiQ5Dshlf+PIU5wNuRxgECor1Enr2&#10;suy8/wBPkdGHhGSlG17u92+2yS89X8yH+02haSHRbeI3byt9v8R3SbLoKzLmO1AOI14I+UbjgZOP&#10;lrGu9Y1GNJNMtLqZ4hIXaODAtUYgBm2rwXIA5JOMVy9zrLXJW1si0MWxVkcth3Ocbgew5zz0HpWj&#10;pdneiUu4kW2DEqVX5m4zuPqcD9amUYUlzva3zLjO9Xlgkn1+/wDNm2HkimgtpGW62QK86Su8ixHb&#10;vYSkNy3zgNkkjBx797azzXdpNFGtrp1sJFa5eK1+zw44DPKy8swGVCrxuYEk5O7ldOhtIN2o6l5l&#10;tZlwULQh53XBywViM5HIA7HOao694guL+FNPtEj0rQoZAY7OOTN7MQSoaZ/vMcc+gL8e3PZuKpw6&#10;/cdk5Wk5yfo7X8vu8zs5PFul6AY7PRrYXt0xCPc3LCViSQWYAcdQQOnGD7nFvrvWPEGpzGe4WKyi&#10;lYTz6lKIrOF93zhcg5xjOFU52jAPSsrwj4X17xZq9npej6W2o3kxeVbaN47SIJFFJcStLNIyoNqR&#10;SNl2AOAM5IrXtvDGl2twL7xbrUslvI7TQ6boskF7eL/dQAMQgJwN7A45IDdKl01TmnLV67/5feKO&#10;JqtP2UPd0Tt9+rL9g+lxXELafpzeJb6F0f7Teu9hotsVJLAxAeZKCPlwWjB4Iz0b1SO0m1a3jl8T&#10;6paaVpxQTR6HaWv9laWgA+Vo9PtdhOADhjtOTwwIzXNWj6pLFD/wj8Gn6Do8ZDS3n2YT6tIynIP2&#10;iTO0kAf6sL1NX7+LSXb7VcX091c+Xy2oStM942RkR7QUzgFsOw6HOCcDmqTu1BOz+/1OmlRa/ia6&#10;rb/M7bw5eeCbCH/Q9FbWrgx5LvCNC0q3U43sgRmuGOFP+umOMkE9TXqk3xjng0VdO0t7CG3ijkWH&#10;RvCemWuh3Rcgrh7+OM3cu5SFJaYhgDjsK+YJ5rcu9/cPcy6eIfs0URnGnaTA7csNibVbIZQFO44b&#10;kkYB6HT9R0+28uZUu5IbWc3Yg8Nad5srs+Tie5kKrsUuRx5gA24BxtrKrh27SnJ28vl+h106ypRU&#10;YU1r3136nVR3nxI8UyAWmjXenW74uJ9S1jVotNjET52yGeYl5NwJwwJyGzk9a6qCy0a0g369rdl4&#10;tvYIcPoUt0uq6btEpz5nBKgK5HmxqrHCkMSvHOT6lpIy7+HobzV7xt1vBeajNqH2QbWwFuA6qoG9&#10;JPkhHzFgWbAA7TR/DPjr+zV1bVtf0vRNFu/LhsLVtRs9NMyMcbI7CPdczFRu3T3SKhwMMxBWsJU6&#10;crtJKPf8FZs61WqyaVWTs7WSW/yW3U0rKH9na9lhv77QvHPhW8tzu1K4tNc/t/wU0jh9iW+lTPFe&#10;bPlGVFxNgAkAn5G6Dy/BRLP4A/4QzxJeLO1ydFvNRtYNSngVFwRZXiq0g+ZlZVZsgdcZrh9V8F6Z&#10;qLWl1Z6B/ad3DB5sl34l1Z00q6wSiObPyo/MCucBRuDBOMrnddtfhrr2urB4c0mx8W3+phWdNF+H&#10;Xw+Wz0e5jAbLNMYsMqq7dRgJtGRwDLg4QcFU7dO2q1KUnySl7LRrV7tefl953V/8UvGXhW5tv7V+&#10;H2seDHEKM9tommLoFheiMHM0UFnc26ufv4YMG3O5UgkV7J8P/wBqPwnJfW954r1/xHqt1a3ENxDF&#10;8QNI1S/XQJSY0uDZ+JJb6bW4EgK5QmWVMFgsUZAA8V0v4bS/DS1b/hIdZ8SeGL23jEzWHiDxro+j&#10;6S7BsLF/ZDRpPKxwVPlq43EAEHONbQfjh8NtK1q4u7zwj8FtRifT01C21TTfC2pad4utbiWMKUtd&#10;QmvnEU0e7DSPBMjGMhSwYMIc40XKUdfNa9PM7FSnVhDmj7vZ6aaLp5an3Vdx/s//ABLuvDk158T7&#10;z4f6lfiWXSvEVt4J1LUvDN9C7tG6X3jTSLf+0EfJCKl9BPuBKs6BHVvVvAv7KHiXxffXtj8KV0z4&#10;46QM3f2jUtW0549RZWVBFFfmBLJBK5CWzanaQEyPGvmRySHb8Jan8e9E1VYZvC/xy8WfDa5eH7M0&#10;viH4dadq3h+8QFcI+q6RpcF48QKRu3mWkzHPzByQByJvNS+LmvW0ifEBLvxXBiW28e/Aj40aT/aV&#10;9IpKwlvA+t3mmyEsTHmPTFtZiq8Quxyc6U3NxhZSs3dvTTzte3r3NJUIRjK8pR9Lv5pOyem+ux9H&#10;/E/S7z4SeNLzwLr3h/43fBTxPYoL7W/A7+K/EXh23sSibJFn8NtfT2rxyLuaKeykFvNGA0aNkLXn&#10;WvfFrVwZdV8E2thq1xpEUUNvq3gfxbex+NvDUKZQq1pcD7SihY0V1XK7IyAdpAHsfhT4+ft2af4f&#10;uvhd8dvh/qX7a3wC8KaReJD4b+M/hGz/AOFq/DO3kyz6p4S1GcL4n0+e3aOCbNs99p5dIBLBNnbX&#10;jPj+/wDgvqPh7QfGU3wl1TTrvTYzB4VuriKOHxbfCRJ0a81eDyIbyxjjuIZApW+ljlckxQgROGVf&#10;DQ1lOTS3tv5aNbmdGVVVPZRipyi1Z3ta2usWtOjerPYP2fP+Ckvjj4Q+KdU1LTbOw8Tab4i0R/Dv&#10;xE8CeNtUkv8Awh8QY3IV3uhEIZY502kxPvWaGTPlTqHZT9M6fH8K/j3aap8Vv2U72H4Y/ESxzqfj&#10;34QeJ9e/tCO0xuW4laMf6RcWbJK0gvoopZEQuJkmKZH4s6vqngfxLZR/aktbzWF09ne/j1m48M+O&#10;9PmXPlpGZraSw1AYCMyyssxLMFIIGWfD/wCI2reA/FKeI/BF74sW+0BluPOBguRbNtjP70psMecF&#10;ChDqwGCDxXN7OMYtQd1bZ+uunQ9qNONWUUo8s9udPrbZ9z9TPEf7TPiv4d6LD4B+Jvg2Lx7FBO8e&#10;veCPFv2a61nSIJ41W11Pwf4vt0+0taSuFZLOf7TYuY4fKDBvJXZ0nwF+zF+0B4UTVvh98RtHn8Ty&#10;xQz+Ifgx8QWT4OePtEmjQ/aofCuqZm0bVFISPy4ZrjTJpXICwYXa3y7afEXwZ8b47ezNrqVzdeRN&#10;cal4DtUS18ReHbxyzTal4PuXUoWfa7TaXNuhm5xHvCkeU+KfAYjgk1jw54q0zUo1vG06z8V+HYpN&#10;EXUrgbP9B1iymYtY3SZeN1lxl4srvQkpi/3UZNO7b+F7dNvRdiZUouovaxen2o6f0rnZ+Jf2cfFF&#10;peX3hvwn4unuNekuhen4L/EPQ7rwv4xMbgqlxYw3TNBfxADaJbKU7tuUVgd1fLPinwlqumzFdU0G&#10;bw5qVrKyXC2+opq/hqcoVU7JkKz2xG7DbixDbvmAFe0aF8etf0+1t/DXj1NB8c+GLMpJH4Q+Iumv&#10;4i8L3O0qwVYt6T2jPtVPtOnz28654kUZWvXr3xB8JPFenRal4Um1P4YFy234e+IfEk/xt8C2RZN4&#10;i0vVJ9POs2m9kl2R3j6ipaUZaMKXqadWk4/vfdcfx22Z31KeI5406fvX2aWyst+p8X2eparostvc&#10;3mm3N1bQsAZoZEvobgAqSI51baWCsCAWzx65r1vw/wCPbfU4ktnu94tJPtEVtqFrtmsGC7WMUhAa&#10;IEFgwUkHPzbsA11N34LmnaS9sdE8Ka7dx5a4ufDfhhzdmNPk/epZMqhWMZBxFE24MNqsCa5eGx8P&#10;3gD29jFp8is9rqE0tvd6ZkkDcsqzExL1X5gFGMjOQccuIcIwc6d27f5Hr04NVXGUU/6Wq0PbPD01&#10;poPiLREtdZs7xp/MvrKC4aPZfmUbbzTvM3HLOYpo/KkXByCC5lAHB+LdL/4RPVftWlStd+EtamXW&#10;LGOIebpgcb0IPYOPnhYgAhw3QMCXg6PYQw/bLZL/AMNeKDDf3VxZ2kVzqWmXdsVRrq3kLBWfZtXa&#10;WCleDghWX0+w0C/urCXSrvUbTxDoN+ZLrT9Z0eKSWwOWjjuI9QsZP39nK4lQEYdXkUMpkU5HlN2m&#10;nTenVfM9OhThGmo1VdrY821Pw/pOpWVn4qubI3TiNA+jzol093yVhYvsUvGjBgzMMlV28YAHPL4L&#10;1COOTV7OSC/tb8PJd6LOVjdSwVmkSQkhNwZwSMZwc9TntZ9Km03XhYPdi1g0uNXe2QzQOSVGBGWA&#10;2svdHKsMLgdQLuoWItomv4L+bTtNJEU1jqkBRppQFdblfVSWUKvJUx7iQcKszrYiTbjtr93T1OmF&#10;Gm5+0WyXTXXqvS33HI6Tq0WhWy2lm11PZR5+06JeTK2rQb1VgYlb5mhBYkYAABQFgWFVLLxRqMj3&#10;n9hXD+H4biQw3l8bdrieUsDuMcWfLjyGY5YMa7a+02OUWE4SNGimikMqkySxgMikyAgEYAbg4AUY&#10;6ZrB1zw3cJq9vB4buAZ4wkWosFAeQksWhTO3JWONpWfdtRf4wc7VBrnu9/wuejUValTTcfcXS2+m&#10;hek0O2hewvdVu73UbuVmAurm72G6LQSiCNCoDLlhHkKccDGM8Pj+16aLhYohax67m005EhMU1zeq&#10;ViKhRwsZDu/riHHy7uOVudG8QeHr/TPL1ya502CbzLVYYDCtk7B1KoCOchQoYAt8xwRkiugu7/V7&#10;mU6hLamO+hjk03SYpZV/0i6DbGnkwfl2LyR/Dg5OSTRWrTlZLVPTy6GapUZz5pKzVmr7r/hmWPDk&#10;EEWu69q5jI0iDT28CW1yinyo3CYluEPB+Z5JiCTjc5yeDXn3iixtZPGEOn2sE6wXCWtndzNGZXaL&#10;TlSNgeMkZMKDn7rjPrXvHh3QYbfw7b6NfeaJyJVlkdPMe7fzXaZzKpAJzu54I2k8DrwUfhy9/wCE&#10;z1eJEaaHR9Evp0Z4mkEjzzQfu0IJ6g2wVj82EOAR1yo1pKs05axT/I6cRg1LDurDeT+7+kjrn0qe&#10;1g1ZVEksM0t7DbzEq4tpGu53aBl27dmUWRWIIHmdB0rReOLT7Dw2lzYx3ZTVLLU7wiNvJjhsllnl&#10;EK8/LhY8qD1djgkjPf8AgW50XV59R0qeID7TcfaTDchUjeCWFZicAKCrZ4YED5cc8mtbVdN0618S&#10;6PpUjRSWMtjcpbsriSUKQZHV8ds+aCSBhZU5wprONfmnre7eq8kux0wwns6KhOCatv36JE3iSzS7&#10;0yLU9DCXN/4d1uPV9Jcw+YpEbvbS7MHjfFNICf4W2+hriZJ9P8VXt4jGa2ureKKMmQr5toS8uXV+&#10;AQo2kE4wAc9Ca9C8O3cOiCfw7cRXT2oOzTL9T9ohuXMcRuVfk7WGIcHkbX5xkg8nr3h0jWTd6XDE&#10;7alGt5qe2TyokihkKqHk6AOXJbJAwhxjFc0rQfKnpbT5ndG8tdtTk/D0pXw/JqEVzJBbx2ZtbkwC&#10;MrLegraQIoB5LyrCpbrknIz04r4sW9n4W8PaF4XPnS+IvFk32NpVkLeTaQS2csqkgkvvl+ztknH7&#10;sHLbuPedD8Mx2D61osUcEkGkQHxtcecqlZpWnEUVttKtkxlrm7JPzAxJjGBXjfxUtpx468E6lcMF&#10;v9It1nntmR5DFuutPmuiybQACbccDnbDgHhq76E4pwnJ76vzt/TPKx9GPNNQXvRVl6u2v4o43W9N&#10;i8PeJrm1uZXOjeF/DcP2aIwALHOLRyXxxuCvKBjgqQ3POai+FHhm6Gsaj4glR5oXtH1Ybw5CpbSX&#10;EAII4OZLaUlcfeHPOa2tW0ea5/sDXdQgivoNc1G51CK1RzM01pbXMt0CWLZ3FXGP9iNVAwBj1Dwd&#10;YjSY7CzedZY/+EGsrl4o18rDveXzXe5tyhvMd5Cw4XO/+7xo68oxlK6u9PmclTDwlTVOnrGOtvTR&#10;fkfPmvpNe3HiCadJDcW/htXLxpuUyre2cCYHBO0TMoA7Ma4S60i3t9L1yWRZYo9MtPt5vLZWLsQz&#10;gMJBzg7JcqGGQwyMjFeiPol7pen3NtqE/wC/XxhPod9FFPtMttFI8qc5+YDbZueoJYc8Vc1Dwwlh&#10;caSXd5tO1uxmiEDSs8csSSzAhh0OC0T4bqT0w2AqeISjGEXZ/h5kOlB4iU0rXV/8v0PPLLQ7y30z&#10;UI5rZ2u7u7srs2s0eJw6GUJ5sB5VSquRuGcFTyOG9Xn8OSD4fXc+nTNbTT+NZ7GG4SXeJTqLQEyS&#10;ckbZorwmQjoH7AnFLwdFp99qfhcarEwu7e8uYvMMm+W/+zDcETAP711SYqP4icY7jutZ8M3Pw/19&#10;PCl/ML3Rz4ja6u0e4WJrFLWK4a3eM7drR3ME9s5w2A0CcnjO2InUbUlZR3t6Wt+BjTpNUkpr3lbb&#10;vdpv8S0dNtNVvPCtsLHfDe6Pr1slhu86aaWQJCkWeCGTy1GWY53bjgZAyvhr4I0l9HuvDmqwxXLQ&#10;XV3bNbyyLEbt3SJk8oZIAjzDzgkHC5yMjr72LS4bvwHd6feyx36anf2VxOgWIolzJ5kOQVwBh2LF&#10;sgcDOCa1NG8J3niHVdVZiq6anjuaymjikksvKuEsoDGFkXBRGNsVZiRkzIAxyawp1pOnzLdM2rZc&#10;o1ueWltNPvOZ8L6at98HRH5Yk1nwdqeoaBqFr5IzNazmKRfMwQAsnzH5V3Bgh4JGPp34L6Udb8M+&#10;OfEkVgWh8LfDpfGc9xPC1xJdXuo3dv4YiRmyfme61WOQSFh/x6NgfKQfJ/DnhrUPDHjnxHY3klz/&#10;AGJ48sggNypmRLwSIXVyejMpc7jgsB7Cvuzwt4Sl0n4X654L03VW0+O71LTNd1MBIpRqH9mG8WO1&#10;mc/N5ZuL57gIp5kRSRkKRk8TGc5Tnq2tO17NfmzaNNQp+xprVtedldXXrY+RPEvhzz/C+q2kdvK0&#10;epeOrPThAitLLqqG/iitosquVcQxu5xjPlcdQRheJPAk+l+FL+00cT6MfG2l6fo2mqi7r1bO4gmA&#10;kRyQVBaebnGGN8ApG0Z+p/Enhq1uvDdtdW0htWtvixp6C4tT5c1os+sWVuCELD7kHm7GBBXzd+Rj&#10;NTap4HutXbWY7CCKYQ21hoekKluwa1srUiWZFCAjmeKJeBk4yThcDi9tKk7Xun/krHsRwiqR9rOy&#10;UVf8TyE+C4IvEeoxFfsElr4YsIrO/t40aG3+zKroiZPyhUQwlhg8txjiu28feDC/xL0mytxJDpus&#10;/Dq40LXYYYfMF42n3P2qO3MmcbvLuSVH8X2dhkEk19KWfwwu5tJ0K91BJHtdT0q4svElykbfaBHd&#10;zylzGuQ+YUdUdcjdlj1yD27eD7TUdLsIrSbT1vtKgmvNO1hiFj1eXcLUlpOokNtGzFcsSkagZLEL&#10;lKpFR5ZS0u/n5/iVWhGfLOmtXZLTb/g7fI6DwN4f0vxZ4ZsF0mJb9ZGWHU4Z0LsF3GGWOaJhuVw5&#10;XMbr0YAnqK8tuvC+hTWHibxNIEsILrxpHocrWzA3Us8WoasDHFDI4dx+7jJcqceSoPzEZ+jvBExv&#10;LCw+xaQ1rr2oswvdUkiP2i+SVIoY4zGAFQL5OdzAsWeVmJBAXyLXtEk/4SKXw/uvH09/EH/CSaVF&#10;AnltKkFvqKzyunP+suL8T5GfniYZya5XUWqT0at+XQujgqn1hVZKyi799L/r09DxvxXY3dtp0Mdn&#10;psdu7Ws0cUSEtd3DiDYkm4RhWZmlypwTlTk4AI4tvD1xdeEvFDw20mna1r01rLq+qXOXDEzS3jRZ&#10;3fdiWaAJycMoOcjFfotL8L7LULh9TFosdpHbpar57CUpJMQZAicFvk8lSyjBCuewNee6X8Kb2+tt&#10;Is5bNdL8N3lwBLAhJv7hre8QS3UwJ2BmiIAiVsAw8liRjkpSkuaV2kzvqVqU5xhyaJrz1Wv9eZ8x&#10;eGvAh8R2+ozyxMYjpVtA04/10aSklVCls8IUBABIDNlQBurstD+Hr6Np0xsrX7Tc+fLBZq0oijlY&#10;snDHBH/LJc4/u5GSMH7T0f4WmFC9vp8KwvJvjs3nkQyKAW4YOHwAoX5ArZxjkA1s33g6Wziazlt4&#10;LC5VEQQtYtbZQqjiRmwAc7iCxyxKsT72sTyU+ae2i9XczrYROaj8/TY+GZ/Ct/HAltZ2EDzafa/Z&#10;7nUrieMRSzzFXl8uD5XkG3zNxC+WPOALAgivFNV8Gf2t4m1+zubibVb6HT9Fs7WJYTZQQXGq3Uy3&#10;U8RDkytH5CJH5iqoGG8sciv0D1nRLpoppIdMkhVZNr4mSKa5I2qpRD8uGyMbjk7gTsxXlWkeALPW&#10;9f1++uraBr2DxBp108eZbW4h8izZoAqDh1hMzKHbrIWYccKo1ry5kv6Vv8zOGGtFx5tFv96bOHm8&#10;K2sem6xLaWGmyyxWYM+sX6ux0JQSvm26gY8+Qt5aHa2WdflwDjzjT/hvdPqsGsPqUmm3eo+GyHuX&#10;RTc2dvdzbGMUrAlJpPKBLj50VjtKMMj6otvBurR2+qC+XydNu9Rj1CKGKdZIZIEjCxQhgvzB2eWU&#10;yA56BSuATOvh/RJLVdVuY477U5xLDNp2lNqM92kFvhLfIdltTxG8mEZVBuG3ndk1cMVJzfO/QUsI&#10;4zko/C7fgl/X3Hyp4n0nVvDdksXhvTdFk1KHSvslhrOqhlt/DdvuOZY8kt1cfd2l2KxgkuN3OeG/&#10;hzZ6hdrbzLqN9Y6aP7S8SSarJi8195m3CJEB2Ish8yQwxcDeN+WclvqWHQ9Qg1OcwW8l3cKWvLG2&#10;hgEi6QqCWMNI0wZXlO8mIn5IRI7Kn3wbmj+DNSdH061tLbQbxnbUJr3UbyHdqp4fckrM2GDRjczY&#10;kO47euayjVu1rdruzq9nOMWo7P1v8zwy6skjaTVPGGrjw74ft2kt9M8O2kRN/qUgGQbwAO8u5chb&#10;dIxyzZLkgK2UaGLKxfTtC8U/ZdavCj6xeactiNZKRxoLfTYb51YlRH5TyqF3l22KS21/oPQfgwLq&#10;8uNTsoG1HWbpRb2lxqUvlyW4jX503MwXaFIJ5y2OepFex+EPhTo9rBdeJfE1tdX0Uk0dvexzyOz6&#10;5Mf3cdnEw4hTJzJ5RCRhXc5kc+ZpSrc8XK/u6X/r+uxrKUaSWt5L9UtkfMXhvTr2x+x2Mfwk8Q+F&#10;9U1WGWexSa0uLm7+zQtJFJqPkNFG4i8yF40lXYk0scm2L5ZNujd6oulxtBpCaDpF1b6iqiCT4T67&#10;aa9bZTYJzfRJMFBAiIneRXznAJAYfYf/AAhQgN5rdrNcfb7xxJqrREpYwkRRxxLFbklFgjCiKOGN&#10;f3cabQE4qzYiYXTTDS7u3juC/wDa+tRXUmN0gJWJEK70Yqz/ADBmVUA4BxXJPGQU00nb+v8AIvD0&#10;arp80rN9rdvLU+d/CfiQ3llF4T8JeIf2Z/GCaTatFNBq2t2fh/WlBk89klnu7KO8F2pdkYKJpAhj&#10;HmDcY19uh/Z81S/eCXxJ4DewOvmW/wBH0qfVjoGh2pkCuXtbqWEx3Uf7po1Z2TIMZGcEV6DJ4H+G&#10;+q7LfxN4T8O6jEbWO1iTW9CtdXtFRAqIYxMjBT8uS4O4tlmZmLMey0HwL4Pijh0zQdAfwVZTx4uH&#10;8FalqXh1blmKkS/ZILuGzLBcruaMlRnBDbWGtHMoVI8s3r56f0jOtgq0pKrTvHdvz9LWPHX/AGfd&#10;TGm/8I3pem+PNH0qxjW1hjj1SfxdHC0YZTGLJJDE8SKAyjyZFJPMeBubxvWvghpEN3b6PL8QdLjv&#10;J7ya6022fUDpniKNihbcLRbiJnRUdgFELL8uDgE1+g0Xwt8VL9lk0j4q6xqGnWUf+naR8RJrHxFY&#10;3EQKMFjufsJvIQnAGZyrKecdSpsvik9tPZaN4f8AhpZWV1cNJLpsngx7DXrmBsMn777T5uxlUfvo&#10;wzsqyEMgK46PbQrJJw77Wd3+BnzV6btCdn1v7vr0dz809S+GHxL0Nbi6D+Gdf02xX93JfanaaNq0&#10;ihQAu2WGOORSXUYaTnaenNeP+K/Bmm6zB5nh/SLrw74nm+zi98LahaJ/wj/iUzKu2fT55GX7HMqs&#10;Cdkpt5FzgRkYk/YU+HNWNhLb6r8A/BnjiDyWjih8NXljbLGwZgUYSCO7eVGUsournLlefMywPgHi&#10;PQfAunFI38LePvBUeySGSy13wxe6ho0TAq+yG5sYblYn5x/GOfunaDXZH2MacWnvurdfJ/dY4Zzx&#10;detKHLd20kmvxXXtqfmtpHw21fwpay6vbIbm0k8walFc7LqwlKBg8LSFR5DrhtojCklGCs67i3iv&#10;j3wd4jmaDUvCl6/g2aeFL2z1VhIXS4Vo3B2RjDrtUrh9u4bc7c5X9gfBvgHwx8SZh4Y8H6r4L0Px&#10;N5Ih1C0utS0rRLjV1LicQyyTTww3DpnfGZSsqMsYVl2IByvxG/Zd+M3hGymvvG/wd8bP4bhgM03i&#10;fQ9Al8XaVbuu5Fe5k0/z0t1ZyBuMhXa6/NubA9LC5ficXTlUw654Le3S3Ro+YzHNsHluI5MdNUq7&#10;2UrJu+mjf9dD8+Pgj410T4keGPEPwX+LKX48M3kyXUEsdqY9V+HuqxAeX4g0aUkhIkwrzwAlQATt&#10;2bgvyN+1d8DviD4Y+KF74a1KSGPxmnhqOzh16aB7XS/jbpNrbqizK5IjF6gjRSrYYSQhWOWhd/q3&#10;xx4Kvlv9M8Q+C7q1stV06SO6Q2V80cMrLKGLZQlmZdpwjAE4KnaGYj1Hxsnhf9pT4JWvgzVZrXRv&#10;FfgHWGvG8Y6Ynnav4UuXa3jt5Y7d3YJG3zxBFCosVwyY+VEPTQm6dqNWLV9U3pZ6aPyZ5mYUIqf1&#10;7DJSS+NLVarSUfPv36n8/Z1LxD4Q0LxDZRyxXOseNNYTw9e6XG32GXR9M06N7yZrhTgb7q6k0wIF&#10;ySlnKW2/Lu8kTxZ4/wBHSWS0n1/Rp5m8p203Vo7dJ13Md++NsAZ3HAx1xjJr6w+O2l3OoXFok1pJ&#10;oXivR5W0+yv7i4ZoJbuOaZxZ38sSglLgAeVOMFPPVTlVyfh+PXPF2n3d/peseB7m2/s4OtwttqNz&#10;b3qsmz9xdQ/NGfu4VkG394CTt2sPWwNOVbbW1lv/AF3PMxdaFCMYylutL9b2s79Ldj6F0D9oX9pC&#10;607w5p118avFjaL8OPFsHxJ8C6V4w8VarqXhnw5rVpGIIb+3sZGngR5VeS3crEFeK4ljYhXY17T+&#10;158ZdC+L3wQ+F3xw8E/Dn4Y+Gde+Hfju8bx1rngrwDpnhvxvBcXipHrGhaxrdmI7m/0kpCLvTBeQ&#10;ubbyzHFIsYeM/JeheOPD2tzxRQ+HbTTdXmVFTTE1L+y5GkBUJHLDKr20u7+JS8W4f3gTj2/4eazo&#10;3hfxHqnhLXdDl8WeCfjp4fk8AeOfCs+jm1ltrq9SSLTL+CKL92Z4pHt5IWiwSwAwVJU03KlUSqRf&#10;KtGu606MxahiIe6lz35ou+0rbXXRrQ+4PHfwN/Z78Q/DRf2hv2IPiv8AFPxJa+JRaJ8Sv2af2gdN&#10;8L63o0NlewzTXF/D4p0ZrOaL7HJ9kjje40pJU3PJ9rHlMH+HfhT8Sdes/GJ0bRtU1jw74n07UZLe&#10;Hw34huy+p293DIPL02aEYSWYMWWN1wJ8D+I1mfstS+CtK8E658PPHVz4x0Xx54P1vU/Bkd3oVw6m&#10;fyGVoYdS0u7H2aRDuKnY0EqbgSxxtr6u+P8AJL+0l4JtNR134S+C9J+OfgyLb4a/aQ8CW58JeKdd&#10;ttLR1aw8XW8LLZX1vuzMb+VBdQvGrGdlAC6V8XCtP6viVef2XFWWj6pWt6o8qGCWEj9Yw7bgtWpS&#10;u7S10l1s+j1t1Prfwx+2V8XLzyL5P7Y8F/FO1sFtG1HQLD+3/CHxJt7ddjWms6NdYV54fmjRiCZV&#10;HlMeAR4T4yuZfjX4fltdMn8LtqmsanNr1xoNtYyf8K7168aUtcQSWYjR9EvVKsd8QjCfIG+TmvA/&#10;gZ+07b69quoW3xc0LTvEvjnRtNjW/hXxBc+E/E08tv8Ac1fRdYtZRbveDZG8glR4rnb86u+7H19c&#10;/F/4Rya4nxAv/A+paHdr5Pl/EvwjNF4E+IdrPEqrHLqL2e7RdTPzxtIL21SWVk3boS8gKwsKKqP2&#10;ikp31urqy7/5meMdR0P3bjOEtmrLXe6+/a+mtjxTS/g/4E+L+ial4LvPEWqaP8Q/B0nkW/w38d67&#10;CvxU0ZgMRz+EtfYKmrQbWLJp94I5tmQkrneV+DvHWufEL4a6lrvw18dvdeLPCthqMrf2TrFpPZzW&#10;E6eXtu4rGUCSyvlVYt/k/K5X5vMTAr7h+PXhW9+Mtyuv6D4ttpdeBF34X+JugaanhzU7M8kpqdjC&#10;SGgkKjzPJ3IjsrqE2u1fDHxA8bT/ABI8QWfhT9rLX/FnhnxH4e0z/hG7f4peDNAsdc1RJYiBY3Op&#10;WsnlyXtuFZkKiQS7SNkgHFejQqRrSe2+jT1S21XVeZ4mLoyo2mm7veLWjflfZ+W/mfPGpfEjTYrZ&#10;rHUJpHt7K5LWDW4MGoxQPKqGSAqQFltmHmbMbWBZcAgY+tPh/rOm/EyO78SXqabrOrS+C9U8D+K7&#10;cBk0zxxa31jItlNcwAjbcx3EFqXdTljEr5DAtXyR4t+Anj/VYdYk8Mro/wAXLbSY1ubfxL8PjNcx&#10;+IImt0unMFs6pP8AaYY1cy2ZTz1IJAdTGzct+zh4k1bw5430eK7uXsNKttWt73VrO4UGWa2ilUy+&#10;RG/DyAElVwQxUjByM9FbA1KFKOKovbfzX/AOXDZnRxdR4aomm9r7p2Wlj2HxxpVp4w+Henanbvev&#10;aaZrX9l2t3djM9u37kWR8w/e8xGED9NwjRh049c/Z91sa18Pp4LkrDeaN4wvNNnsmGbiJLgrcoMe&#10;jbZOvOc8AEE+I/Gm7v8A4c+IorfT7ZLnwD4p0+3mu7OKZ20NVnLz2s9rNyAUC71GcoxkQklST7j+&#10;z1o0TW2sarbXEd3ZeLLO4jlkXcRBeWUQvIGDg8PNGskRzn5kPYhhx5rhnjMsdK22sX3tr/SFluIp&#10;0Me6qvaVlJefS/r0Pb/kdMAEgqd52BlbAHDcdye3Q9yOqGZSFAzyQhKjYVbaQM+oyf8Ax7tnNR/v&#10;BG7om/ZLuARtm4naM5/I/keabMzLLsUAGMmFXXkBguGck575PoD05Ax+acstbf1off6L34t2dtCw&#10;C0RVVBYyABFfKk88scHpwORzyaX7QZLiEMCxQKWXbhGGC2MYIwC454OF6GoifkVWJ3qfLkyCiMVB&#10;IyRjoVbOOozxTchndlZecqjHAQH72QSOfvA4zgYHy8nOdP3vemOS/duEdmPVSipIRH8oKoxALpsW&#10;MMSD6uW79jxjFHBRWAKqGbcynJwynogOc5UnPX5vpQZw5AeLBZstEQQI8YZhweRyevGMH6PDFtwW&#10;IBt5VtpAIAC9fUdT9c81o0oLlg99PxBOKpprVq3qTAHZcPtVo0wquQGJOORn8GIAzxnFS4CF2jOC&#10;rgLF/rDuIIznOBnGT24P0qFE85/4V3xrMQCCFyPlYZ5zu2DHbcxzgYN1Yyyk5UIHDPGGZWJxn5Bg&#10;+hG7Jz7dKhy5YpS1b3+RDalJRWv+e/5sdCHikEhTdsCyxhkLhsbCoGcqRlMkDj5sdjVxI1IcSAgA&#10;8qznE3QEjHTjLEnGc/QUyOPcFONw/dkuh5Yk42hcZ5IC56Zz1yM2ooVMRkkTeAQpRVUrLnPDH1wu&#10;OfUihSjZyauzSnDRtu/X+vmIVEsZlKzckbCFO3BwThsZ6OMkc46UxxtcKodGdfIZYwQHVkKlV5PG&#10;D14OTjB7XFi2FzuV1DE7cYRmzjr7YHQ84x3qQxuPNdvMYqxUvgsjAugTjHHQY5AJcZA61MHGLcf6&#10;6BNVOTkb7fPqZ0scmMBf3O0cCLjg/MSe2CMZ4znHeo5EYLHsbB25HAUnlR9Tjtngc+4rQcqCBsOE&#10;iUGRfnP3iMrgHGdxzjjgH3qMry7lBtl3wvCrPsXLAgA7txChedxPfOabbpXk9uwnytvuZhHzBBhl&#10;Y8RhMRq65zxxnAU9+h6dCWrtKHABXbv2+ZvHIOWJzycg/ixx1q9FDkOpRyRu2AH7g7ZB47Z65IxT&#10;o0bGzjKruZFR2VgCi/Kc5zyOMdzWkZqL5mgclBxUnu3+hSVZHZ8llYA5VVxJtOcEfQ7xx6nirUEQ&#10;do2B2KvyyErjJAbGOM8kL+BPvToI22Ou/wAuR2bZlgSDjGfrgqenr05FXlh2RpsT94i/Oqybj83z&#10;7ABwWzg5P948joW3JPTf/gA5KduXV6oougVdrEyoQSVQlSD8yc4PX5OoxgPUixM338BA+FgX5ycs&#10;Tt5Jwcndjjgk+tWjGY4xviRzt80s6MgP7wBhznIBRlI4Hyn2BeVYIr/MFLbCAhOSwUKARj+8Rkj+&#10;715rCVubkLi482t9nfy/ruQASRPvk3I4l+YNgRqU5wBx0xg55HvxVuFCqKxBXZGRI0hViHA2qO27&#10;OQf72C3HGSxEEbLEyp83DMp3SgnA5J/2c+npg8EyxqAqlnIy6u64JZFzhxnjOAG59x15NNx9lolf&#10;azL5Yxlp00+8kCIokD4QLJukeMBAwVdxzyAdwwPw6DODcVcq0iyfvXQ7WBJ2FULLnJ5684GTjuai&#10;ijZVBT5SQVkKjczDO0ZwOxLqehyxHGeXEKyyEoUZkaON1jIZmBXr2JGWPIJ+YenNP3bym1cxlOaf&#10;JL+ti8u9pN42bQCcouw7mO0dTnA6Z9x0JFXYCxMokkIdg7RkMN46cDuB0PHYk45qlFnDSZWNkkBV&#10;wgYEnLDjHGSSMe341dtiACkhfG5VKhWJOFUBt2MHhWB+vFLl15m9Giqkowio3u/yLygAlfLDpndl&#10;FGBwNoG7/gPBOcD1zV2PbhVMrErhHc5YOGK4zyTnJJPGNqnuRVWMgDBAXa6yKyfKzd8nk54dTjPb&#10;nvVtEkHyqBtMiljt5cbSMEZ4x6juv4Vk46Npf1p+Zq1LRRV76K3bfX8y1GY2bIUD94mUKght3LAj&#10;kZOGOB7ckc1OhZ1KqGUsytiMh8gKRtDDjq45H9yoRHhjEDGRJlgy/KQRuHJ9MA4Ht0GRUhUTKTsL&#10;KsZMisVfIO8MCQTz+7cbTjOCOaVnZSW1tfwRLvGcYT7/AHaIcU+ZGEh/1fylkCo54O70OCeD1wen&#10;NSgxlmUMz+WCGBIRHbcQRkdSWPVuwIHQAsVY3VwzoZFfywq8lWJVmJOOOw9gRx2EUO3cm1i3zb2Z&#10;sspIwFXLcnBG7PQ8DJ5xacZQaFGSjrbS+33ErxooDlvmfbhDw2CF3nuc5GR/uipGOTGCjFYk8weY&#10;FA3YID7jxna7LnH8WO5pZMOAwCsQBsIz5abjjd1yRls4AAwO1JktGu5CkgXOwsSrHOCfcnHLcdOl&#10;KXMopvZmj5XHlkvP+vl+RCFfIcKFkBD9Tg8YYE84GSTx+ZpWxiHcp4O0ZICjJyCwwOPl6Dn5iPo7&#10;apZ3YYAiIBIKLwQANo6/ezj1HrzTXdjJEA4iAZSCTsXsOgOTntuxyc0oN6diYzSfurfT8V/SHTuZ&#10;cOFJAwu4hYlVvvMG5HfjBILFRwG4qASkTNEI5VJk2D5fNdCSAoPTIzkEDn5T0yDUgYOvVVeN9yoq&#10;7dykbsHnoxVRjjh+oHSNhhjIVIWF2jGMN1PU85+VtyHpwtCg1ql5Di780+45o0LMAw5IAZgrjgZJ&#10;Xnj1yT1AyeKiVcmLez5Db0JG0nBZcgdSSGKEdTkjocGwucqVKeWu2OHIwcBVGPU5wQcjnPrkUiMC&#10;ynKsIx8shADKQd+0qORw8Y5H8OOoNVHmk3G2xMoqT52+v3X6DMgbZAHI2rGPNUDarEY59fmI/DpR&#10;Ezb5FVtm7AyqErjAUbeemQOTnJ79ajbDYVQNuU3RmMMDtDEAdzyRwOfl7ZFTlEKyFVyyw5yB8xAJ&#10;ZUPqMnP4H8aXI6ah/SHJP3VDoRS7AymQlv3fyhB977wJHzYz8x6Y444pzhMbFZQcEIQRhAwxk44J&#10;GVyCRkY9iHSIY0BZmAmG88NlcEAnI6Ekr+pzUf72RmVyeDvBUEkMVRARk5zgLkjrsB4OKiNtEnp/&#10;WwoKHPGN97DY0BSJEbf5k2ZCSvlqMRlFOcA53nOQMBTls05x5iKiopZwpJYghM7lLE544LHjpu5I&#10;6UsecH7xAABjKhZYiSMnPrtyQc9hzgZqMH5iYlYHG5Yy24JjDjaeCMhyFyCACO3FTJJu9ttv6/Em&#10;cX0tf+v0Hk7V2pMxO0r5ahWyCrFVPP8AEI2IP+yTzjFMdNoJQkvMcxb1wTuVmIHfJG7A71IxAKtG&#10;FDsS2yX76MFAzkE4Jyw47A+tRskcSxdwkgkQSLxtwVQ4GRyBIMe3UZ42lZ2voNSjJK4jF5Nw4ZTk&#10;EIC2DwcfXGMn357EKzM25N4UOS5JRQwUHHLAnocg5xzye1NVUkzKVDYAByCVb/V8evK556HacnNE&#10;nKpHlUPntG5IPybZFR+O2QrAhcY9R0GdotqPZ/1+RrJWs29X+nchLIzM3mBVVfLKniQn5VC5GQBk&#10;ljxzz35qP5RGBje2SYiG3NkAcKc9m6gnj5e9NdizMsjNGFICgKzSFsMwCgZ4z3PY5xyKrs6M+4l2&#10;jZxKu1Qcls4By3GDk8HGGAwdvOzg76vRr/IwlS5pcz02/wAytLckSOPMkTDn5V3gDn2IGT1PHUmi&#10;popbYJibTmll3MXdnweWJx909OnU9KKhuSduVmcnJye33m2pUJGcgM8YARyCxCjnPHqzN77jjrgI&#10;yBRECclhHINg2sAgVVO3oc7QcdMls1EuW3pvb97iQlW2qFO1x8oIUZARQMZJGDySKm2PhWbCgIre&#10;ZHgBSQBgZB+XOPTqOmTXK01KLk9H/wAA3bfMrp6fhaw1nUgsR8mAo3AjDA5HA5GP3Z5yeT2IAQIw&#10;eUSDciFogrPjy41BPTJwQMk7uvHJJNDxK7fdUqSGKfxszDO7BHLYCjJzwB9KdIZCz9RFvb90EWMs&#10;SCR0XaF4/DGMUcyjJQhuJ80GpLq9hw8tUHlmJSsnzMilHULu+YFvujk84yQQewAQl0jmKNsWHnHm&#10;EYAYZUeo3benPJ6AcKRJJGVVm+VUCful4OGVlx1C7nblevy5HalVEPlRsqiF5htygjZmJyenAz1P&#10;qMEcHNNtWSS16lQfMvc8tQEbgNGoTzmTO0vmNFLfID0JJ3Nz3x2prKrsOJR5OQqvgqD14OM9CDx3&#10;Jz2IEmDsd6lfmMathcKMb8kZ4GSAD16dKkBRW/esg2tgHbhg25FVuue/T3BxwKT5m9dwc6cans09&#10;NH/wBuS5GZd6oxkyGCqMnjJxjgf+he/Dy5YhwVKyE7kB3bBtOVAzxk8/N/dPrmm7kDiJ41w0kgKE&#10;+Y0q5UAsMZ4GfUDJ/BjEM+5tmPmmYSRr95WKhm7ZyTjPcj2FKNSKkrsl+7Tv5/8ADCHYuUO4qifL&#10;hTIwGXwFXoTk8j1PNPYCM4Yi4WOMRF4XIVxkZz0I+6D+PAGBTo2ib92oO5VILoASRjgZGRxk8+w6&#10;UReWx2oyrsGDklmU5OSSO3TjGQPwonKySl3LVNJWk9Ht+VhAjLtDkMpGVZV5PyrltoPTnpnnFSsS&#10;R5kjEFWUxhpMgKdoGM/whSD83oOm0hoSsj27NhjtBiVSoY7iqqF+7jjcPfJHXnDyrxofLBRgcJIA&#10;Mg4wuDj+EbQTnoPwptxfXdiqU+VNeexKrECACTaHlESg4V34XAH+1y7AAAYTGc9Ws6IwVCEDASO6&#10;Bm3AnAPbpnv+VDebH56lvn5WPKnzE3ZJUseTkAEDGMewp6l03yb1D7QMh1L9M4zj1HfHQipUbLmv&#10;/XQ3crrTTW/5fqRMyo0LvmTDMECf6tiQCvrwecE9See1WEDvI2ZkYI5clRkJnOAMfU9PTHSoWVAW&#10;XczDaNw+8pzzkDoR8u4HoMipAxKoxOxpASoyHDhg3yk5wevRunHTqJVorl66EOdpWl6IdJGWZ1iC&#10;KdwbKjJ4+VfMZcHGSep/jpyOWMiksxZBsUYZW3Zbbu7H5R+JX1NII0z5hUGKNwsicYbAzw2ewxyP&#10;XrUbAoCXKYGMqcKuGbC59M7eQOmO+M1dONk6cf62HyNONSWre+voEgBEi5bEYJaUEsxjHIODjAyq&#10;89sLzkilSNzvDFmiXBkLks7Mp9eRjaeSe+PenHezKysoUH5UD8yAAE7mxj1woznp3yGCIiQIAGDS&#10;KxVQsjKzMOV4xnLducpTk5xaT6bijJz/AHjjroSo7hPKU42sF3TMAGyMkr7fe455JPA5LtoVwhbK&#10;7iXVDtEgIYAH0G7Bzx92q7eYrsg2xSbFZQcMc9XyepyNoHHX0zVhVZjuDK6KhA27WfJP3R/Fydox&#10;xnaD3FRZ2Tk7FqScV33/ABFRGjcqkbBpH2KVJORkthu+BhgOx3du1kBtsjHLKV2SLtO8kEjgnryW&#10;OccjPXimglo433xyYfbINwVZMHCgHnOMZ9iMdgaVjIP9kE+WASqxqSD82c5PQ9OePfNK7vGS9PyJ&#10;ktHTW3UnUbVIDOTs+SQrhlJwMc+pzxxwMZFKiK6g7lcLje2dwfCj5sfXBA7biOepi/eqSzmP92Pn&#10;WMkxqMHeSv0z37A5pQ4cKzBUnbZb4jIdWYl1JHHJLFQAT1zjtTnzS0p7lW9/3Fpf+n9xKUSMIjEi&#10;JUwGwZlIClgq7Rydq4x68dajwoUNEhUoTEZGVCsh3c4A7n1PBx7VGzhQ7cEqN7gKoClmYsRxwMqx&#10;AAOOASerJOsqDPRN2Xyd4c7V4xjjGAcZxyO+ckoOSjffT8BJ072j/XYf5o8zABYAYfKjjr26915P&#10;XNR7RuVcqZZEJRAxLKSMEg+m7gcDjH4Rli5aVMgrllUqAuUBwenXjI+gqo80cW6SRw4VQqTI2ep2&#10;5AXIPO/AGckduoIRg5KU9+33DcW5Xjuv1e5HNZ2sEckrwxbkVixcAqAN5xk8DI3HBOcn3Gfxy/a8&#10;+IP/AAkfiTVNP0oPLpUeorpEMpkDLP8AZlkBCKuAP3jEE4OMkc9R+lnxQ8XnRtA1KQSfZoYbOa5k&#10;Ut5bIFIzvPb5ljHrz1xyPxvbXNPubS++IniGS1u4rG/uY/CukLGpiup3aQpcTgdVjG0gH7zBOvNf&#10;W8J4GpUx/wBcrK8KdtO7b0/y/E+f4jxfscvWHpO06ml3skldv0W/4Hynq6y2VzcTXQ8zUJx5aRsm&#10;RAB3579Bn1J9au+GPs2mm4k1Gwlu7zUbB7bRlUbgLiRlVZWGf4dx4OeQPx0NJ0nXPiN4tFpYxfbN&#10;U1e8Z0iJ8uGGMZeSSQ8BERcsT2APtVs2kWl+K44oSt9Z6a0scF48gSKWWLcvmjsE3LuXHB4xX7d7&#10;Rey9hJpTcb28lofiKpTq1fbwu4qW9tG/P7rj7zw3aeGLfS768u4p7zUi73trEctbrkjacjOeM5HH&#10;NQ2ljDLfy3BuIYkaDekAffJGp5AY4GM/KMVPrFvf3+oJqF8kptvL+0xiY7Eum6bFHcEjHHpn1rnN&#10;P1GSbU70Kka5A+YBUXgkBcD0wCR7Vnh3WnB63n+CXRG1eFKhXvb3dPWTe53K38Wk/wBmW32bdfR3&#10;n2lI7aXbJsxg7j6kGtdNRk1O/wBRn1d7m2s2E1zYW7SZKMygFj3DFEC+uMDtXMwLZ2kk9/e3kfnM&#10;W8iYgNPjY21Ui7Dgcnu3fGKydR1UW6Q2NiS4MDPdSy/vJpmk3KTz2CjAHrmnGnD7Osn17Xt+QLEa&#10;WWlKLv5u2uvzZeeZJTJBZokFrbnLnAQEZyef4ifXvzVe2hutXupfssEkdrZwK0rqCYbdVYDcT0yT&#10;gcdSwrSTT3WztNJgK/2hqTRzzA4WQZzsQ8cYBLN1+8PStDUryLRdPbRrSZJEa6b7TPEBGLnYeWL4&#10;BC7gduewz3zVX9nU5FrLZfq/8gjKdSktVFNXt2TWi9WWImD3unwKZfsiP9pugrkExxBnkAA6k7WA&#10;ODgnpWNf3dzqtxFpdmCGMjtNDGf3NtubdhiOCVyfmOeasaRYy39xPMbkWFuLYQ/aJ8RwgsSXVMnL&#10;EIrHA710kOkRyQn7Mx07w2kpSS9lIF/rbLkyMjY+7zggHauRnJIzm1C757aEpylBKm3du3rYl0nw&#10;/Z20PmGWKa3UqWuXO1pZFI3CIDIK4GS5OBkYycZ2F1i3kvDb2xVbHS0a4uJyo2dtoA6knO0HuB9a&#10;5DUdZl1K4i0+2AtomxDbKhEZdMjCD/ZGcknj5nPUnO1oMC6uNVsbONra20zwhqGuzSOnmG5NrGGk&#10;AzjGQy8nnAwOuK5qlOdaPNU210/U7oOjSqxjCyd0m/u0+85zWNR1PWb23a1eNYJm/wBGjALzxjG0&#10;YjGcsxH4k1csLGOB3F4i3lwAZbhp7pY7WDGZC08hPzE7SfLAyx+UAkgFbWxuLfSjOXXT4lcxO5An&#10;1i/J/ghTjYv99uihjyW2rXQ6VHf31oZRYxadYWqiFEXEce4lm8y4u3A3SZJLMAu7Zj5RtxahypQg&#10;rRW/z1IlWnUqJT1f4aW0RY0576ea2kjgezlZfMgaePyLe3Qso83yc4UAbSoc5YYJzXbWyeGtK/e7&#10;Tr+qKpEkkyn7JK2dwYnueGz2yBya88n1O3siYo5l1afI/dxwGO1R8g/ezlypODkdV4x3bZJqmoGS&#10;aaSSGPlPKdvs6HLPgdscZ45JB61zyvK8qTtHudcFHmftbu726aLqvwOm1jxLeajOIrlysSINtpal&#10;UhtvUBVwgIIPAz09aitVa6u2WO3he9mxFDPOVvrxhyAFIHAzgHYoySuR0xShsrMR7Swcqoa5CYig&#10;ID8hm7kAn15HTmt7w3ZalquoJa+HtF1TWZriNoIrTw+GEspHVZZuNqrhScMuQWHGKiEaWsIrVX/E&#10;7KsqteCu+VdPI0ls7GBU/tdLrUrtF2C0gm8542YAnzMIzZzzhRkAEEA9O7tNOggsba+1KO00PSrl&#10;ibS2u9WbToZyqnMqwRiW7lAKFd7qiknGSCa2NH8NaLo+manDqt9Yza3cBUey0u5kHhzRRkF0nnRw&#10;15LkDcPMESsvy78AifSPAnhiZlv71L/VbklZAZr1bLTYgAfkddqk53bxufaAwODXLWqxlduVkrfL&#10;ul/VjooUqkWrRvL11t0bv/Vjlr7xVYm7jbSdPuJorYDbHZ232K0mbgElQ5kbdkcu+R8wyODXZaHc&#10;/EHXGjhtdDTTba5PmT3Mq2ljEVLElpbgNywzyzPkk85NeqWei6REEsIE0ywG5Z2h0WO2kvnMZ+US&#10;XksBwMYyApUEnhqj1nwt4rmvby2sNG0yaaxhS7gu/EviBdZvAMLshS1ureK0DAuzfLCCwwQf7vN+&#10;5mlTim/Xy3Z6DjXUdJpNpvRX8jsNI+C3xOubSHWFj0fTbLaXL6r4j03RbNUEZyBPcXa7N2WOXYDB&#10;2heMtzN4um21sdP134neGngdzE1roXjC08THTWfaZBKtqLhZF+VRtjbPrnBryTxF4N+LGrwvFqN/&#10;b6igUSLpq6nDcBsgMDGGeOJen3QucKo47eeR/Cn4n6pIsdn4XmlxGfKktLzSyXZeVBRLgu2QQ2WU&#10;nB55zVRws6s5TXKl01v8zaliaVNKE5ycuq216W0v6noOr6z8ErG2urOG1u5tXEisdZ1DUm/s2ZEV&#10;gzLZ/ZY2Rj8n+smyNnKgkgeeQa14PtJFjTw54D1eBAQWSTVNMn4ZtjOWkkDn5RjG0A4ATAJOFe+B&#10;/GejpZwa/oE5N5I0WnTidIri4YZyVb5lkCg7tpyenI4rFvfCF9ayCOCODUI3RnnFqvly2pjGGEin&#10;GMEE5GRWk8O4tR5rJ+nQ0U6NaCU43j8728z3Ox8c/C0XkU178H4ri0ciG7s/D/xS17w8JwMZAnLy&#10;lCQ5VSgyBjjjFWF1j4E6hPq6SeF/jj4XtZZI49GhtPiJpPjXSrHGwyG7S90lLi4jYLKAqXEBXIJL&#10;gFX+aYzqNrcGFIJI7YfMxiQFx1UnA56Vro93tk2TfaIlbaUddrAcdc9Cf0rllCUI8rno9en+R6eF&#10;p0asuRQs7+elrab+Z9qeB/FEvhSE3fgL4zfEKxtbORJ0sP8AhGIdRsrYCQNAWs01OMIMsMEKyqSx&#10;4AFd3d/Hex1m9j1D4hnwX8S9SeRLa/1XxJ8Pb3wR4haMLtCzavo+pLcOqBiQlys0ZzkRg5B+GdBu&#10;bq2NxeQOigMihNu9ScqCrdev3QPVj1Fe62PhbUItPXVvGWrQaJps1tFqS+GL7Tvtvjm9idWeGWKN&#10;sNb20ilGWe4YZSQFI3BDjzMRCaXPOVrddvl5no4eMKkHTcL3f666/JHt03h39mXxnY2c+k+Odf8A&#10;BXiLUIwl1oOsre+KbGwldsiW3n/sy1mWJixVUllmaMjG8qFaovEf7OemeHjp9/pX7R3wp1K7vCkd&#10;rEsniDwtrUR3BUElxNpwtMJtThJ5RySQABXzpqfiuS5KxaLollounIA6R2Ltf3kwAcKHunG+QkMV&#10;3ARpj+EEnMNrDOIP3Ny8lkArTWsu2aNWIzho2yMEKQM9j2xXO8RX5rQaa21R30cqgk+ZuL8ndX+Z&#10;9R2HwM+NOiXNrf6cnw21y+trxL3Sn8CfFvw94j1u+dJEKyNHBc/bEbjOx4s/MMqN4avdvE3hfxTq&#10;3neJdT8OjwF8RJojba/Z6krRaT4shjVYm/tW28vYzB1j23KrkkuGRmAZfgSw1OaxiWa2vbiz+wSe&#10;dbsZGkCHaQGGW3Ag4G1emeAMAV7/APDv44/FW0ubaGw8Q+Kr+zZ0RBod3catNDK6sqGK3XzI2JAJ&#10;2hCXUEZwxrN15qKUo9b6X8jV5dUpSSp1Vo+qWux0njD4XWetRzR3q6TaaxG32aKwXXLWO80txtWS&#10;aMuwEsK+arbG+dhIu0vzt8Ag+Gni6xKXOj6t4H17TryQpbtb/EjStKa6Py+ZsDXKlXywwoIdQOdv&#10;Gf018O/E39o+W8t7s6J4xi1HUJwLDS9b+G8umtfN+5VhY3cMkEinOwiNbWVd0zFiGLbvqnwJefEX&#10;xJY654f+Jnwv/ZD8PXnh+9ibxDL48+HXwm8X+ObqQqXC3Wijw3qOrSXRA+aaf7OUKuJZlZdp6qEX&#10;zxVeDSfe3onuc9SE43VOonezsr/jp91j8VtF8L+OdKvDcwXMFnNBOSllL4v0fWp41RSjLbzC93FT&#10;tYfMxBGw/dIJ9ch1nx8ks9trPhaw8VxmIxJN56TzqpO2NYpIGLMTuGQHPBb04/V/xxN+yb4dgey1&#10;jQv2MZvFYs2e7Xw/8AvE8V+xGA0E9rpGoeH7ZVOJFd7RrlflUgsCorxvWx+x94ge1g0jUPC+mPC/&#10;krpXgX4U/EXwxpV3kvsVtKn8XXkQkjaRwoEqqxUNJuyQ3FiK2XQk6UZPnjb7vI9jL3mLp+2dJ+zl&#10;s3Ztbbp9z4kt9PtNXs/suoaY/htQGu3tTPkwO6hVhljPzEANhg3Qxqc5+atrS7e40ewM9rrGnx3d&#10;pqcc9mXSVrwRCBl+0qyEgxnfEqDDf6osGXYA/wBVXXw3/Zl8HeHYfF+o3Xi+6tNWh/4p6xi0jVPC&#10;2q6wXmAmnNrJr0gS3Qw485zmV5GRUOSR4f4y8ZfAeKK+Nr4W8WalrN3ZPY6fqtz8RrTStOso+Yre&#10;a5046fNMscZjDGJbuMuUC705lPkVOVz9ippPfba9tPU9qj7Sq+Z0JKK63Vn6a9zzLUPFninU7S6O&#10;pm6vYru6SS8v7Wylm1R41IWO1efzCsieUigKV3AIq7toAF6yi0i/mga9upYna3MoEqShoTGu18gu&#10;QqAgAqcHG3kFq3U1KwupXg8O/DvQrbRba2E7ajJ4n1XWdZjj+VWm33Nwlu5zKhOLdUBbjCjn1TRP&#10;hBd3Wlab4v8Ai7qmofDjwTe20WpeHvDmj6bb3fxP+JNu7h1l0qzmQw2tk+2PGr37JCfPRoo7pSTW&#10;avJJuVlHd+X9bI2Sq0doXnLot7/1uzyqGx8NTXunaNpd7FqGv6qwi0fRbEvqfiHWHMnlpDBp8e6W&#10;aRmkVFjiiZyWAAO4A+rwfs9+Lfh9p8c/ijwxH4Ik1a4mtm0/xjq1n4Z8XJHFMYjDcaHcTLqkIjaA&#10;xkS2sQ3pjluB7FpHx11Hwlpb+GvgRpXh74AaDKhS/fwTeS6h8YdfH+kRyvrfju4VdVnDLdCM21hJ&#10;ZWIEcJWzRxvPi7+GPD+p6tea/qMol1kPNq13dNeSG9vbgsrNLdS7/Nk5Od0m7c2c55I46mJoNyo4&#10;bmlf7T0VvJLWz8z0aeFx87Vsaowj0ineTfm3ovlcwb3wbaXvjHStNnFqItEt7nxDqqz7tnl2ETT2&#10;8SqeplniiHptXPOAtYn/AAjRuvEGp3Nu8a2q6aLG0mdR5yG4DPP83XuMsACzORx1P0QfCc/hfTY4&#10;NT8q/wBd8QyJq2qpcoJbzT7eQMbGESFSwaRX85w3SMxjdglazm8M2xuZLlBKXCKsxQZRdpPygZA4&#10;Oc9vm49uatipUVGlB3tf729fuR3YPBupOVaa912+5f5v8DyLR9Lt7GKW0mMokgiKQjzw6qZFaMuh&#10;BIxz0OCOcjqKktPD/l6t4jvbXHnJo1pdrGsamRgCqz9e5Plj1+8QRtFeuadoL+beX0tvvIkKQPKm&#10;Y0QkhRkjBwAD+OKxV0may1+31GYlo5d+nMiMfNPmCQxgAcYV8E5yc9ecmuSVafPzSeut12vqewsJ&#10;Tq0P3e6/r9TxvUtGFnrMcElpb2VhrFuE069tJSk1oVZ/vMP9WHWQPnk464IK1uQWDxaXp8N3Lcah&#10;PbTOsE7MFvAGaQ4aQLu3rvddxO/BwPQdrJp8V1Fe2qRWboJmt9PJXzoi6OoaF3I5xhkOfujnjoJL&#10;fRXnshNZX7Q2STqt5Y3KCVrMxsjbVGS4KhVAG4grgZIreOJqVI+0Wj/HzNamAcLUqluj+ZWhsmSJ&#10;ZYmkMJMNxFcxyZiZ1wpQ87cMGJOeDzXT6dYXGm29/fzGS1R3ZxPGWAiijO7ICgEHezkAdlUADFWd&#10;Mg1myDxposd/pq3AWQR+VJbyqNoZljf7uSfmDHHUjGK25dW0Se3tbJ7qaBXuFSS1vbd7a4g2hZWh&#10;G5QhYoQCy7l+bqaylUap8sN/x6HLyRlUi1HXqv8AgHMaLbSIviG7v1kkl1DU9N0/zSGjKfu5mkDc&#10;9GllZdvU+TyeQtfOnxXYy6dqnip8u+na1HCLjcJZI0uIJUL8kZy52lehIUk4xn6lltpV0+e1njdT&#10;qF4ur7Wby2csJJE2lSC2TKM4IxzwDwPI9e8OXOseDfGnh6S3xezLc6PZXUcccpkeOWGW0keIkEbw&#10;iAMgOd/+9nSFSUpxfRJL7rXsZYnD2pydtW27/d/keJ+HNct7nStPt7pJriDQfAt9brxKHgubie1Q&#10;s0Ww7ldC0Z9dwwWBIPpUmiB7/wAJ28F/Cx1jwBfacl1v86C5mtbeW/gjY90Ja4ctkHL5BLYrmdL8&#10;Nm80jRruyFw8N74bnvrBbTfNNEiSBZbeZQM/u3Kq2RjCdTg49zt/Btz/AMIt4Y1toLyC60We11PT&#10;WEIsSLU/IWJDALE9tKWGeWUMerA16NaUuZ+z2T/DW/5ni4Ki6dOcqyb5o/NJWR89ataP9v0XURZ2&#10;z/bZbqR9Nu5GZ3eJLSORwxGW2/aEO3qM9V3Ka1dPESz+CrlopG1Czvbix1KBnZ2CnEcM4DDALeWm&#10;T1Hk4yOCO81vQ5U0+w1bToXMPhjxVILqwvAPMt3kj3QKEVfuzokQTnk+WMsc1p3egWMupw2kVvqU&#10;sZ03/hINPmliC3A+0GJ59roCpjMpyp6ANHuAbOOWdX2dnB6XfzOiGGUq6ja7cdPTz/Q8utvBmor4&#10;l1rw2Yo4rLUluE0G4jTYLO7ZBOqRE8HzIZWaMjDE8gdh7MsEXjW3+H1/csr69punXul6z51kDcFL&#10;P7LZqkykBZGXGMsM7XB4BOK2seF7O+8u5aa+guHuGibVUuka28NXCkeU7Rs3/LLeV8zcf3U33QSC&#10;tyx8L3+h+NPD96lq+leJtTE0Or2YIhi1GaSFZku7dZM5jnSLJGMIUVcAsoFRrutFLm02uTPD+ym5&#10;TVr6+iM24+HOn32janDBDDFrnhWaHULbT7OR2gu5ndVEKknjekT7c9WK5xuNey+A9JtvFej6vZ6F&#10;ePNHqt1JqOnmaAXZW5iMIe7Zjh95EEbEliCCcYBJPay+GJtQj0/xZDbuDaI1t4hTT8TGAOwVp2jy&#10;cEFkGTgEIOpBz3Pwk8MWXwc+I9yNQguL3wl4xuD4z0aPTkQ2WmOmJpLZJXAijWd2QeWSOEkIzsYV&#10;NJzUvZ1JaGGInBQ54K8np6tf5nMeI/BkniLQ7jQdfittK8SWtsJruPT08g28gX93cx85AmAVDklg&#10;F74XO94V1DXNG0+exuLG51KabR5L+OOBkW9gaHyZ3ZdwxJGvlnBjYOQDgdA319r3gKTxnrFv4itl&#10;s7rUNXEt2+oG3jtkuYZRLJcSLgCOOMZZcKFRQUVQMccld/DPUJp7XTY7C6hmikdbF4f3WY2cgxrK&#10;y8qjEqhIKsERmUnFYVVPlbprRP8AyKwsITs52UktVr+pyvhPwF4a8U21/YJrFqWv7zzwHmGnm0vA&#10;qTRF/NKgSqwlXZy26NNpPNfSPgvTLHU00KKWC2sblbe80HXIbdRiO9zHcO+WVSyObYyJgEfvlGcg&#10;gcj4I8J6emsx+Hr6FYtUj06OWRJIhEJZ4ZFkivbcgfMrRtHkjIDwyDqG2/VehfDi7trOeSTS7rV9&#10;QS7tL03dtGIZ9SaymR1UK7ZyEMqnb1ExPIya5oTrKo6MtLb+dtDuxFNKCle6e3z0PEx4L8R+GUu5&#10;Htzd6RPcs9tHO+1CAFkJjKg7ZCChCEHGVyVzkP8AD3gpbjUhb2Vg0Wga3HLdxi5iEf2K9tpHMzK+&#10;AwEzkYKYB8vIJ3gH9B5YfDV94dlu76fTLgXFvbxaVp2o3gUQox3zzLCwXgRx+XgZP7zceE4wtI8L&#10;xazZST6ZAY9PsbmV1MEZIh8mF2328hBI8siLIHIQgdWWpnRUZckddPlua0cbWnDlqJJ3tfvax4f4&#10;I8ER6Tp5v4io1LzJ7FHhjIupI5Rse7iG7AYK7hCpUhmyAAAKytZ+Etnaa74c8RSpLcmTVVsdSW9j&#10;KSTRPHd+XHM/LhZJpoAVA+6zHrivu7wx4EtrZo7ueMrdXEQluTPEhnIbMkiENkht7twBySemQKi8&#10;TeHLbVIrmySVJE82KaSOCH94V85cqZcgEZ2jKhsdcgZqKnNTUW376/pijVq1JyjD4GtfnofPlr4P&#10;tbyyaPT0MQaFN062K2kqRYjleExsC28gMmGAYnlgp3Bde/8Ah/DHYGSOw81IZAEaaaOMQEr8xCBy&#10;wONx4yA2CTnivpbTvDH9naXCDb25uRagPE/zR2rYO5QQMsQSOSMtgnjIFWl0SO6tnhtrTzZZWywh&#10;USpKoyH3jbu4IwACAM84Aqak/wB44x6l0HTjBSva1j5l0zwtI0TW5EEZaIFWVGaZcfOQoOOhJz15&#10;I55OeR8VeALxLwyz6lKIpWkMd1cFXu2RDx5inJUkKMA/XPXH2KbCC1hkWaBU2PsElnbpG3ABOVJO&#10;AD/EpJwDXNXHhiK7kjkx5pV99uPLLxyDB5bn1B46HJ6duOUqcoqm9dbnq0qnNPnbsj5ft/h/e2b2&#10;k2mm6htlJuYZWlA097hFZVlwRnKLLIo7/O+Nu4Y5sfDHU765utWSxt9Lur5UH9oSWayXGqIsSKFk&#10;jyUCEqS+4Fy24jH8X2pY+EpLOWO4jaG2SeNi8JUOmGGDhMbehOCvPT0AqS50u+a3kS2tJLOOG48y&#10;KAst5KmRjcMAYB3bsHgbFJGQMdKtFtu99jza1qk2oP57dT4eX4eaKNtzJFM19KdjzOx/tOGUHEsb&#10;787iPm74YMOuarWPgayha7kSS3a8lndpbyWIPeyJhmEbyHLbQvmLtBAGSeM/N9Oa34MZb2z1e9ub&#10;ZW3ql9Bs2Xd5Fl9xBx80kQlcqGYcKF77hh6npNjdXYuoFtpGVt0Uul2gghdCuQXCr947iCwPqMkV&#10;wKcqVd30T/r7zvpU7U7Xu7b/AOR8w6l4HEd1JeWk8onkPli4S6aSdVGCAuUUsV+YcDjbxnAFV7Dw&#10;VJcMkWo3f2283CWZrtFhWzAGYwQcNvGSNhAxgYyTgfQ13pMBt/NSPBkkePz5pgHA3uCD8oG5juJ9&#10;N2McZOTFYxSALbGyS++zLcT7rtJVw+4ogbcMttKscAj5iOeKwrV4wq3Ub3+7Xsd0aVR099DhfDng&#10;WH+3NJ0ux0yK91jXL6PTLS2s5/s91fO5O1mk2siIqrI7yEbY0DsRhTXq+v2em6reWiLqc8Wj+G0X&#10;TNKvxGsceuXB2m71KYKDIWnZR5fLMIIoV6naNCw05fCOkX2rSwmTxH4utptDsPJYgaPo5ZItSdSB&#10;mOS+MbW4IO5ovtHADIaS30yzm+wzQWN3HPGHmmZJ1jlCAtlFVzhgeGBJ5GBgHJO8qzw1H2cLc7s5&#10;en2V8tW/l2PIpYWWJr/WH/Dj7sO7l1b8ui9JdGjhRomnyysY4JZIpYxDtuoTbpI8mQVbcR94j+Ls&#10;M8ZrMttD+0XMsEQZLoxbZmkBIiiUD5Ruydo6BXY9RjJyR9N2mlWV5Cpii+3w+WGE09t5c2Ts3K6E&#10;sPlbcFYZyMHjPGQ3hixhRYJjcxTCQxW01vII3UOsrtE5IztD/MFPbuAMVnzynTVO6bPTpqKu56PQ&#10;8Mn8IK0aysj3HzpAI1T7RK5woISMDJG3btAB+7gAk8KdRbTLeCKWS4E0MpLTbmV4wEYMoXGd24Yy&#10;ef3nOACa+g4PDQS1kd7ZrXYv7qS4UMsjAkhlYdPmUnI5UH068jf+A9O1Bd6XMzX0UhkeKBC0cq7g&#10;BJ5meVCljyoGeDjORFWm2lGCtKx24d0VLlqO6TMzw54gu5J7bVLk2xtYW/cwvtEs+0Kd0gAy+Mg4&#10;+4Ccd8H3mPxHp2twQfa7bEsIV4tRitZZpIJcjAWZQTE6gEq3HIPPQ14ZYeHLmGZpTDM4tSJHaONi&#10;Ik525Ugf3cH+vFbNpqUJvYmZIoJIozC5tgLQTRqFwZI1+VyCwOSMks3PYXQdal7zdr29G/67GlbL&#10;6OLSutY7O+q8vM9TfTQ7Ncw6pHFcZBi1mxkfTdbh4ZljnK4EqEjBYcqXXIOciC+8LaZqCxajc6LY&#10;3lzH8v8AalpbiS93BSytJE7Hdnodpyd/IHBqxaXpiG2QMkMqI4tn/deduBzKjDI4wv8A3yQcHp3+&#10;nRWi3S3drciJZVVXsnZW0y4IAVcls+XgH/WAqQFGfUe1h3zO8ZW/4f8A4B8xjubCWco37Pp6abb6&#10;aWX3nzN49+BvhHXtAaM6Houo2scTPcNPp1uWml3FiVYoGUlTjZleckjJ48c8E+Gte+H91qGiReI/&#10;iL8KdM1vTE0vR/HfgDxbqOgN4cnLLJbyT2C3CW11ExESSR3AKoCzKoI2n9EG0BdZcwwLc6TeiVS8&#10;hdGeHJUIZG+66g9GI/2toIxXnGuaNqFot1HNa6fcebuSeHUNOXU9J1AbTkT27HHzYHOTtwDmuv2t&#10;TDVFiknva68u+z/I8mp9VzXDTwNRptq7i7X12aeq/P0tY/MXxn4z8Q+ENTHgv9o34R+CfjjfaKJt&#10;Rn8ReNPDkHhL4gaimoTPew3sHiHTlhvp42kEhD+eFZSQpUghPkXXpPhRpes61rvgbwFrvhrxF4xu&#10;r6ZPC/hrxtca34fntLgW4mtLux1lbm+vJHkW7kWYajvSSePYgW3USfr/APFjwjofxH8AS+Etc0ZG&#10;1/wrHJqnwp8RmYzanoU0ql7nRJndWaWwviVUwyvtt5vLmVlMXH5E+O/Amo6t4aPiLSrQK+k3Vwmp&#10;abLJGmo6FJFKY5N2DkCJ02l0JAIQ7sla9GrmNarSi6VRyg1rF2umrKydr6dNdt9bnzmEyjC0a1Sl&#10;iKXJVTaTi2ozi3e9k7XvvdJ3TtdWb+DP2j/2eNf8cSX918PbS71vxPpHhaTxLrOh6jdWHgTVdN0+&#10;OOO4Wa8tdTuLfF9YOyQy2sZe4ZpwqRsyEV+fAsLrxxpWmvrGh2eieLkt4k0y91Vo7afWkkQCO1uY&#10;1cSxrJ5UrxyMqqGfHKlVP7J+LPjZqHxx8AaPF8S4bvXde+HUGr/D7T/E+oR2x1bUNHgu4xqmnXdy&#10;kQmutlsIRam7eVovk2lVdgfzP8S6Br/gPxve+Bvi/Yj4k+ALWK30xtQ0DxAJvGGi6XqVvHLpGq6N&#10;qZcNE0Vq8NzHY3I8vaoUoo5r1MNi8NX96jeMtL30sna2nyeq7HlYrC4zCw+rYuz3tbXbs/uun3Pk&#10;zUvAPh7Uw0us3nhHSbm2En2q2kv5TqNnt83O54o98LrsB2s2ASWzghqfZ/DXxfqPhu6sLDWNMvNM&#10;kt2bSr2PWm1lLK5A8yGSDUFiTymVljYozrtAfLFiAJvjz8G/G+gtN4n8PeLF8VaVZXsmm3fi22t4&#10;bKDxnZoyrDdX2nvh4NShjIiuLdWIkCCZHdRIV8W8E/ELxt4DuTaafJpGraNq0Ui/2Zc3IskaNldX&#10;Z4HbLuis67o9p+YcjgH15RqypKVNqa6a6tep5dOphlPkqRdN7bdb/PfT5nvH7KvhrwX41+I3xL8E&#10;+KvhtrHxDTxx4X03xLp+reHPiQngH4jeBdThYWd9f6ZNcuthfOLiYrNp14QJ44xtkSQJLH9ZeG2/&#10;a4/Za8Q3XxE+B+r+N/EnhvwRqlnAnizw3Zz6vr3h6SeNpYDc2lqZZULLH5UoUSxF1YEyIQzfC/wM&#10;s4te/abtNLFnrkWn+K/CGsSx6XpF95epOy2p1aRUmZcKFk06d2dh90uSTya/Wb4G6r4ovG8U3vhe&#10;W38c2lvJbWmo6Te3Mdr4nigVPNfFlGVF39nMZMxK7k82JtoYqByKvBVoqrDmWnWzWm689Aq4OosP&#10;KWEklfe+qeq+JefpofB/7S/xV139pnxDqXxN8eaBpPw7+PemY1T/AISTSvC1r4ITxbLgyv8A2nZQ&#10;RW6/aJlkaQ3LQh3Z9zZYl6sfB/4jRfFkrpU+mwaR4giWGw1/RorgyWtzdbjEbyS1dmjeOQFCwwQr&#10;OGHQY/VuHS/j3o9je638C/EnhbxtfQaTf634h/Zl/ai0rwx4+8DXmmxNE88HgyPX7G4t/tE6i4Y6&#10;erRSEswjG92LfiR+0l8SIfFPxYvfjX4e+HPgX4KeJUubbSvG/wALvhV8ObX4Q+FdMksYoLVriPRb&#10;YrbwXDrADO0UcHmSYlKGRpZJPS9lTjh1Xwrk5X62frFvf716HzNPEVJ4lYTGRiqTX2bpp7KSW1u9&#10;n6o+xvGHweufhsmrWulRroevWsSX2u+FG1J7Cz1SF2V4NQ0m7LKPKZWUmKQtExWRRJHhq8W8beFt&#10;J+Kmn2fhLxjqVtb+K9PgluPCXiEaTNp+v26jCtpur2T8yJnHlzQSSqeegI2/pz8Ifhr8If22f2eb&#10;PxB4O8eeLvC3xH8J6MsPiPw/qHw2ufFPhHTZInVRqkeu6ddzarpUEwB855NNurLeoV0XKE/nF8XP&#10;Dv7T3hD+3/h5FYaf8Y7LRrhr1bv4eTw+K9YtjDgW+q2dlIkWrQK6tG6SJbpHMu0HIyo7XQqzjDFY&#10;eKvJdN1bo79O5xfWadOvPL8XNqMNfeXR9Yta+fY+GLtNY+Ht7f8Ah/SfGGpeAF1c+VP4h0a+bV/C&#10;OtNAP3f260UebE6MCN23enuMkcj4ZS/1bxRo7NYxXOuW15Nr2pa00KT6aZbU+ZFc6ZMzxo0s5EYF&#10;qXOTMDhWKtXvHgjwppnxn1q70Tx5a6vpHiJ5Ps+smG2bTNctJjuWK8a1lMbCUbVEiOBvwRjLVx/j&#10;n4f/ABI/Zq1LWPCnjCys/Efge9cG31SPbeaHqsEpVre7hc4aCYqE3LhZI2LKSwG49dFV1TfPG81u&#10;vT8zzcWoqvFwdo7xl0vp80znPCfiCw8T6f4l8CeLbS/vl097mC+0HWIHsL21iMc006wQMokSUFVu&#10;IM52OpwcNgZHwl8R+IPgx8WLfQxeSa34TdW1SwbaYLbWbRIp3guohnh1i83eo5BR1PpXtVx8SfCf&#10;jz/hA9a0jT7CbxJ4Nj022m1+ewjfxXqFtZO/nQX8qoTdQmB3tw0pdkVUPcq3JTaX4d8beMvFHhnw&#10;zdXOma1oGut4m+HVldkSzalpsqGS/wBNikI+ZgkjrGM7Wwdo+YCsac6DpypSuoa28m7L+riqRxMK&#10;scTZe0S1ttJKz2+d/kfVdpqFhqcS6jYTRTWl0iyo0ZDNhtxAHOQV5GD09CME6ACNluse1vmCggMB&#10;90qABkkc9ztP4eFeFNbXR/ERtUYf8I94lxd6S7grDYXJjRprYk8AZLFT3CcD+Gvb3kOU2sFIcAs8&#10;a79uclV5PJHbPcY9a/L8fhKmFxE6Sd4338v+HP0HBYhVsLGvF320HquH+8EYFSAAygYOef8AeJA9&#10;OeaUgcjYhyMhVHGcNwzdz07kD2pqIwVzJHG377CsF8tgMZxuPJ6q3fkjkEYq2sTGMTLmNthDSOhK&#10;sdoYtjtjcuduc7hXLJQi+ZeZ1JqXuwepF+7c4RVhiiRgFjZhjglgpPPA7Hk+nGafsbKkKMlSEdXI&#10;3A4BOcY6KvHXKn61MluSy7yCsikDYfv7duc5x0z07BvfFaUEKsHw25SjNHwDvySeeOeuMemAOMUo&#10;zULtre1zNc0oy5t9CKNQWjaU4d9qlAoMrpkBlUHjhSBxnbuHHUVLBGE3BndyqkhwhKoMs/zLxg7N&#10;6jIz04zUyoXlJDsrLuCsF+YDCtnk9dxI9OM9TgXo4laOBo4GV7hBtCgFmZgGG7I5JBwM5JA7cUrQ&#10;5ry7GsIxlL3HokRW6RBI5ljdQrjy9xBZwRJzgNn+EnJ6HaSOQDZjALsqjCjZ5Y2EpKGON3BxuIXO&#10;cnr9KlEMwiVk4O1VUyOcxoFIDLkHOz5AF74GM8A3YYiuMooWVtyqhwkZJYD8OOPcDvUpzSU29HsV&#10;Cm1BP7f9Wv5FbyyuSUwNmFR33ZO1vvHIHoCMjAHWp0R2yN4SNWPlRM4y33SNuDkgZ5wCOecZFX3t&#10;1Vt5iGULMjbQUZgPlzkHnO3B9CR6Vca2VYxK4QeZJl04Ly4KYB/2cEr2J9M8nPm5I3lq+vcdOn7z&#10;UnpbT+vvMAw/IrbCcKTy3yMSWOBkcZDjIHXrjNQGLzQszbmLKShPzZ3sMH1yxwuO5YY61uqISF+Q&#10;uPNYFGUAOckqQeeigEgjoQOcE0PaxQkgFm2AheCrIVyCAvJBbYOOOMdcCteblem1l/X4mM0pvnT3&#10;at95zj2x2s4SSObAfBwmAMICCOhxjOcHn3p8cSZCOW3kDO+Q5iYZY8jqMgk544+orae1MbbFRFIZ&#10;QoyoQBWTbhMbecDAAxhccYpoiK7PLcOyKEMjgD5UV1AK467VB59ck5PDclUXurS9y3TVSX7vdd+v&#10;+Rmx2iIxOC3mnC5AJ4UknHoArEk454Ge8ix8uZFACoSqAh8A4C/iSVHQDj61oujuylZlCuu7OBiD&#10;cGAU9SRgcZIOCDjoS0RhWZXGTGgQyOxLMeSTn69/Y59aTqScbx0asWoRbUae/wCtjOCBlCxkJGIS&#10;GcvmZS2U2565Bx17H3yJGVenmHY7FVVlHmYI2npngADoM8fgJxHvUKx2N5jKj7BwV3hCTgj5tzjG&#10;D0z67WJvYK6bwrEBWjIBcbg5y3X+6fr9OJinFtXu9iIyTqOct3a//AKwyqs0YzECkDhnXBdidvB5&#10;K5Uk9gcA9VBsF/nMe1cBMAHIj5JOFJwBxk/j05xUToGwI4wDGwAUH92OGDjGOeOnI6dOakj8vMY5&#10;WRWZidmyNgDkK3HGVVB8xxuQ8dqqSi6ei1Xf7zSMLJzi9P8Ahv1JlIK8Ex8g7BhC20gA7SOvA5zj&#10;B980+PcJWYZMkRLfeO0q2Vwx6jBJwR0+tQnC7YzjIH3Y0OUDbgGwAD1U9ePl69TVnAiRGLBXK/u9&#10;w2sH2qxGV3cK2VPTlT3yCWi07dDObd079fwLO5JIhtKlWYkfKeShC7mx1DdiPTtjFXF2+YzAOHRS&#10;Fz88OSORnrjjoc++MEmmg2MzbWjkjBIB4CnaQxC4HQBhyc/MecE1fjVULhCHUh1WQ4USEKxB5Bz3&#10;PqR9KiUk48sdlovnY1hCM4uT3en5FuFN3KoFjKdCxJVgQeGz+WDzg8Crm8s0flMzHad4Vl8xgdxB&#10;IHIPTkehwTVVU8skPvJiB3MymJCMcFVYA9QeCPqBV+zZcr85SOOJi0ZIQFSPvc88MeCP73TpWjdT&#10;l5300+4mEZKKSf8AWhK0axkHCIWXdlgBgZBwSOmQMFiPyPJlTc0ZRwVV1BLJj5iASckDjqx64+pp&#10;zDbGrTB2LOJFIRiyAnnj06j8TTWZAWCSgqMhQPm8sZZDwO/Bwe/uDmsIyg2te119w56tSW9vxJJF&#10;jwx+UOSI1wx4w25gM8EEZOMdjzQfLIDsSSgO05GeMc8emSfbB6Ypyx/IDjEu/wCXCFuUbA6c9FLH&#10;HGMZBHFIArY3BSGiA3qRggr0OCcEBiuOo45OKtyjNKKerCKb0nqydTulTc8gTK5VeA+VUYXPQfLz&#10;1yGPoKa4zklYzGVUKWUvuyRggHORjB78dzTIQSXyuHKhchgvG0AsGHOTnqDxwONuA7ayjllCuu/B&#10;GI2Ocg4Jx0YAY6AduSc/dWna36Gr51G8yGR0CdHTAWUKSEkBGwuCP7xyDjOctT8E7nD5G9kjwxRZ&#10;CC205IzjgHOOM9OxdhpBI7KGVnZ3YP8AMB2AI/3QM+lQlnkZdvKAAlEbZySzAgdepbqCfepjeUXK&#10;L1/qxM6d7VHt/wAN+pE+GZBCxGVU7mcBkznDnacg55xwfoRin/u40WJ3ZQy5VTglskfLjpkHjqev&#10;HuIzxnadiRyKUZUlAiciQqwIz82NoO0+iHgjIbsWMo6MgZmKl3iCMTkgc55AZTg9fyraK1jBmcE+&#10;aXJ8XX7yQvg7DKrSqmYkMuHOGB3t04XK5HqelOG47XQ8iMygZDORhQ2GyfTkEZyRyMGmbUUbQoxh&#10;omMYVFTBbOF4HJ4PsoGOxk3DAxI0RTBk2/cXJwOq+oXnrySCDjA2ou69BKz9y2iAnynY8Y8sqoGC&#10;4xkknJHcrxx78Hglw6A5OCuVXPXHBO7r0PPrge1NLZkUAA4JHOwFsBmKnjAHDdfSlIEeX3IERwZk&#10;KbivIC8dslfXIyO9Z8rbTv5GirLktLpt5CRqpTdMVKoTt2uwwwbcB6nJLHg/1yijawKjKCUKsi/d&#10;iIO7PTOeD1/rSMSgLqPOeNfP5jWMzHpy2MdSvH6cGnsX3yBCAgXCtEWDE7mGNuByNo7/AMQHHNOE&#10;HJ8j9PyD2ag04PVfiV2O9nVoSzrJuKupATBbGDjHyjeN2c4HOM8yHG7cCVOws7F1UyAAnKnnOcf+&#10;O++aYI1YNjZKsirLGJCHCBBk89COhz0GF9OWu4AYKW3jA3Ou5XyQdrKB2bA/zxUr83P1Q4t9v6uh&#10;8seJScAuASY0Yh2baztxkjhVH/fDdMmoGdJFVHYRiOVdzF893VcIOSMFhuG4AnJwCu50igGMhCjq&#10;zIvzHzAxUg/MAefmOAeMHrjFVpGk3L85dhLhtzAlc9ScnJIG8nHPODz0qT5t18xNyUrtaMkDlNsg&#10;XjchZWHyho2SSM7T2JU5JHIz1GM05GTeFaQSbEwQsmfMwQQVPIyvPTGRngmmeYMkqzkMiR+Y/MXP&#10;y44HZXblc5Kj1qjKu12heKPZJ+7Z5SpdC2cdeByAT9O/QkYtq89w5nK0fPX9S1Pcl9gMgBjVXzN9&#10;5CwVjk85OPLHHoM5xxRM20sXdZE8spEgbeVUuzjPcYLEbQBghjjDDLJJWMgkLAO7CSbzFUBQDvwx&#10;wdxJLdD9QKzmeR43ZUQ5UhQCDsAYN1IxnIIGDzzk84qo2lBRXUhXXvPXVfl/wBXkjLMXQl2O5iJB&#10;35xyQeOmCMiio4X3RgpdbV3MApxkYYg96Ktyr30j/Whg6lNOyX5nbxyDYoIVjKxCtg/MuSAMY6Ag&#10;/XaDx2nZ0dn+ZXG7bh42CYAC7eD0Ab9RUbACOLymG8R4cswKpkMCSB0OST+K+tTKXbY6iIgncX27&#10;GJ24A5GRyehHRTnHSuJ3UeZ6W7+ZspP2uj06v5/qGMyEuHDN8jEIPkIJJzjOCQsmOcAZ4HOGOQzE&#10;ybgd7I8YJVm2gDbjBHsM4HX0OVJV8iQKjvhiQCnlgsxABx1G8DqMgdOlPKKCDtz8+wYlDHuSSWwe&#10;ec846Vila9h2subqxZGLRNtCeZEd4LsYycZByeuBuAGOemO5qKMLulXcXjDfuxsAUndvZVwBgEFs&#10;gAf6zqCOJPuR4RmYEDc0nyqw7kHgcbyOv+NCNGiq0e0L5gQrgM58xkBww6gEuTnk7+OgrWLSi0tm&#10;XShCCTvd6MgIgDKTIr9XBC5BAUgdR1xgDHpye1PUqHEijGxfLDSggAr8gPPPVd/PBPbBGAq2weYC&#10;WBfh8o2G+YY6nA7jtwM84oDh0RXw+UO+RGPylmJHX+7nHsCOmKbWjknuTyKcuaWwsYJYxhd7jON6&#10;kqgBjYsMYxjA9eGb2qU4mKhh5jASKIyCqDHykHAOBu2tyedp9qb5e0pHEyhcDJ3ZVQAwJzyOgHy9&#10;sUASBXEbxuYmMhRmBjwwdcdsY3KRknIU/UKEW1zXsEU4rllr6DjsAjCtEQ27kkurBeOV6H5lUnOc&#10;7ehzwgWQL5ZG11gBcucRk/MQAxHHzBDxkFT7kAJLMOSS+1l3ncrcqmCc4HbG4g/LSEB4yHYxqC7A&#10;dCoD/Mdp9S2M9CBmk46tSeqEneN09tgO/Jw290HmxuqZWTI25Zu+AnTBx7Ak1KuyMHLkmMLGpYFC&#10;oJKggHkcLjrwe/NKVKFPL37hgEAqGVRtyxXBGcAgA9cc+tIE3hpS29hhk2HeeB94emcDpkcGmkql&#10;pSdu34GlOEoLm3FKxghkYZkOG3A5fdtXgZzk/NyOgP0NRlp2STcikMpWSIrlhkBGXIP8I3/Us34S&#10;hCzSEglXYoqyIOm5W+XPIzhRuGD1z15Ysihd6RuQswRnb7pO5ASQAcE7jjjHI4HAA7ppQ1d0KUai&#10;Wv4fqSwsAGkKxnlWMbqbds7tvTsMEDgjgDHpUCklypZC8bbFTaAZAcEEjHPDZJxx9KliO5g8n3WO&#10;NsYKsF2hQQv0DDBJBB6DAxM6hnJVV+RQrvuVVBzgY/IdevPIHFCV5Kyu/wAgio8qfURSmSCMMOFI&#10;UBlxkNjHXOR1/ujpzlWjLYVy42yAkK5LD+Ijb3Py8/Q+9PwkZ+XBOTKrYA3MBtJYDpxnuc4PXk1E&#10;hxE3mIrRrFtlIIk2jCqAfmxjG4Y5zv8AUYpQlzSlfb9f6uaN01TtNa/oJH8yt1GzBIlTdHKqsSCB&#10;gjkgA9wOQR1pZGRmRSQjqzIAQuG+4AVOOVyEGDnGT60rJKJWG44cLIzkjg5LNnPbvnnBH0yMZAQy&#10;pF5uC+Ryp3BA5GegOFGc9FXPQYtuNrp9P6/IxqOFuWndLf56EZ+fKAq0kgwozuDNtAXIxnPy4yWH&#10;AqzGrbhG4ARXKsVBCOcEcHkAjjPbHAJzUYVcY8lkaQB4v4SrA7uCeGGF5Pse9PBKxhiHMafOVQIg&#10;A4GeSM53MSRk9gDmpcm4NvVG/NyxTatp+WpKI2MakCRQZCyAfNsG0nG4KwPCkgDjjqOc2F2HzGaI&#10;HccPxnyxglc88EhgRn6VWKF5Ihscoj7cM+Nvzn5QfbJXjsD7EytGuEZY9nzsW3cbMDfleMjLYGTx&#10;x6YqYqThyvr/AJBGpKT5ZqzWxIi7zt2bXJLlQAd5JGcg/TH40zaAhfZGcnBz8wXOSMjpzz05/Wnx&#10;Z8tWMjsdokwu0szYGQAMcDkZ9xxTX2kRgo223PmxtI2PMGSSGO3GM5JXHOO2c1jGNpPlWjEpQaXR&#10;6f1+VxWMTOFeHEqkopySyYBYrx2Cg8g1FOwYlQ+UlbZ80Z2feCtnjkD7xI7H2pLicYG4j7nysG2D&#10;gfdU5GOo4z3ArNmkTeUDZ2sRmKMHPJI45wQIyOnQc98aciflbY2qNJc6te1hstwQNgZdzLtKMfnh&#10;LHLfLg9AMleR8vGRVKWEmSSe8Yb44zKHZBIkYywA+bPPJHTggnipoxvBLFAPNVwCpVSCFDl26HO0&#10;Dk/dJrg/iJ4otfC3hrUNTvj5NnY2L3k7xuAQscbOOhI5xtwM4LdTVpN+5D4tjOik6nJU0vb/AIJ+&#10;ev7bfxVuI0XwPo0/mXd9i/1QxAK1paI5VYywHG8IcgdQ4JxX5seMfEbarZaXp1kr2+n2NisKRoPk&#10;lc5eR89yzM2PSvevihNf6v4a1f4ka+zprHja5A022cEtaW0rgxKo6A7Mn0APbv8AM7LDdXVjEXih&#10;ht4lCx7924qwBznuSxOK/beFctp4LL4xmryUryfeVtV6R2+8/I+L8zqYnMHGj8Djyx6Xje1/Lmav&#10;6JHpXw7j1Dw/Y3MumSyW/iXxNZrpVm0fytDbXGVlByMjcFBPPRTnqKt3fhLSx4kn8NaSJtWsPDjw&#10;zeIvEinbbyYKxSmPnhWmkVRkD7ucYzXZfCixkl8TeJvEMp8q38PaHILKVwCmnARKWnOcAsqcL23S&#10;DoRThq/h3wf8L721tC1x4q8V3SX13ev96zgR3cQDnDMcxuSQApU9Ttr0K+Jm8U3BXnaOi7vSKflF&#10;Xfm2ePhsHH6gqVTSN5avtFJya7uTaiuyRyPxXv8ATrq80yz0uSO10uzs5IltkwZvvAktt++xJPLH&#10;P0ryOwvLXT5WuUsVli8s+VHN9wtyA7464OT17Csi9vnaVd0zSSFsIok3Y3Zzk4496pX0xWQWxOAI&#10;1BCnJLHPH617mEwzw9JUbt36/izxcwxka+I9s1ZK1l00sv8AhyTUb6e6vMRhy3AyBkyHPQAD2/Wu&#10;n0m3W3uYbm7BLxKPPJ5weSq89yT396h0uyh04C+uFSW/ltg0EchyLbgfMB6jnFdBZ6XdXP73Y0xc&#10;NtQfM287Rk46Adyfauqq4wtCl039DkglNOvUenReV0T2140Et7q12d95dBo7ddp3F2AY4PtgE455&#10;FWbPSQYFvdcDpEJ8JYwcXV6TyoJ7JlRubrgnHaq1zPBpl2I7uKO7a3VUtLUv5geQ8tvGPuAnkDng&#10;D1FbFtBPawz67rrYkmOy3sycecU2kKqfdVFz1HYYHauZ3UPa28v+G8zthzTlyS2d9NtNLvyRJezR&#10;xmIX0YW2ChrOwgykbKg5B7hR3PU8Yrm9b8RTXsSbQzq6iC2gQFYrWMdFRAcbck+5OSap6hq9xqzM&#10;kIL3EkoQRg42ggqNueij075HJ5roNG0GOF/NvIjPLCqiCEHd8x+ZiT02jPU+oqYwivfq6K9/U1lV&#10;S/d0NXbfsS6NpdxbWz6tqB8onOEkUqqRgbjyf7wyoHqRgZOa7H4fapqWlatrWvyx2cFtqmgXmgFL&#10;jAluIbxPKmSBchlO0j50GVKjnjFZ0v2PUJUvri/M2haVMGWP/VLqc6gnyYwQdyjq0rfKAehJVTWt&#10;NdFxqzYaNDdRLam5iQR21srHaFjHbBHRRk9yCa5ZOVWMrKzat6J9PU0pUpQqQcpaJp+rvd/daxoG&#10;/sLS8MrqJ71v3djZQKshtl+bG5cYRR1ydzsFYklm3HM1K61fWbgzX8wsNP8Au29qWKRW65BB2+uM&#10;ckEjJ7nNSyR22kNd3EWZrmG9mt3uHCgMyO6uynJyuQcHPzZzxxnDSx1bU5Zbm4lUQIA7iYkqNzbQ&#10;NoBPJyMttAwc0oJtJR1Str8jpfPTpyU9G3030LkF9b7mtbS1FwwchJiCVzwDkdxwOuRz0Oa7uxsg&#10;lmbjW7to4yo8mCRSHmJyBsQDOOOCBgHGcZFR2GljTbQ3jQwKw4hMQV7hCQMMGHC53DgY6jnjAkWw&#10;N9JeyahcxWmnWku67mgxO0rk8x7x1cgE5yc7e45rCcocqstDelGU5p3bTvZdf61Ot0jR01i7ST7M&#10;8OjR25mnd4ttvAn8Ut1LkxouWVUUtufGNuSAfR5r6ez046X4Ot7OCwkcQ3erQzrdS3xPBRljz5UK&#10;hRiL5WIOXH3VXyuC4kvdOtrAabeQaK0mbbTYrqVrzVpQGHnTxgcg5ABY7eSFUfMW6Ow1SwsbJ0v5&#10;EFrZy7U0yCYKkW0qAgP3MgPtBwSeckkEniqKU3yy+FW07+v+R30JKEW4K1Tv20W3+Z6Dp1pp1u9v&#10;/bmtSm5lUPut9mvXZ2hUKR28E4VAOQN8kYx3PFdfa/8ACvbdJjf2nxL8QSXxH2dPEMx8JaJGVJDG&#10;LTtNt7q5kBOANl4RtKkhQcDwu68S+LbKP+2PCulp4c02CLcutTxkwv8AeUNHLIMFsYHGTkdDnnyT&#10;XfGniDVmWXU/Hmv6zdo42rLrdzc29kSACYowQAeoOwgHn0rSFCdRcvT8SnUjSnzOev5/M+qte8Uv&#10;Zp9m0+M6PakGaAQ29z4Zu3ZSB5yyR2PnyNyOHJAwDgMMV4lrPjfU0uxdahq2u390yBWvr/X9Uu5G&#10;JQhQxkK7lUYUZJHYcCvI5/EWqSkjUdWvL1UXKRyxsZcAY2kHJ5yOpJ460/Tr+O/nVYI9WQhhtl07&#10;UHt5UXPUh9w4G7t/ICtFgY3Uqnne3Y1p4yCqXo6PdP7joP8AhNdZVlmj1O/2qfMVTI93F1JHySs2&#10;Rxk7upPOeQXTeO572PydW0LRtTKxMiXn9h2mnaiWyDukmiRWcgfKN2QAcAesaQ6fLAyPqN686uX3&#10;XVhFctKc/wAcikEkHHzYOeeBUNr4dutQYpbT22q3MjBUt7WSSK43EkhFDoBuAU8A9B170lSw9rJW&#10;X3djdTrWg5ytdXtu+w+31OK9naS2jWO8ijJZXtwRHtXcDuXqQvGW7VoQa1qVou21vfIm8vaMsVC/&#10;dyobjHft7V1WkfDLxXayyX1/Zw+HLI280P2jxJqVnpgiPlspYo0nmNg4PypjnqO0tv4V8M6S9uNS&#10;8eWWuIygvF4W0a4vlhGD1nuPIBBAA+UHG7tjLc9T2SW6sd+HjipSXLB2uvxMey8T3U4aHUIUupHk&#10;EjPdxiWaXKhRtlHzbQARgEDk966Wx06PVJm+ywNE0qGUyhwuxVBZmfdjhSe56Y9a1rCz8DS3cRtN&#10;K1i8kiXdJNqF/Hb2qjOSpiiTKgBV6yEncR247u28cnRwLfw5pNnpeI1V7iGDdc3LKdwaRyS3B245&#10;xgDrxjzcTiKWvs73ttt23Pp8HhMU+RzSXm/+B1NTwlHbeGdPu5NB06DXvEd1esbTxHe6e9zoujuI&#10;0Mk9hG6hHcKzRreSA7WBaNFKxykg0HW9S1GS6vda061uri6e4utQmvrnxDdPIxyzSRWMV1cclSAT&#10;GADgfKORnReLfE00rPDfTRSSyPLOXEbzSlv3hYsQSTuCtyeCgraOo69rV3YwNqOpapfzS/Z7fTft&#10;E+o3V682WAtbdcyuQd3yxqxLDAzkZ4KtSrOScafNLprt8uh69HBfV21Umoxd79L9nd+R2Fp8P9Lv&#10;DctdT+KZbi3wzLoPhyPSxq3Mastu18yFJCA7D9027K/JjiuitfB9npsxeHwRdSpF8k1x40+I2nW8&#10;nlhhs86GKS3X7sWOdh+V8Ec49L079lzxH4Og0rWP2iPFmj/s+aTdw/2ppvg/V7NfFv7R+sxB5HDW&#10;ngK2kSfT/OaIrHceJJ9JiLTpKGkjYOeh1n4nfCHwdfQRfs8/DHW9HvraBHf4sfH690r4qfGGa8hk&#10;J/tHSrKC0h8P6CJNkDLb21pfXcH70DVZhKwHHUlCknGrNc38q3+/obU6M6tWDwcXKn/NLSK/WW/R&#10;F/4c/sw/tE62tl4m8N/C3wH4G8G6nJcNYfEP4l654R8LeCrk26wSXDWmoareM97MomhIg02K5uZP&#10;OzHC+1wv1bY/CnU/AtncTeJfDX7T/wC1Pr2n6hHPf/Dz4SW2p/BP4H3ULIxMDa3ZLN4nvMyou0W2&#10;l6OGhnTZNv5X86NV1jxB4q1a98SeIdZ1LxHrN6BJd63r+oTatq10OSFM0rMwUZbCAhQAMACq2jJd&#10;Q6tbz6dM9hdYMf2q2k8lrdSOQGGCOCvIIrglmc6UlGnBJX3veXp27dD3cPwysQ39ZrXj1jGNlr13&#10;u/v+R9BeJ/if4tsNX1fS9L8Ff8M4aLfytZJ4K8C6Nq3gm+toYYmhOnX2uajLJruoGOLdHKdSvp3l&#10;ERaUu7Em78OfD9po6XHidrktHb6JqWqTtFCkjaWYJbOws5cq6nD3Wr2bK6sCzRtjcVIMvg7xR4n8&#10;H3MV5oXjHxxoFwbYuk2ieIpbVJMgBlaNtwznkZ9Rwe3reg+O4L/wH4pj1i0i8QPrl/HFqF9rkEdp&#10;dXshvWvoi0lmsRCiXT0k2b1yYkyDg1xSxsFKVVtuSTeuuvTp33PTeWTo0IUKcEoXirJW02/Iw9G1&#10;fxBrlxZeHtS8ZDxRby7Y7GC/8Fv4vmuWigHkRfZtQMm/eyrGWSbam4njoe9m/wCFV+BLa3vbf4da&#10;XL4mt7CBo7OO4S1uYGJ3mW7eBntY3VWASGFHcM+XmyK4ywubK8ihtNN+2+HYZ4zGtnpqrqVnK8YP&#10;2cSMSk4yS+S7SY3pwxJNaXinTX1G6ttRtpbWO11C+uN6ROUis5LcI0sCqRnaCshUD5uGHYVyPMK0&#10;aP7h27+htUyjD/WEqi0ttddLWXzRW1jUdI8e3S6vrF/qNt4j1K2W2uH1O3i1bTnKxxpbQRHdF5KR&#10;hGCnYR6jOa8rvvDkH2+ZxDELmSeK0D+Qbf7VAciQLuByXC8HJ+UqcnOT6jBpE0/79wgsLbyokjHH&#10;zvuGcqOeELHGQBHzyRXq3gzSFgebXZYVutM8Got3Jot5Et7o2tXt64FlDLC6svlw+VJK42tlXw2Q&#10;y44vrCqVEm9Gru3ayf3np08FGlTcIq6Vkk++lkSfDi20X4Yi21/XPC6+KPGWowxP4S8Ia5DG+j6Q&#10;k2Xi1XW4mVhP8hV7awf5ZCVlnHlBY5rPiLWNe1FdZ8QanqUmvavrS77zVNRvI9R1a/u5wzTXQJK7&#10;vLWMqoUEK1yMKu3Neq6bqFpDoF54y8TaFBqvijx7e3Vomp2upXumXT2pJ/tO9mkEzKPPdvsiiMKD&#10;GJh6kUNbv/A11puk6Fp/gTT9eltoZby0g1fWL4abJLdt5sm+SJkYgBYgo3kgp0wzCiviIShyTlZJ&#10;bWe72+dt33NMNga8qvPFXu7XulpF6/8Abt9Eu1zwfTPCel6xbMFgutTu3lNvEg06V7tJnIJjii2Z&#10;cHdj5VZTznJ3tXu2naMngLSNPi1nTbfVNZgbbDokc0V/a6dIuZVudXiB2u0J2qtlAX/eMTOV8uSF&#10;orHTdWha3vbR7Tw/9ktJbOPTvD9gul6TbiUFJEAk3TupT5N8kjMVAG8qSDv+H7W6kULfwRzTSXRg&#10;WW1R1jdX5BYMcg+pDHOcjAwB56xM6TVOk/i67aaaI6p4Kck5VvhTvbucZcRG81FdUTU/7QlvbuW6&#10;1SecPFeJLKUO6ZZAsg3EsQXGSVPHZeqsNNDyK8qF7fygzSwruXcThsr27HHHPOa9Ys/C9ldalanU&#10;rJbzTFs5I721IQbUleJWcEggOFUspwQDjg98K88BW/hzVtRi0kG70i5nMWmSxqbf7TA7GSORo1JC&#10;79/zYJw2QTkHLk4PlqRf/DnRSXOnTS0t/X3X0OMvGla3mtobfascLJGrAL83TdxkgYweOx7nrx+q&#10;+H52t3RkL8I+VPzMNoHHy4AT5AB67Qcc17DdaPcW7wySw4b7k0fDOx4x82ccnaD3Iel8mGRnia08&#10;9ETeRtxs64wT1bOQD7j3FZp0/aty3f8AwT06K0/cxTSX+R4ZeafFbxi3jtoo5HYTu7R7ZRvcBpA6&#10;4+Y7yxPHJyM9K6jQvhzdXtvcX0C3FxcTt5tzcTDcVij+di3TYqqXZnboNxJ9PRD4atLmWKYw7JY5&#10;HABOdw656Z5wvv8AMfpXZWtmgsvJVnEElsGuFRwsQKEMgKg4IDIp9yAa2hV9k+aWt9PQMRJyjGNK&#10;6fU8VS0+xPNBHtnIk4H3FVRt7emOePT61keIPC0DSafd3L7bRjIlxKIwWgRow2/af4drYU4wcfU1&#10;6rJpAhvXYOXjLEs0qrlBghQOMHoo564p1x4UuNV0R7K/u4tCsHb7bLezB5b6XyZF8iC1gVHZ9wD7&#10;jgRgyjLgowqYJRlz31ffp8updSnTpwVSmve693pb7zx3xMIZG0ufTrV5Ft7plntYwsyPCASOp3Ax&#10;vGvI+9lgeDz3Hh74HeN79NP8b3ul3Gg6PNd27nUvEZXw1bakkcyOpgS42yTkFuWiRsK+ScCvUrjx&#10;hoXgO607/hV+h32ma9oOmzXF94s1q0i1vXzeJIJEezRYmtrVYliQK8CO+9nH2h1IJg+0ReJ0Gt+I&#10;NZ1HVfEV3a+a+s6hczPqN6WQbQ104y2Mnhj/AHSFPOOmnKlSlZrmavZvRXPIxCxdaLjTioJ9N5Nf&#10;fZfmfKFhoY8I6tokWsX1vqUFtq+q6YraXaM9uZb4i9tpGOMFCyXSoV7ydwBXuHhO70e5gntmVLs6&#10;fEqLGxXE8DsGUPHtJ+UvIpDE/Iqrx0rnvFHhbVrHw34S1/WbB7JdZgngimhkE9vsg1jVbaC+9VxL&#10;DdIyEZAB4I259N8LWCXUtlbPZlFZR9pZ2WIyXCYdhE4JOCjI6N6sfTJirOblq7PZLz3uZU8PD2MZ&#10;yd5Pf8n+p88+MPhzq2laxdXng60XVItVa2uG0IR/aLjVfLljkgGGyskgIkj2dxgEJk1V1vT7RLga&#10;t4X1Oe70zTrkSw2tusduLO0vFVZWigwHj8s43xNuUBCS3BJ+7bvwPq+kNa+JdG1GPz9DhFzFCY1t&#10;pbOeRo9k0b9d6lVbCk8AjuTXzXq/g2K1u9UW68PyaPeXIa40HUvC2owvCqTEiWKaAxgYLEsV2nAJ&#10;9RnSFSShyTtr8/kcNKnKVdqF3pZdLd9zzOz0yWC9mGlSTa7f28P2fVBqcEWgi7GzKTxQrI24/KBw&#10;VJZSCpUnO6nhG5vGs5fGWkXGlWulys9o1tdw6drWnNslWGQfxmNWMbkICdqheO3b+F5bvw5PFp8n&#10;2C6mtJgEvb+1aHVMkSBJI7kDK5Dsp+7nf0wSF+qdJ+GmneIoItde2ju4PISeYCNTqG5zvnJLhRIo&#10;2qDIgPG0leNtOnioNRutV93Toa1qHJSak7wta/V7bs+WfD2meMtMj099Tm0/xTa2Mpt50tx9g1Nw&#10;q/u5rpFY+aAGWQFsIy5XaQuK6aw0/UzbXl5Holx4i8IQlxKCVWXwr8zO7CMtueINLhihDfvNp6bj&#10;9d6V4OtIdTs7PRb/AEjS/EcqG2s9Xe4/tBI7V4ZrZ9NnjiHlfvAxEgaMMygBSq7le9ZfDa48Ozx6&#10;Vq1uvg2S4cRJfaLpL674W1V03MJp0SXfaZV3Tb+7CBlONwSrqSote0i9F0+79DzpOSaU999u39ad&#10;VYy/hdrHiazkWDQHbxB4JtIE0fTbmYRW+ow28LSpD5dnNsYxzPDG6icxttjDOqvuVPrGDTNN8R2G&#10;mXbjU01GLUoGto5rSTRUuWMiL5aSkhWPO7G7kxjAbFYXgv4WaPfaR51rNZabqUd6Xg8QaHqFtqWk&#10;3UT7NyTIoZo5B5aMcKnIUHOXNfQ3h7RdTsdX023m12yv7K0gGpFL37Nq2lzqAYQBMsivFIS5UGVX&#10;YFeOoI5ly06ik3ZSs3rt3M4zdaLjGPvLst1sthuv/BdNQh0bXPD9ilrrvhN31PSDFNHG19bxwyvd&#10;WTIUIVJlj3hv75BIIJB6rwtKs1nbxXFvbl7uVV0+OdxHqsEs5ZIjJY7ixyRt3w7k+T2Nen6VeyG+&#10;lv8AUIRcRwRJPCllO8xkffjYVZMAkhDvchRySelU9S8Ganq2nNcg2ui2FrqaWcdrbXQuL63+0LJJ&#10;CHuVVXdTh0BjRI8iHI3EEqrVTqXXxfp/wxthqUqMXSq7O2r2Un0+bt8/U3bQ6VofleHtWu7eZJJT&#10;NYsbRmnmdgplt2tolZkXeZxGACuARkEKD2f2WK6CLBYX5tLjEFvJd6W9vBdKqgeYkkoVtoOeWO1S&#10;uKi0PRxJp8dpfSSWqW21WtFcRqRby7mYDOcSGPeWf5jvORgkN6NaaTb3UTrEGuhNFJGEis5WaEBu&#10;AI0BBJGQVXKjPY4FOalKbcXpfb+v67nPiK0ML8T23dnbX7rf0kecRWV/DEk9yTFucxhILmO4TBA2&#10;bnXcMlSTlSUyVAYgA1qSJD/Z9xa7ZfPmgSGVhdhlhG8EsyKM9Bxls8g+1d1dabFDeQWjFYrZW8tE&#10;ntPsLJHFnYhhXJXI2jb1HTPQ1Mtnb288aCOS7M5RQLQFMEH94illGWIKn0HHBzxzSjKLk6btbTu/&#10;Uh5rCdOLlG7fvaXS38/R6M4KeBNVuhZWtveXUFyfJ8pt1w7ByRswAGOSSMY7+nVv9m21pdW8gDx2&#10;+pXX9mXUawtO08yIpikAB+UgEozN1/dgn5Vrt4NLtma4dIJIXlLPJbrKkDPGflxkA4PA528kniqt&#10;rpdwJxBFG+GdHXfuZUcNlCAFOWHzc8YB7Vhh6clP39bvsU8xp2ai7KK2b+937r01/LnVs7nzla28&#10;2IujpIYbgmUF+AileSMHkAj078UtTsXjtSlvaMsgYuNqY+ZmyQB0GBgYPrxXoZtLaOdrmYrLgBrt&#10;Z5ZFhGVO7hSG4bJITnrjOTTiba9gfycW0dxCZji6EcMWSQD87EngEbhk/KcZzitKlCm+aEJWb29D&#10;OGbzhONSMbxVrvp6PW7+7b1OE0+3unDebA9xNAhlLD94UyDy38S/dPJA69D0rQ+ywspljZ4Jpc+S&#10;5wdpHKhiD1HOBgYGDxkVtR6NNme4tAksUPWZl/dTZDMQpOOTtA7NyenWp/7JvopLe5muNJInZWMa&#10;6ha3jxjbvUyKrM0agnB3gEkjI4IpUaNaUbzWi6r1CrmNKVRtTSfbbpe1tfXY8uudDguLh2mcXF2X&#10;Mji8PmLMATnLs2SWycE56k9awZvCa24aWGLy47tPOjzjy8sxMieqgsOnU5Prz67Lol1rGbzy2aBH&#10;VdwIijiV8hCBgAcE+hwCMZzTL3TfEmlQLHa65qtlbRSeYkFvctb2lxIwXa2MdcbDkDPBGcGsnhKz&#10;TlKL5N1bf11PRhm6bjSjUj7TZxb28rpPytdI+fJ/CJiguLu7hjhumka5iXUYVk8pF3DFuoBBBCJn&#10;aNu5SWPBzzdp4Y0HW75zc2tutrbwC4vA9qyBYgFOYJEIKyndhCGGSeQSStfTV3phuNPdtW1e/gkd&#10;FAXVrWPU9OZ0ACsZELThdqxoPlyeM/KADyD6LdSwEwrpRKrumktn/s5bsxkP5ckYOHClRjklnPTK&#10;qayqYZxqRlLorpdX69j18HmtGtRnCpZO9ubVJXtezas+vV9DxHxEdSju5tR1FbuLTL+SNE1OBWns&#10;tJC7IYLQuMERKgjQMORlyRgk1otBtsIhaW9hIMLL9sVi00hA8tCEdsDYWYsE4O3pxmvYrewit7G5&#10;3v4h0CW6tJNOmvNJuIJLO5t5VeO6RomG8Aj5drAqM5D7hisHS/D8UhNvqes6fNqNpqLWUlrNaFbi&#10;7h2Fo7vAUxnfnaV3f6xJByBk8tXCtpSpz96W97afrc66OOoRi6c42hB+7ZN3svJNWXe/qkcDbteT&#10;3DLlnQxsbS4iiNo966kbkaLcdoG4kZwvTn06eKXVC0V5PG5heaL7QhTzIlKtu2BwCoIyeh6KOtdJ&#10;rGiPa3dvbSm1P2AGCG60DWYLmyjG3YUSRThlGAhXC4K44xWXcQi2njlQzJaOFhgup7KaO3jOC5eQ&#10;dNuX6hvmAOD2GTi6Lk3e60/pf0jeOLo4qlGcErSV11+7zen+Ro3flTtC1nPE6kD5I5DN5BxtYMQe&#10;DuBBVumew4D7WKezSbz7SAW8xXz9RMJEViQSA+E+YBi4yCDk8AGriWGozWK6pYT6fdPDiOZLYpdT&#10;QvHhd09vjcqs38ZHzEnuDjDv3muraKQLA0RlZZGs77a7ELlAbcknADZ3ZwcjgEZbqi5KLqJPm0a7&#10;W/yOSjKNZLDxkuVOz7prXy17b3e6sc1PGx1CVoWkSOMABox+9kbcGQ9h1JJx0GcZPVsthb6heRoL&#10;NIJdq7Lcgja5PzMuecnHPPPBwOc9RY6eLiDZKZGcne0qJibghSWbgZ+UHHuO1aFxo7Ky3MJaWeJs&#10;xiQ7kwq9CSABlV4XoCwHrTXtHBuez1/4Y9SeOoxl7Nu0krJ/dq/JnnT201pKGe7uIHVvO8m6IltZ&#10;B/ciJ+7kYwOANp4Ir0TwjqtwrjzI/NWWFQgkHyxkE7tx7ZAAPp1rLv8ASxeCCcpIxgAWXegaMHaF&#10;cYJHq2M9R6dKnspEhj2W6SwsyHLsokjdsg7gf4RhACWx1IwcjOlOrKOIj7PT9SMZOljMF7KSTb0f&#10;l+p79C9jvc2k0oEsRmsLyRAJJIiMmNsHGUb922ByVJ7VVkX7XDNLKirIrEM6D54cYYOpGcKd2P8A&#10;e98VzWgalPJaJCWA8hDLbjO8LkM0q47Akg9QOueprqbONJWZTKmVVpLXa6nb82MOMHIwANo6Z9K+&#10;ilUjiIxb0b3XS+n9I/LMRh5YKrJTesXv1t93XS62TvbTR+Xah4athPNNHGgFynkshjBiySF3suOo&#10;HXGSCODxXxJ8RfhLo3hvxFawabbW1v8A8LQup20u1S7SWOXVYVH220WFyGY3QLTKACuXnHTAH6M3&#10;scJZoQGjm2ETRNndDu4I5GSvJwT+fY/MH7Q3wo0bxV8L7yztYItF1zwX4ntviH4b1SzjEFxDNZXU&#10;RkkLIAxQwNLvCjLRhl5yCOOjUdJuk/lf+up6MqixcIyl8W1+tn1+Wn9an89+l/Cxpf8AhrC30eKS&#10;51PwV8eH0O001YIxdafY3WnR36Xz4GQrGSK3Yx5GZfmwGXd8k6kINO1C4uPElvaSaTq6R/DDx3Fd&#10;aY13I89nG2qaBeRbl3R3CW8l9bK6kb1stjZRUI/X34caPpnib4vftUawNO1vTfEi/GKx0nxBEmpP&#10;aNpVrb+GdL0mXTJrRQFlEFzayoJi+J4ZoAc7iz/m98b57Cw/aV+N3w41GzFrYP4f8E+KtEnsra3i&#10;tdP1DRybkXBJUqpubJNVQMCWbz1LBgCD68HF1ItO142Xy11+f4Mwr05V5qlUV37reve0Xbys215o&#10;+Kb/AFS++F+t3tkdN1jxV4I8S3Uknibw5BYyGS50uaaG2tb/AE5duBLbyrK4IycysjBlJVfmb4tf&#10;s/eP/DvijXLLw74X8RappAeDUtHuz4Yu9Vs5Le7CzW8sTiJxGzoyuQcMGAXPr+jvxB07xTfjVbLX&#10;NbFnrfh5TcaEmk3S7305EL3OnyxAliNvmThSdxJJI+ZTXzF44utcm+EWm391J4+8R3ngDXn8MwnQ&#10;bsjUG06+hutQ0pbgrHcuYY3tdUgRthwZLVcDBI9rKcRTdR04xvbbp6/5ng5vgHSp+2lLVWV7a8r2&#10;1PhjQ28RfDb4qeA/EuuaJe6Je+FPEq3A8/S5tCuLwxpJuUK6KAAUZQwHABPav1bbSvCPxn8beItD&#10;X42aR+zz8dxqVx4i+Hsmu6aNE+HnxailtbRbeDVtUiVls77UGLGG8mAtiYsznDM5/Oyy8f634t1L&#10;wksHjTXNS/4RS+TUtJPjlIvEOneGJlKrGzRPbgrGDOoMEsTAl2JVgSo9Q+LfxP0fRdY8Maf8TvhX&#10;4F8U6jqnguy1K8+IWkNqHgfxykkgmjnitbqznS2ktw7yMiSQyLECqrt2sB1Oh7XGuW0rbfEtLPVH&#10;lPFeyypXV0mru/K9dNHrqrLR6M/VXwX+1hD4L8T6z8KP29fhjrngTxX4e1CDSLj4tfDnQobbVdEC&#10;xEQXGv8Ah6W38m8tnHlZvLZ4XkUuBIdwKepfG79hr4K/HjQ9P8eeAfF3gzxfceK9ml6J428D6nFP&#10;ZarJdRySQWt9F5ubebjaIbsYJB2ScZr87vg38b/h38SdCsvBOufF3xF4buPC9nHZeC5vjb4VvPGW&#10;k6NYjCCyHiXTIpJ1sE3ki1lsGKgErIu0pJ9p/B/wz8SPh5pl78Z/g/o97ofhbVbuS18Sr4DktvHH&#10;wL8Yz27+avn/AGbMVuSQJYhcpa3Snoc1pg54mlXvSdr7xbv/AJP70eHj8Lg68FKrK1mrSWi6WbXT&#10;zae/qfkz8K/iB8bv2CPjX4r8OeGfFOteA/il8INe/tjQNT0i88k61pl6ihU2Rs0c8ZS4LvGRzHNc&#10;h8jAP2N8Xv2qPgx+1n4I8O654/8AA4+Enxr0++Frf+NvhqY7b4da20yqbjVfsYXztMuwUEksFqfs&#10;05kcC3TYC29/wUr+J+iftDWPwP8A2qpvAtj4K+O3w71aPwH8R7nwx4fiPh/4laA7f6Hqd5rEYDTX&#10;dm0K26LdqsohkUeZIIRXW/Fj9mnwH4u8I6P8b/hdZwaHqPiXwpY6xJrPhTRoo9IvrryIzdLrejgB&#10;JxI+d09p843ZaNgWZfXwjo1sROVOTjJq/K9F5q3fzR4OPoYmlSU8VBT5Wk5R3XWLT7NbrufE3xn8&#10;L/GD4Wwr4T+KOt6R4++Gvi3w9v8AAPjyT7P4s0TUYZY1KNp+sBftdlcIDuNo7oQynKHOT49dfFQe&#10;IfDEXwq+I+dasJLJLfwz4iv4j5t3DDmKJpCDhnAjK45LAtyT1+2fC2qQ6h8Kdb8K/E/RYNM8OXU9&#10;lHrugQyhtC1CGdvLtNV0N2yqFZAplRAjW/mZ2bXAr5M+Pn7OXg/wbpUV34E8b674k064sk1bRLvx&#10;BLZ2cLeSjfb9OTyyczRExtHJJ5buI3BU7oyNcRCNSSnCXLLt5+T/ADRhRqOkuScOalLrbTVdV37M&#10;+VbP4A6pouvW+seE/FaeD5pZlm0TUbkgaLFMSrxR3EgO5ElDKqSY288nAOfoyy8QfDz4zeKNO+Ev&#10;x50vS/2f/wBqrwDqot/CXxr8PbF0PxNM2x7S31m1RhC8E+2N1uoisgEsmS3QecfDzxNH4h0qf4ea&#10;vdQabrlw5/4QrWdRG7Rrq4lXb/ZWoOxCiGU4VZGz5cm04HzGvG/iD8Ov+Eun8Q6jqWr6jpPxC8EW&#10;w0jV/C+rMJtW0Oe3O63SRyd72hBZIpox+6LqCcfe0w9adaTU7KS69H5SXWL/AAOGvThhbbzpSe3W&#10;P96L6Si+nXtY+/fil8HfEVn4PeXVdEt/DXjXRNRFn4r0q3ybLTtWiAltdSsZQdsljfxP58UynaRI&#10;68fdHG+D9dfxH4esdReIpenFtfQb8ta3CfLMhUZPykHI7cnsRXEfswftl+JbrQ4/g38ZUs/FOjaX&#10;oknhqyu9WlEev2FpJN5scEN9kkFGO+KUhwjZ/hd89PajRtF8f6tZ6BqUmpeHfElu+rabM0X2W4E4&#10;KebHKpyqSDfuYfMMo5DEYr4/P8LUjUc7cr3tv/SfQ+tyjEwnTVG96drp2tqtrr8+x3vks6NISUKK&#10;TuYPKGyoPRQQCdwHGeTjPWrUCKhZAGk2bQyxy7wrAqhA9cYwQeRgA+oaY4wI9gCBnWRWD71XngdQ&#10;fXIyMkDnjNWUKgEJ+7Jj3zBmzhVDnpjIJ3dMkc18hyRcbJ6t/wCR7N4rlkviVvnckiEQY5BUgHcu&#10;1meEcEE89c8HPy4djyRV6IEFI0UbpCpOFLEMAyhh3y3DHAPKqPl+bMMahHVUUNCyLsyw3phZC3rg&#10;nKAY6HPU4xeX5djMm9QwLKhADEH5gjYx0IGSDgDpRNuSt2/E31VNyt7zEhQFt/KEMAZGQqArbScD&#10;ODzhjn0IzWgiJ5ijyhEiuZFjxiNF+UbVzk7V59Tz1zUUMZj4RwAmxNyuNvGB3PQkZGCauxqwxI2/&#10;5i3ljlA25VyoOOQA4/BxmnB8+lvT7rGjjyxS22/p+uxOkaSl0yPMUBSwyfLVgeD35IJBGRgHg9rg&#10;gU+WmxY12BVO4hSOeGPXGcnHTkn2MEa4QF3YbxzJwAccYAwMHhQMe9aSpyr9gAnlsQWcBQuMAZYE&#10;YHAI/XGMpKdlawJVJK/SwkMOGeMKBnDlhlZB0YgbSOjAjg88cVLLFMnygqdwG3kyJHjduJx1yWAB&#10;77eBxzZt/LU7ThQGZZWPLt1AO7AAJ5I+XIyDk5GJZIm2lYjGAkYaP5A3znAbndyMgdCMjHrTa5lF&#10;NfP0B6xcbdf6/MoMiuhUxncwUhV3fM3UDvngHnAPB59ZHVFcSllG4ggRxiNlByep6HJ7H+L0JqwF&#10;WVVdfvKo3AIpDkknJGRn5Sozz93GOKmcLvWN1OAq+b8oKuQxYFT3x8nHPT2otO2j6F02km0lb/hv&#10;+CZxhO5sKQFDPHuOANw3N6ZIyAO/IAqukCrldryZBWRVdl8wISzbj22lUJBPYdc4rRMIUSDcdu0M&#10;NxLhGxk5xjJ3DIHfaOhqs0rbBsGUkc3Bc48xiFYg8jOSNx4I6Drxgg7txRMW3boun3/18iiU2SrI&#10;qmRAx+82xwclgMDoOeg7fgKjkjwGz8zswGGLITn5s54z90deMNxzg1cZkjnVSxUgM2VKOW+U4HdP&#10;4OoznLHJ+UVSkCtHMNmCu3DkDdlsnPAz0Ixn255qtZQjBdF/X3Ept2Stf+v+AEgd0VgoVCNmSNwA&#10;yRkDp3A6dB3ziq8wCFQFQ/u2kfdnzSSAFAHoAD909/epn3seQA+/ylcPkBnWSQjrwAqkgHGPY1Gy&#10;gyQEBY42BBkdlijcnJ37uACfr2PPJoilCo1LW60/D8SFfmSjtt6f8AgkDyAgICu8sSqBdgCEjoem&#10;AcntzTwVMfzFQGXqYyucjJAHI5AY/gaReRtCkr5xbBYMkg+6TnBxkZ4Ht7U5Jtkiu8Jl2MpEITI4&#10;2naOhJIyvPH3sY601HnXNbVu+45ynH3enUWJfKeNkKvIpY4ILRqCcBT9c5ODn5h704RqhUskZZht&#10;jUgho2OCr8E9lPoDk8ZxQpPzIGU5jwNrqRxtAAI6DCkj146c1Y2oVAQD5AY8bwS+7apK9M8Dr26j&#10;BxSjzcr5eu/5lJXhvrr+hOP9Zx5crjcFYkso4yAffbtJPGM+4BuxKBMV4UYZdxVWU7UyMnoeSgPX&#10;r2qlFNIrYjyDFny0OMgkvJxgDaSQ/HGd7E84q75as+Y4yN5KKJnHlg5KAjAA4BU57Fevah8sZf15&#10;EtxSStrctwMoR1Z1aXYFwSEGcFslhySCy8dt3TOMW42/cyowdHaIsz7grRkEhGAORleoODwR1zg1&#10;cAKFDsqK4DuGDHt0U/xHkcdAeT0BuRBSrRgyRmNVaOItu2HapPy9ycKeRztHYjKprRy6bltznace&#10;nTr0/plxNxYhsKHI+Xy9oxgggk85zjOfoKlXKuqrGxLSL5h2F269Qcjrz/Kq8alY8vhWRskFvukN&#10;17ZPJxk+nfrITwAXO5RGpeP5sk52gEDPJwCeMZqLRbUwfMo6PXt92nyHNudCXw0yqQq53gtnorY5&#10;GVxk9eD6CngFQM4LE53YB2HcUAP+0AO+R83r0BjcBuBUAlWBBUtuI2lsdQUHcZxycZBcGeOMfuJS&#10;FIVwV+YADauzI4HAHXBO3Hvb5YwtLprccYNzTlLoNaY7V3EqZJHRYxIRIq4bbgdeBuOCTxgjuKfg&#10;uqlSMDIIB8xXySOePlwAOOc5zkcZNuDtPmIWK7mRzGQG6ZHccdxjj8aTcUD71Zo2QB1JGxsKAv44&#10;ULk/88269hWavHfR/wDABzrcvs3r/wAN1Go8kbbiGwcyHcNq5IDZzx977wA44594lKqd4zkMcb33&#10;Kg+YgtxnHOABkc9KXckZbIPMjBN3SUAbFY7gCAwPQjOTyOtJsSMRsQpiMhUEvukA4Iz75Hp6jPWl&#10;GEk1fqRTWrXl93cbMH+ZgNsi8uFIchRtJI45OCw5AzsAPc0bclxHJJGXDE45KlejYPTnj3yamVtq&#10;xsEaSPy/mVcFgMEkHuSRkdPfHOKjBUuWVkRctHJI7Kkg+fJySTxgnlsYwBjHNEbrVPZms4cjvDdb&#10;eY8gkyFVCArvQBuW2jkYPVvmA6gfNyeRTWEKCVYwZ1kJEhIwzkMU5PHHyEDjPyn1OHLGMYYuCZfv&#10;nbg8HkjpgfKOeu7vgmo40y0wVlIYgZ3lkZl3AKAeQqquOMDJbGSa0vJzjbWy/r52MptKOnp5+lxA&#10;yK8gGdo2hVQbigGVJ6EnG4Antz61KjBnCIhYZ3SKo3Kyg8ZU8D1A496YdpJUsSIshRkcBXJBz93c&#10;QFPrnHGMmnOwjHkHAYkmFd/zM4DHjqeEPIzztJ4GajljOXLciMVdy77IhOUm+YFxFF8sh484Bsdv&#10;oDkf3h0qUMVBLRhWYN+6GdkhYDI3cMSNo4wBlBjI4qMsqiEsSWTqhOMDDEkgdeSx5PqeTg1FK5DY&#10;A3RgtudiTIqgnBGQc8jJ9cEY9SM+WUWlqu5VNqDS3v8A1b8iSRpAB5ivK2FDNIrB5HJVt+09MfMO&#10;5OOAe9TcNrEkOzkna6bRGgwQuMggEnHUE8+mKfJIiFWVAQQyxP0mILKzEN1AzGTjpnb1AqvJOEJ5&#10;2yFmkMPmAM2XKNntu3ccc8gjOQSveTSa3szRqMnyLZb6/gSO64jVU8x9rDn5t3yAgjaehYqM9SAw&#10;6YqtI5U8MY0liVkAcyEBdykEcAcKOPcdqbuRcB2GEg2qhXlyUZlPQZyWBIHUEEHHXOlkAZVjDbT0&#10;Mi7SFLEg59SAufp+Jvnlz8l72/r8hVlGaS7/AIdxRKVU7MyEqEUE8Nk4D5x83zBfwLcjHNGWdnkl&#10;3gDMmUO7MqHruGCAduNpz/eOAexJKSuTCZIWUuyhtokO1NxAI5xhQTnGVI5qlI4K5VpZpAGR8OCE&#10;IIULk9OCSMdFOAMCqc04trW+xMoqME77D5LmV0zyxCpKjDLOAFIC5I5IO0EY5K8YHXMlmdSASr7c&#10;ShgAhIYA4UcjAJbAHH07vkkb50bIYf63DAMQRyGI+6OcDPcfhVBg0aqzRFSiBUiUkIu7YoG38M4x&#10;0Het4QUFeK+fyREVytye1l8yCRZndmClgTjPlPk447AiikEkSjGG9fz5oodaqm02V7OT1SPZIwpS&#10;Rw25uhZTww4Iz14GcYz696tiRVXDD5GKD5lG1dzBRkY6AYyAOMH8WHaTgfISxkbJ5y5chgQcYJJP&#10;ttPIwailV2jj3NtO4yudp42gcYyASeQAc4GepxnypwkpNPX+vxKqKMZLlf8ASFRWDblCrvR280r5&#10;cikqdo6HgHBwfTGOc0xWIOGGQ3zBwFDOA3zDrnPB5+n0DlYNuZAFYsSsp3YznBIB7dD78cU9hE3K&#10;Eo0jkBEVmPAJUHgAZ56gYzgYJJNKLso23WnyFFQcXyLVN6eT6Ay+V5RkMjKI1VskksACMg9W5Kkg&#10;nqO/eKRUQOpB+VvMdtwG4bVYgcc8rjOMHJpEaVdyBg7Rlk2opEf3SQWGdwA+U+/Geoy8x5VTKfL2&#10;ykblPyuwQMAOnZgSMdz1odJwhyt63LbUoONNapIQv5fzDdEzOXJCbhFkbuVUcBjhQMAEnkAdR1Vy&#10;mCwjCqineV3gAK4O08jP/oCnjkU1TtkCuFQ5be0nG4bsAggcYHHflfXip/mDGNxsRgoRY5AxbbuB&#10;JPUck5HPJxgAYqppxtGO36aGceaUXJdLEUbPKWJDhs5Qbt6sCRkdQByqjPtn1BRCMOv7rzEJkCK2&#10;WKlXPzd8nBGf8lwXOQSAXXhghjBboCewA68nHPSnMS0QCboVYkIxKhUwc8EfLuXcAf8AdGeeKzTl&#10;b18zooKPI3J+938hiKwB3DzGQhRIV3bumDxwTjP19Kslg4clvML58wbSofOPlH4g5GTjcearKgd1&#10;CxooyFkBON7AOu48gAYIA49PTNNcNnBAGUOwn+IsmScgHjCjIwe+Ce9tR5km+hzx5o0bJa37fK5c&#10;/ejcxC7B8kjRrgI6tjBI44G0Dodxc4bg01UwAFIQg+azKw5Un5C3ORkYHpkH6UmGMpQAMzucyf8A&#10;PIAyEgsGKncGXJGfu8HqSnls0TbwgEYZUIG052kEgjp15PqOwxWbk7vyt+htVvyWT2/4cYS2UZXZ&#10;AuB5atujcnucHHvx6ngVZJDscs4WbdIyhBwWd2BU8cYbaPl4CHnBApoDCNEVlL5yeNyMzBSDyAM4&#10;EZ3djkDvlxV2UMRF5m8EA9BhVzu5Bz1GBwfXgmrlG9n/AF6lUvaKLk23pf8A4AvDptEeXiG5ySCS&#10;AFwDyMdM5yPvNwQBUnlhl8xv9Yf3bhVUInXGRjr06881GzDEGSz7k2lyo3uQDuz2z3I6ZwMDpT1V&#10;RCI3Vchmm3GTYW5baOeoG7GMgZ29wCEpSv7j/ruaSUHb/PztcZuZk37i/wC88xlIAx/EN3BP8IH4&#10;nJO6peIwsYDBZXB+RQXI3BOfxP60qBApKFEDrzldzTdSM/Vs4zxlvXNPjLjyyqgqV3NHITkOvPK4&#10;44PTqOc9yYpz1tvK5zuOzlL+tiA+ZmI7RggE7jvLHaMAKBnrgZ4x19qkZsrtPyfII2LDEkJC89sF&#10;sEct1IPQ9WrIGkUyhnDMVYqMCJT5mVXBxwxBHH5dKlKKrB5CWXcFXp5a43HcRg5PC9eMKBTm1CUY&#10;/ptszRSpyfL1v/kCSNIMAvkBgFYhokIJGW74QDAAx35pobarKwZGQk5BZ5ByvQnp+HoasYRwwV1b&#10;eVZgeAQwVhx7g7ucZz0OcispZj5+MqqDYMEYOSx4xgAnI49e1UlFR0VinFqCbfX9SaOTO8+S5DLs&#10;YAsdg2jhRjAI78npzzwZE8wxgD5mOQd7ja2Bg88eoGe+O1VMoFVWcFXYNIqSEYYtjAHHB45xzxmp&#10;QWCsqdAvyIULmMBepHX3B9x3rNxk4txWv/DDdSXRajg7qiLuwpJ6qMN6/TJAFEoRwGSRggGFCOcO&#10;eCWDAkYwqj33A560ixjOM/KxAQv99eQclj3OR09D6VE0gZirEBU+cRxnIPXfnHXG1OmR89T76lKa&#10;2RKUpU02tUv6+exFISYmKNvccjhnjJACkkdySpJ47+4qtJtRmBLCMIZfK2mJhuZgc5xwevuH3Y+b&#10;myUK/OqqI0ZlAIIIxsGSCD2DgY/u/Ws9/mG5QWURqWjBUbS7GQqR1BO4H6889a3+JKz/AOH0Mp+0&#10;ajzPqvu6DDIUaMgkbiNis5jKkZb1zjdjA44zXxt+05q91rcXhr4ZaWkh1L4gazFo0ciEo62CHzb2&#10;XAB2plQuRkBoSM8rX19dTNAkrNjdbRPJ1LqzcRnJ7ghiCAeikDFfBk2pQ6t8YPHPjnUZZDonwl8J&#10;tpVvKRgQ39zE95MPmByVDoQMZBfPavTyynCeK9rPWME5PzstPvdl8zLFSmsK3Rb9pNqC8nJ2v8ld&#10;/I+Jv2hvFGlXfxC0fw3Y28c2l+EXZFsoVIjuDGoEMbrzjGxARnv1GK+XZLfTG1W4hnKxXAvhM6hB&#10;siXYzMv13Mv4D06fRHj/AMOWGheL/Dd1czNNrt3pq674teZt2Lm9f7WsKkqMbIZEjI5+YHn08B1q&#10;1g0vV9Ve+CTz3qtcRSJ0h3sCCePQduPmr9lyNxhgqNGLd3FtvvLm1/XXtY/Is+cp4ypJQShFxUfK&#10;KWl/VW06Nnpg12Hw78MrrTbed38QeN9SE+pOpOLWwgJWGE5PLOSxPoAOeTXheva/cXMjxEiOJFEU&#10;RXG3AbGFXsOTnHrUd3rs12DcTsFS0jFvaxRoFRscDj14JJ681yf390sjDpgKRllJPevewmAhRnOr&#10;VS5m7v8AJL5JI+bxmZzq0oU6atGKtbzdm5fNv8LdCzbsXlDSlkU8EjkkAnIUVowRxRSPe3C5UsWt&#10;o2zmRskBiPbj0rNslDyPNLuMUZKooIyxC8Dr9K20t57kxSyqY1Z9scY4bA46fjXpVJOKXL1/A8mm&#10;lN8z1svvd1/wTYsHknK3MgDsF4RlySc8f/qrvhdHS7OGI3Ev2q5iYCFPkUADJJPXj3471i2VnHZS&#10;GzXicri8YlVijX72wMTgDjkjJOMCtqOx+zz2FxfPHI509NRMm0kfO5IyOwwhyO/FcU+Ryu37v47X&#10;/Q9PDqzb3fTyK1jp0VjDLrOrMGZAHR5yMDdnAAPc+n19DXO3uo3muXHmNmMSuLe3RlCpGueGbp78&#10;dKj8T6lLqlxGqtt0+BiAgbBmYLyxHbnt0AAAAAxVqwWwtFhvdYVnZ8R2emr8wkyB80nfGM4B64Ga&#10;ULSh7Sr8l/wO7Cagq3sab1trL+uiNvTLS2022e5EaxxsP+PmRdtxeuMkkbhgIueTgDLKevI6fSF/&#10;tSG6vZZUsdOghNxPcOxaAjlFVV3BpHOGwuRu3dVAJHKahMjlLqTPlYMCxhQRuPIUL6kYGemFpo1G&#10;e5igsSAbZbgysyMdhIA4J43bR0z03GueonK9We728jpo8lKahHRXv5sbr+qS3V8YoLVbXT7WBYLW&#10;CJQkcccYwu4DAZuMs5AJYk8cVV0+XyruzuIkedoT9ol3kIny/NwDx/wI4Awcg1z95fyXN1MiMgEj&#10;lioIdCd3cjr7jp9a6CztxGDB5jtbykLeXLqUL5AyoHXHygCqpxcKOur/ADv1CUva17QVvyVmj0Tx&#10;fJZHW7mGKc6jZyeXqNzeRXKuEF2iXUgT5QoK+cqMzg4eJwoAODnxX0kwRraNLaxhJKW8EJj+1fMo&#10;LvnLEdgzZPQdMFdzxVpFnd6X4L1zS7OCztNS02fSp7C3ixbxXmnXTwSNMxzlngeznx0BnbgYqvZa&#10;XEssljbxC6v0Um8ligM8Vio243KMlpGZtojUEhtvBY7a421SiqcGdrSnPmk97at97L8ya0ub7WGm&#10;lmmMVlp8XzzMAixjJAjiReCxK7VyOWYetadzd28It0UQwRwSAWmhYNxcKxAVprkjkSNxw3XHOABU&#10;9voOqMY7O3sJLSG3ZpFurtltoGLDLuruwLSccNnA5C553SRtpGjvKFnFxqIdo9vzXSwuCASZSRvc&#10;kE/Lgcryea5pSvLlXfb1e/qd1CHJK03rrr+KSLGl6b4m1tlWK1mDTYkLgmORlwFJ6gYA45IAHoK6&#10;e2/4RbwghS8jtrjUFiaNZpGhu0jY5UhEOYwR93O0twec8DgNX11oIIX1fU79Q0YaCzt5I9MjfIJG&#10;6JMsRnaSWO47Rz68PqfjHT55FtrXSLV5y6tEojmvrm4cAjJJbjO5vlAxnbjpTjQq1m6cX1tp9xbq&#10;xpU4zk72d9Xa+qOp17xOL67Zmdp1bK+bqF2925znCjnGOB04AH3eKxLG+8QEyx2PhrTpxOpKzNoI&#10;llyeQVkYEKMA/MoHTrWctx4un23Dada6BaQI0u24FvpTOQOFzIQ5JyBhcn2ArnruPVPNb+0vEBvn&#10;fCmGO/lnhVW5Kk4wOD0XPI/E9lKi6VNQbs/x3OWpXWIkpfZ8l2sdjJ/aMzJHqA0a1KPhi1zCtw4J&#10;24ES/Nkdweec+pqd9P8ADNtaS20mpXPnygNcLYWwQkYOEWV+QATkkKc5IwODXnFsCspMc0EKRFvK&#10;SE5IbjBIOPxP6Vbt7a5aQqymRmXeJISSAp4JPp3606ynH3Ys7MLKNRKEk2tl5dT0Sy1TTNMmH9le&#10;HrSWaEKUvdZnk1dnUHABhVo4PT5jG2d3IIwK6NfGPiNozbXV4NPtL3b5Vro0cejhtwGD5cSrGFIy&#10;cFcHAxjFcRp8McG64n2SwW4DEg7VlckBUz6AkE9sdc1cRr+adpFcyyyfvMKSQByeM+grzKqbSU9d&#10;f69D3MNT9nO6WkdFpd2/r8Tq411VkE9vPLcQzFkmleTiMspAaXnjOfpzjitLT9PCpt3QI7nYwgj/&#10;ANX90sXONuCTjPc5rJ01Y2u7XT4rmW71G+YJa6fau011qBIBMUUAG+Q89EB4r6T8MfBLUDHcTePf&#10;FvgX4O6ZbKzy/wDCc393qvjSbZGjmK18LabHcaqWJkiUNdw2sGWJM6hHK8VSDinFWiu7PcwjfP7N&#10;pyfZavW1ttTymzijEqQkhSzcbcAvg47HkErjvxXU+DPAnjP4ga9d6R8PvC/iPxpqVtE1ze2nhjSp&#10;tX/sqFGVZJL6ZR5NrCm5N81y8cS5BZhjNevWut/ALwa7S+F/APiP4t63DGjrq/xkvk8P+C7aUFWc&#10;w+ENLkaaZN3mIFv9VkRlCs1spHlVi/ET4wfEf4o6fa6R4n16Gw8LWGw6X8PvB+hWHw9+G+mkJCiv&#10;aeG9Mht9NjkaOCENN5JmlMavJK75c+VUq0Kc3KTclotNF9+/kfTYPDYqpFQVoRXV6y+5fq0d9b/B&#10;/wCGvge2nuvjJ8Y7S51+KKGa2+FXwGitviJ4sv5MxNLaan4sdxoOjyIskiukA1eeOWJUe0UEle90&#10;z4yp4AtJIPhZ4R0j4UXYCyG/8L6hear8RC6GGXzNR8YTudRTdJFIxs9H/s22BkZGiaPdEfljSoJU&#10;UXQAN3IWWLIRIkJLKzgfw/eYjsMbhghSNiyieV0jdXuDM/zkYCyknA4PT7q8kAgeledi8bVV403y&#10;ry0f37nsYbA0b81Z89v5n/7bsjrb7V7zVrq71ORvMuLm5a+uUigSCB5CFDSBI8AMRwSAThFyxptp&#10;DNNLHKltKsl1gJGiFSZN5XkdecHHTPUdsyWlukMxihSI7SC6wxbps8KgQEZO8kgd8kEHI57rQ7eN&#10;LW2gl83CkyMyII5pSxB5bHRcFtvI6HGQpryJVFBtJau2p9Fg6LqONPSy2XbsLYaZdGdYbpZbcyye&#10;S6cblwB8vXIPbnHOBXWWelIiNLDuhW3cKmF3FzgDjnkfUc4+tbekafDDm5gtp7h7h/LSSYCdY8bO&#10;FHckvk57V1Vpp8pKxRgiEMS0O7zN55YdOAVBxwK8qrVU6j5O33dz3MJSdN8v9WI9Lsr+/EUzQNFF&#10;EoEruN6vncCBzgDqRkZ4x6V614f0eSXRZNIMTG5vtVtSkhCRCIAXEZ3kjhR5pJYngM2cDBrP0QN+&#10;6tpLZEhjLFmQkCQBADuIAONuCTns2Oua9I0awc2lzLERaq6tHHOxKtFl1I244yAGII/vH5ux5PaQ&#10;5ZRTsn/wD0a1GU4qTdldW9f6QeGdPspNSsNOhkha0sr2G5vtQjDRXMiiWMsGByAuCQqnLfvM8521&#10;sJpsGq/27pLQm3jtb+48RabHGAzkxHbc5xxkxShmGeApxnAIzdHMiboIYzttmIup0BQS7dgX5V4w&#10;uMjgdQAegHqfgqOGXxnoWrxQ27JZSSTTwTRmMNbtCRd+aFOceSZgcdcAHqKxpTdVxpLRPR/MWIwX&#10;sIzxEfesrr5ar5t2MPS9Dgn0nS7KK3Zp3U30zQgqw3qGhV8cHajLx3L4wc19H+APA1nr/ifw/wDD&#10;+3uo7aDUrS58IX9zPKpt769uywikJOAAtwtnAuOFWEMMMWJzz4VuPDHibWL8RQnT9GW41S1lNphb&#10;iMRO9mfLGfvl7dQDkcjnAyON8FajqBuFlRZ1nguPMNy5dZnYNkPu4ORwQfbPpXOsQ8NiPhertZ9k&#10;0rej/QVPCRxlBulO2l7/AN6Wt/krHR6r4ct49TS0X/SrfRYrfTbe1uB50Fu8SHzisbfIN8sk8mMf&#10;8tTmtLTPDiX99m+CxTx3IliiiiMRAY5TPByMYOR1DDHWtW/sNRmvVkih3LMvnzTBiN8juTgrjvuG&#10;Sc5yOuDXRaXYyRT3aJdxrNuK3MszgszKXGN4OB9ASM5JPQDkrYiafvap3a+X/BPTo4NQopU5arr1&#10;3RgjSVuYpJGeBY7eXbdoWwdx5XjIyM/qMYHGe00TSRcJaC3iVjDcxyRnyozbRKmGG84wxJxknjB6&#10;YrXi8PQQQwQxSLJJdj/TZRny9hYFlA9RjcDkD5cdea7DTrCDS7JYZVUl2ClYCwlC53HAwAMqMjnr&#10;n2zNFpy1en9XsbYiknTXs9+xhW1pbRW7s7brhIdzxvEzmRi0wbGMYA/d9epPtzSOnXOGuJkZLeOQ&#10;tbxmQOzblOQF4IGdhJwTxjJ6V6Rb6fBPdyTowNvFDHGAS8mRklXcZwf9YwAwCNzA5J40zpCCee5a&#10;DbbIwitxNmHDbQ24DkjlsAntg4p1as7JvZbNdn19TgjTdKWnX/gaHj/9lzSx+dJb+Y7SqjQbWlXL&#10;EsDjPUBccnqM8Co5dHjiTzbq2SMuTbxIrbEVsfxEck4DYA5OPwr2Oy022tY3nmTzT9naYxKGBBKK&#10;Ey2TjB2ZB9MYwa88vtHutbhmuFTzpFZpbaByzKzjO5vl7gE4A4PBzg1p7WPMuX4u3yOnC0pVHq7L&#10;RX7nmUlrc6fPbRrLC7LOY/ljJiMZzux3zgcY5xntmtu/0u7d7eW1H2cQr5a5VtyszE5KkjPBHTvn&#10;1rqNG0GVp5o75xFdW/MwK5EajDqoJ4Awc5/Edeb17YW09wWjnkd1IhZdzM0RABJOD1wCuTnqe/Ru&#10;V2prd9zvcJKo4QV2lq/u/Q82vVS1hF0ohuZ4piIXMe+MygAq7Jz91irBcY4wRj5Ww3mUXMM07T3V&#10;3cKou7mT59v3yFzjCqpPCjIwDgjNetaho/n28SyAnbC6iMKMEkADd83favAwOR71xVloc815eNGn&#10;lRB2ihjnOEWPJALMeM4br/sj6UVJe0ahf+kd2DpRqRfOun430MPTrOyfUbiWe5WO3+zTSSzlDIZx&#10;jdtG0ckqWUYB5xxnOIvCdm2v2r6ZfQSrHZXK9cJcSxSu5icEHOMKyFuxQD0raSwurCzsGS2Mh84q&#10;UWPc6Z/vc547jHUCu9s9DbRZYPEccauYIvL1NXZmUwMBukCgEFlJXBIPfGOtT7SdNezT07/cXXw+&#10;Hppctud7fK5ylr4XjubOfRNVvHGg/brhSsjCVbB5HjaRo1yMbsxlhkA7SevSjo+lX2mTWWlWmlrc&#10;3NhcRvHZtMVkuSxkAhEip+8TDOUb5Tlgy/xI3rEyW72M0VsnmXsOtyXySTbTCVxCGiGBn5kAABBX&#10;knNTabp8jXK3Wm2k2qQyOrNYQHGoWzKwWRI3JHLBDncQVOGU4JFU68YzSk3f89DxMThJxTqtWtci&#10;1b4leHtKW6sL241HStTR5przStW0CSWG0J2hY3u5Cig5L7vNAIwOrZA81W0vvEt1bzWr20Nh9qAs&#10;9QjjB2vuyvmBiVAbaFcnPVATnGfTri9uLzULu28TafJdRid7KU6wVTXtLQMVQ3VqrKJMSbgJkbDb&#10;cMVO4Dsrf4d6ck8EX/CPyeVfwo5kttCjDOjRJOJFj8xsqqyp8wJ+Ug8lvm1hWbn7SKtfS3bY4IYW&#10;MFFwkrtXf9dzgIPhrY3OoL/bBuU1CCLcWuJDcWmAVbzEXO3ayngLkH2Neo+B/h34hg1qznttL0fx&#10;CtnCJNNs4pxp0ruiAp9k3+bFvUAusQ2vj/VkYVa7G08O6bYH7JZ+G/DUukXL/abK0vLFvEeqQzhY&#10;jcC3VFcAku4RbkkokgUOWwa67RPA/gZtWnhFjpr3fmqX0i48MzaPPE7eYhaVlXh/9WclhjDbuu0a&#10;vERi0kvQ8ytJuLgnr/W6N/Q9Mm1G7htntNOF4CwvdKWaU3Fr5Y2v50TxxvFIDuAdCQpzyfmUeteD&#10;7LUbeaBLWyu5DZyMt/He3TF7be2/y4LrZvbCMo3MG5YgDA21paF8JfDcEdrdXOjaRezWdl9m2rp0&#10;VrNH5j4XE/LMys+Rn+7jJH3fT9K8GT+HrGdfD97rOlWzMr6bP4t1SaZLeSSP96LaYF2kJW3O0x7j&#10;GSp4IBqFNqk6knre9uv9aWOJJSqWta+l+n9alax0DR9Sls7g6akV9clXnutE0yCea9J2gI8+VkkJ&#10;yABtLZI9SBXsfCPheTWtQ1SC21ywvhcram/ilu3slW2QIz3UC+YjHzjMqkYP7sY25Irr9I0rVrNX&#10;0byp9OkuWMVlq4fyY7BCCpd2UElsAhEVRvYDMijcR6Xe/DvS/DWkaXeaXe3tteJIIJoVuppbufzU&#10;klkuZXyFYmQRqf4m3ggDBImnJ1qUq9k7dH/XT8TX2VLDYiOH5mpT0TV9/l/SMPRtBuLhblk1C7uI&#10;LuOG5tY9PugomUmXb9s2SAKcoMRyAFQ5JXlc+z+E9DsbeWTT7+1W4sdSsv7O1CMMJL2Nj++ilV+Q&#10;jxSrHL0+Xa2ccisvwzYSQRCO1ka2GFmnlEhiaZlIIYkDBw2CMcjGeozXpEdhcXF0Zrm5vLe7mVHl&#10;vL1JoBAqxxRozH721U8vkjIAGM552w6UpRq8uq012/H8ux4ucY1wjPCTlaLT1V73VrPTtve900re&#10;Wbp+lanbJZm6jsLWdmdjJdbyJFVztbyuuOFU5GGJYgAcLvG+1ppBCq27Rzzm5ktrLTYdOhm+YgYb&#10;jK5Y9TgbSPWs+U2AcSLqlpf4vBHFa2QmWe4wq7pZJQDw2f43B6nbioLoRRW5LhXumbYQ00jxyFQw&#10;dAGYkYYrtHcfTnqqVHTg1Tbsuz32XTQ+fkniZqdeKbe14Pq/71paeXy6klntnu3/ALUnsrK3lWYf&#10;MzIbbB27z1JwMH5cn5BxzVS6vYpDaxwTm7t4C6+Vb2bWQUOU3ZmYlpCdvULtAHGetEktqI47JoHf&#10;UDEoRY1VhC4bDYCt8o6+uT7YIWKJI33zWIkityWOTI6wlA67m+bqMt8xPHPvnijSlNqF9N29b9L3&#10;/Ox0RjCMvbTv5L3bdrrrre101t9+raTW9yJDEtuYYVLOATNcqoHViDg53EdOdp6HIqtGLpdRSa1v&#10;LqaCK7hnn8s+TM8aupeIBWxtKoeO5znvlbm4juLGaWLVLXSFuvMto9M00mzkmiwgIkUAs6vjJJJX&#10;5jwMisIXK2eq2sCaj5n2+EyPa2Mxt7qCOJyE+0RqTySu7Dcc+xrtrUfZ8kW1bTXrrottvQzoUJ1O&#10;dx0bT91pvazetl56p282WLu9WaPdLZzzNO5himuJgikAFY22gNk4QHG4fdHJwadLptsLa1XMkeI0&#10;jitYWWV0fcQ3YNxljg9scVn6jezyBV011lZLryg8nznjyy5VP4fuqGPBIQDjAxfuNauobXFxYxNc&#10;zz+bJdvIY7l2blvmA2hcsWICkg9xyK4vZLkqTnqraO1/yO1Uq8adP6urNvbm18tHotO2vlqZbRWL&#10;zxyXUa3DxYHmtHzHt4TccdBkD6HAq3DpsUdpK0SvEY4BEboIcRKAqk5JBOCwU8nnqec0thdxjzCb&#10;SC+YSFRDdtKttuALDc6bXJG08ZAPPQcmC7M2rJL5sel6SIpmnhtraSWCCQHAVQSXxgZwGIySeewy&#10;jTlyJw1k7202+fyN3Ktzqm24xVru6a8rRvf8LLdmnBNbRrtuLmGQwjKpDmG8iBHysCQRjkckZ4Iz&#10;TbWS3Z5ppte1eGzhbz0ms7iQ3FrLGuVCRiRCOdqDBBy2CPWna2aWlu32s3NinlEGSLTkuXu2C5Ch&#10;Q2dpYr8+R9COrYr+4tM2UGmiWK8jeWOUGWCRVBx6hCOAOhHXngMOunVqU4xVVK69d9tdb2/pGEqK&#10;lzqjJt99Erbtptct1q9L+aexeu/31pELHUzql/NMbWKN7xhcwySLuMsgkbgY6ndyVC55GY7q20aN&#10;Ugv9O1CytI2MEkdnBDd3yGPcvD+YEkYnGcAHByP4VNG3sjds2oT2iTrDETDOY/mijikkzNt5wZGM&#10;eCeCFQkEnJ6fTb631FykbwvG2fL3Wcc8attwq+YytIwOVGxTzx3xTpVIVZKNSybtZbr8f8zOs5YZ&#10;fupNqN3JrRp9rrTTpeCd799fN7hba5eSW3v4reO1JKvf2jRmSMbdpYKzDcxyM8AYGTzxiWSR3N5b&#10;Nax3atNbNaXdxKFu7R9jSzRFAMMgyzr6EyjnoF9cvfClnuWS+MdtNHKwjiECSLbsF3kyBWLLgKxI&#10;CnIU846UpvD2oSQNPZRh2h8uWS80S3t3jgYFSqSJE4Cs2xucZJzkEnnPE5biPaLliumi67b31X9X&#10;Z6lDPcF7LlU99E5aJX06K0tXfydrI4BtDszutnhimlnKq87l7d9xGVIUNtJYsN27I44Ixmm2mlWO&#10;i3Wm2yW7WmnS36RSgahK0DKpbKhGGQNikEhy2D1GMj05/D5jZXntL62cXAha2msntVikLFhsdoxt&#10;wNuMkk7xjNY2pwBvswdZpJAx8621q12KiKHVfs9wxCOcAKrKONvfionl8qMOecdv8/68x0s5+stU&#10;uduLWur3to1bTTvsnbqzySVLyG5vJbSS3V7W4VJ4bQtaauioTmSSE8Mq4I3gkEqcdwXapraMYZri&#10;K3vJLVsfbprARz3CvtYxyqWK4yvDDDNjg4xj0S78E2OpRt/Z2mvbqknmzul+NTSIYQB9xJdcMuSF&#10;ZgMkgDvxEtrrdrcRw6qLye2st8VsblEe4txGWMacxlWTfztcEY4xzx588LWoXgrpStqrtaPtofRY&#10;LMMFjbSVnOG8W0para65k/S6ST6uxZimslMS295ai3lT9xJ8ypuYbmXkAjBwCH+7ke+1FmS1laGd&#10;827EoszglEO8bgTjO35vyPAzxXKFNOsJbdpojFlcCZZQbCUsFbZLGOVLdN6EjGfkJrftb66vBHBP&#10;Hb3FhDK062z/ALiQZIZlEhO4kjbtPJIHGa5Z1KsXaej6Wv8AP+tTqq4VQXPFtw6t2T66p7N+tvO2&#10;xvxuqq5KQvKNm6Zd8fmoeVYqfXPB6kEZyMYoanZA+U1rbhtxKAZbfIWGEDkEjGQwIAGQcYzU9uLW&#10;ZyLeSIkzlBpTM0k1oWKgDewJ+9kDnPHIGAa05lVpPskiyw3MMhaSNkbzoygwOCfmx09sY47dUJxs&#10;ozlpe116nlqo6FZSje+7Wu1uq7Ly07PYxNIhk0q5zcS7JJny4iZykIwSyjONyZOORn5OPU9na3Em&#10;m3Uw8yORElIV42DRyAZ2sM8gkFT26jI6Y52ZobqIb821zDEUEbttjbczYCtgEZOCQT1UeuKpyyz3&#10;KlW3vdxxBJBGcsREoUk468DOe/P1relXjTTcHqm7f8H59zPEUXjZOdXS6tLbys15fgehpNb6vDdX&#10;kHli7smRGckKgXJXEg9CxxuP3SPcEVtY0i213SmWSLzGurOWynDfNKEZGQqB6gYXYep6jpWFoMu6&#10;J51BdQjC8g/1f22ILuZDyBnAGB64A5wD22n6tp9ndm81CaEaHKiPfXM6/JZoiPN54Zvu7dm1iey5&#10;PQk9lKUa7i6ml1Zv8n8tmfO4ynWwNWTw13yapdbWV4+d9Wl123vb8Z/gjq3xI0vxV8ZfjBBpVlep&#10;4p/ad1fRNCsL20WG4udc8FaHpWjapY3jMMGPV7fSb827MDsuNPiUbWkO/wCIv2kfg14V+Lni7/go&#10;/wDFjwjq2pXmh/D2D4XXvwxbS2iNk0p8OwXF5pt3cOGkxZ2fiS+3CEqS9nGzuAro/wCyf7NPhyf4&#10;s/sg6ZeXcFxo2r/FrxP4k+M2i3LBor3w9rGv+K9T8UaFfopwS0Qn019p4eM7eFbj4l/Yw0STxZ4S&#10;/ag8KeO/CPh/wpN8Xvj346eFLKdtQ0bUZ9GtrTwRq0Ns0ZAWK21HTlljyMCHVi5xvCjrwtWcF7Op&#10;qnHr0lZR3+d/uPQxCjVrV5Q0nTlyrl2cFOLWnWyg16X3ufmx4p+GYt9L8CfFmz0gNFqq22uI07+d&#10;MGEMK3ttN8xZ/LDTRlGw7xtyADX5y/Gn4feJfh/pHx30zwjenQ/tPh5PFjXtnJOt40/hrxBp2Raz&#10;rIqxSR29zMu/Dborh12ncHT+gbwP4Cu7r4J/DqXUdPtr61u/hvoutxQXoa4sU1Kx0+Ow1COSMco0&#10;5gtm4A5dzkbc18ZfED4aRa1o3x7tYLa3RdK8JsthenTUvLmSJ49Pt5SuRlsiJMoerRHKnGa9TLa8&#10;IYyM5rR9P0+Z5+a0Zyws6SdmrpPyva3yP5zvC3xA1a+sfE8nxEhu9a0rR9EN5ceJbWyh0/xbcxfa&#10;rQPEuoKjGUoGLDzg6goQVwSp/Qe28B+H/iP4V+Fvwoafw3qeieKvhkmofDvxx4xlgsfF/hvWbi8u&#10;UsoNXdApl06/zFaPcxKUhmjSVhHkIfCf+FQ6N4Y074mRWwtbjU76XS9NtJ9QtU0vSbnN3eTtG8Uu&#10;EGY7WUj7pYqNw4AXh/2i5vFngzxJ8Ftbt9QXQG8LfCq0t9NuxdSW0yOdd1yfIVU2CI7lUGUhWIcb&#10;sbFr6fDzVbEfWMMru+3lb9T4uvSlHDSwmLVlorra99/1POTZ+FPAmqeJ/Dur2HjDT/Efg3Wbvwz4&#10;psLG7XRbzw3qFncPDcwXNn+9ldEeO4AeORBKixuvyOM/pL+yx8bdR8EeJ/DupfDTxlrngC/v7tbW&#10;/wDFOhapcXtparOYVefUNHVUFzAFXEqksxiUqEkJAHi3xq+EfiH9r74M6t+2Z8CNLtf+F/fBrSLe&#10;P9rj4Z6AxGpfEvQbWDZafErRrGNcSy2cEBt9Yt4sOkVml0qyRrIIvgv4efFGWwvdO1OG+udKvFuE&#10;L3Fux+wWDllxFdxjIMUpeMrKnKns2FB9DE4RzVPF0/eg7Nd0+qdtbqx4WGqxdeWBxEeWrCy8pJ7T&#10;ino01rtpsf09+LvFXwv+KknxS+C37T1poGheMPEumXnhzSfjH8JbNdG8BeN7tgrWl1eWSRJayGZv&#10;K3Ca2gvYGLjJw7N89/sd+Ktc8Ofs6aFpWpX0Ouaj4X8Rah4A8SaDJftLqWjfYHHmTxWq/wAIt2hR&#10;XJO6SFlJAGV9W8SeGvFHxb+Dv7Onj34Z3nhnVPiD47/ZP8PePPHPw21TRBq+u+Lf7G17xR4M1W+0&#10;aOKItJLDbeGLS6kSFlndBLJEzSIQ3lf7Jsmg2vij46+EvE+kSf8ACO+LtfsPiBpp0PXIG1pmurG4&#10;8y50XUprWUrG7xMxzA5aNiki52O2OIweIp1bufNG7s1q02k2r7/eThMRQlSqRlDlnb3k9FLlfLfl&#10;tbbtYm+J3gbwfq0T6p4f1Kz17weway8U6RbRTWwtYr5B8t3ZqFubWQlhsu48oWC7g33q+HfHnw3s&#10;vD3h648TfDfxPd/ELQPCFpFfeMfBHjDSodJ8T+F0a3eK+aaEyMmqWkWEK6jaCF9i5eFSpY/QvxRX&#10;V/DPi7wxPeT/APCOa/fammgaB4+0srpdp4qtLi48j7NrMco8ktiQOYpsNhlK8HFfLXja80618SeJ&#10;tL1u2fSrt9V1PwxcSzCSXwvrckNzPBOytHIrQlgxDiBg22TOCxLkp1q14qe3pqvmcOIwnNB1aEmu&#10;yv0XR9H6eZ8O+KNM8PzG81XwhM2l6bNMtxc+EbzUWml0mSQbjJZOxyEH3doZj8q8gjNSeKZLj4we&#10;D472S5TTPjH4G00afpuvbvsrfETSEVlXTr+QEbrq3Q7YZG5kXCE/Ki19FeNvhX4C+Omgrq2jXuj+&#10;CPiJDaSWuoIif2b4Q8QXtqzRNKIgoNszlQv2m2Xy/nHmRkZavk7R2m8N6/c+CvGcX/CMa5bu9jp2&#10;rTqWsknUN5bTupZTG2ExIhKENnOMmvTjBRpwxeGlzS6r16M8xxdWcsHiYuLbvFrZ+cX5dup8y6D4&#10;f1C61lmu76Kwu0ZoY3uz5AilB+WOVuD5bHA3AfhxmvuD4NReIPEXi2DSRbSza5oAkJ0uLaLi5gSC&#10;RppWbgnbEszEKdx2Ad0r59+KHhW+sTZ+JbOW3uBfx7tRWFmC21yjnzo5Fx0bKuHUkMrqc9zT+F/j&#10;rUZvH3hC2kuhaHa2nPeeatveskREyRs/BYqVOAeWHy5IODGYUoYrCupOKa5XtutC8uqvDYj2Kk78&#10;yWvd7aeZ+o1swmWN18yWBcJKGTYC27kMD0xtJGeDx7VaVijoSuwhBuBUlQuQw4OM4OM+698ZrzLw&#10;x4jV9Y1Pw/cA22s2cgupYi5WG9hk2GOaHPXgktxkENx0r1dYtyLjJYsOEPmEk7i3OCf7gwe5/Cvy&#10;vEUVQleLu76eh99S2i0tX+DWg9UdS+XkdowTFHHGxChRnB2/7IKDIPX15q3ApO1nULgK4cDcswIL&#10;EjttGFI653c1BC2di+Yzptk2M5yFcxmQEnnAcxouR2q8QfMcRsViW42w+Y2Y8EjaDjOQe/J4b35w&#10;belt3c0aSjKbd3f7hY8rGuWfAAYALhiAQMdgMkZ69+9akG2Msyu6xkBTIpK7MnG7A5JG4jjB7+tU&#10;IQo2lwipEiAFZNwAzzk55IJ6n0ar8Mqs2VG8SAopdtoiyC2OuST93kYxjGecKLfIobef6GlKNv4m&#10;718i9CGERJ2JsHzO2GAGCcnB9z6/d61agLLLGHLM0ZVCvUjbg9M54wOP9vHrUKE5DF96gEuFyFx8&#10;oXIxjPzEY6emeKtLEWARWAUsI8oV+Q4IwSCG6g89BuPTuRvtbTuvxG7yqJrbTT7vwuXU2v5eA3+s&#10;KgCIM2FXaODgEkFiTk52YzzuDsNGsYKna8gQshG9VLKzLn0+91GSQBnsVjGWD5Yn/WK4BGMEHaD1&#10;5GB688YwKfEJZNseBOYQr7tvlySklMhs54XLArkjlhzxWcdVft/ViqjtK8Va6GDzjgq6tIBtUlBv&#10;4ywOe2APzY9qkuVRWI8ws8bOEYZdAefnXjgMAuAeuB+CM7o29UIYEojYZQQFAYsFHB5AwO79euB2&#10;GCqmXbCuxVKZCnaoBABxgcDdj0/GFKpKFg5/3bhNWd/+AQSuNz+WG3mbZIseWCAqGIwOmA3Q8Ade&#10;pFUpS8YV42VTKA0jyMFG75XA5/iJO3auSxUjvirnlM2xmkTO/Y7ZHocnr1JxkEDgn15gcFiqBcqS&#10;SCpKDODzxk5zt4PHrTva7h31Ii07pbdPLyKYd4/KJLqQAGiGMqUUbOAeSSuD2JY9etQyM+QqruZY&#10;dp35VFGwDawx1AZSCOo2sDmp84Kui4QcAZJz8wYcH5SCD6cjvUEiRpuVGQqqgKkbBd/JIDDnnG7j&#10;nAbrVKPupp6v/gCdNuPNFL/gaEUsOCflCbjhn8sEghQABg9Qytg9cHpxUG7D7ZI2WTaI1k2gI2Nw&#10;5YjJPtxjr6ZmdURCTtJY7/3kxVThiCCxGByQc5H3T6cKVAkPGyRH2OiAbsDKnPQ+vBpxuleerZUb&#10;qHs476fnqQGJgk22UNtm2soJkPLSENu5GAScZPIkAHAxUDsXXLAgEBjlsBmRictwMYyPqcnPpa2l&#10;QudgRThgrhEJHAwcHnrgHA4xUEglJQKD5TNnptYfdyOnOOnHUn81GTT8jJQvK78l/XoOZuCg3oYh&#10;hCsOSCwAQ8kYBB5JP9KlXaG3BpSkSGaY9FdmI2jGDxmMgcD7xJ46QeWu2DekQjWXCu8QZkz1xgZJ&#10;w7YOPQZ61ZQBpGjjJVgQqSOduNqgHgZ5ViRxngDjtVptWa+H+tRQhPndOWtiYSLKJDCEUCJvK5OC&#10;fuAnp0z09hzyKtqQzOWTbCzeYucgSONyqMgAbsNk9+ByM4qFVCiUqxEawrGoYbkc9A/X5mJI6YA3&#10;cAAAB8CiKdixIcw+WCpPmfNlchhg85PTA64qoxgr8v8AwTWNoVOaW+v9fqaMLoyzkgrE4WSRGJdy&#10;QQOCWOASqtkdMkYAAqzHIzHazCQbTKS6mVWYFchj0yQe/XafpVOJQGwDGyYSN1IKMh+cqeME43Z3&#10;ds1ajjZAjx5WLYrIrRhhgIOSPqXzn1GOtZ022/7pEasot8u+v3aF6NlAb5WVY2W5Jz5WxcFSAOQB&#10;tJbOOduOM5GgjgblmUIocKux8NkHbvUryMH5hj2PWs1fkRUDFmyzMAdsRXK4I4GGKmTj3HYEGQEy&#10;5H+qY4+XywxIICnAIwR82cGojCcU9N/6RqpunFzite/TXv8AmWThUjJ2TOhz5IYJE7Fn3LjBGFAB&#10;wM54pznZI5RZE2vulDMUG0gcAemV6dcY54GT5NynAwfkfbg43sjb2PUYwpI9zgHnLI8PCZZCeDlV&#10;IZncYU/LgdM5UqfT1Axom5QjzNf8DQKqg5u9lK/+QkrKAB1VtqNt3GRxgtlx6jn14pzygqxzGijo&#10;7D91Gy5UEg8dCw4OcAjHTcm11R3dgAUMa7WDBTtIViOu0YU7c89OKeNgXJAZQPmzwA25Tzn2Y8/7&#10;JHNJKN3prYilu1N6Wtr6f5iEMXxmSNYt8ZVgByAQwXnB5GT7r7io2YhWkcHdGxJw6gHaMjA5Jzg4&#10;x15HORQ6BzvkPm7WJUJHk7QBwMgY459cn6U3yyHZR93zS27azeYT0xwRg4wBjsOKpOctlZIdOXJZ&#10;rrdfeORsLGZChQSeUzOAyhTjByOM4UnnjAUjnoqSFygkYBDKxK7SuCQi/iM8gEYxzwTTSxEoUfu2&#10;IG7EgDhSxAOABjoegxngkUwqrHAAIXa0gA3bjgYXkZ+9jgHPOMnJBa5pU3pZbhpL3V/W5KzLvG1V&#10;DnjEhYrGMDBAP+8R7ZNRqwVzHKr7ZNkm3aQRtIwCMAADaeuSOPeng4dSu1yzEg9QPlIXnPAOSeOp&#10;U+hpEb5xI20NzuY8om08qcYJHbgZyynnkhaQi1fXT8SdrWWtyPIEahioMkjMo287dzAHIPPAAOMd&#10;/enFo1B2hywf7u75o1YhQT0I6n079BULsVVDKQ7yDb5hITcxwcswIXP+6O1V33MHiIVEB/d+Z8rt&#10;tIKDJxgDC84PX6U2lZNPQqM4wqJJa9HYtI+WkICMzbNvzAE8/Nx3xjA5I5PNV/NKAYIjVVeMrjA+&#10;YsoOwjJBwRycZHXpUJuDJIrRhAD+82ldu9s8k5x0JYHr39OalzK+EkVBDvYvgO5CByFUtycAPtGO&#10;GO8Y9RKipSSlv+goSjBtrSztZ/15fiTK5LBosK7RErJIoyoHJwcAEAEnkEZ+lU/tiRgokrJKY2iJ&#10;bkkB1JIOT94RR5bqShPGOI3kJhEy5ZwpUBTnLHBGT3+65AzxuHTJqlLKu4vKwBEBVjsUR/JkY28E&#10;ZO7rk5K5GMFaS97Tbt1CV4q0ZLvclkuXSQ7cogdiMP0yGKqR14GAM4xjknnNORmwvyIjZ84OpKx5&#10;wpPXnGMnrnjHJPETXDdCxtSx8siaIh0wQCGXAwxAbggdRmqc9zJJIoDGVN+MqhJOSG3AnpyMder4&#10;pxg3dtamc1B+89v+GBpA5bG6MJwxGd4PofY4U4PcHr1pryozCVn/AHWAGfcTt2Bgu3nnB4IHtnoK&#10;hYykqXVYvMhK8MJFbDlAAODnncMjkZJ6jMTEu3zBdssrupYsFJ25ReOck5HHTGc9TSuk/dWvRfIJ&#10;NqDjJ3/P0I3aJi5jH3mXKl+GwrBCpA+6N7D/AHsdqpyuyHemcMTt+XJz8pIHGOCOc9j0FWGKRQvJ&#10;8kyMQ25ztcgkHJ5x2zxxVV/MdVCyBWC8+Vgl+AQxz/TjnpXVGblBdnsZTs58uu35/wBfgTbIW+aQ&#10;xK7HJURGTA7c5HbFFV/MCkgk5yTldxByc5zg+tFT7Ot/Vh89fpE9rcxMqkIoCqyQM67SQXKhCecc&#10;s5CjrjHGc0NtZizbCColDBMlsKXbC9ASWLHrn605wI5TGgJjKFol2kA4AOAT0OGGe3PvT3SQD5VU&#10;h2Eg4xtHQA+/OCOAcg9hjzlfl5la1tzacbTaa2Ii+ScyAkqQFBJ8tQR1wSDjcT9SPbDXRfNIDIw3&#10;B8KNwJU4GQOOSRz6H1pFwr7FKlIjgpg7lBxgDPXOf0+tOZHDRYbKSTK2xyNxXd1D85AH16e/BKfM&#10;027f0l+QR9okmtddRSxQtFGyq6AOVkGTkBDGQQQcfIqgHuo6Dq4s6IQqKQpAeNTtJyyqRjPIUc44&#10;6cc4pSjb4neVHaRQnyp5RwCGZtxON2ABnGBzjrURLrGpTEZOJA53FnUgHfyPUnG7r17Gk+Tmv1Kl&#10;eTdnpp+DF+RgmUUzDPLncHwSQDzyATn88daaJGeaJgy7oQUMcQCqVcDALe43ZGACHHpy9pFYuyEB&#10;YkKiQxlj8xPQd/c+mc8U4IY2cuQSEG5kjBdwUCEkAgcZHGTjaBnpST91ra5UZcnup79uxCxZH2My&#10;lo2xE2OByX4PQ58luTkZPbIzNtLEDJBJwwY7pYiwALAk9Pm+hwODjARi25ZGLBYz5pdcFoWG0ht2&#10;B/tDgZ+7zxQ8YUMpfIBAZTCAkQxJuBHpl8HjAIHXNN2i4qV2TJtQ93bQTzN7vJCAIy+d6hmABVWI&#10;9cAgrzn3600KTGd25lRv+uisSxZiSCDnG4Ek9TjpxU42+YDk7XX5xkbhuAXOPoBz16jp1iViquue&#10;FV1KptZyxIYkn1BX34Y8ZqptOK0NaXuyTqO3QlfLrggMjttGfmZxjb68EYHXIwPyBgpKVkKOARvD&#10;FtnIU8gA5DMo55pvyhmYMN7glgYxEmQq5BJ6cgD078DJqWNFXYQXAZwwYJsbHJDHHb5Qfq56ZNQp&#10;Oyp/10FGr9lxv39b2GgZaNMyhSpaOJ2DbCTuz+GD19akmjYr5hVyCT+73gnIySMdQNrJ+LZpdyyB&#10;wJGeQrgbCT5a5J59RjKn6/hQBEsZXGExh1GC427Rnp/sDn/JalK/vIUbuThJ6O/3aC/vnkjWRVkV&#10;T/GuwZyTuK8+gyCe+eOhd5ZSJFZwfJAQNuAZlVSC36tyOg3ZxnlijezSNlAfvKcAfKRyFxj19unT&#10;mns5dUUkL5ibCf8Alnk42nGP/rZ7DPEyTco8vUmKl7sP60sSlAoRmw0m7c4VsqmQAcA5wQAOufuj&#10;ntULKVRlw0ix5LLI6724LRgM2ARgbTj0J4wQXrH+7RyTvOIQCw3An0OMkZXBOR90c051SSIIgbA2&#10;guFVFbI4PYYAbHHr26U4ON1b7zR8zi35f8EdArBmBLMJEAX58kEjAPseATycEnnoKdGTvMARmXdk&#10;4Zgw6nHuD6A4yc9cimh/MMm4lk2hFdVyp4zyMZ/iwc/3aSMRoHQBdmNrh1EUnJHLdCM5k7cHHvSl&#10;eblUk9dEiIu0lGGz1/r72KhjDNvT5UVVXGSQcEEEd+oHPHckDoiPsUBNzFiSkYbDAg5yRn/PHHU0&#10;9VGVLNtJclYmTAA4Qc+nIIOf/rxhI1CneMuPlYnzCWQlQD35DZz3yvcGkrJOS+7yHBy5Vzff81b8&#10;hqqokZgBEEIG1grN99mOWHPIYDtnapx6vDclJWxtYoHBXa65OCBzxgjHOMLT3dHJjORhwpCg5bYC&#10;2SykYGVUkZw3QgDgwoAQ2SGDn958vlkjGdp+g46+tL2kk7R+X6mqVKNROLuhS5ChiRuYoJAMhcFW&#10;IJ7Z/QZ7ZwYJXRWZkARTKGIL7uhZlXPQlQzYzx1BGOKViXYGQsiO2Ao+Zs7gFJwM9SPbg1FI5TzM&#10;uSfMIBDbTGfMfBzjrtCE46EHnmnSjGUrN2X/AARufNFrohh2bMhwFcFFXO0ucg7v/QvToePWCSRm&#10;jdowVcksBk7GK5PbgADaPQZ64HLpnKRzeWgDNDuEbtukZguxhu4+Xf8ANgHJHG4ZNQtGRLKY5CzS&#10;TbIQzCQyYfaW2YydwQDnAOeB1IbSTstVcl1HJcsOiRh6/qltpmj6nqdy7iOztptQYOA65jRmQMD0&#10;UssYPGPmbOeM/lL4j8Wmz+GmjQpI73/xX8WXfxD8Q3BGJf7LhuZPLyeuJI1Axx1A65FfeH7TXiCT&#10;w58HvGF3CUW61OzGiac7BXlWS9bygyjHBCBiMdenB6/Dvhfwzb+K9csjKsj6Zpeo6H8L9FtS6+U9&#10;tpdtFc6tKrc7Q0jquQOOhztr6nIMPGVKpiqnwpxX3a2/8CcH6I8PO61SlTo0aV/aNTfo2uVP5Rc7&#10;fI8A/aCe7tPHulQyBGu7nQLW+1E7RmR7keew28qAu4IAB90D1Ofmjx5d3s2s3gulWC5GWuYkXYsJ&#10;BPyY7Y9OwxXv37UPiOL/AIWt4subOeOcJdJYWZhK5gW1hjgQHaSNw8nsSOBXyLdXNzfTNK8ryyyP&#10;umkkYkueckn3zX67w1Q9rl2GxE1b3b/e7pfJWPyXiWv7HMK+Ed2/d/BJP53WnzJIwos45pnw28yo&#10;P7wPAHHXvWcgNzOIoVwMkLyM475P0zVnUZCZY4Ff7irGqqBkcDI/nzWjp0C20EbP8011komPmACk&#10;HH1OBX1MWv4n3I+USjNqg9+/pY1dOs4Ip1RIxPPNFgIvzRW/cux/vHHbjkV1Menxxyi8uZWW2tUA&#10;i2nM0pxwFGeOp+Y1hWi/YlQKh+1XDY3htxT0B598n6VPqss0IgsWkEjvieadecZGFBbrxjoa5qk5&#10;8zUH3/4JvQpwpw5norfg7fqWYLtr6aWNWeGPYRk8lM8HJ4zxXbeJJlNvpkUdrPaIPD8EsjTYUyKW&#10;dlwTycg8++fSuV0mCJLRJH2RxxAzMePOkPbe2chTg/hnHetLX9W+22emyFx50Fm9m0anCKPNeTOB&#10;x0mGMdBgAVyu1lBLW/8AwDpppSiqyfR/o/0OXnNraxtMzhpSWMMEfAQtzkk8kjPT2qxaRpaxf2pq&#10;bmR0Ba2tC2HJPG49h1HXtVORIIFtZJ0NxMoEkNuegPQbsjIGMfn1oSS3jkN5qe66QMrSwCTY9yAQ&#10;dgODhc8cdq6ORJXe/wDW3mYwUpvVenrf8tjpIley0ubU9UAim1BgbWJiVFlB1MiKeCzgAKR0Bbpk&#10;Vk/a4JbC4nhjMMMFq8UYZtpbcSucZ/HP5965nU9eu9ZunublzKxTy4IUXENsqgBFC9BgAADoMVv6&#10;dY/adFlM0jRgXMYbdzlFDP1x67fzNc9eElDnnpdr7jWhV5pxpPXfXu1/np9xZ8MaBLcGG9lwY8NI&#10;sQBeaQKCwcDHIZhtHOTngEV3NpplvfXcUd1qCaZayZuNgi+1XLgEg7Y1O1X3AZ8xhwe/bNstQvJN&#10;MNpBGtvC842tHGBdNCihUTf12ggfKPl68EnNbOjQ3L3MVpaW/mAFZLqZ02mM5O5w3qOMemAfpjVn&#10;KcnO2q2Xbqd1H3KaTl7z3t56HaW+uW+n2h8LaPbNqjLqQ1dNQ1CVY2s5Gt0jdhHGcKGVRlN2AUUk&#10;bjhXTeIfs1vPa2E0ETSgrLNZxCIXDAqzpGQueDgFs44wO+7AvrWLTDPZabL5jTswvr7y8zEkljCp&#10;yR03FjxgNgd65+1tru5lk8iRdsS+S0sIzbxhSCdpHGQARx6/jXlqmp3qSemjPaf7nlSjbRpen+Z2&#10;7Xt5NApuJ2USsyxopICqqrnI7ngZbphuoOAcy5uhaWsiKtvaxOwY3kxSa7m3DDBI2IVc884J44Bz&#10;WPqGuWmh+XCl1DPeJGQ7D/SnG4YG7navykELgYyc88DzK/16e6d1hiZiMlpJcknPTBzgfh7V1Rw9&#10;5PlWnX8znq4mFOEYt/5/1qdRdapotoxnvFnuH37x5jeYWC5BUnO7Jxn7qjnHYE5L+MreAGHSdKiW&#10;KQebMt5vaMuGLBlVWXG3sG3e+481xIkuHdo18syM24gRhnyT39PrWjBbx7ZEmkEjjChUQYjOOQcd&#10;e1eg6EI6ybujzHXaSUUrdG9WdBD4vvpS01xp+iXGxhIiyaXFJGG5G07gfc+315re0zxzGJUkufA3&#10;gfWVaUuYtT0e4iiftt3WlxBKO/Ifv1Fc/peiXl/FcC2tgsMJVpHnYQW8WCeXlYgAn0J712+l6D4f&#10;tys9/fSXkYkxIdKfybeXHZJ5Btzwf4WGSOaxrOnTjeXY9DCKvVkorW+50+m6v8I9YEi+IPhPqfhs&#10;u+7+0/hv48vbZICCgDNp+qi+jkA+Y7EmtySf9ZxXPX2jW897NH4Wvr/VLYt5Nkk+mDS9WIIAXzIE&#10;eQFiP7jtz0rfi8R6LpJih0vwr4fEyuWW91iF9fu0Xd8n7udzakjAyfs/OPxrZ07xT4kudWto49Zv&#10;dLgupgs0GiKuhwtESAQIbYRqwGD94Ecdq8urW5pLV6bXPocPg4KneSS1Wz7lebwtrtnY6PYT6ZdR&#10;JcyeZ9ou7Z4oHmlVGJDMACUR4gw57nvgeu6R4P8Ah14Ssi/iuTxD4z1S6hZv7P8ADniKz8H6AuN4&#10;t/Nv5Irm+mhMqxOYYbe2Miqy/aIyAx8Zupp9UvrnUbiedjO7soaYuYxyQqnpjoO3BzXRRR4W3Mj3&#10;AMVlBKjBTLt3KQeemQV/MZ6V51WvNQlJdXdvr6Hv4fBU6soRqXaWyTtt3+Z79F+0J8TdB0rVPCPw&#10;3/4Q74N+FtWs/wCzNb074ReErfwzr/im1YzEwax4mZZtev0YXEgdJr7ypFbY0RVUVfLrRGIiFw7I&#10;EG6TfuaVt2SC2eSc9Tknk9az7KJZSs32nyvnDK0h2gZI47+/TvjpzWxHbSjzX+9DGdgmG4GQYUDJ&#10;zgcDP4nOeleNiq3tFepq9kz63A4SFGHJTVr6v1NeCaFAREFVEDZBPLH0H1BHWq4nS/vIYtvlwxz7&#10;55I+VAA4X+7wRkD3z61ZR4pIihTHlMfK8mMuzfLhUJySc7QMnn5iT73NMtGUIEjQS3JMZZlBG5yc&#10;Ke3Rhg+1cM2nDmep7sFGlalJe9ffytt95uA205WYs0LpGG8qMlgUY4GGI75578n3ro9AEhLJbKXl&#10;2tAHVwC4YbSueDkgkEjnjtnNYel2iRAyzwNcBY2RY5VBWEoSw+UD5uNo9MqeOTXoOkxQLL5ql9+7&#10;eMTAJg45C8AKAMccfjzXmYirGEVfZ/1+J6eCoOo+S27Wv3G5Z6RcW8CxrHE7+cQ0jbRFgMDhupPR&#10;TxnmvR9FS4N5DILSOZid5gVS5wxBIKr16EewyTjGa4vSwNQuN0XnLGyb8SOQ2QMjCZ+bBHX0+pFe&#10;t+F9HKTb5C1vu/1k7KMuxBI3MeMEHbkdh07V4latJSbW9r/jqfWUcLCmm47p/j0+5nQW+nLJEqBX&#10;iKzMGiiJZUkbHzDIxg8jjLYU8jOa6/TtLeYW9lHHJuhcPutQzICWADkgEKM4BZsDBHvW1ZkW0aRy&#10;wxMY1V7iK0MYnn+QkhXVTtJ3Ywc/MOR1A2fD2nMlwJFDW73TxlbSWZZ2cKAGwcc/NuOQBkHngA15&#10;sppy5pN3/U9DD0E6XtZLVflfc2LHTwEhZowu+Pdv+5IhJySOCDnAOcDHPbmvQrSylkNpabWFrJHH&#10;cyrG4DgEfKpGCMkAnPIwMnG5Q1ERR2W1CW8mFVhh8uPcrNlV2KQc7uNpAwPm3dsHtNLs5WQpDnzP&#10;ISeaQAKVUKFwVAzkABcHsAOc1y1K8XVuo3uzepRVW0LdPuM+DRBDeSQm12/aCJY/scJaOMAFdq4H&#10;v9056D0r0DQo7fRVvYYEkRmtn0iAwSI2z7S3kytuXIYeSbiLKkg+dwSKnOnyxGKaBzJHKiCZNv8A&#10;qwqfOOfRmA3Drg8dCN3SNLmvLVoswCFrz5Q3zozPhWyAD1+bjvt64NQ6jcW4uz1/yNlSdWCdRaaf&#10;huejGHWL3wBHr18ks8N3qcfg+2vjblY4haQRSrDNIRtJKKpjOcstvKDyu5uZ03T7W3jQpIBeSnNw&#10;u7cqDcc7QDjoOMcdDX074J0Fdb8Pah8KEK3DeJNHkv8ARYdoSW313TJEu7KVPRpY21CzK/xCQAZB&#10;xXzncaDMLx2jaU3G/aybPvyMOCCcccE4+vpWeYQcXGrSd7rlbfdWT+/c5cmVOtVq4eWi5m15xei/&#10;Jr5HUaXKYtR8q2kZx9kLTz3G1diYI3Egf3d3A9OCcCjTbG1S2uLoKziWeQiVpdzB8uTls5A4yRnH&#10;HSrtjpN0gsxb8yW4Z5Bs3uc4PzKeCQF447mu+ttNN1aJpqxxW9pcMqsIow00wZT5hBIOAd+1gDyD&#10;joStcKlKEVGer1SPpIxp01Hkeml/kYumiHzbJEuHcSkqyBd/lA479WY7jxnt19fQjZ28tuskUZmd&#10;mBcJtTJbAOAcY4YjA5H51nf8IoIZBDbJNaeQAI5g2JG6HrwQSScMMD24FdHaWIjlmQ3S4tQBbwhy&#10;292VSxdjjJByMgHO0HpWtFTpPneq1+5JGdaNKq4zg3df1+ppadpElrPc2R32epOkbukce6QROyyq&#10;UOMAKrrgtyRg4POJdUjAt5IfKnRSGUuQHk3AYwCOmWRec1BAl3BdveGaY3d5GLdvMdl2RxqSm1ux&#10;yCc+pHPGK7VZLc6ekd2hhkaVJI325+0MFbGBnk4LHcf7p7ZzVOakkqmvXTy6HLUpKi489m+/5v8A&#10;yOAnj32c+nGS6m+0FFWPzCu4jIYPg/NnJ7noMY5qlFpAtFskso5bZHnMCR7lYKcnJOQMgnP+RXob&#10;adKkEV0bFPthdpvMjKtI4BZfmC9MgHgkHgEZHNUW06ed7Ce/xFbpN53BIazRJdyq5HzDcUOTxn15&#10;ojNp27pW8jD2sVyxp7X/AK/Q4u6ttPUyrp8c19qLRNDLIY8yhxlUG4Hk7QrY4wuBjnIw4dGuLDWr&#10;LTZon+0XFqL2aNkCm2Lpna4JDBjubIPTac4PB9T0Py4rqaW20/z5Z7ncsAUL5ShjtZh0BYlc5xnb&#10;jPpu6hot1ZyTatc29rLeG3keKEWyzRJvBiRCWGHk+cEAj7oIyAoFX78kp6tpu/a3l8zqoupQrODW&#10;jWl97vv5I85TwvarZpqd15j7nNgis6B2k3ZCtjqdpyDgbucdwMDxJotkLeHStI2+e8bXN5K7iPYF&#10;yzIuQDncnOOufz9hsvD80lppAYPLcQyiby3YSG1DFmHmZ43fMnfjdjPpJb+HUubzUxLBC9qbhksL&#10;l/kWRUI3yDIDEYJX5vU8DnLc+SVpbOy8/P8AEqnNwn7Ry1Wv42R8/aFpaNM9rcQpOfs7oh2ktHv2&#10;ZOSMclFJzj7p5FdovhmcQWmnzHzkSJrqYRqGS5g2qyqH6nYN4bPQMD2r1600XSFkuLi3gG6UmOEE&#10;q4ig3Mw34A6naRwMjBxzWY2kHVdTe2sBOtpA0i28wjIfZtUSP0GA5JXbkghue9TF2prk1ben6nWq&#10;nt6nPa1tTybRfDsxjvXtZ4bk6fOjzQTYgia0aOVLcpn5kx8yn5SCI1+UHGOg0HR5ZZIdWjsLiCF7&#10;wwRxDFtNKwyVG/P3TjjHUKpwDkV6bpPh2MX6RXCm22Srb3cjKQLm3kbYh6ZADKjcclS3POB6Nd6T&#10;FbX6TwW0On6cypDZwQOCoVEjWR2zliWYvIW4PJwQABWVVxVFSad1p+TOepUcq0oNXuuvy/Mzbn4e&#10;6Prn2LUbvTIXvJrdZppjGj3izeXCtyiyMrNtZlyAcggruUnJrkrrwRYaFNFBpvhmCK2DNJNNolj5&#10;VuxfiV5LPbhmLglnjA3nJAJJJ+g9N8myhFndExNc3ZsrSaUbJDIihyU6HOMgg9AeV4zXZweD0OpS&#10;Q3AihjGVuL68uGSG2YlmbzOu0bi3OD9OKqXPWinF6tq68zxKVH6vNVJrXW3mjy3wjbNLok11DHDN&#10;PCIoYlhVFlRCMFjCBui3YQc4yWPIAr1nSdB026ksTcWFg0qS/vZ7omOS0faS+2VeVJbOe/PTtUdn&#10;4W8O6lcW10mnyT3AgZGv4IRbzrtcAKsoYOMjBBXGcAkYwa7vT9BSyuI7jSPE17bXhniYWd4kOtwl&#10;mlkJAdw0jkkP8zOOHXGetOFRyUVzJKyX3Wf3k1sNT5Zc0Lt3fp/wDd0iwuBYmWdRfq8pWSO4uTYu&#10;23BVFdVbOQu0Bh8oRuRgV1NnFDqcGLvTbhrtJUhhgMIIkDMMRRSMNmDuCkrjHUgYJqpa2czTwwyl&#10;pVaNXOqWMX2CKNgB8n2UtIR99VGHPCE4AbaNrQopDLbnUr6S6vLRWVIJgY7ZWkzufaTsyAqgAj+P&#10;qDkVVVtTim/c/wCGOSVOCpSqw+Jeu3/D79izpegwaa1u01l5epSES3V5FcoRKxwQqgExlEHmbFHr&#10;/eLGup1i4vrn7PYR2kMpVHAvWjLXlyTkx7kUbDtPCgDHJwB1rbXTrNLGK7uLRY0EDSwR2Z3XHmIo&#10;2RlAcBCSoOOeG4NW9Ngnu/LndIIwG8uG1UlrgZMhRmOMKcxg8ncVJwMbwO/D0ZQ91LSVn6LTT/I+&#10;fnjqSaxLinyXWu3N5au/psvuKnh+zmttOK3cl2NRlhVYYZAscAC5ikZ3K7sMxC88Ajqc8bzTmS6l&#10;uLy+uNWeV4zJf3WoiW4JZCAEMgLOE2IOhAxjPFbcUdwtmrXyyxQOgsLeEHyYLzY6SmH5PvICFc5z&#10;82wk5Ymsextl8lZpdDsgYGhZL3zTcTWawNmWONycF5GQkqchQ5AB/h9CphlyxjDZK+t+muu669fw&#10;PBnioYmpVxFRK97aONtWtE24vS2qV9b3u7Iuy3l0lvJb2trp8cQlJN0UeTUpQ6/MuW+Xau0DG0Zy&#10;3JBOarMH0+O7hjaGcXG2O2gQSTzJN8j7VOBkRtL0AHrWzLHJd28M0ybJJ03wqrLECkaSSSlnON5A&#10;UKB3LNjORUz2TOqLFqRtpbu0kuAfKhnn2FckFeibh03dVcEK2QDKw1V83M21ZJfPb0ex50cRSpJa&#10;JO+u7vbe9k7rdPTSzscxNFctdRNJCsdsv7xIltxMHdiodnIGThE6E9kGelW9Ra5trOO7e386OZJo&#10;I4LSPyUWItwvKEdn+bJGVxgEnFuW0MVy62k8kv2Uz2MUtzHuaJZAP3iptwcghFfHBTjAFULWCa3N&#10;y2o3NwsjQI0cgVp0QggAHBALEk4LHjcce/SlKnFwa369v6tY61UhNQno1G3u2d3fT1XRt7/gX7Oe&#10;M21u1/MbGJ7Np94UTSKrZLq20c9Bwck+vQCW9TSxBa3Fh4fa5vYyHbVLySCJVQLsZRGUByTtPytw&#10;CTgZxUMtzPBHezW9tBONOXMJvQZVgjZVYTyRgAHY8uBuyCSpK4IpsNwqxHdbx3EFkMyhlY287F2Z&#10;wW6DBPbHqORk6OTjH2Klq1vbXfz9OiOf2cub28b7/CpWWq2dmn1WkpW11WhmFGa7eaZ4rZ5pDPLt&#10;Vi8zsFjYAYyeMHqOpIFXNXVJbqOC31bRLqFlZVFlZlUUKNhdyxZ/myx+Y8lcnbjiD7UZ5oVlghh+&#10;03EhgEWFAyd7KRnLhcKBuzjJxjca0R9oiubW2d4EUq12lxcBYBCm35HORuIOAUBAyc4HXGNONqcq&#10;fSVtfP7zpk5wqQm7Jxi9NGrW3Ts9rd11WpztyUt7h4o7gTJPMWMsNuV524PGc8ZIHQHbxjJxuaa1&#10;miRQpvlvI/3l5KbfbtZshCMEknAQkdgcDjBMiGz2QrDqkF6A4k2LaRKjSAvwXYh12M3O/II7AYqz&#10;FHBEJQqWlz+6VPOms5mYyMVbfBIF2kcYzu6hqjC0GpOd1b+ttSK9dTpcjUr+jV+l2nFW9Nr+jRFK&#10;l7czlorZYFhQW6pBIbiLzWxsLMecjpgYC7iM8VhTWUNremw0+2sJru6m+zalMizTTyRr/rNrh9o4&#10;VY1wpI85yCOSb8k9vbXTRXSpNHcKzCKRGtw7BRiMRFmVd+VLcHPPcEVOI7GLTbqeDw1NNDqV5DYw&#10;3c935VjFHZhknjUhR/rHWciIbSoiQAkfLVShGrF80UrXb6u3ZWTtd2Vx05VKCVk+V2StZJvTdymr&#10;8vvSs97dyxLZ3OHNxppg+RbjybKDdLbRn7gjQsMr8q9DgjPtV+wtryXbZnQGlIh3yh7doXgDDKlo&#10;lIYBgQMjJIA68VEmm6ZdGRNO0fU7OWV1nupZdTjS0j2qYsjzGOwAc4LZZjgL0rQsLSayjeQa7rtt&#10;PPA88Qt3xaSgM0SusyyHc4IYjcqghMDH3qulgnOsp291Xbs+i9Ur9Oh5tfERdFxTSlpZNO6dv7kp&#10;Ndd30u+pkSte2dxEZILJYsulqBcSW7PncpDbclNyu+4spyAQCdpFMvZPDiWTm6sLaxvY3KSTQXMl&#10;1cOWic5ScARlSRjaVySSCygAlGF7JK+oXOravcKG82W/C7rlEjcqHljyQXCn7rFevFXTpGoQWtze&#10;2cbX+LSW5jttd0SN3u8hQWRcsrquS3OQPLPABOdKdPEThJpaLuk9O/zNuajTcHUqcstvdlOKb7Xa&#10;atrrdX66Ix21m/NvbWkHiG7uIpZUmubG8MksI4VgX3MxYsSeF/iGecCtG+mubmx8uK5g1C2k2vJD&#10;cQoYLIIcg2sz/OpYyfMqhThehANa0egyXdp51lHpLajvjJ027uI9Msr0RDaVhJiaIMQNqodm0s2f&#10;umsi68Nw2BmjuoJobd7tEvVtbhJRp4eRN8yY5kRWyXKgZycezlhcTTw3tKjvCWl7vR/e/miYYnLq&#10;lVRg0pp3taLbemtlyu6+zJb2te+jwFvLuJpPNtLhrSJwtvOkkk0ds7EptDbg0WQZcBeMt2xxVuLy&#10;GCKHUY7B2s4LlmvLG+dXnCggSBLnHG4MxBZeNwGTzu6G78KzRrFd2WtWWradJMcarDcb7ZGAYnzy&#10;C8iDIHXOScc81lWwgtr82V5qMmgXGfM09bq1TVLN3aNFbfLgBlwwcblYASYAG4k+c6delUUcS7Re&#10;zurX732t2V7P8vVo18HVTq4d81tWlz3stGnFJyTvu1G8d9NnybSQSS3F9oj3GnmfdG2nmK3uLaaF&#10;0dmWdGUo2zaAGQKMjO0dK5cWslxFM6PI0SXLSTLbIGh07cxyABwnOQFOBzkdRXqF5aT2ltGsbW2o&#10;QRvHPHNG6TRxF1JKTBfnQuE2sjZ2+WeRmsi2XTGldtPt7aO3IEepabHdm2aYIdzBuSzPu4DEEAkE&#10;jqBxVMNKbVGrJa3tutXvbpZdbHuYTMY06cqlGN1pro9F0k3Z3ttfrdPR6+cS2/lXUN5IXeUGRRNA&#10;uxrxWY/fXGBjYxBxxj8RvWJ+0zoy3Ll7YiJ5JwkUyF8syZ5UhWAwzdc5wM4q/cxwW1zJfaDqjWix&#10;Xojkshdpc69pmUJWWSNUUNGf3i+YgHzIw281nW+niMFpb6CaOVT/AKRGvlxMrFcOy4zgg4HHGTxk&#10;8eNLDOlV0tZN37Pzvv8Af/mexLExxFFSk7aWWjuu6atbS+lpa30VrHTWOmfaLwwSzwLNIjEG5Kwx&#10;lVUt1Py5IB29M/Lg8g1lajbSWflhreTOSMqpPGcqR3xgDuR6dgC0DzSbJkLJ5eLS5Xc0bgqDhs8Z&#10;B/nkcc1tL9ojCw3DGVCRH54HFuOeCcc84yOvIr0KMHOFmrJ9fu3+Z5TnUoV1Jy5lZabfc1+T1+Zz&#10;0M0UQkdWeOTzS0sCrsjPQllbPJ5xj0H4V5P+0fqmpT/BHxb4W8Ozvb+MvidFb/B/wCFm8qWLVPFd&#10;1DokDK2RgRLezXDHoqwSMcAFh7N5MMc0sMt0Ldy5IuVG7hgELkDk9Tle+B64HgU0Mnj/APaE8K6V&#10;NZzXPg/4A6XcfEHUb0w4gufFGvW9xpXh2Ec8fY9PXV747gMPfWx5IRjdKTjL2ctno/Tr+H6HRLlk&#10;niUneHvetl7q6XTlaO97Ozses6FrmgfCz4deJLuRktNA+EmlatdRW/lKsNtZ+HdHjSzCFTjBj06M&#10;sM5DS5HoPgD4SfBjWfh5+zF8Cb9Yv+Lk+IdBj+Ier3EjtDp//CbaxcS+I5ILlSeE1m01ufSppMrm&#10;W3smHzhWT379ou1vNa+FN78NtJuwmsftCfGPT/hBAkA/ff2Xqms7vEtyoByv2fQdI12Yg9kbGcCv&#10;qDULfSPElj4i8JX1nDHo2pTrYxxRP5CaYstpZrbyWzjlDbNHDJGQRtaBfQ1tCq5uUpNe9ZJ9dXd+&#10;mijr5+hyVaLoXq0Ltt80ltpHRdr3lUnp3irnwF+zbb2vjn9l74Z6rfTLLLb3WoWt3DdRCO+0+Fr6&#10;9tpLe5h/glEilpIxkJIrAMTuFfO+veFE0/xv8b/DsMcV5by6fpPhGOz80CNpL25uLqBty5G4R2kq&#10;7hxtIG7kCvRf2CtSv9I8MeE/Cer6zqfibTviHf8AiVEvtYsktXs9Y/4SXxBM1uzKFV4ryNRdQsvD&#10;NcSoCwhY17g/w9t9X8U/tNa9bQ3BuNO+Jun6Vp7+cHcnQvD2nTTtgEABLjVp1IxndKcnIIPbgZyq&#10;04tbxt8/d0t96+ZecL2eIqRWvMm/T30np8n8tT+Vz9pX4R6vLrsnh/RLa4calf3viNpfs0moWdzB&#10;YGGxsGuHDIp3y32pw5ibhraTCjca+aPjj8K/Fp8daP4d0/VZHOieGLXwRa6FfQ+dY6nFpcFmbiyi&#10;mlBLxNfHVSuCGEk7DOQ2f6GvHHwa/tuOSW41BZLqz02z1vwxDeS+dBBE7XeovBEA+wi4jZpCHRsP&#10;HD/fYD8ifi/ba9ZeJ7zxhYO2n6SZYZdQ+H/iaSbVtOkWKZw8j3YZZbeYs8kssoJ5nbD9h9NlePmp&#10;XS1SXz7r5dNj5LN8FGpeLbs3d/l/w54b+yd4m8cfBG81T4xfBvxDqehaV4Ney17xvoF/FHNfeBLi&#10;0vgk0Wt277ftmgX0M97bvMseYxLskU5BPRft5/skfDnT7rS/2uf2bIZR8BfjbM95rHhSOKOX/hS/&#10;jGT/AEzxD4PvAoAa13TrfaVOQFktrh4QWNqc+ieC7rwvqXiaDxj4EtvD/wAJvioNGl0CDwl4pczf&#10;Cj4wwyjOo6ML1lIuftyBwkd0rYdhGZT5Yx9nfs4yeDND0j4g2N54Z8S65+w78VLe3+EH7TXwlKWw&#10;8c/BXVdQgnvNHvNJJeS4DaNqMe7S9RkCMyxPDIyNHGT9XhsRBycua0ZfEuq7SXp9pdUz4LGYOso+&#10;1mvfp25LbNO14N9npyvpJWejPzA0P4s6/wCFbX4A+GJPFOveFtR+GvwM0fTND8Q6FezWWseFJtQ1&#10;vxJ4rtLq0lQhlVBr0MwVfu79pXgY+7vhL+0H4i+Nn7WnhfX4/hN4N1f4map8MNS0n432XhuW28MQ&#10;/Gq20q5tdeutf01pAkFhrNxa2O03dkxe6eR9sbTTSLN8fftt/s5eKPgV8fte0m91XTPEugzafZa3&#10;8MPGeiMJfCvxO8GC1t7bRdX0hgcGF7W2gSaEZNtcLcR5dVWaTxbwD4j8b6D49+H/AIg8JWP9unRG&#10;1PU9BtIb9rHVlitrNb2e2iuMj95HHau8O1cFkYbWBOOKrKrhcfKrTbu3fyb6fLsb4T2eZYC1SOye&#10;rWqv0a38mvI/pU8dfDL4G/E6eHxd4J1NPFHh23SO/wDEek+IIEsPFng6eCaKe20/xFpUcMkcM5mV&#10;EttYtQLGcqoKQs/lH8Bf2gv2e/GPhn4lfEPSNI1O91jTvEOt3WuyaJqchW5tJ76eS7E+nzu2Jopd&#10;xATvlgpJOK+7bX9pSK5m8H/F3wJLb2Gt6ppE1pq009yttqstzcTrJcWN5YEeS8Bhc+ZC+6Jg2PLI&#10;JFeXeLPG+l/ELTNe8EeKLaz8MahJczar8N9Vs53Nh4dkmLTT6ejuxeOznfLi3JZIHIaEonmoO5Yq&#10;NdKU4b7/AIa+WvY+eeBq4VNQm7J2tffX/I/LHwx4lg8M6peeEPG8d1tnvpri31yzth/bOhTsypI2&#10;SDvjfaC4YbTlgR/EfQvF3wt07xRaxeINTvNP1bwvamKHVvF3h8/aYtHNwcQ/2lZuyy2Lk5/ec2zn&#10;G1wcIfJ/Gmi6nKlxpmsM2ma9puozWNvqXmCG/iyGHl3cIIDxuzgrMnDEZ5zkU/Bmp+NfhXrmj65c&#10;eKIFN0JrdNW0oJqY0dUfYltrmmuWV7aU+YxSVXjIOfl4zPspUZ+0Xrb/AC/yLqy9raMtGrpPo32f&#10;Vep1XirwZqenahF4CvNVtfFjw6V9s+HuuwlzD4k00BpJLPYcqzwt5jqE4YOwwSQT8UeKfB0WkeJ9&#10;N1zS7oxWcV7+8V5MPYzEfNG2M4AIJDdhwcECv0/0Lxx4NvvF2mxW+jeG/DHiS21uHW7TwJ9q8rwB&#10;4olyG+3+FbmRi+k3LsY2+ybmtZSzLwrKo+fPjz8KHvfin9t0+4fSfBmr69ef8JVaXlutnq/g6a4t&#10;pprWK8tQN8a+ckKBwAjeaW3da3oVIqoqcZatap7W8jlxkF7KNWr0as1vdbX8tLfczkdK8TtLe/DH&#10;xpbzG4v9G8QweDfFBLmNdQsNQcRxyyIMfd3BSxPVU5G4V9y3EYtprm1LCOaImN8SAtE6NjJHvscY&#10;weQOa/Ha88Ua34Sk1CyspVnt21BYLq4EfmOsccilWAB4ZWjByMYIyDyDX6xeBNc/4STwvoOsSu8k&#10;l7pqyyIG/dSs8a72LHOclm59R6gGvkeIsE8OqdWnHR3V/udvxPpcnxn1qUryfMmtPVK/5XOt3CN3&#10;OfMJUCMRkgMMMGKnP8OPvHg/lV1bkkBXwquyhA2AAw5xyOnCnpnrzjFV4mcON23aVMRZRvbdg5OT&#10;gAH1xjnpVtIC/wAzO2DIMIDv2ngYXPUcMcZxkmvktIqyf9aHvO8oycH7t9fy/pFqJd7Z3+YmQJDy&#10;jkjgnsemMYGQBznjF/cPMCOylBEAXkBZg2FZQARkMF6DHf2qhAI1U7RlQChU4V9nRQuR0xkY7ZA9&#10;qvohQusrHzlJITaYlcnYDngngRjA6ZJOCW5TupuC2/UJR/dKb2bNSBVkKqwZdiKGAG/nKM4AJzg4&#10;YjpjAznHNmCPCFXaNFdhngmVhjkg56knp0wvIz0pREGNyzAyBFaIbQpX5iGXr0xsIVQOAa1YFOQp&#10;lRV2sY9qlN2cZOeByHAweQOBnup88U4x0/r/ADNIzjJR9CX5SheJQyqp3YVQjchl+QDBx049QAAR&#10;zYVg8hDkhJMbDGVKlRtKkgDbgBnYE5K7iMnk1GDDGjsX/dxyfMMqq43YJJAyM7v4s43Y46iQxk4e&#10;OTMhTflgCTjOSCeeo5I71nGXKkpL1Ff2jvf+lb8RqxRh1YIzB8yErKsYmDFgAAOMkMTjggoD04KP&#10;iN3O1tsTMhiY/Mvy/MT39eOowM8ZqcIfODALGpzGVUDcULkgkn+7nH696iUZWJdhDOcsjBTICVLt&#10;kDofkbHYlT1wa1i43aWu135Guiait+pV/cBnZmJIxJtwXEY2KzuMc/wHIzyYx24qBowrFDKPKkQA&#10;DBIOWILD8myeBwBzyVnYJGHX5S6AlGZAFLf6wktgdzjPPAOCAADDMuEYlgnqHXYrtkY+XqMHdnAz&#10;xQ4t+7/wxlNfu7vf/PqVGO+Vst1Bd3Ev71j05HuAwPVuR0AJEUiAKXgZSQpUocBSpwRkkcEEjr6f&#10;hVhFjK79wdVLr8rASLtUsO5/unp0wcdea5RkYrJ8irw6ls7cYwST1+UFR3GD6UlFx1b16jSjBqN7&#10;KW/3rQa8SgiKERkvlS4UhioZkKsThckENjJ4K56ECvuAb52VIm3pO5RtqpuC+ueoDY64HrUjIuJp&#10;drbhJuMijYp+fhB1HHIwexJ4xTIxudZCQyRqRKFcrwQkm1uwyQBweu4Ajmr+JSklojH4XeD3Gk7A&#10;rLtjXzFlAXDFyPnGT/snJwAMbu/JMSM7CUK5DORtYEb4/nYZBAHQMoycA/lh5fdHLhUbAVGyoIR9&#10;rYwepLFC2AQOO3AqJ0ADxAurhCyM6hAQWGVbOecZUNkfw8cGq2p8j33NIzblyx+XqNjBkPyBnUMV&#10;XJKrwhJxyDnCk4IH3unrbV0aQoQu8YdhGSshZhghyMZwQHHux981yQQRvjO1X8pkAHzKMk5z1wzD&#10;Iz1981IgQMQQUkiZmBKEqcbcbFI54Y/jg0csZQs9kQptNSvuXAswjgBjdSASOAAwYnjHIGNjeueu&#10;DxVjzCixeZGz4XOSwZyVCFSBjBGd4IOQdw6c5oMI28oeXtZ8oA2XaQnC7gT0LAEk9/bjF+IB5Pvq&#10;4QMv72VT5oI5yCepBPHoM+hqORRTb7FQmm2oX06/MtqXJGZQcAMZGJHynaMI3Oc4AIGSMA8cGrMc&#10;YCAgsh8pfmkJwclOw4GQ+45HPORmqW0tt8xnTzSQvJYEjr7gDI4GOSecmtH5QVlI/i2sikYPOTnG&#10;NuVwOAR1x0pNwS5krL9dCUm27uzf/ALQjZAZGkVhFG7+WQCSNrB85BORknJ6ELyO09vGrnesj8y4&#10;CH5WVQwK5YZwSoPXvnFQqGV4w4LcBd24bM4JUdBg4ZR0GcDJ71MjxIx3JGpZiZJFUbioOV4yOcHv&#10;6sewBqM4tvm+FG9K6iovS/f5AFG4GOR8sdq+aGK/8BU+oxzkg5FThdhKgYZy8UfGI8LlcAE8kBR0&#10;P8J4GDUBO5VjdMOkiFXwcbVZedoPUKO/GdpPap1Ks6g7jvb5dq4Kt5gQsW6Yw64Hfk9sVkk4xu1d&#10;f8MEZRbdv62YgdjEcsGIADMTkkbipxkkAEYB5GSg4HyiiSKXBwFZmch0ZtwAYEDBA6EEE/h+Do1J&#10;bzCPnjfZtA3gIQvDP3OUXryMHI5BojLrIfMB/dx5Q4yQSBg5IwOoB6cnHTmkk2+aIRUU1z9dmOUM&#10;0xUYQxyELyFIK8gfTIxx021WKEbdrKoRQrOF2IWCbeAO5AU7QQCTz2pzMu8OqErIH3kkKd2MjoCe&#10;DIDg4yC2DwaV43kYDch3Ev5vmHJIAABAPIx1zxjIA6CtYScW29rfd3IlG8XCWw1PLBYsWZwMNuzg&#10;gqxHIHJwrfdHYnnikKAy7CVUkAFmKy42ksrEAHABjLA9Tt98BuGRABiYkggL+7LbVYgH1xvKj1B6&#10;UxZVUbWJ8w/M4DbiXzg8dQDhsccjnFRGblC/T9R8s4pRhpew8llQSFeWPzNvVNwUqRkdedw4Geh5&#10;HFQ+YkRGMdFwR8ilvkHpydoBx/eZeOTSbgcPGybmRVeVCFVtyLnHOA25sAkEZRugwRTMuUAKMAo3&#10;crtjQA4yzckY83aTnPCn2FU4ycrrVf8ADImNVWs5aX/LS5IZBuSQmN40YhSFVlwGDjI9MEjp2we4&#10;qo0yKiCHDoPkYDEZA+8pBOTj7wYDjDLnOBRcOeMOxPmksikKoYnnjrgH14yBWU8u98BwRJ+8j24C&#10;kYReBjGCFDD6+nFXGMdW1ZdglG1kt3b/AIf7kW7mZ2G7KLsl8sBJAxwCUxgHg/KSAegIJ6is9pGa&#10;Mb3OJ5POd2lKB1Jyw4OX3YI54+bBGBmnyTh5GYqrBUUkIoJLfLuOffaf++sZqgXSRhDkvHGS0gYs&#10;BkN8uccH77Ec5G7vjilo1fda/wCYpRi6bfT/AIYTzEkXzMyHkKih+uT1PHP8I7ZyeR2heSZFSRRt&#10;kWQSK6EFyMZXJ6g9D6jGDTZbhpGJ3gNJkuY33EbdoHGen0zyfxqrmRNzryvIB3ZHUAdcnAI6k9D+&#10;dqTlO7YTdpNdP6f6gzI0KBQEALlZXXL5GCdvGT90cZ9KZI825QXTAQsm0mMZ3BjgkdAGHXnk0hGV&#10;R3+RWb5laPJOQOi5+nT2+lRyBd5xuYB1DOq73UA4+UZ6ANu4DdMAHOQJKycfn8rGcpKyU/O39fMc&#10;y7mydrKkeDE8hMfO1gFPUceaCQQcnOR3gYRmJWycqHLhSGZMlm3EdjnPUA4XPfmYpK20R+WJFBBG&#10;QyKqPwQOcA7eT12n60xhhxsLlCzsCG2tLksAWGOMjJI68HrjiZcl+aW97fkVK7hyrrb+v67jUkV1&#10;coh/dyBkbaSY8Ak8+4ccepXg4NMCM2SPkwpVmLB9xbYuSfUYHPYA4q2hYAklGjZSCxHykqACcjgD&#10;LHO3pt7Y5ayPjHDMzDcCSAoDEg4PqeueAK2ptxml1X4bCg5t67pWXqQKhUMDFCfnY/vGCPyxPI4x&#10;9MUVZaCcMw8yRdrFdpkORg47AA/XHNFZOnBu/OzH2KerPWg6TrHK2d2XbJUqzYwvzenCpjHZe/Wn&#10;RmXeS2WUyYRWG0AkqUKg8DqMkjnA6VFH8yw5BZVG0BU2llB3dsgAFmPA6tnBqQyNFkyBg7MFV0wp&#10;DAIWwe3MSnJP8PB5rjcE9up2uUkueXb8dhsHJGwRsplVyUUADDhiSwxw2SOw+Y8kZFM3xlQ28mNe&#10;AxPEalnPYZ5+b67W7chVkI3ttdlA2J5LYO0jDYzng4Uc47cdaaQyhc/dZiQGwWynVWwRn7xIPHUY&#10;pWTac9TNTfs3CL6tfdt+A6VVdVUgtJwS3QLjarH357e3vQi5VmMm4PIMKwbcuWA2jHHJwMnA+Yfg&#10;rrgqqsVcgYYyDcp28Mp6j7gJzxke9PGVhcrJGi/IrlGLIpYImWbJByVQnHG45HU0315NWtiqc1GT&#10;tqkRJtztxGpZyQVI3OVHysCM8Zx+vpgtVFKKRGAuRyxz1POfxx0zwMk0+MlimA+8HMaFg33SMHPt&#10;xke+M08FRs8khdoVY12YLALjBzwRt449hyMYLtXvuU4JWk371xImQSqQCskhIUM5hBw2CpPYcKfp&#10;tPIpFwMIEUPsMZDEKCoU7Qeu0ddo9uOlIFkUwDaFQneWdgXf90UXOFGThgCAOjkc0wI4VMAlmlMJ&#10;DS5dicJkEEAN+8BX0JztIFJuVk93f+kU23FxXqv1JSVMY3yRhFUNLzu+Xgls+nzDAHJz6dE3pvMv&#10;7ttxcRqu4kjcv8PI4GQB9OccU5oyVYRs0zsG2qJdqNljlRnj5mOSeOZRz1wq5QrtZ3IRi0kZ5B3n&#10;JAxu+YEnnncahu923qEarlBNr4ba/wBdthR84LgGQsCELgbjxtIOc8DavAz9aaD+7YMMh8ARqNjB&#10;wvAXn/fU54+boO5sAUyKzuPkhKJNlkBQ5K8cYIBx23nccnJnRYxuaQhtrMwAOVxyQMnj5SwAHHCj&#10;rS1l6b/l+REYyVRX0X+f/BANGfkKKqiNsbMBicocE4zjBft6dAOWjym+UQoAG2ONxw6nkEHAPPBO&#10;OByOetMR3AcsSDsymPmVTnD7uOABuOM87eoyAJQNhRHKyA9pJcSKCCSfTt7cc9iKcoOMnGT7aBe8&#10;U29UKgmYMrFdzuEO4EoQM5b0zgY5HFT5jYhsAIsYYRR4Cg5YAg9f4fpzVY7t8rMx5+dT5+WBbccc&#10;noDk5P8AQVKXEYJYIm0DLZZYy2SV3YIyRhsDjO05xxUPSa5d/wDhjSlOCiltv/XzHhtpEgCEPIUY&#10;7DvOOABgZwnPUDO/nBzTGOChCgDy92QodXX+EkYBJIUDIHJxxTRuRnkYM0m7IKMQqHJZcjqRlucd&#10;VYjIzUoIYF0ZwQUaNeApGSFAHvj6c1Vm9JdrrzKTXs+SSs+n3jt0aKqYQjZuHBBcMeflJx375PJ9&#10;6jYBCWAAXIAkjIUDaFJyOuCdxOKkjCum1wCgZiCWLEHIJxznnHY+lNzGN5k3FhISoL4dV6jOB2OO&#10;nY9u0uXMrN7b/KxnFS2elr3/AK/qw1yxCRs2IcLK4yd4UFSQeMfeKHOf4TSEcAJJuWQkjGGBwVb5&#10;yeOD02+goADtKXY7FIeNQdysVGRx25XuM8DtgmFnLFmRZdp4Rt+GLBDv7eqgD/eX3NVy6Plf9aGs&#10;Ek7K1uj/AK9B75CPhwUk3KHGfMTOVBIA5wDngn7vemKUBZsKG4jw5JklLDn6fdGSf7wxSRbmEgKi&#10;NFlDLnBBO3Jx0wCSR07DOcVEzAkeWjeY4ztLgBdx4yRgA8AkntTtObWzRnzwcU12/QJZDC8ZBX5i&#10;V5BV+h3cgc9FwQD9PWORkAJUsJCisxCh3ibPfPvlfw7dkAf5+o3FiFDNtwDuyxJx8uOOO465ppO0&#10;l/LB2BQCg2RrIwBOTjnPIB67V68Ck4xd03vYJKUaacNu/wBxBMybgpbCsChYnORkljkDqeuOAOgA&#10;xVHCFULFVmjCxguQrTFF2ggng8AEZ546mpZ2/do7hldYyrFcbMBAD93vhWGByxYnrw1eYEeYGb5g&#10;y/Kqkgt0z/471HtxxVaRfskwcXFu/wDWx8Sftq+IHtfCvhjR4mAN3r51aWIEmVPsVvK0fA+bO+XI&#10;GMk8c5ArwnXtbn+EHhD4eWimSbxAvg+68RXaMokcX+tYlJx3MaluTyCBxzx3H7VH/FWfGz4PeA7R&#10;jKt0WudQ/ebQivcgu7542hIYxknHDc8mvFPjxqY8ZeNtclt75rW08N2kenWjAblitbO2DXMoJzwF&#10;8qJeuPM4xgZ+5yPD82XYahP4ZyqTl6L3F+P5Hy2b4idHMK1ZvWlCnCPnKVpv8E18z4C8U3k2qajc&#10;3Ukr3F9fXEt1IJMsQGZj+fJrlndoljhiypnwshZA2zB5IH0/lWle6hHNf3V+JAkwJW3VACvOASR0&#10;9RWTDI86k4JYuSx+6epyee54r9rwsFSw8KclZJL/AIb5H4rjqntsVUqSd5O+v5/eyeKya4uyFIYB&#10;sNIy7QcfyrajhEkxugoa3tUEceV7jhQO2Tg/Wm2Mhgt5Q0Z3NhI1x/ExwN3v0q6PmcRMSkMKmWc8&#10;j5iOc/gK3nKTly20W3qYU4xjBSS97t9xdtm2wvLuTzdhaQsn+rj/AIvxJAx9DToEicTX1wknkFsW&#10;0L/ffAwHPcDinooSwZpV/eXUmbe1wd7rwFZ/RQGyB6GpIAt3qFraiRfLiw1w5YHaF9sex6djWDjF&#10;u3V6encuLTjd/wBdiaV3tNPEBjMUkzpezs3DYORHFjtkEE/7wzg8VlT6nIPItAwZYAXBZcrCXwWG&#10;OhPyr+X1y7WdX824eOBTJcPIXZiwCoC2QFA6dOPYVkNKtj+9uCstxLhIkB3mE4zuPbIyMVNFRT5r&#10;bs1ratUovZa26fMuXN5Dbt59w2+d0BRWGPQjJ9xnj36Vzn+kXzcM7RliwKg5kHDYH0xUrjzy04jW&#10;TIGTLNvVc9eOmevbFaGnWl3qkywR3HlxLIqyrBy4DNjaCMcnoO3St/Zuylf/AIByyabXK/P16FzR&#10;tKV5BPMixxxyZBfI81v7gHX1JbGBXaG1Oo2Zhs3SJFuQXJ+bzFUAEKMYAPbuPert8tnptrb6dbQn&#10;7SikXchuPtKxL0CRgcbieWPVtoHYYNFtZruRbeNFDu5Ljf8Au4hkbi7egAGfxrir1fbJSXwp/kel&#10;haLguapu03Zeen3/APBNy3t2Y2mnWflmQQhGnXkYwPnyegPTHGcn056f7TBoNksFsRBO252lY4mk&#10;Pd1zzngqM46Zq/GNPsoruaQOhhJM875Id1HyorEdM/e/AD387mFzrd3LNMXTTlZhJMCckcHA9BgZ&#10;J+leRFyryag/d3Z6sPZ0UpyXvPRfgi3crc65qCNbkWOlPAskt3uAiO4ZkHQEnIbPXJOc85qDUtbF&#10;hBNo+ioouJFOJid7QxcqsjcHlhyAOoI6Uy41BL+CGwgV47KycW9vCzArcbs7v1Iz14/HKy2+neFr&#10;RrjVF868lVXVRLmWY8gA9cL90c5PB5xgDdUou3Nt089ty6kqtlPeVld9Iq3T/M4a6sfscJurxmjE&#10;khx55PnzkjP68fSsPzGuVMgC29op8sKoJmuTxhF9T8w9gOvbM1zqdxrNxNd3g/0WOTakWPv8/KkY&#10;/mfQdegO3YafHqMsTOkyySKsUUNou5IYyR8qD73cEsfXPORn0KceSKdTd9DyXUjOpy0ttr9/6ZgR&#10;CSQta6bGUaRQs0hOSp44Mn8XTnnHpxW5FFp+kRwxXAivbxx532beVCMcAmUjuByEHXHJGeO/n8Ey&#10;6BYwtq17baDPdqZC99BJHJbRlN42R7S5ZwyEEZADAkjrWLoHh3Rb2+e6j1KZdMtIzLquoPEZpcZw&#10;wjUgDcSOM8DPWspYmk5ShfRbv0X+Z1Qw84wi1FtXSS2v3/MW1kutRt/7X8RMbPTgpg022ijFpFes&#10;OEjijGAQNqbpDljgbmLHJkke+uyDLGqQBhDbxRK6W8KAkKBngdGOT1xVbxDrsGuagskMTyW1nCLb&#10;TYSohgskH3VCd+ctk8ksxOTzWto2iaxq5nuII5BZ6baLNqd7Odljp4dSF8yTGAWKttUcsVwoNck7&#10;zg5tcqS69P8AgntUqUqNRRk233Xm9isbNppGZ44xtGVAG5eCMY79z2616f4K0ktqz38iKYrTw9fX&#10;wEzHbB5dnNiQL32F/MHqQB345Nl0+wUQaZ599K42yajdZVnweAkIzs4J6knn6Y9X+G2n3FwvjZJn&#10;ME3/AAgl3HaxyZkctc3FlZj7uSB++Y/NxhsHivLxTtFrm0t+Nj6DA0UuVJe9db+q3Oet4ks4LeFY&#10;llJhNznyydoZiAd2O4APfg9q35GupYdKnRwGNm1tIokxyksm1WB9ivTPBHpVDxDaLBq9zp6NP5Vm&#10;yWiIeApiCpnGSc/KfxzW1pio2mXsBBF1FGlxCzDLkM21wO46A468D3I8acrxkk9Ln1+CpSio1Jqz&#10;/wA9f8izYo/33i8uNk8pVEJA9M5z3yc9PxrYXy2tn3I6upDbDh41JJ4zwe4OeenTpWdZpdM3ljcs&#10;UiqEyxbvye5zyeMe2K6VLeMWsUcKO8xxvEg27Rn72Megxx2OfSvIxE+R2bPpMLTlKKVvn1v29Cax&#10;tUkdXvZYlZFQlUk2AAqSQDjOflIIPBGRmu0OmQKbVnbcOG2pFtlXClVHGB2J4/ugelc/p9jO/lMj&#10;fK2Y5NqiUIVyGUdzk4yOMehrvbK1RbOOLyWmuHbabtz+5KnAPy46Ahvy6DFcUq3JJr8PuPXhR9q2&#10;1ptsQDZZEEeSm62zJHIpIZdwBU+7YPPuMHPK9jomm4dG2I8bqE22x2hlBGW5zjOOPQdqwnsWu50k&#10;mV1bYC77dzsDtyADzjJ9cHPOM13ukWM6LuRufJVFfcFcnOMnsMgdgOp7cV5mIq3jyye/Q+gy+hTj&#10;K9rx0Ot8O2jxj7PCkSNM6sUkWPzDycK0mN3Q8DO3kYA4r13TLWLY9qYrhZY1LeZtZIzhyhYd8j7w&#10;xjp0PbzvS7J4YUu2iSV2J2YYbTuc9w2MnIPPTOD0IHs+m2z3AtliMhCxbZFHzySuwXJxn5eh49h0&#10;OSfBr1HDZ7qx9Th6SnDnj6+h2Ok6Ba2TNNcXfmr9mVmnMexmZiWVABnP3iuTnp2rrvD0Alee5Szh&#10;jjsovMiuZwRLI/zKq5IBXarsM5JYkdulTQNIveIbqymlRtzIm8KqooUn5h8wwWHGccDPOK6mdW0+&#10;AK8JW4uvLjjiYHzI5GG75ojlflXcWDDIxk4wa8+rLmno7af8A7KFGmotJ30RuaVama8Scx2l7HBJ&#10;5cVrIvnLLO6tGzx7hlWVXQAgA7nbuoNd7aWjwIzJJHbvNKJZ8RgBQM57nJ4UYHb6Vymi2KRR+fBI&#10;Fjits/vJC0shUocMc852Ft2DliOAAMWLW7u74Xd1KHkgtpwrzq5RNrbNzbuOAABgZ6ewrmliJqko&#10;wtdfpY1w2ClUqOc3bVf8BHe3TrDptzdw75ftKYIjOz7ICjvuYf3RgLjOcyJzjLD0HwZoUifZXeGW&#10;S1scX1+VgM8s5UIzoQQFwZA6gdMMPaue0aFb8WlnBIh+0SKhGSqHYA5AJGNu5QOevuCM+s+GNZuZ&#10;ri5t3hAjUi1lSFDGiBWUkbvqinvnHXpUU8RGMrPdu46yahP2Wllr83Y6Sz1O90z+xtchnkt9Ra4f&#10;UjqE4UzmdrmSZwW5OfmA5J6mrV7plre6pPdaVGUlmc6pbu6bwVcklNuNu0HePQbOvAp/iqyiu9H8&#10;MxywLDbyy3UwcErdXU0E8RVNucBNkyE9Tk8gBlz0vhjTLe3NsZ2aM2bFYoEIdJkcsd2Dk/KS2M4w&#10;WJwa1k3KpyJ3jpv3sjloLlpKrb3tVp6/195Aun2Z0171Fe21Q4QW8rgOCeMEHHygZ6dyM46Ho/DV&#10;ot7fLaJbm6DHykmsyXjEhY7VGTn5ipwOp29+RXRaj4be9tWZoTb4cQQ3DAqkTsOQ2SOWw3HXjIHH&#10;FOwsYtNuILC2kmN1C7NOquTCMN80ikHBGwAgnHzHt1PHU5lWi6m2lrep1YSpGVCUb+8779L+f6GL&#10;Pd263t9Fb+fd3Vncm0e1WZirTqclTwQACcZwSvpgHF/QtB1bVLmGLM1urx/bLryk86WRlBwgGPun&#10;HOAMDJ7VtW+iWP22WOP7PbKk7XUsoI3XB3AkE88nqckfXoa9Njs1t7ZRsa2aW1S3aS4Aja483CKy&#10;ocdQfvc7csSBgkFLkk3KbvFPRnoVKzo0vZ0YaytqzF0ayjWxluPmnleTbDO8eXk8sKg2nr8u4EAE&#10;DkZHTG1LpdxJb21rbuipLva5u3xCyqpG1Amc5ORzk8qfUCuq09IC72whjjhhtUigZFVTvRCflUcE&#10;hlIBIPD8jnjQm8NO5m1JFmWSM+VN5pCogkJC7UPOSSVww3fIK6qagouUNUv89zxMRJ+253pfX52R&#10;5eNDaS/b7NcXEltDbra2saOY8upYuGOTwxcryemB9G6pbS2lxdRWokuLgagkMsjRq1pMcPkjB5Kj&#10;d0JAAYjcTk+oGC2isJbuJJbW2tFVribylmZS0rxxgnGPmzHsJ53PgcgVy4sYbjWre1TzYp4rE30Y&#10;ZM+SFBbfgDkKSmc8lR2yMTOkpS53s2vufUuk3KblNaLp6HJpYz6bb669qz2mo65ai2t7iE7TpyBv&#10;MOzgBmUrnHRiw4IyKktbXxDBo019ezS3jWpe4YXCh1lLArHkYIG3JG4+vHv63qnhkPb2Xmb5Ll3a&#10;5idUCFUBYsFGf4ix6DGWOBVm206R9OVLi3fY100k5ZC4byhG0JIPHJZ0I9Bn+LA6ZUITUr9Fvfbr&#10;+Z0UcVenFv7TV7+Wn6HFeH7PUJgZ7lEit5YRPfM5aQTlQ4YE9eRliAM5PHQ53PEWiy6dpWoajbI2&#10;EsAygkEwrKQpfAOQdjNgHH3hz0rs9K0u6RLQSRmJY2DSReWJCisH2ByTjdjsc43njBrpRa6hJqGq&#10;XWsq1xZTEWwtWjVLWCNIliSMR7CmCsPHBJOTnoa3jhadWjyTuntfTTTf7znqYuUsSpxtZdO9nt93&#10;U+cLNJTpulTxRSwfbYBDEnltI7KxEhdjyF/izg8Y6cjPomnafFfau95Y2D2Nq9tFDb2tu2dzxiON&#10;5pMk/wCt2bscjJfjpjqZtCl2T3FpH5ZEAitBIBsTcys2MAeyjHJ8wcjgVejXUbDWbDTrFVlv7mzV&#10;4pbNUJgLOCsYVeFO5nAU8fMa87lWHnybq6+/oeiqntVyxir2fyWn5aFibwv5g+1XEEV68lvt2O+9&#10;owdoDAgEH5WIHscDpxsHw6JhC5gMbPA8ZYW6eQoIZGWJNpwSXYDGCvG0ggEbPh/WdJOgag93GJtW&#10;+yrY6UPMFpAlwWCK8jSLjYoB3AkAkgl8A7u20LWXMsXlmKWVYnWQCQS4baQvy88Dcxwe5OeOnTUq&#10;YWpywct0tOzPJnRxcZuUot8rsn0enTyvoeUJ4Ziv9W0q8Zr2T/STBEtuyxSyRiKSNREWwi8hELHO&#10;OOvAHs3h6C6gSDT5Lq6mtUYtJFLGltHYMxClTIqgsMIrNubC7hgjrWRDpzaadD09IJpms7mOFJ72&#10;dY4p1PzAOvJGehYH16cV1v2a5v7rVNRZVtnv71mbTtPkMej2wLsfIt1YkrEADhdxPK577sIucIW+&#10;1Hou1lv87I2q01UmlJ2jbRvo7pLT0bfy1OVktlv7yQ2DtM8Vq7i4nuGkuQxZm3DcxAL5CggDaORj&#10;Ax1c3hTTPDKR2UrJbX6xLPNqcEmy5k3JvMflqOXJZwu7jKnOPmxSWL7Hd28NhbmV9QfzJbpX8tLd&#10;FBBQEgjOTjoQccHFdDq+kRQHTr5TIdQu7/yJ0Y+cGRvKckPsxhiXG7qSPappwdXCzlJXkrXfZdl+&#10;BdSnCNelS5uWDTsuraSs32Wj3R0Hh4wX9gtyv2kMhTLbCpmy3zFh6hlA+U9Yz3ArTaztbuxEkcar&#10;Lc7pCrgHLBXmVueThYnYY6hSOcjM2jWcEYu7aJZGtr+aISbQWMDKm7luijcGPoxGOlQXUJi1VtH0&#10;+BJb+EttmSRIVnCh2D7zwQ6rgBTj5QACTz7FKhGNCKmr30+fl8j5ypVU8VP2Umre8r7KKSvzbKye&#10;/podBp91Nc2sdmba7Nxbuh2i5RbWFFOyRWTG4sDs53Y6jHp6dG8t1O9vIhZbW0aOBLm6EjxwBjMo&#10;2kYDc5G3Gd3AriPhhNbaze3zXM3lLbadd3k8flqWDRLLK7Pld2MiNc/7XQivStRurSe3a9soILS2&#10;1HTkt78RQ+VDC8scbIIucgtIoQuQP9a31r18DhIPCRxkJb9O9uv5fmfCZ9V9nmjwCpWlHW+tk5W+&#10;9tJ2S3enUo2UcN7cefdGO7tY7WKZLiwHFmIwpKvI67fu+WpxkZmX5s7lGtJHCovF1CGSNNLtrm1k&#10;tLYJJIk8UxCRmRsYyH+YgEnAHasq1tra1dZfJi+xGIvd2iP5IkQuiFSBgj5pI0YjkspPIBIsX8uY&#10;NTsYLg/aL69F1PcTSGa5DmQs+DkDqGDdjk9O3VBKnScJqz1+emn3s8KrF1K0Ywb5dF6apPvayd3Z&#10;X2trcwbGO4u7Sxe/tVt7ny4VhgM2ZrrcCM49CyKM8gbz04B0B9nF1YRRW9vHcW8SPqUpRYzECuWD&#10;EA9Cjk9yUwAcVUaK6Dyh0lmmjh8qNpZXdvIhAdI1JOMRg8Y4Az6Co9OWJtPuri5b7PqVxpzhooov&#10;tEW9JQ0UJYc5PXOMAFs8ZrkipwqRhst231tbS/fb5Ho1FzqVW/u3slG7tzeV27JX+dvQ6GzVrjWb&#10;m2gvJJ1urdJ5b7UysaQBmjjiRgmQp2sWKAHG4A4+Zqbr0NuNJygaWVL5JW+zK0c0ixmJgcAHghWX&#10;BYff4B+as+1vXls7E+W6+XL5l1M7I5lkimdlKc5CqoUbWABK9Tjjd1W8tLW7Bt55vJfwwDbmKycf&#10;aLuFFZI4iFziRjtaYD+FeT81ehKFGWElBPe13/i10+elzzZxrUsbTsm3HouvJZatLS+6Vtl3OXv7&#10;a2InU3UAe5bZdWsc7GVFjwzFXHyhcooXnPy57ZrP061vNOtYraOd1hglS+jlx5ziRQqo+ScMyheP&#10;Q55I5rbQvMTLFBPLHbwo1015D5YQxonmKVPJCFhwQOOdoGcLJbabZ2sss11fXCpa4NrZxIxEMhhV&#10;XEuHCld7/fAAZwTvxtPAqDqS9rbb5f8AD/I9GGJlCmsNK7u1pa+u21tLKy1+bM7Syq3V0kss0jSP&#10;uluCnmsc7XYnbhd2ZCdv97PSq95Z2X9q3TRC4uBcCKR3uWR1d3UFvMLEqoRiBjOMA5I5FW7fT72B&#10;opoHt7e9hhimjtpWUyOxghdJJDgqzOrKzDqNoBwcgWbae3uWRL6JWaYM7yIQ5jT5yUdMAbm2MVwe&#10;cjuazScUsNUVtbq6v8n9+ppKryVZYii7x5UnZ+jvbS600s7duhQkt9Pgt7e2tLR2ljhaN/KiBt4w&#10;cb2QglVJJCgrjcGJJwQR0NvHM1nHaWkMkjzllVEIFw8aodvGcBRiTJzjO7jPWK1uY2ZHdbDT9KtU&#10;VLlIXDTXG/fwilg0mOM4zjYuSOK1NJkudWAFrbBbeZzfq93EsV3deeI5RgAME/1qNjcCOmRhlPq0&#10;IUZQs5e81sl0/wCDsefi69VU25rSLu3J3V3d69L7PlT0TWvUqajpTae2q3WqpaRtY6bHerY2QF1d&#10;KVSZ1M5CBdxKxZBOcMvPzZGXaaQ1vDoulS2Osw6hp9nBDNLqHiZktpgQUlmgjLbY1lInUkgglsj/&#10;AGuk8R6BdNoes21hDY2G6SbU7uTy5pdUeKCySWYO2DtDLIHUudxb5cAACp5xolrdaldQ2ljc3j3O&#10;5YIYjqaR+fMk5xbgN+8jilQEtgZjYAqTVywqU5QqaR76Xe7a230XY46OPlLDxdOTlKXRJq1oxim0&#10;p/C+aV7uX4Bc6StvLP8Aa/7CjnKZFokv2iayJDFA5JAAGAGf5upyzE7ShOnyWirJrlg0YnWJk04X&#10;LRF40TbGwIw/3ogACTmUnORmr1hocc63jpBpEEMMwsltrq9kict5lurne8IR8ZmB2sNrMdoYbSej&#10;t9F0uyuLC3hs3vdZkE89s9vdtFbwqWKoTIVJLALkFsH5xkEjI6qODm6nvRSj829XptbV/wBWPJrY&#10;+lSahUnJzXRcqtaN9eZyslprd+rOTuNR0nzrSy0bWJ8tDJFNYqlzaSSyHfhUicHczd3QsACxzggk&#10;Wyv5xJZwxeILdU1GKe58OahqE11FBFEUlAjllLO5kJUqpUKPnOMDA6a28M2kb3ZuI9MmvrcwW05i&#10;CPdtNKVEarKDvbbyoTCrmLnqWq1NpWuyM1rqc9zbr52WbVZIrjSIoVBQMhSeOXdtfcwycnI4HXqn&#10;hqkk6kt+ijou2vb0vby0RzvMcHTajQqbWbc3eTd1K6SS5rX0dk1paSu0+RaHTLpk8w6xpLSxRFYf&#10;Lhu5ISMspZiY2KsAjZUHIc/MN1ZeqeEdUvmjup7231WeKIvKJ9QdtVRWfYSUGNyAh/nDc7iCW2qB&#10;3ep6I9rE0s17Pa2lzgyvpt3Lqdo0uPneO0ZJG3YG8/MQqZ9Ca5+ye4tXUWVxZeIDZQSSNqlmixNG&#10;FQlmt50cEDDfNFjIcMoz96uWrgKM17OvC/o+vey/yOrCZjV5frGBqLTZSV+lmufS3Zpzb2evXlZP&#10;CkOgzxySXd9oFo9sqQXyGaTTroNy0ZkV3VQo3LtwxIb5hyWOJrfhjxBBjy9KtLixnhWWa5sEGraO&#10;IuTHMkrIGjZzwQpHXAJH3e/u5dbiW5s7bTbvxRpccQSYXrPa4RwxEmVcEfNvUy7GUHPPBxRtL3T5&#10;5ba30jxNeeGNSvFSAaLr6wtYXtsIsxoZfJ6chVDsH+8OM4rza2BwVaTpOLhFvRXtd7aX91ryVn6n&#10;sYbMsyjbEylGo0tW05K26clG9SDSu7zjKKdrWVzz2wsLeOGW+huJdImEf+iiScvC7cFojIgIRycu&#10;vmbV4+8OSacGgy38zabJYfabvUZn8q5tB5X2gxLPKzJtIjyQpwFA4B4Oa9dazi0W8voPGHhqGGwu&#10;2gYax4QsvK062dS4/wBJtw7MC6iMZ2v90nK5ANTWtKh1K2lMV4uq6Rp9ubrTNW0mZIdS0lCVeSG9&#10;tvlkAQOdvdQQMYyK4auU04xTb+H7NrPfW61WqWjSaXXqdlLiGTrXjdRla1S947LlUZRd5NSa5oSk&#10;pPVpbI8SurJJJYHh8y7gg3pJePEBPCrDDrIqggjLZLEjG1cbeMVJrO5EkCxn7NMxVYJrdlBlUEgs&#10;vIwc56nuOa9LnsrC2uAILy1vo9V0yMPqPh67+0xXAVSZfPhJyrBQCylRgoCQcEjCk0y1hsbf7VqR&#10;dTN5NuUGfPjZpAXGR8r4jG8N3KkZFebXwlk+X5/h+nb7z6XD5spKO9tErpt63votNHdNNLq2lqcf&#10;YT33myWk8cbm3iMIlRdpI+YH5skbl2MMD+6RnIrbsbx5UKPKwmRvLEkkRMU5UnaCOQTg4weeR6EU&#10;280i8tIm22hffi4t9TRhFCw2jKsAvIIHG3bjdk7gQKoxve2OZYYZYlkTLTyyFIblJMggDoe/OOgP&#10;XtyQjWpvminotfQ7qjo4uDlS5bu1rNb/AI79rX8iDVxeQPaajb2Xm323/j1sFEguy28ABR8qnby2&#10;doVVYsVVSQ/SNCtrGPVdWeJbO78S6vL4i1u9UB45Z9kUAjOeq21vDbW6AgHy4l4yTW0rT2rW13Hd&#10;zgNEbaO337RHHMpyFPTDfPlcZKseSSTXLeONQbQPCXijVII7vUoLbRXNpp1pAZtR1O5lkW3hs4Yg&#10;DummkmhRFXO4yAfTRQjFTnUW+vTsreettfkZKo6vs6CaWqV9b25vh10stGr3W/ZHl2h6fpni74ke&#10;CdakZ7S8+Efgy41hbf71lJ4h8Zxgl45McTWmjechBx8uvLjOTXtukS29teeJb24s1eKMpc7I5Ank&#10;BLKNjIhPXH3ypwDtYZx81cL4V8M3GheGbSz8Q2S6X4z1O8l8Q+Lora5Se1XUrx0mlhtnB2vFapHD&#10;ZROMBobSLAUA1znxZ8XyeFfgt8f9fS4ltdR0H4aa5eWmV+z3ElxF4dmitGiGOrzPAuBnPynJrmhU&#10;dGS57JR/Oz381on3sdVelHFKo6DclK0fk6kXeLj9mUm5R6q9up8v+Hvhb4ki/ZO+BfirwVG9j468&#10;J/CnS/F9k0cRS4ne9gOubyMfMyS3pcZB/dtIuTuwfZfhR4oh+I3wWuPiPAlmviL4ian4nv8AxBYW&#10;l35jaNq1+0EJjm+6S8YggeNWHzKIwQeQPX70TfDH4HXFuyGW4+H3wntdAtkSUQyvdWOlQaZapGoz&#10;lpLpY12jk7yBg18+XXwes/2atTg1XwbN4k1PwB4zj0mH4jeBdEtl1Y6FeaZbobzxdal8MPMRUjuI&#10;E3MqZcIHGyt6VKVBylB6WSa9HZPzen5swliY4upatu5Saa13V5JvdK0lL1t6nmPi34exy2Oo372b&#10;ypp14vhvTZIVVY7t9IhWxnuDJjaxkns5UQhukLtghgF/KP8AaW8G6VY6xc+LL3wVpGs+H7JHk1qz&#10;nuptK1BJFJF27pbsrSGIOzBXZt0Zb92UXA/oOZtG1DwdZXGkqmuaBFcXF3Z32hXsVxYXyvdTXMnk&#10;FsoxzcSKASMEMGIYZPyH4/8AAmk+M7q68LWuk208er2xjuLHxTbaf4L1qCVo18tlmkuDDOP3hxtl&#10;G4O4AJIx7eGqNzU6Ts7r7zz8WpKlL2sU7X+7a3lpr6n85snws8G+J9Bsrn4aXdl4ngjJVfDXi2aG&#10;601wHMl1BcXR2vA7DCrJiKRCQVLlXI+if2XvDPgSTU7+0v8Awdf6lrPgp7qw1f4feM7svH4tguYG&#10;L+HtTuxOhaVTKbiykYlpQMoSwAHT+I/gxD8Mfijf+ErvSbHwD42s7aU211JO2m/8JdG/nuI2RmNp&#10;ewmOQbZVCbkTafNZt1eteNPhjPq/g+y8Y+FfCum2PxEfUP7K8ZeDLpJrTUvEenadHJLaHTmfLxSo&#10;17NLA5fANouHbaSPoMNXrU3yyXvfrp/lfzPl8ww1CWGkou8Jeey/rR9kzxTxp8KtF0bwj8NvhRcN&#10;ceNP2aJtXvpv2efGPip3TxX+z5rM06yXXgDX9XGHhtLkBhbTMfKmEaXC7ZftCv8AmVo3w78S+Avj&#10;v4U8L63okbX2ia5eSQ2FuZUEkpt/KUbQqsjKDJuK/JgYBAJQf0O/Bs6neax4s17xL4Y0z4o/skfH&#10;nQotG+O/gTVFXw9pngH+z8K99NLIFFhqdqyvPF5JWdbxA0amO4Ep+If2qv2Z9C0f4jPN8M/iZbeP&#10;fAd18NNI8ReD/HcHiK21nxrNo2p3mrSQ6b4g8i3hhg13T7Oxi+2wBsyQYmU7ZRCn0OIpVK1CNaGk&#10;07uD3S354/3e66PyPkcHj4YKvKlP4XFpT6c38su0uz+0vNM/M/8AaA8C+IPhd4nGraXpt5ZeBfEH&#10;iO51a/stOh3N4V1m6Y3MbWu9lJSeJBsiYhH8mQAqckaI1jT/ABz4FHiPTo7Ge90xRF4r0mIvBNYQ&#10;TEqNRtlUDNq8mUfbhreUggr/AA/SvhnxJD461vVvgj8YEv7621a0TSSZZvNlFmUjey1Gxkx9+3lS&#10;KWOWI8bNpIDFa+UdR+G3i74C/Eq90/U7cPDb3L2kOqWU6tpusQMgVluI1+VTPEMsh4YlmwG6Tgqk&#10;K1H2jVqkW013XRnPjKDo1IpO6lqn2d9b9rP7vkchr/hDTfE+njR728jvZYnI0jV5kVtYtXAkEdjf&#10;HCiUqX3RTg4lVUBKuu0/G2vWOteF9cks9XRmu4UaXTb8ER29xGpPQn7ucchsd/Qmvv7X7TSbOOw1&#10;O0mVNFui1oZY4QbjSphv3Wu4sFeJiA65wQPug7fnzrGDQ9UvtPu5JNNm8Q6fm90jUbzTotRtbsRA&#10;IJJrR1KTHbuWaBwweKUtncpdd1NKUL6w6NdLfp3XQ8yTqpPktzXas+uq/E/Oe48YaZ4itpfDGqRR&#10;2UYP9oaVqixJHdeGLpRlhHIuGW2c/eRSVXcCAcHP1z8Bf2tPAuuaF/wpz9qTS7yXU9GJ0jwV8XtB&#10;8u68Z+EkDlUhvYnzHq2mSgfvbKdgwXDRSRsMj5B+L3gPSPDOjprum6h/ZvjWLxZeaHqXhRLdZ/Dt&#10;1agJJbXVtfB+N/mOnlFdu2NSshO+NPFv7FvfF2hWusWSeTr2kgCW0J826l8os7RtGPnBCquzIOcE&#10;A9Aeyrhozoxqwlp36p9vS+/3nNTxMYVJUK0db7PaS6NdmkfX/wAWv2QdatPGl1ceGNa8Pa34V8UW&#10;N14k8L+INFczeG9USOCSTdaE4ZRL5UcUkEwWaCVwGQ4Xf6J+zjqBl8AQaNcEb/D91NpyxycNCqyM&#10;2xu5Ku7rwOMegzXhn7M/7WekeBtSh8MfE3SYvEHga+vPI1zRrmd7a3Y5CvLBKoJtrhBuMdwoyrp8&#10;wZSUP1x4g8KfD/wX8TYfFvwS8Yx+OPgv8U7RNRtJgUTXvCF83+vstWtlOEmjJVPMjHlybVYHBIHi&#10;8QYapXy7kq6VI6rz2uehkc6NDGKtQlenO6vvyyvon+R38EjKrMnyS7WXYcFMEMo69QcnPfJ9AQdS&#10;MFvKIKSKx+dX+dR944B6lccf8CHXg1SQoYgwDIQgDGUFNm4ggvx/Dg4AxjJHQcW42ZYlVHkZjwRG&#10;BFKzhCqkHBAGTnHcL2Nfm018P9dj7q9ouPTQtJuSJldUK7sbixCrneWbJGBkgAdOWyDxirgIMjNI&#10;oBfBMmWCYbncG244wCMEt16DrXQGeQNMVEeCx2NgLlScnjA/HPQ/hoWq7YwrtlvLDKu/HlAqoHJz&#10;nk5yOoPTGayvdNbMqkudezl8PS/y0/EsrtaMPIAVZVHmBhmLI5LBsc43DkD+VX4FLEJx+7HliUnL&#10;RqWYnOO+XOSeeMcYwKEAQycoVSTezDcPn+TBAXqwy3XkDuRkVrhVER3yRtHLIBGIWUopwyjc2BwD&#10;2BxkD3BU0pRcX0/4ASpucuaOiZNGJNhMYULKCud4D5JBLAf8B6+jdSDVhh5ThXOEeUjlArHI3Hd/&#10;tBeO4+c59agKRsxMm4IWIf8AiUKV2rgg5OdxHHYd81MuxyfMQyBY2EpQgTcgKRxyOA3U5BI6bhmr&#10;xclZdv6+4uMVyrvt30HOocIvKCRfOZWOVjLKW3begzuXr33dxgxMGRWZY1OELhXRTIGJcnJ4AGAA&#10;Bkn5yMDAJlO5nKjJjjlYKC4eMkmQDb6A5UgEgYJxyThZYxEIyTv2/wAIlQFjtBXPbnB46cDB5qGp&#10;cvKmZSjJ1OaD0Km+PzWEhJLYUyKrMHUlgCFA5zngMOxOe1VmjG8Kh/ebWZC27JO9AckHIBJUgdiF&#10;9c1dmeA7WaOSSLJY7JfLZ8FACGxgcKBnBHTjnmnKAsgdyckbXdIyFVdy5x3OSen+6AeBWkkk1zS0&#10;NJO0+R6r+v1ZSAZZJMxLHxukDEAc5IAHYnYeFxgDng1WxGoLDZEXfzDH/q2DNyC/pyc46jf05Obe&#10;QsaLM5MrIzZGUD4UMRjsDuI57jHbFRYkCKVVFAf72RGxwCoBII5XdnkHgGpm0pKfTRfj/mTHlUnJ&#10;72uv6+ZWQxOTuwhTEsZVgyZA53AnnGJBgDqAMc0kcbxnB2D5iyxbssuCAyZ79QccZz04qYAbkZgx&#10;MsmwPuwpLfewM8gA84yck4yaXYTwgCySPmVUcZ7ZY8cYx2HQdCck68/tLpdRaKCsknpd/wDAIXMa&#10;sh2v5SMNzxYkkyZdrsAemRuKrnnAJIB4iERG5pmiY4wpbJj5YtvycDH7tuG5wG+XrVoh2VCm9Vib&#10;7+4OisSN7LxySBGpH+wpOBjDVjQeYRMdxQyLiUOis3ylPlyQCrSDk8Z96SqTVlbVDqRjdyg7X/yK&#10;cWWVcKEHIBdiCvy44PsF6cHjpyKft2h/MjBMZOx8CRm+7hCxGAMj72CQCcA9Kf5bEfeCgt8i7/3j&#10;AkZx6Drknjj162JCiqqxomd4R494kx0ycj5gN6P15AJ5OCapxbkru2gnTUnZ+X3f8MIRHI4dV+YS&#10;fvE3KGTGVJByRgdMjqQTxVxAXcmPYqJGCTKrENnG0kH1yePcdqpR/OEw0xCHbsJz/CMA9MA5YdSQ&#10;FHTrV2OYyBgmcyo4Oy3BMDNlSBzjP3MdMHFZpPnUodPu6CThSTbd3/wxbIzyURlC7NvnNtzjnHbA&#10;KDB9FHvV2IYiQyZMZj8wSgmPbjcCAevBReQeCp6ZAqkiNIsjFXJckRCRvMCgqzbCD06sRx0PfFXo&#10;jKHJdXYswRiCdzNwenGfvE4/yCEW1yvp/WhU7xqKbWr08iwUcKxjyyOxlYiM/KMg5DYxj5XPGMAK&#10;M0u1OEkRQvmEqu3cxyApBPb7xxnqOT0GEVjv27CY2dlYZDq/3gFPbquDnABHuKlRiwXzFbhEZX3A&#10;hmXBwDyOgJ5wQF68ZpSTcmr6IFFSSSf4Ex2iN2ESyBlOwhgNrZJyeRgE+nPB56CoSQ0aFlAcLy5A&#10;CYD/AHRyMjCjnjofanog3SOz7kMe1mDZIAJG0N04PPTnjrzU7gGQSLlHckNNxImeAi4/MfQURTUr&#10;Rfuk04c78nb7iFWZApYboy6ZK8NGGAAC5yTjBxkjnHTBy+RkRGO4cMDIShyo3ZDA8gcrnnHAPJOB&#10;Ue9VVPkbY0hOBLwOcHDepwRjvjpxwnA3tu3B1xIA4KFgxBAz0znvwD7c0nBSS5np+Ro5yjLmqK6/&#10;rQGdGZlGAvmDy0UbvL55Ax2JY5Udz0GAaYCjSMzxqpXM8b73IQAkHHTruGcjpjnrSnO91I8wKpaN&#10;iOCNvDYz0yAR3yD6Yqm7oEEkfBf/AFkSy5APAPA6EjrnIyeB2o33en/A/wCHM5Slyc1tvLzWpJvZ&#10;lZSvKs6uz5jHVlPX0YgYx6VXd3QK+dzg5wijEICqik5wMjzCwII5iOR0zH5g3Pu3CR8IymTKKQeu&#10;PTllPcsM+9QtMoUiNWyCd6tIAQdxJHTAAPyj6fidJqMtYaBzRSSb6/mtCd5NrzJtRWC4zvwQpjJA&#10;BHUY4wfcbQcis/zEUAkiPaMj5S7ZBGWGACORg4zwTwc1DNI77CHUKIw4EilghC5Y9iOflzzytV3m&#10;kChRI0TMTvm4lUqSAAQwIx8mcA4zurRQaXOn20Jp8kuadvJDjIJWlD5dkBlZlJYlm2s59CeD179e&#10;eKzmuEY7M5K7vmWQBSd7AEnt0Lf9tOmeKa8hMgVQjI5w67gSwJwpx35YD8QPrUL7QEwfnA80Lwrd&#10;CCM5POQepPzDk1KW85rR/wBf8EUk5JTb0t/X+QnmtkpIxVzJtCkhwWDFA2SM4yg6fXGScxyTApuj&#10;aNMxsfK2uFbKKY2JIweHZcAk8c9RTUwpU+Yd2dqSt84GWQHI59CAT/eJ64wxAf3bOZwSw27wMADO&#10;4HIJJO5c88eWOPmNEU1G8f67mfJVpx5VpFf5jkdWGSUMm4qCoKSKS3ADHnuM46YHWmMylWXZG0kh&#10;DKST5ajBYkYzwR6/3R74JD5j7EICOVLkDao5HHPXt0PJNRmXIRWBJUbXIJYcEbhweow2Pf8AGtvZ&#10;x+8uU3NLnlouyHZLts2xusRwrMjMr4656Ng5PXjBpVHlKgIjGcAlCXkCkrnPQ52lueeUxzup0W1w&#10;gYlAzbAyttKsYyRwRkg8DjkHtT0jjDq+XkmJKkvn5gSAc56YxyOgJB6isrunHkfxCg4xs2rsi8oA&#10;kYDwphYgcFTh3xswTn5lfkHsalQAgBSpXAQkP87evPvnB6e2elL5DHcu8hsEtiNZIm2hFGfQEsmf&#10;qx5yczwQgDLAKJGZflk3higAzjryCcdOh9Oaly355en4F80vbKKWj7EXlJ5iGQxbEmXd5eFklC7d&#10;zDI67No4yASOSKaqmYSuu5CqsFIO5DtXj0H8Xp3bGBxWjDbBtzBm4wrxOVU7QisCwxxgb+cAdOnS&#10;nG3eMORuYMd6YJJfkjHHORtGMc9KuLaba3tv2F7O1SMnorjFtoCqkmTJHzbZOCe569+v40VdkhDO&#10;SkionQLIhDrgYweaKwc7P4Px9CuS+zO52AyNtkJbJCq0RjcsEJIKkg/xDOVB4wQMcqFBYB3dipU7&#10;UUPJHwPm25BJ27cjOBk89aaysIhGfkkDF2UqWY8AEcYx90nqeQSD6p8p3BUO0ITIzIZCuAvTvgZH&#10;Ge561xtxUtL6Bd2V12v/AF8hCoK4k2x5QqXQZYkDLL3xzggZwPm4zmomj8lJchlJJjJIIPChi2O+&#10;c4A65BOAOA1/lbzl6hQsRUHcMq2dzZ6AKGy3fPAAyZGkTzAAVKnCrzxl2AOefQkj3A6VcJOST/pF&#10;KDqRsnbW3zumSmFWYsZGCFjtCxCVlXOPUDOOeo/CoVJZSxUbpMkKZDyd2NpJGOoH1y3tUjBz8oDM&#10;gXytz8KpZeQB19Bg9mHJ7N3bCCVC8hcYIZcPx06jdtPHXB4xVK1N2W/QHF05OnD+loSZcyMRIyqC&#10;MjywiElV3DOdvcY7DkEdBTclQCWYEMWIUkkDJJJBAGT146kdelGzaMYESH9xGzHzXVsbTgA89OB3&#10;OPU0gSV9vmDjYVYxqJI+cOMY4OCduAMEZOc4DRO6m3zaFyUueyV3/wAEZvdWcnADOYwCil2VCT0H&#10;b5yOecv+TjwSVYSR7eTtYnOQAWwOe3zHrnOakVjJ8rbWygXKAg4YlVb05OenUikJZY0ON6CPeQuC&#10;jAFV+Q5GScMDuwflA4IwXDSaT/rQVNvmbk+4hGFiGGLSMI2j27lyw3cjn+6Tk9O/JFORkibdEwIi&#10;4Y7fMCA/McDocD1GcMPYFMJ5ag+awCAloy3OQynLe2RnGDyD1BIfs2hNyptAycciMF93Xtn0GelS&#10;4fZiHPJKLj6v79BnQlo2Jj+Z3VWCxEBcnYc8jjgA5OCB1FWFQAbN7Awjzdu3AY4xjsMfMT/wEVCw&#10;QBFj5JfIDsEZThlJznII8thwBksOgyalRgzoQQ0bw/MMs/mKMrjByWGOueSDzk8URtFW9fxBuc6t&#10;n1/rUY0abpYwqdBg7QGUbiwwOeFLHr/z06092YuRJhI2QhpNgLFeADwMcHtgjjPblGkYRhsB8ZOX&#10;HAU4YsOc9eoI/hFQtcJK56g+ac5+ZQORkHHYgHjpwfqS/eSu9i/ecmnve3zLEYHzEvlACVMaEnB5&#10;HPf+naleONdjBWVmXY29/mJPG1Tjrg9vTrTYpcMzB85bBAJ2NkkqAo5A2g+g+Xn5mBKJIjRxpgKA&#10;PlL/AHBk5zgA84zycc5qYtPline3+X/BBRhR1q2b3/yQ6bGT85ALsSAmFx8rZbjOSSBnOcAjBBpG&#10;cbowr7SoAK4/e4Y7sdf9l/c7D2pVK5JDh1wCSeXO0KMgHsxIwemc+tRFggkyhy7LM4DnjC9QD07D&#10;HTpweaqM1f5A5urFuMrf8OSqBmQYRGC8sU81WwVUBRyeMYA68dOMFCyKz738w4JcbTgDJBBBHrgf&#10;5zUfmMvlq7uCU3Y3lyjdMY/UnvkdMEVBIfIJbDJviZUC/OpOcAnB29e4yPTJwDPsouWnXoTD2l3J&#10;Wts/X0LDMOScD5gFhGSSgzyMc+/04qIO6LGGcoVwF3JuLNjpjIHQk98HHpgpxhN3lvuIUN91wRxk&#10;gc4PHYDP403d5sDtHmTePkVojGinceCSOmFJGODmlrBXSutrejKhCbV+v/AFkILEq0hZp32q7hzE&#10;CykZxwcB15HHBHpiIqZJMLKu5mC+YFV1TcwwyjPHC88jhTwe7A65L85HyErnknoMdPXkAf4xiVB8&#10;6RmSTaUO058wEqAc+mSo9SfQ4Na/u0nzd1YUUmuZ6K6+X9ajZDgoY5mPmKY9xGdpBVgBkYAyxzng&#10;c1DcS+YqyRuzKvzRqfmjYH5gDu+8Bu6PkcLmklKqEyFYMRtZ1yFycgk8AtiOToP4m6YzVcszSoEH&#10;yomY4nUtEfmbqDnqzckccHjPVKMZWbWq1JfPztvbTbzJpm2h1iBYspPKlWjGQFBBOQTjPTuc5xmq&#10;FxJKoLDLeWDlBJuZVG59wIx91gw4GefpRJK0A5WRRLCxCtgtgZKkEn/ZbJ68NzzUMxLLGspHI8ln&#10;IAkLbV2kkkcnDdwBt6ADAtK75kwT1Tbvt8j80/ivqjJ+0zrmrpGk1x4Y8GR21iMmNlur6TYsiYIw&#10;QTuQ9PlB5BzXwr8X9XvfC2u+PNBaRmeW9OlzTPIZJH4ie4XPTDSoAev+pXOdua+r/G+pIP2l/HWq&#10;XUvladoJj1y/ZMloxptpmEbsjH7+RG6noMAkKK/O3xhqs2v+Jb69u53vILjWJru5nMhczeZIzsd3&#10;bO761+wcKYONX6qpr3FRi3/29Jtffqz804lxkqTxdn7/ALWy83GCT9baehwsTF7hiwYhyMZbGCSc&#10;D9Qa3beIbxGF2kDcWxwOhAH+e1T2tlFc3tzMiJFbrE1xHFkkAchVB/L8RTI/lClyVKkthF+cj0PT&#10;rkD8DX6VOeqdtLbH5hCLUnJ662/I0rJGEU11K/mYfK5UKSVUBcfj+dImoCLzbSG3E97LIGd2XdBH&#10;0OdvrnPB4/qXEptoLWBEy0zGUgL5gT0yPwqxp21CRHb+WzgzSTTOWeTAzgDtyOwrBNXc7FVJTUOS&#10;l8T/AK/IsmaSN5JZS0zwxiOOV+oYjJPPoAfxqzYuiWc96APMmlMMMQUGRgMM7E+3ygD61kXc0l0B&#10;CrKVRMAAY5JPPuelW9TnXTTHaYRWt7RI3YjKxO48yT/gQLBfT5aVm05dXov68xqUYxjzbR1f4JIx&#10;ri5jEjyIpSRyGYYG5ARwSf6DpxWPPPEm5mk8xi+ASu4nI9BVa6vFm3pa7kXJcyOP3j9smqUSmfDL&#10;kkAksFOcjjp+dddOilpJdjnnXTvJeunXa5et1F1KI0DuzHgD5APw6gcV7f4et10nTEWOELc3ONsw&#10;+R7dAfmn/vbnG5I89A27g43cf4W8Pxly9xGsohhDyBs43kEiL1LEAsT2X6iuxvrlFkSFJCuJFnvJ&#10;DyGxgooHoOMD0UD2rkxdTkXsIdTowFBuSqVdrK3+Q37ISfPmjJ2kbExl2JJAGOc4GAD2612/h+xu&#10;QsX2Ro455mBcM2DEjIwyE6nBUYzx1698O1tprm3kuW3TSNIEhEm5UG4kZzjksOcdeD6V28MUNrcr&#10;p9ttOr3UX2pn3hFzGoby1BPygKDgEZOMHcTivHxE5KCprex9Fg4U/aylF6O2rMfxDLLqV/Do2lwS&#10;TRwkC5EZLpcOCNxGOABySfbryKwtUmULBpVvdw2trGzRXksBE0qjIBIA55w2OnXmn6nq0kCXOmWQ&#10;ihe4lMU5gPD4ZSFwSfu4DFupI5OCQ1jQtHtY9O1HxHqisvhzQzGL26dctqt3KJPIsbfPV32Ozvzt&#10;jjfAYkK0UoRVLm6Kz9W/+Dol3HVkvbc0V72yXRa/5b/eKW0rwjZWevXiyTRtE/8AZ1ncRIJGBG0S&#10;lcnkkkAnnj2NeYzaq/i2+kvLyzlitBKC13JI0ixruxgjILE9gPXpxVjWbnUPG+rJPdo8ShvMSyQb&#10;IbCJeEB9gBwOpA7dvUvC3hq2ijjuruNIjFCy2MGwGMSBcGbYCAzjJwM7RweccdbjDDR+s1NZdu3/&#10;AATmlOeIk8LRXudX/M/0SM7w34Mn1GaOGwtdHRhsWCO6nFutuGwommeVtoGSvynqc5BArr9WvdN8&#10;A2U0GkQaDeeJLpTb3fiFr22uTaNhWKW0IkITq3z7S3A5XO2sDxVrk+h2dzYQzR2sM8jPKsQVbyct&#10;yDI4GSWHPJBO48DmvEHuLjUpm8nKW0a7neRcrGBknj154HXmsI+2xibk7Q/PbdnX+6wijHl/ePpZ&#10;WXb57al+6kvvEGqySSXMt9e3c58y4kc3DuxJLMxJ6DLd+K7fWt2k6Za+G7KErK0YuNSmVNkpYE/K&#10;3PToTnpge+Z/D+m3Gg2C3kKiLU72IzWLuMTW6cfvnbtkkbdpySpPAxn0TQPBWh6NoknjP4hzXVxa&#10;X+D4Q8H2Stb698RLjeyNPPKTvtdJiZHVpgpkuZCFhG1HkGlRU0lC1oLV+b6L+uprhKdVpSldylsv&#10;O+rbeyt16I5Xwd4Fhm09vEviO8uNJ8LxXDQRXUVsbjU/Es8ajdZ6dGRtbaxUS3DZjhDDO5ysbd1r&#10;tzLq2kWcUFra6F4Y0qRo7fSLeQyQxSYUgyEndcXLKVLzP9BsQIlTXt5f61Kdd8TXa2v2Szh09rbS&#10;7ZbTSPB9mmTbaVptqvyRyEFztXJDSM77pHkeudlvjqTm3KLb2M0KxWNvkuLIIQUOTxk/NuJ5Jcnr&#10;zXnYuvzz9m3pp/T7nv4PD8sOaT11b+9bdl+Zlxsys8VqnkwEhw2czSErtyzdemOmAK9L8ATzW765&#10;cvO0SQaYAxEe4XDtPCY1HYfdJ6fwEdxXnLRZn8nAjEMu1tpAYsMBsnjAx6+hr1bS7NNL8FQao0pE&#10;viTWJ9OtvJIdo4rKKFpHAIxtd7kLu5yYmHY15eIlKVKUm9l18z6HB041FBQWt7/JK+vfYrTpJeSS&#10;6ltMskhae/8ALXYUduAwA6+/uPcVZtJfKmjlgXaMKXEhDZ2nkdByefXJPpUOlXwsZ0nELSW0q4uL&#10;UjLTRnClcnP8PTuMCux1jwxJpf2DUraJ7vQdXiOoabfJtfegd0aGVQTskjZXRwwB+UEcEE+VUcW5&#10;QX9W/wAz6rDKUWpS2ei9dCLYTKZ7d2KSzKUz1jUHDZzwMYzjvj1IFa1pFFFMskrS+W5Zg+CZmBwB&#10;+W7NYEInhdJUjCWkkp3xKxAO35s9OwbjJNdXa27XGFtJluQGb7QkjLFLHtA49CDg/dJPtzXlVnHl&#10;utj3aDk4ckNGutt72OhtZFVzslAVFb7OQhCuSQFIA78Pn/GvRNNtp57WKVpWRm2F0CqgI4BxnjBI&#10;bJB6Y57V55AA0yRnMQAYRzbdqMwUE89M42jP+yO5rt9Kd1iTe7kO21pGwVYdAAPUg5zj09K83EKK&#10;k9NdD18LFqpF82t/8jtba2eSL7L+7zMNsBlOJFCj5fnxz9MflXb6TpCxWi20Vw0l+zgNG8SPAF2y&#10;KwII6HPXHBA9jXO6bap51tIriRI0yIm/5ZrtJPTHViOcdW49a7bQ2SzuJ21AFFWPEbQFT5ocnGQS&#10;Dng8d8c4wRXk4qajFylt089T6HDJ3jGm3fR/odHZS/ZLWCxuYI95KIIzjbE3XJ2nt0x3BP1r1fwx&#10;Z3MF1cXRkMTywxgExq0yLgEliT8uQSTgHOBn24Dwhpi6hqMbB/Kkgn81TKwjFupwUZemW5UZXnAP&#10;qa9x0bSo7y4kiN27oZRB55nLGUncWUkkkkiMEq3TYOTjI8WUk2pN+89vTofRxaiuSGys3ZXPRvC1&#10;/eTypDFbQxxTIY1Mu4oh43DtkdOBk/XNaEVpa6xqdykM2UsY3tYJwPMBkIikd1B6YD7R14yMnJAq&#10;6PbLZYt+LkiZkgjEolIUGMsqJ2JUKSAOPMA5wM39Ck1Cd7ee3tV+yXcW4SoC4leQgoqlcYGW+8CD&#10;jPTiuWyhWjF67+Z1RpWTm9F93mbVhpDyXrSqyrZGH7P9lkyMtlvn4ADcHAx/c6c1vWiW8Vle2F6h&#10;gW6myIEiILZISMIOx+YH25PFdTeeHLvRtJgvNaEceqahCLy20SMeXf2cTbWjmljwBEs24mNSdzAb&#10;toUoz8tZ3zS62kUEEkgiAubmUxMFVDGp+YkhQQAeBS/dSkko7aO3mup3UL14urH4Ur79tmvmdl4Z&#10;NxDfklEtobC2WFiM5eSVfNYBsYJACAn1CjqRn1nQZS7N9kI2NCsMsmdr75HJ3AdOgOTx93JwcCvO&#10;NL055BCbiG6jk1QvqCwwK5UklWBlPIBWIIpwQMhR2xXtnhDTdOtv7VhvXu7dEkREWJxE0khswUUS&#10;EH5fNkj3LtyyZGQSGrmlQgqlr2SX43ODFVowpJq7nJ3fojvZf7KuPAen3L24+3aD47vI7mS2gLuy&#10;anptgYkkYnIjEmkTkA5GZn5JY4wBqaa1qyWUDi2KpDFDBE7RecwUBnbttOMnOcZ6nBNdT4F8NW15&#10;pXjPRprxbi5k0v8A4SqzaYg+dcaNLHJOFBPa0vL3J5I9KraBpmm29+2sQ3bl4JvljkhMIkJfJXGc&#10;9CAefXGKwr+0nKlNzsna/wAtH89jPAzpU1UjytyW3/b1n+d/uPSjaXyaEmnxvNJdxBZLaCMghnQk&#10;NKWYE5UEnIBzk427jmlbxBkWC6lgFy8xQzOqsd/zBD5jLsUAAsT0IAzkZq3balGwtbeaFgy2rRK7&#10;ER+W24lgxxnO3G3OegxzwGrE017aQwRsIbeT9/c/NsnVzIygqGwG27cknkqM+2jVNSUou8tPwfU7&#10;MJTfI/aK19TnYbj7LPeahqUclx9pvvtQvY3CWh3AxrGIAvynACgDA6kfewvYrrE2q6jHdSQvZRw2&#10;yeXDOCTKwIVSyjK55AxxwAMsADVy80CeU+dttRBFE013HtKoI0UsRwfvNhckYxuOCOKrNpmpQXBA&#10;gmS1sbiJZYLpfMvPN+8fMkOHYKY+VbkFfz5pKcPcatr9/wDwx6tKtCo9bN7X7J20PUdAikvre3uh&#10;LGl1NKFjQwqDCqkkybD0JIUMD1JIIPIPqdzbQ29qsUsksVgWSZVd2m2MiBGeU43YLKzAZ6OO/TzH&#10;w8q6ldzkAQTvAI1MSl4kXptC53ZJDHcfUHOAK9JvI51ng8NX8Yh1GaJJJEmjKsVkVHjOevzK6kED&#10;kOpHauum5RptpaS2fS/meHiYqeIUU9NdOytrb0ucdHpVzeyvazzXD2dw5u4YfO2QR4bcGZBx1BZc&#10;4GDu75MkWjrHqbNApnMrxohkPliID5QBuG7APPTOM+nDIZ9QsdcvnSwddKt5w0y2qoZL0B9hkjUt&#10;zlcZBwCeM9cei6FJE8s0hlW6Elwfs8phKxPsGYymVAKDOBwPutwCSTVGdN/xlZmdX2tKpfRq2ljj&#10;7q31Rdd0S2QteC6jZLyCGKRLfS9k21UkckKHkXecKxGIznacCvoO08GRt4fulvHMEqIt0GjUTQuk&#10;BeQordTvZYVz0ADcY6cTa6TBr+p2mnLJPDrE6pJE6H9zFIZhvZiFxjZvO7OQTuwRmuzu/E+oLYXO&#10;jxwNHBf2SaA1zcoL1I7WKYhpbYgDaJUBCkZO1ycjcK7cFKlShOpVi3Genp02+45sT7TEKnSo2jJW&#10;b6aX3X4/cebWur3GqXMlpb28MUcUZnFwsgBlkIj3BQMnd+779S5AyTW9qxxYafcSIZBJIlrNEWZi&#10;CRktnPLnysA8Z8vOMZrotP0aK3vL682R7rvToYi6p5IjVEWKOOIcAElACRzluc5xVx9It7N5tT86&#10;O5Ek9vpcWnMzvLJNIZHknEajG2NoSrEkD97EBu+bBGE23S5tH1fZBXq4eM4zjG0Vb53/AOCzhbS0&#10;luIrJJoPOaCRrjc3Cwj5FYEcYLbFPPbHTg1v3ukWliZ7x7cG5ZcqokCbwV3cNz6qAMY+fC9sX7PQ&#10;4UguoI55XeRlRi2fNZ3fbhD67jgdD161Hd6Oz232yGFwwUC4CvmAuOignjcQDnthawakouSSbSX3&#10;7HTTxEJVEto/8M0ilP4ctGs5DZ2MjTxFJ9kgV7WFAMuhXA5ByDkkElQO9aXhnTW0u705IreOG3e4&#10;+yF5FCwW8eGbdgHJIwMeucV0tsrSaLCHNvDlvs7oYy0wIVN53Zz8w9emSQM4B0dPFm8FvcwXCXX2&#10;XULRYpYw/loFuIFkwuQC7E+WQc/K7HAOMZQhCpiITWkrL/g6GlTEVVhpX+G7X3f1c6XUdEme8N1I&#10;pZrB1EkUMCs+5EeRuCccrtJycD8xWpq0VtexaZG/2O1tX8y6trZZGDXTFVRvNYAkhRGDjAGO2SKj&#10;1MX0hf7LfqLW/SdftbMZAQQijPGCDuyScHrxk4M50W3u9bmCx3FvZaWRplvctZfZ7q6QRxsHK5wN&#10;zAAeuM88Z7I0JqpNQhu1u9+t/uR4vtl+7qV52spNWT0skmvW783ucm+nut1b28QgNxd6ibWFLaMQ&#10;oISwK7zwANoySe6En0r0rWreC7tbOyEUayRWw1ZLqVMEqqfZ/J3Yyo3xyLz689zWIguItW0C6urI&#10;W8z6fLcxwY2C8igjMSSkDOMyE8kjOORjru3Mh13WNTiLwaZp9/d+dbSSITaWSsHaKGPceFDpOF9D&#10;6nArtp0aVHD1Ifak0rPtZNPUxxuKqVa1Gpe0YRcnK97Pm5WtN2krqy1s+p0Ghm2j0i/nns45bmLT&#10;4mtYZUkMckkc9qUjYhgSHhScHnjLYHaud1WOa48Z2ksMlmllBbf2ZcnTVyHYznbjr8qI6vuJY7AA&#10;PSu00Gy85GtJ3YrcXdlPaxn5fKuPtC2sZI4/dxr5jOc/8tAeQCK4SK5trPxNqcENzIU0y8lsrS8T&#10;AAkgO2MgHqRswSTknk5xXfP3KGHhNq3MvLWL3fqeDgZKeNxcqV3NRb1u1aSitL7W6dd3qdPp1vHo&#10;S3cMYEQuNMljidDIqahGZvMlJ3ctlNyEYwwjOc813mkxSXllNpghEo1WOGCO4kAYqvmJtCu4yG3K&#10;qgL6H6jz3UYGuNU1KZrmYQ2VoJ4LWFVuYhvUPgOTlYhJJJtbqQcnbnaOr0/Up9G0S5kSDdrJvFtb&#10;VbFzJbCJmgYsHDYwoVsEHOT6DFdFGuoV5ObtSSat5LSy9eh5GaUqmIowq03zVpuL16N2ab2+HRu1&#10;0vwXQWp+yxxRTwRJDETa3Xms5upHimMhRyM4YAIDgHmJMY5pzKrnTHlWS5W1ESR2lkjy3dwJZkEc&#10;UajkZmlOTlSuXY4AyNjR9KtrzSmv77MDanrEjTyFvOlIuljihkQ5/iuJgA5P3i4PKc5bw3+jR3UK&#10;QPLfh7PMc4K3bSymbyo4WySN5inI7kK2QvzY7qtOcYwqT+CST01a0ul/XmfLqvSqVp06cv3qdnrZ&#10;Xb5XZ9Gr7+ce6OafUZ47qVhIY/nlsbmK2l2hUYMksYYAgrtZl46cjoeWNo9+daa9ju0gt5FhubQW&#10;pEsK2zRJJCwXP8alsnk5zkEjFS3P2Y6isUMKReYyX1vZY8tnjdmk8onOPutF9wjcG4JPXoBNpc7z&#10;yPdPcC2jt9Hswln9oLWTuSImQjhog0yFkIBLg8DivPoQjUi44iV3GV106a/eevVrTw8YyoQtzRs/&#10;d5tG427rf167pMIbOKw/saK4vrSG71SE3Bkvp1a2st4cyvKC+I2DEnlcncehXDWhK0h0d7q/nms7&#10;+3t4n+zQyfZ4LPy5JIbpw2EAZ1hjGCC2RjAGTyWo+XFFdQXlhZafps0cN1axTbFvMCZIGlUA5JcF&#10;3MLHbiSRs5wo7O+1ae008wyafCzW8EOm6et27GD5A9u6s4YZ2ROmBk8DjGcjuhWjHncvdUbPZ/c/&#10;W2ne/kediaNX3JR96U21f3V2ejd/h5ldJ2XLfW5NZ3WnRf2401la2EMQkhjivpWuIlkug6WpKqpE&#10;oDiIkHHynLkng4H2G5tbbUbQGB1toT/bLFtyRRho0eMEHa+WcFVXIxH16Co9MnnN1p4v9amuFjcW&#10;zx2qyROisobDc4IOXGCSMnnqKq69Yi2uZpLCa/eIkxQTSzK7WwBysZZBtPyqrEdcn2rGWJdTDqtF&#10;bXWlr663008vv76XQw6p4t0Of4uV6qTXutLRys+7+cd7e86abT9Jtr+dtWtdSv5b1bzSfKjkkup0&#10;MUqSLNBHvZXU20R3EhT9oU46quBZ67q9yl7ewafNbtHHFJp8Ek3ly2dxDKXjlcAgsduR0ONx4HbQ&#10;sbI6BBPHBcX7LqEj2FvIqC3ukV4XEuVGW2ljtODuIHbJIr31sujrE1tckzSQAwqinzd0icxnAbbk&#10;bs5wRg52muCsqs7VZPl5U00u729dP06nr0I4VTlSX7yUmuWUk0mla65Ypcqutb315tlo7Hh6W9mB&#10;i1K5t7e4tLU2aeSjtGqxK6rG+xdzPuzkYzuHOe+9YanLBpqrp9+8EyGS0he3gNrcopVDvyV+XcUw&#10;p6/LxwTXn9pHfQaVPd6XMbSTTc3F4hVXSKEyomWY/dDOSpII6gdeK7bSNRlubW1v9PSzWfVdLktJ&#10;jcWk96mnyZSJZcu2wyuuZFWMYUO3GTU4D2kuWjN2dtHd3abW3o1/VjLMsLBuddJOHNa1koqSTfvK&#10;zsmm2tWum7V9C5uNN8hru8g8Uau19CIpbW7164s01lLWIpHGipIyFTP527czZVRkHJAf4SvvGdnp&#10;k0ulaDaLqWqR+Vf6leI9xcxzIAkqpEiAKQ7IG3H7y9BgVBp2l6uLzUJNXvbmGx0W2E18ZyLHfbrL&#10;CPJzjdtbAHPGFIz2qO51e3t9ZuIobwXFvqUx1a1urBQllHNOUEsKMy4wjKGBIwdzY6CvWjGUJRxF&#10;ZuDV0krKWujd9+jV/Xvr5U6VOvTngqMY1bpSbfPKFlZqNrxWzi2rWaSumkrWNbi8dXbQ2vifWdQh&#10;sReLKtrp+m2AlkmDE/L+6Rzg8E73UlckElRVm41fXIozD/b+uQ3C7RFb6zocSsjMSFLssIYNsaMq&#10;AcYcDdgCsu7uC93PPbSX100VxHYpfGRp/KSJmZ5EBxsViSExgjBOMgmrVje2strfzppV/fTFlE11&#10;NLIbMtwoUlizEqchW3HGBjnOFL3qslCcrvq5Sbsttt/y1E6KVCn7ShT5Vb3Y06cUnJq+kk7X668z&#10;t0K0Wr67fSWiSeKo9Rn0yUObqzjT7TCsZB3MwQS/IGY75SR8pwc812NrP8Q1gknm8V6dMbqZBHp+&#10;raclzPKT93yCMgDlsls58sD0ziJcR3dk015aeFtOhjmlEVvJqcelwzrIMRw5lJMhGNxYKfvHj1pS&#10;LbySR/ZdFstMuFGwRaL4qk1GOOFSAZRBkRRjG0IACHL5CkBiMqdOVKF/aScmv5prTbz9FdnPXp0s&#10;Q/ZxoU4pN3vToyt16uLV3q3CLsaqXnjHTZ01e1u/DEd1vNpZ2dxbLHp5fIV3mSGRXRmAYiTb91QC&#10;MEGteDx5Pf29y3iDwhJa6iokRtW8MSpfy2kiqS0iQuQ4wFYseQADnvVPySnmtqHhyMW1tF9lkutL&#10;00R+INMVxI4Z3kmOSDGSQvQcY7GWC51FdPup/D+p2/iDRrRjBdT2WnTafrSqY8ZnRQyzxKoPICsr&#10;MM/7PdReLw7fs5yUXryv3rvS7tJX+cdkcFang8RFSq0IOaslJXp2T2jzQbjr/LU+JvRO50ehax4d&#10;1lJJdN1JtJ1IJIqWS3MpvxHGZWDNHuUum1omYZKghunBq1q2gW2riZJ7aS+8+OO4CTIixagm3c72&#10;V0d/OPn8ticgn5Vri11PQtXMmlXWk3ltcXkamLUVwunSsATtnH3k4VCBgbywORjiwmqadpVna6ff&#10;/araM3yTyZjuLQWgUfu7qC6gcrKhIXCooyFYFfu51WMVVRjilGUe+q121W3nfb1SPOqZfiKOJ9rg&#10;/aRqXTUXabtveMotNrS1nZp9VJlaK9m8Lv5unazpVjp8cEPm6VfXLJYasirvFujXEf7ibaOVJwRL&#10;le+GS+J9HRTqdtY6roV3DaSzRQwNLeJZ3RUmN/PUFHjlAKvHKAuFBHt0l3qmp2i22oLpa64szmO2&#10;1uwQalbajbSeYFScKm8PEXJww/hOSe2Pc6zaWzNdaA2kpO88d1YmbUxZy2cvl8wSxuvzRTKHXKZU&#10;GRfmXatYV4yp1FGE+WKfw8vfW8dfyduvmdtG2IfPVoOU3o5qokpW0aqO3/pcXLeKt8Dt3Gk6RqD/&#10;ANq+FL7S9S0u7T+0Imsblbu6AdlfEaJlynLDbgkDHy9a5JEsZ1nisLuxv5D50eo6bNEtubBkcxMF&#10;L/KwyyfNnCjcWwVJq9qNneQXsmueF4J/B2qtC5htmtYJbAxrIFZS6ebFsZg3zNtwWO3GBix/adm1&#10;7BqGu2beHPGUE0BnhKRR6JrcUrgOch2jcOmCX38ncMkCubEyhUTlOHJ5292S8r25Zb+61qtLnThl&#10;WpUU4VHUjbRXTqJrT30k+aF2r1KctGtVZ68YzrZ2itaRaxd2nnCTU7LyZP7OkIhG8oxVtrqFJY52&#10;gEnHGThXlrBeWkY0/V0awuU86MMJDa2zSYaRTwQuwsQx4BxxmvTdSll0+X7RaWz6dqqB5ooLGJtU&#10;0vVPLWSNJYyu5VDqxbleAr5IxtrkJYrCdLjU9OtRo15JKy3GjrdPdWdx5iyLIwD8gt8rcABWGcnO&#10;K8mvD2UrTlpbVWa0S6fqn6o+hwGMckq6i0rqzvFpv+8rf+AzjfS6layMPRtJi+xW1rd6tbFjCUiv&#10;JZDNDbgbmDSEghFwMgHpgg7cYPNWqTa/4h0KOWEHw14dvbrX4bfO1vE0ioNPS6B3Zkt7aa4PkqMC&#10;SW3lfDCKORel0uwS1voGFkbgtPH52kzxhUuEY7iVXJAPO5GAySATjFLo9yuoXt9qTPcNYSsNLtyU&#10;dZNKtbNpUQmToFM0t2yscDBA5xk8dJxm4xatZ7elnrf/AIfvoj2KlaalXqp8ycb30VnK6fKlrzWb&#10;cXto+X3toZ9DwFngvlezF0xMu3zXtWB7sDgNhgcd/bBx83/tD6Rc674L0rwRBJO978Tfjn4W+FzW&#10;6I5lltLrUbHUNWAjUZI/s/StSZtuCoBPGRX1ulo80v2QmHybQndvUQ5icAIzjGDnemG/h7k814dd&#10;6Lc+Lf2lfhJpGni2u9L8AeH/ABT8atXkchE0q+1dn8I+HZnJOdotH8S3QyAcWx44yJlg4VasKMYa&#10;Skk1+DfyV38h4LNZUOfETqL93GU02la8YucE9vicUrvuvnJ46t7rUdR8GeHL8zTWOreMI/F+r2uQ&#10;JZ9M0G4S4VHY5DLNqI0+IZ6rbzfewa6rzzPeyXc0v+itdLpsSvEJi4SRpLyY5HG+QJHxjKwjP3hW&#10;jqFpDe67qviKGJ5Vv57fwv4dXAkn0zTNM87c+0D/AJbXLXszkH7yrkDIB2ZfDUdyqhNkSxKsVsq5&#10;wI8LyxB5Yk5yAc5yc5Iqp4eUajVGV0vx87/j8y4YzDxpU5YlcsmtbW08rdGtIt9eV+R5W/gmXw2/&#10;iLVvh7cWNvp+q63Je3fhHU4HHg3XJGWCV5FjjIlsp23vuuLdvn3MXjdjuPl/xF0PTdc0i5n8R+E/&#10;GWiq0Agn/sdE8baG28EK9reWLpdjJwD5lohXj73NfRWni8trvWbS98yGOHUUkicxfuSZLG0k3Ljg&#10;csQeT26Vk6nai3tpLcWEV/FJuMUjSyq6MF6CRDtxtXoRzgDOcV14PGKKcasdNmuz2v6GNak5K0Zu&#10;+jTT+JNLfZN2tra/bTQ/LHxBH4M8UeGNY8E+JdV+HnxE8L6QiX+reDvi54Y8TS6x/ZdofMkg0u9j&#10;06LV7G9gYRzJd6TLul8uNZPOCKser8N/Bv7PGofD/wCJnjj4eeMfiz+0l4S+GU1u03wQHiy28F+K&#10;/hxodvEty2o3VzNavq+p6f509zbpfWBtZI4gxnR8yzr738X/AAnpEl5Zapp7QaJrlpcrLpq6jpay&#10;RySw9GR1+8WXrjsrZXGQPzk8U+Cta+HnxY0X4teD4tY+FXiex1u51KLWvCjR3dnpurXEL5kXepXy&#10;blVd/ss48pysiuNwIX7PL8wUIRioJxXdXaVt03e1vu9D4nNMpnUm5Rqyi5NbNpNq2jSabT2undfg&#10;foloGp+Fvjv8PtR0TxXpVv8ADT4GePdA1vS/BmneEtHNh4X8L2l8ZdOh1O9gU7b3VIniuFuLm6eW&#10;eYLJIjR7go+DP2eNRtf2SPiB8R/2QvjvDb+Pvgb8Zri3vv8AhLtIsZluZ3gknt9F8YeHrnADXFsY&#10;WL+UTvNrNHhmiwfePCXjrUvjR4T8VaDoNhY6B4z8PaV/wkuq+HNAgbQdI1ia0Y3d3q+iwIoWEXa3&#10;MslzYShTa3AjeMLDkJ64PCfgr9rv9mfTvCWsaffaX8W/gkG1Lwtqmn6PHD471HQBHEl5eaYAd92t&#10;jdrPM1oryDylljjKuVK+nha1WtXi4SfPZypy6t6JwfZSXT7j5rG0KOFw7jUpp0G1GpBO3Kr3VSL3&#10;coyt72nd9T8mv2lv2Rb7RPiPcaf4L8ceHNQ8V+B9XuJ/AXjrwxewy+FdQtJVt7uxitbhSIjbym4W&#10;GW2zttrpZ4g+1EK+d+PvBUfxW8Cx+I9b0RbLxJb2zaL4+8OSWBs7vTNSspZVcR5/1TAD7RD0BEhT&#10;7u4V+n9l8KfiP49vvCHwI+J/iux0C40/SNR1j4a/FSeN7zwFq4v/AN8JllQiX7Peym1F2jgyQMpY&#10;ooWRW+XfFNlq/gzxN4q+GXxI8NT6B448I3N3oGt3U5VtQt7lHMtrNcMCVmt5IjC0U24h4pYijbVV&#10;amMpRqyxkoctnZrqu3yfR9RQUYWwjq891zJvqtE7ef8AMumjPx3+Jvwa1b4faB4Yvb0ReKvAfxGM&#10;limu2shKPd2jMz6ZqESYaz1GNCJYiRh/mKMyhgfkFfHdt8OvEkL65ps2u+CtWmJGo2UeNb0jymIT&#10;UrN1Yn7TAEbzYMhZhleH5r9pviT4A1O98Bat4hm06O++HWta0NO8UWMam4i0HUrcNLaXEilSI/MC&#10;vJFIMZ8lhvyrV+bnj74V6P4jj8QANZWNzqDbdZ0B1WJra5hw9prWmPwE3b/KuVY/KXjfJD8+lTUK&#10;q9rHSLV7fdqv1R59TnoynFK7i9H+Li/0fU+SP2kfhlbeIPClr448Naja614d12RPP1LQ5NtvbyzM&#10;ZLS6jUMGQHByuF2SAxsB8of5b+Gi+GdevZ/A/jjVk8B+OISNP8F/ENB5enG9WRRa22pKME28xZV8&#10;7nZlSQRkV79oHia++BHijUNC1+ObXPhp4jL6V4y8OSRsz2aSna19bKfuOhIdlA4KA4JDGuG8XfBS&#10;XxD4ssU8ManpWq22vxnU/hvr9xJ5Nh4jQKxghZznbcZQRFWyRIc8gHHRRrLDr2NSzi/u/rueZXp0&#10;q9qsG3Lr3T9e/Vd72PLPjZ8CPEtlDrPiZNBksfFPhl2j+KPhmwjV7SMKyqNY091co9s3z+Z5fEe3&#10;d9wnbq/sxfEz/hCNe0vVJwmr2EFylnreiXjGWK4sn2r5wjyNwTfg4wy43KQVzXYfDf8AaB8e6Hcz&#10;eCvGXhS11j+zZZ9N/wCJ5NMmo2TAeVLBMPveTtMoaFsAl26nYy8Z8XPhvN8HPEenfE7wNpbReAfE&#10;051LQNPuQbuDw9OQhv8ARZXOA8O9m8knGYnVWGV56KijjITwVdWe6v206738+xy0pzwVSOOou9KT&#10;10taVk3defXzufrFqunQotlqdju/sbWbUahpyvMszwKSS0Dnu8a4AJAJBBxzVaNFLRDe5dGIDDEW&#10;OU+XecEZ/vAn746d+z/ZRtk/aC/Zbn8Q6OYptV0GWbS7GAl5r2wudJsxOYZOM/vrT5V6bvsy9Qhz&#10;xZwhHygqxXkp5LqGJYZB6jkgbu2BX5TnGBnhMVHpFn6Ll2MjiYunvbr36pkqM/lKH3mQqUTBB4IR&#10;iRnlc7O2SSDx3rTV8SLwio4JKsvy5ID4x1YZPX3wCcYrPSMonzDCysnl7ZDKxA373Y/wH5M43fxD&#10;HYVe8tVd4mY7Ffy0QpyhYDBwR1O3gDuoPpnyXyJqb3PUpqpzc03/AEi5G0gBLE5jY4kZTtTcGI9O&#10;RknAH8PatBSrCA5Dx7F8uOJeQuDuOAOBjaQffBHQmpC0jom0BkaUZ/cfISqqBtYYClUkXKnru5Ga&#10;0bdpIysgb5UJUCRCFQZGOB3wAeeBjms5pwupaG8Zc9PmXb7ydGeNFCM6gsW52xEEqFIb5jxwMckD&#10;JPXNWQNwEW4RkDyvkBSQkYUKcHg5xyD3qopP+sRWJJJiDAF+NzDqey54zgktxzirsasUZv3CSO6o&#10;oyxhUncfmbnB5GenC80RlFyvDov6/AiEpRVvl6C7syFX2hpQEfCH5duQCvcZIJI77R3AppaLLRnC&#10;hJysh24Xa2FALcnqABkZGOmDSklQNzMgJzEDGVfGSykY4JOSc9MFfXNRqDIzoyO5mUN54GGfBYDk&#10;DPJdeAOx45yJ92Nr/h+f4lRcoe9a8W9O5DKQrMwy7mZZSzc4Pzbhz3PycjoVPeqMyqVkm3BHUMiR&#10;OcFACrnOc/ewpz1JGO43X2j2sm5twZwrK2D5Z8ssXBXkDjPsze1R48toRKyYdyXxhgAwHXpkBQ/U&#10;56DPAqnaSUbEtykuZ7X/AOCZ0zDIgjV3XccLgCQAZXryMMOSM9T1OM1G7yRBixbcNskaeSWEgHys&#10;DzweCM8YOMDNTujv5apnKsuVQdBwCM4yR93pxx+FRMiSlwz7XbK72JWWMEKwLAc/dZRnjG3BHOAN&#10;u0YuKt/mJWcVda26FaNmby1JRFZwTsVcEF/m6Z6tyTx93PQZpjmB2YxowcMWctuwy/8ALPD5zkHP&#10;HtnPODDJuAVioX5ASxARlyNyg+pBIGTjIH0FTFt7B2LIob5QUJ34+UHqfY/jVaRblBb6fd/mSnKo&#10;nTdrt2+8j82SEuAUdXVi6o7qRuGFK7RjOQmORjHU4xTlhKIQrZO4FUCDYdrcsASMDGAcdsjHNSER&#10;s1ztYFlXyBKW3KEG7IUA52nceoGT+ZrpmTBXzQ/zEkoFdg7Nu3DBByS3+Riqilyt09ws4r3ndPYm&#10;PmSKhB2DzSI/l6qBuJK9jkj5j2XA7U2RHVp5A5HOFJw20ADaMDJzgNk9OTwc0+Fw7BEyQXIXZH8j&#10;dFXaTzznOAOcY43A0EIquGUKA7bSQTt2lwoIBA5LQ5POMEDrisndWUtWTKzSg/ietwiwwiaTClo8&#10;ksoYDqMHHzE7SvYEbmFW48urzYZfMO/zShDhgSQuOgxtBPXlwM03e6oSAQiv5h+QYcDGCOPwz2/C&#10;phIVdMF2VZGaRfICBuVyuM/Mvyxkg4wSRiqSm7KOm/8Awwcydpf0+n6FyFQpY+YrSqVCqiknDbtx&#10;xjGBlQR3yevNWUjMjxMCg3rw4Zosgldx5yckhcnHUrnPGayFJIyoBy52jgEoAMjJGcnBGM/3qsLG&#10;rxvGpQqVCOVOGkCkqwLcjO1FPHGMfhKUEt9X3NKqlGEW1qunkWDEnyxZKsMgu7EyLuZsFQSRkDeQ&#10;exYEjoKtlfnCAcuMcHA98A5PAwM55qrC0hUBvMZwCyREAtwGGTj1z3PYccVIjhWG2bYISGUKN0jB&#10;BnaAM9oxngcN71p7ibs73X+Rm5tyclH3d9O1rkqtFIqplYwxCqjRAbsknPOTyct+PHoHbyDtV3/e&#10;SbjsJxDkbCCB64U8dfqMUg2lOERwYjGZEIxGpIUKOQMZI56nk/MMCq8x3rhgdwIeSNEK54BUgH5T&#10;1Dd+g/CY8kpNT/4axpN3p8t2krWHbpQzSkKpU4UBSx7Hhf4TkZHv6U1XDNEwJDOqqzbQxmyQpboA&#10;Mk59BkD2pv2lhHIyyBUUKkbBT2CbgCO2ZMc/X6VHuWSSIsV+RyZGcEjCNyvZgDjOPY0U4OcrAryp&#10;8r/rzJRINm2Jf3bAgSFdxVQu8DJIz8qgDrnBppkXPKBNzlc4AccjA2scL16YGBkcCqMkgCwq0iF3&#10;HmM3LrAVd1HQDkjGVORyO+CKLXCrGVKHJ2sNrAM45J6Dk5wfqzc8mkk78j7hzvSK7WuWmuGlJChm&#10;37XSQr5jOpJyQR7x5PselQeeQkjuVdRk7tmGUAlsD+LjJIycAk8fMary3GwSJHOCzAOBNnexbJdU&#10;OAMAr1JJ5B5B4yppNsMj7tquRD5gOGUfLyM9vnK9jlT6CtYxfL7y00RlUnCDtHVq9yw0qrM6gOGa&#10;Pgr8ySF42iYEY/uscenGMHBEEt0HADMwZ5N4lnUKQGJDBiT6tuwTgnGc4zVeV2kWIqDnACyEMFBB&#10;ZcEHBBzGR7E/UUwkuEGGfB+YKFLEAAEcdh0I98nFXyqT9/yM4zkpN09L6D1mbExO0tnLAqTHkgj5&#10;hkevBBHb3qs6cxRmRmjjUncSytkkjaWyCSBgAk9MUOZV2oCu0sSyjIBDcLnoMcgZHPyio5DglQWk&#10;jyxXaAzpkqckHoQAvTpz7ENfu24x7Xt5/wBaFRUot8y0Wj8/+BcR2JRVQqTtLI0eCCDgEAgcYPPG&#10;eGB9QHKjq6MudqLhs7QpODkkAZ65JI9BTEUBEQqisP3y/Lhl+YgAv7YB4PUgdianQASOYcyfK/mt&#10;hdyZJPQc428HoSc8Y6uSVnd/8OaTqJu1tXt9yEVcICxQNGcn5wcggqwLA5H3skDnKj0NEYQlC5jk&#10;O0F9y5ztILcemT25xyD1p4/eu+ZJkYMHlJTdu3DkenBxz33c1MVQBSFBYJuyEDgDc2OD1xjHTkjs&#10;OiSum2wXNKEZTetv8hsMTBCxkBlEZkDLGpySOML0HY4IPbNOjjLkhwYpJFUowO5o8MPvHPbBwDjq&#10;vtU6oPKLypzGmUQENJhk3EEj6uPbFTLHgDy1UKr7HYckDq2SAc8AZI55XnB5yad5Sjr2/wAh+57N&#10;Lms1rYhRASqAMpXh2AHzEkcAA842884yBzzUogCL5eFAljMZeP5TIpxxsPI5bjA7DmrccattMCBN&#10;yCN9qAbeq9ehyGGRz1GQTkm2se0BSkkyRnKPCrGRcD5sHB4+9waq8nJL+tQ505cyeum3a5WER2gt&#10;h3nQ+aNg2KrZBBBPPUAED14GOXG35Qq3zqMx7nC8KIwwOW54Zex61oLGoZQ2C8YLnygVVQBncxI6&#10;nqcgY2cYycvSBwygxo58piqnbiNlUbOnPIVMjOTnuaqPLCF09GLmcvdjt/wxVEEkYEarckINuVtp&#10;ZA2OCcggHPX8aKuNFcBiEtbmVf4ZI3UK47Hlxz6jHXNFTK3M7PQjnq302/4Y3YiAsbKygkMygnaM&#10;HGTyccnkH0ZfenB1KbBJvUMys5BCjOSQN3RQc49M9scxbGj38HIVx5QkJXDIG3bSMAnOQ4GRuznj&#10;ItR/KXfcQGdd7D5QD13A9ecnOfXoDnPJa225VKDlNR/rQrg7AGUqoHMm5txbcWyFHTjI6j+E+2G7&#10;mX5iEO9CArYUxgfxE9M/Wl8xnLgKxK8jcuMghGHY5YjAIAOfXjBe5RgGCptKsZDgAIEVjg5GcDy8&#10;fTIPGQZjBpuM9vLuW2pyT2tfbvoRQFdmBgsGCu2cAswKZ3HgtwB6j5fal2AbtzhC+cqh89lBLKcj&#10;PGNjYZcY46E8vR3QFxuOHGMMEjcjDYAOecH1PQnHGKaY5eY3G92dLcMCF27ti4b5sADI/XjFa3dr&#10;lP3pqadx67kORJI3lsMHbgliAy/jnaCMeuMZyIoi0cioYy6y4Zlb5mYdCDyfl2n88nnANG55vnPm&#10;AMjKNzb9vyjjB6Hlsj/Zz34fJl3AeQsqjC4dsxYZTkehG1eOjY/EYucYJwet9fy/4AoXnPmv5+v9&#10;bD0ZwZGZxuYkmVwN753A5IHU8kt2yw6GnKc7k8x2JJG5eApIG0jPORjp049MVC5CjyUjOSnysylX&#10;IKtwCMBTkDLHP3exyRLEW2gqoyqZO1AQGCjg4IB4zn12mnyu12y9FNSWzX5/qSKAEEoZRtUkOGzv&#10;+UhQoJwMc8d8jpzmupMgkG1gjAx7mDMgHHI4wCPz5buKWNZEDGIBhztwoY7SoOcZyfXAIzUjqqld&#10;gKDYcIWVONxYAgYPGW/EkkZJBcUpcyUtP8iZJ1JKUHZpf5DeuxCX+WQlpBIA5OSWYdOCd3bt70hk&#10;8rDoZNrKrMiRAmPapznoSx+XIOThBxjkTMyM4UssYySwIG0nb8wB56FsD3weOhpXDMrOCgJYM2zy&#10;+HQAgZXHc45JHJX6l01Jv3uoTSjJN7/8MyKSR3cq0eCH2kiQRhV27mwQMKMZ7Yzjg8Axs5+0KPLV&#10;t/3kOF/1ZI3ZAJyeCBn1HPWnqGMvmYMe4F1corqAfmBx74+Xg8L3GMoERpSoAdZA5f8AhXoynfjH&#10;TeWGO+044pNWlzdBrWpzrfX8tPzHbnA27QA0ZIDsATlAcEAcHoOwGc09JXWUswGFLKm07ZEXecL1&#10;yBnsehHSoGDFj91NwLFNrYUFckgfiB24z07i4GTECxbbNnaW3Ag/KTnPUrjn+E+oo5Iq6jvewkpu&#10;cVLo/wADT37g5CspUEeWpEa4ALNwfpjkdsc9S0B1ATf5kPl9WUfMz4Ysp6/3uMdXNVrcN+8cZAjj&#10;8wqwywDFcFgOR8yqRxjI4OTSsVjSRHBBCmQEkusQCluO5xg5A7g4zjJy97mUEvX+vuHJOCU7d/yH&#10;+aXjYx7sZEZO3y3QbsDOf94twDxnimrLIAHOEjMXDGRD5RAycEYwRlhkg4J4xRI3zFSrKcOI0kyJ&#10;RghSOmQc8dzj0GKrSuQW4ZEkYnMkAfG7gMOQBgZ7ZwCOOBTnN023sr3+9f5lScZU7vT8hjNg7opM&#10;Qqqhw2WXbtznGOQc9RjsAAaiMjh1YggKCGGRIU+U4AOAAvO7AzwRyasurGRGlSTJYK+5CpUAAAjp&#10;nhs4HPUjOGqsxZ3VQcqpKoWB3ORsCoB1BJBGD3II99arW8XvYqKnGnyPa5Kz7QysgBLjapABwS3L&#10;c5xwxGB3we1V1llOGkYEl96PsL7wjltpHcZjOFPG0DjGKbuKIZCy8Rk8sGypwNwznJwxIx0PPamb&#10;lx+75YksSpUq21SWByCSDtz0HI9qyVRp8q1f6mc6env9dxXkMhOS0gWN9kpZm80FiRyTgdSQepZ8&#10;c8VRkcnnKK0S7zufI6ZAz1wBjJJ5z170FwIo3RQZR8+VQlkBZcHGCR2BI9qhmmBUhlyCjxFIVDjJ&#10;5B56jg9e/HFEZuMm7aP+v8hU5Sup3srf5BJcKWdwfn84gKpEioQc7gf4ufXjis+5YiQfKI1ijOFG&#10;AEeNgSueo5xkE85H0q3M5MgERaNowHCOfMSPdnIU9CQVbkdeuBms+4YJE8j+WVSMSEooYoOMZ6jg&#10;ZG7qDgEdcauXIuZb2CXv2S62/wCB+J+En7QvjjUND+KnxX0+x2Z8QXp02eSMlQkCGJjGM/NgtHH1&#10;/u185aibaHwhp6Rxf6TfalLNLJkFvLRYwox1HOfzr0r49XUGr/Frx7qdsfNt21+fy3x8sjbyufYE&#10;g8e1eXX8Sl7Kz88PBDbeZOQMrGSSSB27iv6H4doUqeU4SytJxg38orT5H4bxLXnLOcYr6QlPl7Xk&#10;7N/12I7E+dDDZLIA8hP7zJBYE/dP6H6gVcaLF0qFSfLIQ8hWCjJJJxzz/OqSKkDPcDhPKPl7R3PA&#10;B7+pzTY7q4aK6cltqQ7UbaRsJ6jP0zxX0V72k1pv+R82lGFK1TfbT5XZNcXIadpw22KECPKMBk9w&#10;O9QWU7LHcTgqGdBbx7mICDPr61lLFPcwxxgTeWJMrsBYykcBQPw/nWnc28tsbW1nQwsV8xQfvfMN&#10;wJH4d6fwWVvIwjNTk5LTl1f6Iu6UVkvVeckIzmSOLbuUhOSzexwOK5PVdQkv7yaeT5me4ZvMY8tl&#10;iQce2a3IJxGl7KihkSIwJIT0yPmI/H+Vcmod+VwvzZLN1wSeua0pQ5ql3srW+ZnUT9n6vX5WBEKk&#10;uTuO3IDMRn0IFdb4a0261C9gmMXlwwSCSMNhY3YHIBBB6Y3HOelYllZNd3MaZdiSEHyctg5OBnnt&#10;XsmlW8elW1qqQmSWcFI1Uj7pwxc8cFyAAQein1rSvWjThzNa7fMyo0nWqckNlv8Af/wTopEEESWc&#10;LiO4uIzPcXEZACRlmdpOByXLADuF2+9cu7wvcrAgBBl2sCcEkcAH19M+prXurtdOtHCtFJqOoSGS&#10;V+HaGMD5ST2xyB2JHesDw5YXeqajGoJWW8m8mJpFAESYy8rZPAChufavFgnWlKdR7a3/AK7H0FTl&#10;p0404r3unp3PT9KvY9I0SLVbjy5IHupBCQoKvOIyEG7uEyp44wDxkk1jS6sdG8SxavHP5rWd2lwg&#10;eTJGwhyC3ueAR061keKNXt768ttNsedE0FWtbZhF5S3JDZklZR13EDk84wM03ULZZdcu7m4ZBZQe&#10;XNDGpyLt3hR8DqOM/NnhcYBJwDzqEqn72Wjb/wDJemnmdblCnahHfR2873+5Hpuu+EdM1jxxDb+D&#10;7m7u7HxBLDcrbXlp/Z+o2U1wizS2gBZkZUyWNyh2+UMkKRtrifiHr/8AbGq2HgLwgxm0PwxI1pay&#10;xsWtZpyqC6vT6s5XAPOI1UcnJrp7vWm0XwfBqEVzKvizxpby6HpFrHF5L6ToqsY7q9STdkNcuj26&#10;Ffm8uKUlgSM8Vp9g2gRC30+IG+uIt95OrFngQkA57723HAzwB3z8pRj7NLnd+XZd2v0X5jrS9per&#10;S0nO2vaPW3nJr7vU0dO0+3sUhtbIme78tXuDCQfNkx8yM/XB+XJ6gAgc4I3dY8UxeHLGYLsk1FoV&#10;ijjRRFBaJgBQi/wgAYxxnaM5PNY99ewaTYSPCnlSKobezb3jUjpnqCTyB1P4V5bNDd6mTc3ryRRz&#10;vuRZDmScZ+8T2Xj8OTz0rBUKmLblN2hfXpd/5HXVlHAw5vtte75eb+/qY93eahrt27yyvKd/zM2R&#10;HFycEnp6/lXs3gjweGtf7Qkg8/TLTbLeXM3+iw3s74MduGP8CKVd3zwrEcHkYvhfwXP4hV2DLp2i&#10;Wkgea6O2GW+AOH2luNoA5ZzhQPXp6pq/jTRdAtbOxihn1DT7GARaNozSlbORk5+0XBHMkW7DHODK&#10;wx8qr8voVq0KVP2FDRr8PXz8vvOfB4aeInHE4l6X3727eXd/cdBaQ+H/AA/Z/wDCceNIrfxB5col&#10;8PeD7gPYad4pmDERzX23bJHpkBUf6PDte5wEyiCV64BNU174geKbnUr+6FxqN4putT1eeNYdM0a3&#10;jUAymIELHHGgVEiX5RhVVQCAPNdT1vWPE+qxS3Ukt3eXDLDHEpZ2UcKoHPBwABt4UAAAAYrsJLs6&#10;dpY0LTnl8mRlm1u7RyTqMy8ogI4McZJ2ju2W9CPOqRlTgqlXfov1f6/JHt0I069X2dB+6tZP0tt+&#10;i+bNzW/ENrqclppWlxS2/h3RyY7CJ18ua7YsfMu7k4y8srfN82dq4UBQBT7JSlqsYBaQbZ9xGWxn&#10;le2OME464rmrVSqorsMSMEEca5bOcZJHXr+OK6/T1kkKhVaTacltu4vg5x7cDGa8ytUTTvtv6n0u&#10;Fo2jFX8vv2+RbW2WaH7YArSRyiCQL8obIJD9MkcEe2eTXU3N5NNpukaSqEDSbH7OixyDMjSSzTyy&#10;nj7x82MAE8CI9zxl3VvFZeTOpZY7l8BNwKoSMgEjvgr15NT2X2iR3nEbsgAXzMY4wN3Oc9O3/wCq&#10;uCtKXs+Z7f1Y9XBrlrNSWy/P/gI0bSNt8cIPnM25B0YrjnrxjI4/H8a9t8CarZ3Gn6j4N13UrjTN&#10;PuFl1Xw1ewxfaU0bWUjMUAY53C3ugohmKk4PlOVfywteJ6ZFcb5JncBtuwRAiTBAJOP8RgnA611W&#10;mJsZlTzFkjJYN5pVVIBI/Ug+vQV5NVTjUafz+Z9PhHKpFqp8K+/5Fl5LqOe5gmUxtHI0FwjJsAdG&#10;ZJEIOOchhwMEcjjitjSbVi7FZfLyrRqSnl4Yg5yPzOTzkDjNNuZH1G7/ALQkkjM0jqkkKxhnldQM&#10;NtUADPcnAyDjNbSeSkxiWJ0iRcxhdq7Sp5LjGOgPH8q8+q3GPIj06dR+0jH+t/8Ah/vN3SkM88aX&#10;8jyPCwhSUEkIFAwDzgKQRjv8p5r0zTLg3E6xrDEFV9oO1UlTaxwgY9RxnqBlunU155o0Z86eQI8l&#10;rIAbYIo3SP0ByOAOPXPUGu80yeLESuggkPG5mZVDYLKxwCQecdDXk4iVRVee+iVvU92EF8VLpb8t&#10;TvvtS2iJvCRPFHtWeIf6Ra4dskZAPA4zyOOwxVxYLzUYZJ9wuJmnRopEJJG4ttUDAGT83AHpxzWB&#10;d3cbxI8cCukUgWV2RiZAVUKpIPHOeeDg85rsPCsgM3l/bRbLcIDLBEzeWGDfdYjv8oIPY4OeK8nE&#10;zg5JN+6uv9dz6HAz5Hzx2dv+D99z0HQYJLe102UPO0t0wtxubckSgKWZccYwcAdyD7V734diktLO&#10;C9uj+6jmUJhVaJQ29C23rly6c9gSeoFebWli6TW5WI29vIImSV5cxuu1XkXg42sVIG4cHnjPPuVn&#10;d21ylnbNHa3aRxCWMRMrNCqt8qMTznjgEk4xkYNePVlTjNytZ7fcfRU6rlSjUjG38x2lnEZZbS5t&#10;YAwuSrzuQWt2Qrj7oORwR82QQPQnNeg6TcvplxBa6btld7kuGVC72rKc+ZnGe+fQbR6DHFW9zbx2&#10;CmFwJbaVI/siuCZ+7HcMjAAGAcn5sEcGlsvE0Gmaza211bu8mpDEEwBzHtBByp4CkjG5e7njg15k&#10;53muWXq1+hvThUqRnzbxS+47zU9O1vVL27vmu3CXBHmB2MbTNu+Z2kJw2RjtgHv0x1I8P2Nnp4S2&#10;Md7caosVsZQCm3cPMZiTkHCo3HOQDWtD/Zd2kNyZpbiQIUBLAQxlgGkATknhlwcjvxyMZFlKyeKY&#10;YIBLa6Xptjv8skvG7ykKOvA2hJCRk8SKMddur5oO1PZvf0WrHCvOtT5OblsttNex6fb2sNvFH5QI&#10;msLQQoXPMUZyQpHp1PXHI6c1y+n61enVr14pXguDd5aeE+WGjMYRBjPI+Vhz2xk8Zq7qWrtZxRWl&#10;uu+4uHLAEkbgflJPTK8Ac8ciue0qAxaneyTqfOdYgMN/rw6yKSvX5gUA4x2OOa5arlVn7ste/Te9&#10;vI0w9DS776eZ7p8PPHjeCPFOl65b2v20WF0Gv3ljE6TW8haK7gJOVIkheZcHg7gSOBXf6hoUNrcX&#10;GiWV1c3UGnXYSwvCGZ9Ut2Ym2nQHoJYTC4BJPzgdeK+V9FE0t6ltZvdLZvIzASgi2lV+SSh9t2Q3&#10;YHNfUkN/JrXhPRbmz+0PeeFrQeGvEHlqY2vbKWUDS75xv3L5ZlktmOBkRw5AJ5qnGq8PyTabWqX3&#10;X/Q6sVQo4arHEU9G7Rb/ACv6O6+Z1Xh77Bc28cT3MLgNm3ubhW+zI++RSWO1jwUwAwGdvOMmpF17&#10;z9Vm2sIVgA0+38mOMrNECWBY45yTkk88LycCuIju4rC3gs7PbAkMxlJKZ3sAzfvMjkkgD5v73p00&#10;tKR5bqGXy4ppkuBKI0LRqke1s5HJbsB26VzTnOlyxTu3/X4HRh6VKKlUne72XY9qgu3u1g3JtvFt&#10;fsqq8hjYEYJfKnaSF+XB+XHOcjNWrbTfOji88l4Y4TcTMwG7dsJbC59eB+Y5rnob0x3ttClwyPeA&#10;Q3MYCl0C5dQrD5gq4UscgEsuRnaa9L0pY5rKe2iiikXzkghvmcs07nlhwwyDnBHuPbGq5ZpTk79f&#10;wI9nOnTU0rc2v3/0yHQ7F0uZmzc22LqNIA0ixE2wyTkAZb7ickY5FejeJN92x1C4kmuprZ3na7WM&#10;G8XeMbHjC4YALGMLt4QYAxgyaVZpNpVzN5YW8hjht4CjLHFMyAhY277VVZGJxyRjqc1p2sdxZ3KQ&#10;6oYZxrWmmVIltzGs/kMr7EXHGdq5Oe+M84rtUvYxjD7Ele3n0PPrRlOtzz0kr/p+hiRravaltOM5&#10;l1DyYGJzHOzje27cTuwDgjgY3YA4BO3atDpV3baA1uupzXyLqoubaUxqSm9ZowdjCNf3kbY+bqcJ&#10;8uadrOk3b20D6ZCbaIqbqS7DPJcWKKFXd0LEMwIAJwpArE8JLrcSLfJLb3uo2N8LwTXY8pCzfupQ&#10;7dD8rLgdfk75FY1Ktb63FTjo1v2tZ2RwSlCVB1oyu09n3e35HYaNHf6Zq5CB4yJpbOGfcCLW3kEq&#10;SA5yM4duPcjFe/nSNAlGnw3KqYblIksLpHLxIsEf7/AK7mmY54BwpkIbAxjir6V9Ok0+LVJv7Plu&#10;CU1Fnj3okiOGJA4Usf3gGOvGcZFdnPo8dt4esNQj1WScwWzrYLDITDbyGaJZpEcAgfM6E8jlc4OM&#10;HtwklH2scPJPZu/4/ff70cWJrQrypTqNqUtLrrpp+K9LX7mPJEge+82BY9MXSwwKzF/ssoZSAJHU&#10;ADeSe4wWGSRmua8Ka9G0l89xKXt4GCGeSB7n7KFlC4QhSF2lt2/gD5jnjNd6h0uHTbO2mF3qGoXN&#10;v5k1xFOrvC6T+XFhgxz8gUsGXIO4cdaSx8O6Swa1hsWhZ4pftSW8vlh93U7ScHIJIywGR2zmseST&#10;xMbTV0nf16EutTjQnGcXbRX8o9fmcfvt557uNJ3ZJVQRMzhTHEGY7cHrn98crx86nuANW4fS0tLV&#10;I7wm3hvFeS3jKb5CN6O0mFPyqgj2qcZbtjObGsSaY+rXV+1ta3CRbbaVYYDaloI1jEJIQ7Qy5K/L&#10;jdyCQSGGU9pYnVL+SKHy31VxfLpTKotreJSjyFHbHljeQAgIVUfaCoXFTTnJuUKcly9/L/hzqpxT&#10;lB1Iy2T366XX3X10/E56S7syGW5MslvcFpfKmZFXdljja2T1+bjqSeOc16Potzo+labp0dqjaq6w&#10;rFLaX9vujUz3NtGYpVzllOTkjGArfMQQRmy6l4cR7GK+nt9z2aacLiGAQrpqmRn8pV4AnJwNxzlW&#10;ODkgVgza/fx600unW1zLcRS6fNdzSrsCfv4WG3JIClRhQMH5s471EKssHUVWEueTaTstUt2dk4Tx&#10;1KVLlcYpN72T6dr/ANdUemeG9Ktl1fRrG6uZ/Igg8hxNModEXLOFOMKW8oZAHBbpxivTbt7jWNdu&#10;ZTL9lbUIBYeHreWVdsdvEZILIl84OFIDuccjJ5Brwx/Ek8F7Z3kli6tcMEikeQo7k7XaNzt4LCMg&#10;7ccE4689/pHjNZdJuL680dbebS0uNQ0+7tZQY7J1nVgsq4aRlYOqxbW+UsM9HNejgcdRSeGno2+b&#10;Z6qyVvub+bPAzjLsdOUcdCN/d5N46OTu2lfW8lG/WydtSXUry5D6BI8as9rrdxo97dbUCXVjEZYi&#10;Ldg+cb5Y38s8p5GepAG1KIZ9Mv59PmtSmiNGbixuSqvdLeJ9mWSIE/MIpDJhhypZCV+baWa5rFum&#10;h6bPaWcV3YWupzaxayTJsjnm1IxGSXac70jWF1zgA4ydm7FYV3I+lxXdl5aaiLywtYftKQSpPIIb&#10;iG4lDAk5kjlQksApJjPJNdtWUYVJKL5k0nfz5dLPr7y1/wCCebQhUr04WhyzUnp0cfae9ddHyN2W&#10;jTf91ndW9yU0dDaMZNbkuTqGlSmeOdIorVirwzr95CPMVgzHhVjKqRg15X4o1eHw34ha9G+dNYVN&#10;VnhC/uZvMCNKVG0dGJ4wQN2OR16y5kWe4aW1hu4mEE6wIRvlQ+YJICSgCAPt2MQoGFPUcDC1zw5q&#10;etPHdJYtHYhFN7O48q2tz3bPOCwX5VOSeeMAkcuKrV8RT5aC99NWa8lr+qfyOjKYYXCYt1cZJck1&#10;LmT0erVle77K1ut31Om8KXtndWF1LJKk9tFkXDmcCaWIkhYjgZPLbdw24OOBkV3dro97fRaFYT38&#10;Ok3E09qt1PBIttcWSPKoaVyOuQcHcDy68jrXgE1hf6Kurz3Dl7RMQ2cFpC3nLKkJCbolUKckBTg/&#10;N5hzlmNegeELHW9X1BL+41SKGOHAMd27yyEKFQqON+NzgAEnbwdpIGdcJicQnDC1qd3pdXS0v1+5&#10;f5nPnWXQjCrmOHxCjBapuPNryqyS6vV30totLb+n2+q3dm8EWjald6pp/wDZqSz2uqWS3EUMkN2k&#10;21JIiEEUjKJCeSPNYcE1PqGt69rGk6hDMLSyur26t9RkuLsu16JYWcpJbqm3AwduSSAW7ZAM00Hi&#10;aTTnjRbW4htok/fwgiWGNZd7IEEWCZFUKWLM/BAzjAxvF7a9/a1ldr9ijRI57M2lj5oltlmm3xQE&#10;t80ix+XEqEKMZI54r2qtGtToyrLm5Xay2XvNp21e3qfD4enh8Ri4R5afPdvmum7xtJXtGKfNpuui&#10;vfRu9JoUtw+i6glzPrF/FYIljp4gENtC5uivkgLjDMRJIWIJ3dfvGrWo3t5DLFJa2dh9k+3n+z7G&#10;61A3BXy3zPG4A+dVLpjdgsQpPP3aOgX122m3M17c6kZI95iEchilklKMz+WANyFVZssDlvnBwME4&#10;fiC3tdF18XFsJzpos4rm2urqYMZLhYElnQtnaylmdQDyBnknBrao19VVaCsny311Wlr9ez672NaN&#10;CpWx0sHiWpOKk46aPVNxVnFX1Wqi3bn63trX93cyyG0a1Bgl0+3tmme1yyKZ5JHdAq5ASUuV3uCB&#10;JjkVi6tZ6je2tnAdTuFlsNU+yWmnxwS3JELRs7ztJyAg3Mdo7ux4OaP7XkvRYLdTQWly1wy2TxgM&#10;kkgiVQrq2QQVjBYEYOT6kVfZpZNQ1eAXsUWoX7CURAostrGIm2IIVHyg/MgJwPlOOeByVeWtFqWq&#10;dl+vfo9uh3U6dTByi0lGUU3tfVNRb1T0cb8zWvRWIdPt7fTLMXl5NctO7edMwG+WaAuqSBEwFZ1B&#10;LDofvjOQAd9PFESzWE7W1slnZpJqN0l7bfaYI53iC4WLePk/drg5HUE/dGefhktrqPTjFcN5llk3&#10;ElzJ5axxHOUiAb++5645lJxnrT18XtppXiNvtcEMeqzwJ/ZVoJFublDvi8pMDCKokkZvmHybgeM5&#10;54zr0aDq4d2ilfTukmvXXRkywtHGYj2eK+OTtrpZSahZJJ7Rbkr6LrZal83dxqSR61dao9xLf3E2&#10;pWmnxSoLQB5pXdwmSynAdzyQQw+tM1jV0N3Iiyo+20guLo+Wtv5LAyOVXbg8bmHOCQq+wrJ0uzWD&#10;+xdF+0y2H2qNbu+jNupS0BwVkVsY2+W6kDPPUeoxrCyupXlsbniWSSVLSSVFtTcMGASWQgnHmBAw&#10;TJC7zxnJrOnVruEYW95769Uv1v8Aod9PB4X2spuS5IX5Va3uuTs1pay5e+u7drI1726soYWYQSOL&#10;m4Ml4rOdu1gytEwAxggIxJx0IGCQa1onMF9pCaMoihSImNXTau+FyXdQeyhlyDjOOlc3qF8dQSPT&#10;12Qwgrb6nPBB8jiGMgynb83GQ25euTnNTeD9QDz3djer9m+zXEk9lJMHury8RB88EIHAJLZIOMgD&#10;5gduOmFWnGvy3tzWt0s1q9V3/M1rYSawMq7i24ptxu3dSVk7eT7a8urtfTtrm0g1S41Hz9Vu53ub&#10;p7i7jnwttdHzTII41CkADc74baQI8biTg41ithcpc219Jc3EcvnxTpahVuYihUoIQFyoB2jcDuIB&#10;GRliOctfFXmSz3cit/aN5KhngSMSKpVVj8rp+7QBQxKjJKrn7zMN6zvYtN1a319bR2uN/wBskjYM&#10;lvPPGsbIJCox2MjkYLFSWJ3Zq6VenVlColrf3v8AC/W+vl5s45YHF4SnKjUve3upWXvJLROysu0t&#10;tF8umY6zNaHT72V7fTJQ9xObKGGzuLveU/ezwAqf4kUMBz82ecgV/D2uWsWni0fxDq8Qht5EnsNL&#10;tbu81GRV6BVhXYE3NtxIx4PGAADF4fu9Z13UdTGoWiSanqU0kEaRQm2iGWXaM5BRVPlZ5AGFBJ4J&#10;3IruWO8NpoVhpiTNC0CMk0kj3bk+RKHmKLvwxONqqBkc969ClU9+GIjdbx1u5W7aNLtp5njYiCpx&#10;qYGtCPNpP3HBRTtu3KMt7tX5VpHS1rGaupx6pbwoLaGKCV7WKxg1jwvPollBtkSNpGLzLcTqBICz&#10;hVDc/MMBa7bQ2KWt5Hp66PbtdahJPb+JdHje7u0jEgR1MMRDqF2hdrP8qsvDZ4zpLfx1LbTDVNdc&#10;Wt7ML0MI7aE2ccDR5jgijjWRIx5G0schvmzkZJ0L2+8UWjywaZptxbQIftJ1fS7KG2iu22AFlYLG&#10;GJOWZSGHCZx1PoUYxpVJVeWd9rWV9bvu7L5ryPFxUniKaw1KdPVt6VPdVuXduEU5X0acZXs3KLvp&#10;p3Gt6lo88C2WswahcpbHe91oDQy3UOV/fW1wiEAbWUeUST8mVJBCiG28U6Bdaxm2nijlupm2XKw3&#10;GhOo2FtsrspEhJKKfkwd3QZzVmHUvEtpaCM/bbuWCNbmWRtPF9Z2ClSygIBy+1QQzYC5OB2Ml1Bq&#10;T721q28H3+nvFJaXxdJtFnjK4bMd1FuAIwV3qQV8o9O/bJ1puMoNpJ7NXS8t383Z/eeMqWFV41oJ&#10;yaavCcYuXXZU4ppdE5R3tdpouxRzT2LxWN3Y6bHJejTJ7DXbaG7tboEGXA2KCzOwOxnACoSQp4FV&#10;JtE0NLSWTZZWlhPqEiXV3pPmx20BjaMrLJbsxRGUGcPt4ODnO8gQXWjSWhW+0TUtO1HQiTFqFtc6&#10;gJ5IiyqoE13tYgBlCiQAsMDJILCqttYT2ZncPLd6jJKbq30K/km1GwnLoTEYJ4yiFpIy5JGeFAwx&#10;FYuU1PlnBPTe91by9eysyIJJe2oV2k3eyVpX2an1Tjo+afNFaNt3Rq2+jNO7RpGdEu7qK2ltdb0u&#10;CCGxvnO9kMiIwjZt6sUBXIGC+7gth3Mmqw36P4n0G61qGERGDxBpdrbxXMCqWZyUCqpjd3YyKSpB&#10;Zh25saVHLZ2emt4YtY7SKKGKGXRdSBtrOfzZNiJDKSwViu9EZjkk8jJBp62rx6ld/Y7qbR/7RtZd&#10;NbTtejmupY1maORNrs5QeXJvCswIIkUEk5NZVI+5GaTTTWz0d12dk/nZm0JOnWqRquMo2aV01ONr&#10;J6xk5wuknZc9N7bXKbT6jAbW/wBJvrCa0voIf7S0CaLNvqjNvWVQrJxGczMPmXGcFS2AaXiDTNOj&#10;ke1n+1z6ZFP9mtI7ydrx9IGVd40bBYKFHyoeAFUDpmtCxht7i7/4mujizbUdOk3Gxnl/s6S8fezI&#10;oQJKm5ir8dh1PArQv9PnWK80OIyNayWu2z1GS/jkAQxjEZfcEzG6yR9Rvjcggn73LOi62GbSTu9t&#10;d2uz2T9bdjojXWGxcEnytK7fuq6ulfmi7SlDVbc1m1e10vPNQSfR2e88N6nHfWMySiKaxAivEjCo&#10;kglGQySgsVQFSZQABjGDBZXNx4hS/a906eeG3hMkmqafcie4ieRljRpo2YMwZmBZlzjBJGCSNe8s&#10;JhPbRaxE+jasLSO4srq1lK2WoK5w07QqfLQojsN2Nw2EEZYbrUei63olzeD7bCl1aNHHc3v2mIOs&#10;L42b1GPMglDIWBU7SvK9a8Z4KqsQ5uL9npeK1s7XWj1Wz+XXqe99aw8cOvei69vdm3ZtXSunCykt&#10;Ur2+J2cL+6cVDd3SnzmkimvJcaVFd4cqC0LIJmAGQIULTkEgERkAgsoro7m1gn8200yaztrO2f7F&#10;peouP9F+zoBHFDLIw3FYwIwrEHbuJDVzsyLFqk90Va1nb/QZbZF/dxEqTcONoPBdQuAAEC+hIGpA&#10;bvS1h1Kyu0Mb3jifSrmHzbeRXUq8sQ27WjbATAPykjAyua4FGdKLhVV4p3dnrbb8b+ux3YmHM4Va&#10;TtOysvstvVLRNaWstLavo0WtRvL3TZfsl/p0T3GlJ9msr21YS217HAryRxeafvEqw+bgnCggYNeX&#10;fD7SbmO3+J/xMtfNk1f4jz2PgrTrhQHaw8N+FIp9GtDEhOVN5fjXb7HQxSqTy4J1fiR4p0Wz+G/i&#10;5Zbia01HVZrbQtC0e2kkmnlv7zzbSzbTwBnzfOkHyyEjZEecitzRNMh8B6RoXhDVorzStE0XTLPT&#10;vDuqtDI8UcMdsYYWuHJ2PKwQgsvAKysdxfI7KEnyTxMHeHLZO+sXJuOun8qau9ddbbiVBrBJOnaq&#10;5q8bN88YKE3yxu21zyi7RuvdaXNdxV+5utOMAbT4LqSFU8iKxvokF5YxqdqKzdH4A+bPOfTGVguU&#10;Bkjk8x45DgKXDMFHzDOCe64JGQDg5wM0uq2d5b3QaSS3aMsyQahYOJoL+NiCj7k+VhhhuBwQQeO5&#10;kgtotsvnEw3kxBgmUFrS5Z22cE4wP9ad2D1AODmvOTrSm4T0a/r8f+GGvYfV1KLun1vd79/Lq7X/&#10;AJu5XMdvLPrSm7Qquoxsu6PmYfYbQDG0EAhkxz2IPcgV721jnhkQxI0LMGEbEHb95Rj2yVOR0wKr&#10;WZJutSlMmJTrMgQIrLGxS2tHDKScdHz8o4I6E9OptYh5AzGgW5DQBHjLY4LAcjgEKBnoN45qsPJy&#10;n70bX/K460/qyjrdJR/JX29D5r8e+Eda13S7yxs7WHxHaEMLiP7VGdVh4f8AeE5HmMhf5ZFbd8x5&#10;zgH84PH6x+F9Um0nxDpmp6hp2rWkon0aODN9qUEUaNN9guy5PnmRNy20q4Yxkq+UJX9XvGemX1ve&#10;m4t9Rs7GKI4ZL5jbRSMfMUCK6Djy26DByPmz1CkfPWu/DuL4mR6xFpOsQ6f4qsbf7ZZ6iES4XerY&#10;jN26quwM7KPtEYR43jVyQcsPewDqVfdi7TW3mhY+pB4f2kleDV9Ft/nY/JjWtB+Ifws8X6Bp2j63&#10;feGfibHosXjj9m741aHef2P4b+MGkXYdk0PVMs0O92823linHmW90WBYRzAt9i+CPjDo3hfxL4I+&#10;K13ceIPB66Xo1zq3hLTtNYWlp8OfGV6y/wBs6ddWzqPtGl3zwzG4twylY7iV1VZYwrfM2r6W5uLr&#10;4PfFu38UeGZtI1i5s9G0kzpqJ8P6kzn7LqGhXEqgJa3YT96OU4HAcKB79oHh+L4ofDzXPhpqUdre&#10;+PtRQ2q+Lllj+weIruGFrjQ7qUb9qzMftVpMqEt5l2yspZlcfRYXTENUPcmuj6Nf1p/wEfK4yCeG&#10;SrJThrdrS8X/AMDRrZvpqz6x17xH4Mk8bTeA/iH4UvPCnws+I/iK5k+FnjrTtRi1/wD4VL4qjjV9&#10;T0v7ZBiGe2WeWUxqgVZrCaADLRSY439q34YaJ450jw5fW12998Q/D/gxNNtPEaxJdXHxDsdMknW6&#10;sfN2gXMti2ZrG5zvns5Hhk/fQgDy39jvx74a8f8AgLxD+x98aZLbTI9d1A6V8MPG88bWk+ha/aFx&#10;YQysFDrKsomtnkUq4KmJiCVZcfQtP8W+B/G0fwZ+Ki3lxNo3iGK08H6/Fq0thdaFNHKPOtVdlCiT&#10;ekbIzDa8iAKHVxu7qlWrUjHFL4G2pp7p3206dU/U+beGoU8b9Sd+aCUqbTvGUbbq93zLaSvqkm1d&#10;3fyd4f1+3+EdzdWXxB0i0+IPwm+LWgz+BvHGiRyPbWV3by4ktnglIJgvrGRo7i2l4KyICpH3q/MX&#10;9pL9nm70bUn0PTr2ceHddsf7Y+F/xBtJkjiuopUcWkUkyAxiXeDCyfdD+ZE+wsC37lfHT4T6QLPx&#10;U2tWVxc6FdKkPxV0TTrZ7SXQWdi1h4v0pdmI7eUyec2BiORpBlRJX5PeJPDer+CPEnif4F/Ep5m8&#10;Nao8U/h/VLuRobOwur6ET27xSMyiO3v1e3mSeM48wlsirhJ4erzN3pvfum/0dtS6lOGLi3e1Vr5N&#10;L9VfTufjh468L6h450TX01bTHt/il4BiVfGeg3EDJL4n02Jdg1mxUf6xkDL50Qy+AH+bDgeKeDUl&#10;8KXNvoWu3FzP8OLzUFvIry2fzLnwTdSgFL22JyDGpKCVOB+75IxuT9C/jtoniIeNVm02NdJ+Mvws&#10;uFSDUXiktp/FNpHJIksF9bsA0yZItrhGXIdCSCjLn5q+Jnw5u9K03SfiP4as7oeA/EF8ll418GRR&#10;m+1D4eXs3zSLGu/M1rIvmPFJ97CspOUOPYjyYimqMVeLu1fp5Hj4jnws/bzVl1t12s32v17PyIfi&#10;18MZ5W0/xbqVuLnxtqMAsY9f0thNpnjm1mQC2vM/xSESSKJckuGAb5slvkiD4n6jba1cfBjxxbNc&#10;eB/FNmNJ1S0v8I+gamAYotTtmODFIuY5Cw27iCCdrV+gX7N/ijRvFOj2v7MPjnxHoenWvjGaTUv2&#10;fvHmoMFt/CGvhnkXRr+SRgiWd5Iq4EhHkyKrLsJfHx7+078MGn8S6J4tuba68N+O/Dl/P4R+Jnhe&#10;7hMJNxp90YHnwR8s8WHzx88YVwcHjmp0k6znV0ajZPzWy+7VfcJucbRpq9KTTku6fuvTuutvU9k/&#10;4J4/HDxR+xr8dPih8OvGQF54atL7TtQ8UWDTB9LutOlvLXTNS1W3PRgdM1mS4jeM5bygB3I+3/if&#10;4e8M6b4g1nUfAnia08T+Er3X518P3X2hItVSASMyedCOShRk2yDCsHxwVavxz8bfEi6t/jbpKTI1&#10;xpk/w4vfh+WNskd7qFndWsggEkn35CglUoZC2wQjaQM5/QL4YT3Fz4D8LyXs0r3UekW9rLcS8Z2j&#10;YZD3ySuTtHVuMBQD89xVJVsNQxMFZTV35PSzXrrc9vhunUjUqUZy/h+6muqvs/RW19T0eKPc0RZc&#10;yBzv8wrGBtYgY54PLgZxjI6VcQmJmMwYqpDYCDa3ytgjgkcdxz+uKqttDhWw5jEpzhGDLyAB0AwB&#10;1B79auRxb98kYLAKVJMbkHADM2euMKe/GOR2r4JzSqXmfbJOUk3ural1ACjGMIwZ8hduFdgucZzn&#10;A4zjB5Jq9EpULhlIkyjEKCpOMsSOcgjd0yOByc1XhOwEyyEh3I2Moc/MC2PYAlPy61agjZCI/Ldf&#10;LJIITLbY+MAYyMHHXuPes3OUovmWhCcva3j/AFrYvQlpePnVg5lUuwKk7FY5Ynjo3GO2B1AqYu0e&#10;TsB6qUBCq5zkg5Hf8DjkVBE7GWQxxu74Ea7TtwBnJJGSDzkgA8H6GrX7raVVTIMBcYwoABABHB5y&#10;wOO2Dk5IqYtpKc0NOMlZu9r/AH9BoU+UqukiLgbSoC7WLKwYnrkAMOTzzwTjEjqEVh5UuIwItikd&#10;gMhAOOwOB23YzkAIzOYy+EZ2bfkkoWxtOARxnIIHHRu+KTEhCkMJDJK0i4yqnGWVTgc4ztznnHPY&#10;inFN3Q3Plcbtt9PuK7RxvKZg6FS+zaGBHyooyTgEncjc5/jwem41XYyqhIc+ZDuUOgC7ldl4yexV&#10;wBznaCMgjN4BhM+BsLqYwFjGfmUKck9Ac8Y/DHFMeOQ7FGDkOIyY/njG7YpIJxklcZ5+970Ocacu&#10;WRTheFp6X3+ZnSmXDl9zeYGieTYSx3MrfM2Nx5RDzxlRiqpbKB8q7l/MyGVGRTlBjOTwJFGT/ePo&#10;atStG6SIS4D4X5T5mScErnsOGOR0A71UkAPH7wma5AJyyn76uflPJBU8A85XOTWlvaQWm2xhfkne&#10;PVf1+BAyNIGVk3BVyIpDtEZJYAnPGf3atjpjHuCxcGVHmQYaMq7LkdiCFz8qjG7Ax12gYHBnDO4d&#10;lPmPkGRkwuGYDkAYwM5+nTkAml8pkXbtJBUu5Z8OWUBsKADgcsQec7hktgmhNxkvP9UKnyQq6329&#10;SvvYKse5isYKM6NgE8nPQ5HCggc478ZpLjJjVWRcbCsg2qWcD5SpbqfuhckEYQjHQVOFDrJ5ZJdi&#10;u/D7ZGHyt0UjkjH5EEcnDSrAEgBo44irITjYF6FRjjO1ue+73obcZXitVv8A15lcsox5X8u1hkTs&#10;G2HkkF9zIhckgHJJGd2FXPJAAAxyTQvmbiY1CsAFDI643GN/XPAJOSw5K4znpLtcliMqN4CKW+ZQ&#10;dgGBxySx3fzIANIvyB+DjzAqKkezJwSSBzz3zx098VCeia36/qwtF2pt6fjYcFjYKI1DscOSDyDg&#10;7gCBjJbJwQCcflaiVQGRAsI24RVUAKApUquBnBGfrtHaqykCQvy20ggMPNcEEnIU9cYB96tRo6Yi&#10;2KNjlS+/KMwO0gHAAUMvpnI6Hggk4xak9DRQ5pxa3XUkiLbQGlTMcjAneFWPAJwCPu45HHYDqSas&#10;2zJFHEm5tpIkLPI3mrnyyeMgA/fGOowOgxmuzy5RmTLOMqiDeSCG6AHB5Ujv93HHFSiVS0Y2mMkq&#10;ImTADbhgqOcsdq8ZOcA+hqpRTlzNevr/AMEzlJKVuj/r8jQSQ+Uqt8qBSFKHCp8vykc8AfN/3160&#10;9WYBQ5coHw4EvBwSfoDz1IOQB1xVQSoVG3BMcm7yw+xhvwBnAJXIEgBwcmJuDUvnyYYnayFgCgBA&#10;AUg7i2eg25GMYKLiocryt2KUteafa3yJHMm1WQPCIiHXBEeQpGMZ7A4HB7jpUcswGA52MrOHhXaz&#10;qwUAqSTwx4Az3POMEmq0yhQqqFWIqwzhHLKFJA6jBI49nOeOKhd13AiR5UO7O0cqVKc4AweCGBIB&#10;xnAGaaUk3PfX8CpWdO0Vp57uwrzRkKJM5RTCGbGV3YyCPYg+wwc9RmDzQAUiVVkEeBkbSRjGeRzu&#10;AwTjPTkcVVllWRv3g5ChT8hxuYAEcrg5Az7Zz2qm8kjMpCuoa2JY+Xlo2yeD8v8ACFB4IwS4HH3t&#10;FGL3W3UzjNJ6u66/l+Vyy+cKW2o5/wBWCCxXhiSVHcFlJOchQRz8oqrNKN7Zdl2qNpUqzr83ykAj&#10;nJwCO/tziAyybnkJ3K+SpyxC465zxjr0UHk9cYNZXXBclsSJkRMoA4O04IIxyM8ccHpjFTHmhFNb&#10;3Cbpxk+VNXba0/EZLOXxtC+ZsDAlvL8rDAkenTeBjGCw6gYpksw2nb/qgf3ikKQGxgDucnK4Axkj&#10;8aQK4JYDhHUDbGz+WHIUFuCOnOWx90Y5IzCZAVJZIlVpCg8vCMoxgFVI655IzzuPvVu+l1p/wxnK&#10;zjzPT9f+CTFnTaHYjf0aNVzhXJwWyMn96xHT16iqmV4WTCqWyyMNwdgRy2PZST0zwcnGC9TKqskS&#10;urusZCuTvLBn27eM9XH3ex71BCA0alYwh3eYFzjo7bgox0HI68+gwKFy3VSf9Mi8eRJKzbLREbjd&#10;8zAISJCw8zO5QAOeATkjrwKb52AkUqozyQmMuMgKAAvrjgtxznrzSIojIITJchyxOY1LZxzgZBKn&#10;J4P0yKlhGHCHDFYwp3gMrqQQCFzjqMY6Edj3cdXaHTX+vwLjdN3Vm9P0uQ/vVY/KoBO5sZGBkg89&#10;zwxJ7Z75q2S8aFwmQ7lXLjJYtuQlm4PJJOT6e1C2wwshIYM+7kKUbIRsdgTgHGe/Yd5ShG50kYqz&#10;P5kYOHBGD3B4LMRkdMdMdbu1v3/4A1TWsZb7jAhwrhi+4eYEaMrtPIyrA45yBg88HPaplXKqxBXY&#10;GYbwSSrZGR1GeVwDnhe+TU7QuHfaPLzLgtgI0RTjjGcEgZx/s9e5tiBjGMJ5gB2CMlmEY+UEbR1A&#10;YDg92A7CiE17Nwv7z/AqUZRg1FaWWpEIXco4D7VUs6FxLzwv3hnPGCMcAAnpmrEYZMeVGX2KNq7y&#10;WAbg7eD6tx0xnpkA2oUfBQD5Cz8TEMdh+XPPAwCQTgfeParQHKqZCRvUSiX5VlyVzvJ4PzBzk4yB&#10;nvUKMpKy2KUJTpaJXa/pkEcPzSLHtfozMVUKx3naqHoPvD0xg+gNS4lUsp+Y4HO/dgEgcjHB4Lfl&#10;yM1bSLcu3aInIAkjcNGc4OM8Zz3P0PSrCjgozMSkbOX8sLEVU7ix7gkBgOpBPJIHOXu8ztuv+AK8&#10;IQbW+3qQpERsH7wAfM8oQBmBzgtgcYz1GM/jilaNtiqXJkSTEjEbcEmRcbsZ6qnc58wc7gQJhEGT&#10;y3UjzAIhM6YJOCC/HAGCehzxxk9JgjMjyKS7SNv3bgsoBLlgr+42HrzkfhrdpWW23zFTcZxul2Iv&#10;lX5Qsr46tgsGPcj2zRTi8BJJjtmyc5aJ2PPTkYoo+78TN1I3vykzCKMqq7lkbcu053dQoDDHJ3Mq&#10;7u/FSuQCWQgJgEMBuVvmJAOODyzc4z9BxSIS3z72ILFmTfn5VOScfUA//X5pzxCVDEjwoQx2B8/P&#10;wMbsZxjBPGDXHUnyOzehUuZRuum34EUi78tGWZSwiUSYkUheM5+6CDyPoenBqJnYgAfMGBi3mVlJ&#10;LLjBwcgncTyO/vmpyziFwZpVXCvGNwKjDqCDkHqNwOMcgY9KiVGcuPMkj2oI9oYh87nTlj1KrsIP&#10;cg57irhL3Xpp/X4g056x33t9zHlyqbY5C4EhbY7+WsxRHXluME5Yder8Y4pisNgJkJRcLISmc4JX&#10;jJ4bGM/ieOlSspeORmAIYFnGzKOcfMMcjaA3I54J64FRxM/yAkjEzOo3A98kMc9/mVu+QRgVLguR&#10;RT9Skowl6209en3hIVJClmVvMHXg7/mABPuMHGemKewz8h3r+65fYJFiwCCSMcnLjg/3R2ziPcAR&#10;tYsWkAOyRd0Y+ZRuHqWCt34btkNShZSSytvyrOeqxqWUAHB5wCGJ3Ej5iMcCiXKqihciNOUfeltt&#10;+T1FVAqZfBBYsEJYPgPgKGwefL3E4IPynFCrwRu8zcGVZTjKjaME9ievBHYe+ZFwQRuGz5sZAZWB&#10;kXoMDB+df04HOCQAGNAVHVoyAqqxyRnA4BPzZ6DAptJyaelvx/4Y2jaUOdrbb+vkMCjcwRwot1Cs&#10;4TI4U4YnHzE5xwMDjgHmpmA8tlm3SsCCZMN5bZzg47jopA9DnikAYTAqCqSAFZDIFUZz3xg4Ckgf&#10;SlJbzVODg4zGG5PcEjpxyMe9Zt+9yp9ggoxi29Zf5jg2wSkOPNRvkU8MAxxwd3TaByRjcoHAJIpy&#10;OJX3M7s6goMDhvmwc9efvfMRjgckkAWV2ghYox5Yj2cncQuP4c9QcnH1yc1BcKQBkZZ2KgK24DGB&#10;he+0fT9TQ4pO602FNyuluupRVjtwQd3VAmNr7sYIIPTkg84yO4NO8/BUZUPvEZAQhUzhTkYAxuIA&#10;yOcE8VFCPmUKUX95t3kFNxC5yWHTbsByTjCk+1AEqRHCHhWQuzbWbI3szDqRiLcTjGQDznm5csJW&#10;3TYouaV4q2uq/An3yCIu3yRleHZ8iLgknpkAnvycD1OahUSExlJMho9pQg5XoQCM5yMgkYHX3qF4&#10;1kkDshVAURFL/u4lbGQ3bIwMkcDrkAZpWYshkjYZbM25HUjc33PY5wSPXYaJRdk+9/0/4JvCHP77&#10;vf173HQSzCNwZQZI5SElG0tnceeD/CNo+p7VbmmUwyeSQoBUfOA2zLGNR+TjAOM5qJh5crBdyosg&#10;VV4keQKQxJyfulWAZtoHIxyeByCrsjsxZyFcESyN8pBPQYOWbb9V+lQrc/NbToZJTpwST1SIy7B4&#10;5IZPMYsxIKElWUBgM8tyecc4C4yTTTIwyhmjQF2RiWJDZA+Zvl5yEGO/TgURh180MioBL5iggKVc&#10;DAPtjLZPocCo3MbOzRqUlBbYm4O0asx2liDyCZGAJAGQQM44cnFyTn0t/wAEKalqnux7ETHDMVkZ&#10;dqjYWycn5vl4B2kDA4O0d85qs6hnUO2Ww7OM4GAFOeo6DqBnI6c5pspYsVIDbc4bDMX6MUAHU8kc&#10;9z+NNM2xyjLGDgxZR1jZQNxdARyc5JI6HPfGamU4tfcaXlKDjsr6fft/wSF5ZHQxYZ5GUNk4D89O&#10;vOcquBwMKDkdQsZclZESUB5A2VjB+Yj5QcDj75AXnO48YzUc83mhUHlvGSBGgOcBQBtA5Y4wc59e&#10;c55ZIEYyxkxt58bCZWI+fd5iuGwTkFSEC4Ax6g1bhFWS+dvkTGF0l2/4A9AsaK29/wB3j58hSxGC&#10;u4+uB/XNUTJmRgFUFyAwQ4IBA5PPc55XOdx5Iqbcg8oyN8q/KRJn5SwwScHp83cZyM4yKhZ9pYuF&#10;YDLGEEhCRgElQeM85xyM/QVntLff+v1HJcsVZ/1/w4kgYo4YAMBuYgFGkAJJ3MOu0oCc8ncAd3Ir&#10;ndW8x9MvliMkbzwiFljGzarPgkc+/c9gcdDWvPCFiQuwjYxo8q7h1kijDHcOBgE/99N+GfqkivaS&#10;maPdlS2FIZnxjaMAZwCwz1HC8ZwK00m7b6kRU+Rxa1Wh/O18XNNXRvHXiqwSVp4o9bniRzy8jRth&#10;i3ryW5/HvXnliLZpxb3TsFkBYkfMfl6DFexfHe2MPxJ8RJJGyvLqE12jFgqlZJGJYD0OOPYj6DxS&#10;NYzM8rPudyd20AFfx/pX9IZFUlWyXDyf8i/JH8+8RxnHO8RFOy55W8tb/wBepZumjRTHv3RgbmIG&#10;xV+v1/pSSPvsoEXKCaZnG5sbguAKoNKZZWt4QjTSDDu3RMdT+PNaF0NiW1quw+VFu8zd8zZGeB6A&#10;4H4+1e3bkST62PFqP2k00rJav8DdtfFNxYWVvY6RYabp92EaO61eO3MmpXA3O3+sct5eA2P3Wz7o&#10;PUknky89xJPcySvKVRlDy8sxOOf1pJJAkWEI82QFSxb7oHX+VU5JXMdvboAPMO9ipwcfShU72a6v&#10;cU6kVGMbWS389nr3LyKkOnqjFWklLDG7AbOQfr1FZMUKDDTsFj3AYCYUnPp+XPvV++dQLaKTI8oG&#10;REBwzkkdTjpx+tU182+uVUBd8rhBGnEa84yPToDmumCak/PX8dDnqSUorm00X3vX/gHb+GLBrpvt&#10;BQx269dpwVA6n8fu/wD6q9L8vyY5dQunSFMbY1C/NEADxk57YFJpNhp+n2lhZxFpidkt1JvAEpAz&#10;tB9MAkn6881xviXXo7q6MFuWNtBIY0jXJWQ+pHsRj8TXmV6ksRUtS/ruz0sLD6vH2lW2ydvyX+ZT&#10;u7qbU71Le3bdLc4Z/MJzDGpY4J9MDNdzFLNp9jKloGgur+I26SNg/Z7TO1mb03ngd8nFY/hnR2it&#10;pdVv2ImuQIreMgM55647D19uxqG9mmvr2SKFwM4V5gT5cCL8qlsewAGOckdzWNZRclh4dN/u/I66&#10;bkkq7ej2IUgS+uxZwv5GnRkveXKfvJQAGJA7ljg4HXnPHb07xNp9pf6/o2lWXmafYS+GtO1C5mZA&#10;TplothG08hUD5n/du3OS7yHmvP7iRNNtEiiGCZmCHbiS4c7QXY9SBg57cAdq7CdLiS1svNlljudT&#10;0C1tdSmYlGgtoQdqg5zumK5AyMKq9OgzqSSS5fv7u25th6PO23q2vuV1depVhuptZ1WXWzaRxWqx&#10;iz0i3kYsLO0h+S3jx0IRVUZyctuzkddqwt7WPUdPtZfmW91CFWkxvluWklUNxyXYZJA5yc5IAyMh&#10;pILWDeSYbcD92o43jov1BHTv82azj4nih1fTJ7UBtVDrFp6LkxaSuMhgB/y2YgHPbFc0FKrNKMdP&#10;6/M7J8uHp88mr3v8npp6If4reOC4WfVHgFwtwZbbSrV1eO0XJ2vcOB80hG3AXO3aRxwK3fB3w8vt&#10;a0WTxr4mu49H8MQzKlo18fKudUUN83kRcFhhSCchRkAnkVs/DD4Y2t3a6h8QPiPcyRaDYyvPZaTI&#10;+brxJOC37v1EQOTJJ3AKg5NL4s1y/wDE88V1q1z9k0WBwml6bEhjt5EQYXbACqrGq8KowMHGRkk3&#10;Oo6NOOHpNOel30iv1bJo0XiJvF4hWpNtR7z/AMoo5/xH4nuL+3hs4i0ehRFm0fSVX7Kb7G6NLmfa&#10;R+6TawVc4OCBjLmuM1RBcXS3d5dGa5v4VklmjfYkWAFKIeAAm3HHGOBio9WvkZmdyF2ygCBZMvdu&#10;oIVpXwBgAj5VAUcjsRVnRYvtNpJe3exfIdvsKMu4SsfvfVQCD6cY7GpgnTpNx06t9f8AhzqjUvKM&#10;W9LbdFb8rf8ABLVuyaNaiK2UDUryD5wB/wAeMJb5U3HrI4wT6B8HknbatQYULszCNAd6qd7tuAxk&#10;dvrWWsweV4mkZ5JiXmmY+bJKeTgt+R44/lXRadEBBKSp3thWZicv0+564yOn6VzYupKXvTR7OX4d&#10;qKjHS+v5PU0okSAqiYY+UsqkZYMGG7joe9dXBbOtmHaWWNZBiESBlEgBX07AADr2/Cq1jBbRWySz&#10;rDJLCyiOCVfPUpxzIh4IBXhe/GeMg3ZXu7otGG3SPhS5YBIF56DpjoQMdRXjVJp2UXf+tD6vC0Wo&#10;uEr2X6klo7yOImZJY4+AGJAB6Myg5Bx8v5n61v2sbLHsYBFjDOxQfNt4JBGMY47061t4LeF8qDJs&#10;Awqh4nOcgHvnqOD6fi57dp3JeN4Izs8xVjC7QuMHbxjse3J75rirvnj7Loerh8PUUop/5dP8zXtM&#10;zQiKFCCcv5gb94qhR/CDxnk5z0rUhaOFpY2R5J0QKW6HcQMkkEj+6On86ybKREkaPacM580qOHXc&#10;AQMnrgZPauis7beftG9/nLNKWddzYOVOAO5zxjHXkdDwVm+do9rCcsIeyvpdW9bE1msEblmkyjKq&#10;sXQ8EEE+hz/j6cV02m24ljeZvMaPeJ8bgiuDtBAOcjgnp0wK5uBklmSJx5gUmR/OjIOcEkDuQMY5&#10;5wBW9ptwZmnWKE+Wp2qtw+zy8Hnry38WfpntXBV5m+VPU9Ok1GKnZ6f5I7TT4pInP2aSZkD71VgA&#10;oUjnAzjjBxknjPqa6ywe0ntZvtoIltnKRqjfOcBiWDZOSpaPC7WyWbPAzXJ6NdrOSzIgtI43O5oi&#10;w3BSWAODgABunPGM84rp7SdVRri3t4I0GJESBFXduPACnjnI5HavKr/Hr/VtD36LjUactL/1Y6qF&#10;DcxW0sn7tbWEw4cny88N8pPGCRkr36cV23h+yQ/6TKpEcJDKpQAHcThuSA3OSOpyDjpXmtldBoxG&#10;0yOk7bUt5IxJtwctxjOcDbgev1x7F4ZX7XBK89zJOksplCI43BmYAEg5xyFAHoBxwK8uuowioW37&#10;9f8Ahuh7WGpSpNS3V1939XPcvDkSywQx3l+8UMoEReOLz5YULKfu5zwQCecnaPWu400yaTdtKZt9&#10;tLLtWWKEqXIPHBweehGfTngGvP8Aw/pzyXEEH22Is0iSWTysYYkCjczNnkEFwcnoUB716s9nbFLR&#10;JXMv2d4RIsJDRg7gNwCjAIQE+uSCcZ4+drQ5NW/n56H0WGqRlenJ3uv6+Z1tiblhPblILe2hSN2u&#10;Gd51LM2Q5TjnaCCB1Kdic1u6fMZL63bUYLdn+0f6PFKoMhViGI+U/Iv+wMDjgVzGljyZtRuLOaWV&#10;J4yzJIyiK2IVcEZ/3XyO2FGa7jR2tXmtLiREklEohlMREizRjcSxcE4wcDBx36EYPFTjyy55aP8A&#10;r9DtpVG4uEvhlou+iX6nqvh+0vbPUVkvZGTTLqJo3MEY2qzIdmMrn5iApAycZ9q39UsL/TbefUCy&#10;TxXE8kzJGo+1eXtWGNZMfPjZGMrnaCxHTk3dA1jTb3zbe4jNxHBta3mhbcXZRtZsHBIyBgEemegN&#10;Et5KbWWYQGKykl8p/MYXMZOSqbmOF3MwccADhuOtdFaVGpTfs+v4bEUIVViOepGyTS16/wBI5qCP&#10;+1Lhbt5kijKiFRNJ5cZHI3Bv4QOxP936Vu26w2GtSpduzvFB9jwUY7Q5VlYk9mCkDPTfjqMi5o+g&#10;27T2k32nyzdRh4LWABWhzzGwIBxkkEY5AxjtTr23uoWv+YttwVt3uGQz3KNGVkVo8gFSu1cEEdOv&#10;NckKUqL9svM9R4hXVOK0t6W1PWvBui6K0EbSw3Ed2ZgTH5qywWy4J6YJYjgg5A5P+zjvNMkj8JeJ&#10;VvpxHcaFfA/btLkleO0vIWBBtmfdvyBhlKtuRtrZzg15B4M1i/LWFsVaQTXq/bSJVHl7VIV2XvtD&#10;Hg4zu4Ne0+MPD+l6rqulNDO7QRmGOVg7CHc+F+ZQcrncMrnHJPU8KdSVTDqVJWaktf68jgqwjHFN&#10;YiT5ZJ7a/wBa7Gz4t8KN4etNNmtopL/S/EOn/wBv6DqayCRrmESEFGdCB58MiMssHBRgCyqrpuo+&#10;GrOIzBpt4laRVaeVifKUkYDAfdBJQY9c9cZroLCHXrNJdOublZPA6RfaIN8YY2V3tfZc2kZJ2sV4&#10;kbkOD0yuWgs7GGwlubATFmY/aRdIrC2n+UOCH7MMgYwcYP3eM5YhRclUStfpvbz+Z04Cry03Cbu+&#10;/WzfXzWlzuo7WP8AtR54ItkP2U77qUEbfkYA/N83zqx5POAoGAAK7zw5az6Rp9/LK7XNuhE6MqHy&#10;4CzrgqO3O3B9P04O2kksAjhZ71Hja+mDgln3oTJycZ4K4I4GzAGMGuyt9Y1S9srVLdF0nSrxMToD&#10;/pOS7qPLDdUK55wSATyBWalGDmkm3ql8/wDI64uU4xpuS5NPuXT1O80nXEms7eMtFE9xNGHhiBM2&#10;D87PvzjAwOgBy654r1OXUtJWw0+CBrdJ7ZTbNqEqLcPG8kmWWIgkEHeMlgckH044TQdJ8OtYRlpA&#10;I0kk2T+aN14hVViabBwAhVjnnliM9MbGh6VpmhG5uza5tba4DSO6GON3nfAlBBHzErtzg8nvnjoj&#10;7SKT5001ZtbqyRwYtYerUcYxalF6dE76HYQSaTqZttj6pfXVussULWEZks7jy4gyqxByT5gAbggA&#10;MQW3VhmHUk0WSZLB4jcXUcCeZD5LKoZN7DHHCheOxc92rtdLZTLd3CXS28SOHsreEfvXVcbRvCjG&#10;AqggkDGQPeprGqyaZqmlvcWqR6fcSR3CzJOrSTJFJvLMgJYIZGUFTjHmnr8wO9evGrRjUTu9n5ef&#10;3I8mFCp7aUKeq0av99jo9M8G63f65C9zLdXserzRz6Rpr/v/ACFlkZIA7j+PZKSvP8Y65Nbl7/Zi&#10;Wer6dFctHMYbmxRYzJb2unuwUZAD72MOGKh2PTLZG5T1Fjq9jrEdrqM0sE0Gn6W7wQ2l8jRxqcOj&#10;uAwbEKKo3P0VeOgI881F7JprN7BmmNzO5lYbmjkRQAI8kfM+51JwCAccng1vWjh6FOM6CScvxukv&#10;1Zx4f2+IruGIVrJbbXV/0S/Hc1tKsrOysLSaOafUZY3+zpMzizly2D8oy2eR97aMHjPUV1Gk6a14&#10;1otzq5tr24heWHzmkeKIlo2WIxngOwAUBQ2TnI5rz+Yx6Td3puLprVtXt5P7CSYxwSRyAhAzKwZT&#10;skYFowMkOBkZDV1eqanfWPg7T49FD+IL3+021DUwsc0dlBdQxwRwt5pQAiQNdnYuVAhcsNxGM6Lc&#10;uarOF5QWqWnbT5rX06DxFGry0405fxHZSfTR31s1o9NbXdkal74Y03TYtTuhdzvc3l/F9mtyQ8MF&#10;vsaRmlYc4QowGRgeaehxWBrGhXeszW1xptzFbaTc6gkM8j3KNO8QWQ4hLgMsYaNVMi5HHAYhasSp&#10;qG21sru/N6BpMVxeW7g22mBmIlMO0IzvJkRxF2YqdiEIu5gc0ajNHZw7IZNFtLdT9unm2XDWyqyk&#10;tGW2qTmSQqjDGcDnBI2apqVlFcvZd0+/3hh6OIcVJybl3fZpLbR9PMZe6VYBisF493Bp0r3UVu8J&#10;On2bFXDSLxuYgFR16zc8Zru9Ee0nstMkmtg8kupLe39o8KJHcJAv7gB8YG25Ns5zgbsDOCc8u3mw&#10;6neaFayNHC8rEyyQImVd4zCGZCyYMZ8xmLbB8uTyWV3gbV7qSO8t9Rt3jupyNWsvNhMkdtaWc00w&#10;AJI+9LFBOxIwDHEAMoGbSjUlHE2asndaaq68vw1NsbSnWwDlB3tyvez5X1/XTt3O7mjt9bthby2Y&#10;C2kk0VrYq+1I3xgsVBAACZy3PAPal8O+Ho4h9ht2tVnnfzJDIVbLFmMe0t+7wCMAY6gdetee6vqm&#10;oS+JNb1HTJo5dMispby1Fs6IUt/JBuQpBG8hZDkgA8uQpC5rtvBWoWVxeTRZlWxvkSSP7UUe6SPy&#10;4SoaPOVJcB+CMkkeuMaGIUsXFSXVq/dLS/4HLiqGIw2XSdCVo8qly6vle7TTetr3tu3fXY9M0B7D&#10;R/Jhurb7b5Si6t7aWOSIy/vPnU4AbyWQFcpnPl4BJPGZDeLp+r6ppcSRXAtb/wAu01BLUWsMluZG&#10;fy4wxyvEu0jJGUUA4BzJM8MmnWGszBLC4tbqGxkuXbJgj83YCwzjC7iFVc7sjaGJG7mfEXiGKDUN&#10;MiFs7W8NutqzRnZJsSGPzJiDkjMu0b2xuBbndnHpV63LRTk7KLVrdpb3/rofMYXCSxeKqLlcnJPm&#10;u9FKLTVunV6Jq93zLRHrED2l7BfXrJ5mqQ6wLO+O0IjNIN8jE55VTtOQMAOM4AzTL6S0tdTn082F&#10;xJbGT7VA88aZR9jJMrY4eMtDMysOzKuB0bI0K8Wdf7Bilh0uz1vTGtJbx0VIrRGJcjcBtUuYdu4D&#10;d846VL8RFtbTU/BdjpiGbTh4IFvZ6mJhNbttuJzsiIJHmIVlQMM5DjJOTj2fdngPrkXrFxXTV3tt&#10;2aad+54EKDWaxy+d0pKbWuijGN79Fe8ZJRTbSb6HNapbjW9Jn0i4jhtiPEZ1W0ItTHN5ardI1ok2&#10;eYysikfKeTkYyc5Saa0WhxzWbM6298/2vYWCxzL5iNG7nqcR7sZHOemDWrqtzNKlxdxApexT2t7p&#10;1rHE/lXMV4x3APksph3KAp5ZSuM/My0LDWbw2F3oMhja2XU3dlt18lri6jlkQmRuB+7kLhNmACz9&#10;flxwyoU4zf1jdqyfXTa/3P5H02H+sxwydC3KpqTi3ZK6XM130cXp9q6b0du+tPFuqw+dpVtem3sr&#10;u2e0ZhKXJjVXOIy3ALeY6FuCpkYg5+atO4s7TUbDT5ZtTv7uW1to44bGWOGGCNi0rygEYeQDap8y&#10;XJDOApUEqeCn1HT2udKlmjXTrGe1CaX5mY/thR2WadgSc4LhSF6bBkAsa0byCa8u4pYbvFhBCiGG&#10;zDpHGUiBkMhYkb3ABAOQGPAxiuzD4qfNKlJ86VlZ30T127Lp8jwquXUo1IVKS9lLWTlyp3avGzdn&#10;rbR6q2q3NoIsV69vcNdxlUe51MpCL28kbYS0kSMCowcfMQcB1+9jFNvdAW5s57GX+2PEB02Z306W&#10;O6EllYQKx+1CFBk7RlHLLhRkddwqHxVZPqPia28ZRalZQR6zDHpltYW8hiScwqtuzTE9GG2I7mUA&#10;gbc/IapXVlcT3eoLfRsw0+3+2SywgaeLiJYR5iRx7tokxvUAYMmzjJYA9NSjKHPGMLw5mr3TvFq6&#10;01te11/mZUG5U6OJjV5ZcqclbWM07Sin7rdm3FtSSabVrJ25y/ggtL+BdNjXUohZx3LX9u2INOmZ&#10;3jmhfIydgjHIxnzeevGxq19GmkpcWUTSarqNwkaNGgUTQBGJkJyWBV4zkHhQDzzga9kulCO4ksIL&#10;PTtO1aD7NDp+GkTSZTFvklAZ2bLEOwy3zHdjHAGNrccuh6Z9vR4RDBeJpN9Ez+TNF5sYhBhBOWDK&#10;GDYxtyCCOh5KkY06U5wfutO9unmr67a66npU68cRXo0akXzpq3NvLylbRe9o7aN7XbTHaPdR22t2&#10;Blt/tkE4EV1DYst0ZEZAsgiAO3cpz82eCB1pdQxa65etNMZLW+jNrDcTSN/ZqSRx5MUI77/MiBOM&#10;gt8wwKwbi5srSSzvzLMlvdThLdIyGuYXmAWc87WYNhSBngOxJHNYeu3N1fIJ40jtrC/upoVa0twy&#10;SPclEmePv8jW4kUjaFac4AyAeX23Jh+WWtpXXXdJfdr/AEzupYB18VGqvdjKPK277p3Vt/eX6NO6&#10;sa9jqcNnNv8AFMnk37zIIrmWQyx3EKx+UFBySxwEARRjnGRgZ19Xgm1Jp7WGWwRYhJdJhxsuMl0U&#10;RS5+bIijwNx5ZTznNZF7Z6W13Npms3ovpoNPWDSrqMu4i3mJV8tnG7HJdlUcsjdc5p1tNHdS3+jz&#10;xiaGGV7WCaSByuqQiRxmFmAZd33ju2kZxnPFXCChTcZNWv3106P16G04Rco42gmpJJvT3EtLOCdn&#10;s9U9ujsmVbVbTU3nns2e3SyQ2UscK7FkcEpJJyeMuQc4469q5+eRmv1nhkuJJVj2iSDMbxEgeYQc&#10;jB+Xk5zxnrXYWcdpDrerRzXZt7d7gRztFC0qCBwhd0T5d+Bj5VGeh7VyOkaxEY9TuL+3gjWx1VxB&#10;ApX7MzBjtcjtlUViTkgkkjJzXmYqMZcrlK13LVLdq3TpoelhZTbqVKcXKKjCyf8AfW12tdd/J67o&#10;77R9NWa4tLqy8kRud8m8xxkOpcuNoJJCjcS2OTkn1NjU9PYX00t3cx2EGp3X9o2NhYoG023EciK6&#10;o/LBfkYEnO4D7vzZOD4at/Pniv4r2PT4TNK8k11mYBUYMfLKgyFgHAyBjnk4OauabqUtmlxeXNqI&#10;YjFMyQiMSNIiqS+CcckZ6EYLcYODXoUqynSiqytC97/Jav18/wAbHi4ilXjjJypTu4pK1tdW3a7u&#10;rppapOy0925qtqD3t7pV5DHdxyWVrJZ5gXZa3KvJ5jySqSS0x2oFIAUKMHnGdzXZr1ri11BJRbKL&#10;eOx8mK2MXmq7ufMAzlgyuoLLjCgEdM1yVp4lsYr62ni8yxglgSziW4QxwqVVW3GLJ/4Fnk7jkYwa&#10;72GcXVvby+TFd3Kzta28Juo7SKZ1O9mZ3JUKoaMAMTn1JNejTjQrwlDn3s7+miffU8nHU6mEq0qj&#10;o2ik0r26ttq700e7vpvsdVpulW7WNx/Zt5ewmG6SyTU7fTWNtFFFJIJjsLtGgBkDAODnZgEEmuun&#10;0ZbiS6u9S8U+K5W+a0tAs1tJAyo8IYpaNGXRy0cYIbC7hnk8VzenjxTrMl1HHDbadoT4jiFrKLOT&#10;agzIwjz88nyBzlQpwORW3NocWLOyvtJ1rX9ku2JYNUtbaxdAjErcgyDALOxbbuU7Sc5Vlr6XC0Zu&#10;FqNO0dFd318+VXfo99j87x1WSxF62IXPe7t7OUkmk2nKXKk9LNXtvp20Y9F0+8urOWXVtfsQrktb&#10;i7tLW3DKq/uHWHCrkqoEcoOCSADyawb+w0+xkSV4tYvJtRkfTry0lggvvDMs4VHzJLD80Zk3g7mP&#10;mPk5HGBqP4T0CaBlt/Cup2FzDIFlGmavEEeSVj8rAOA2Nw3OAHAOM9azhMml3d1FpYvrhrWVWuv7&#10;OZLz7XEPLiRUWR1Zhkqzpu3bXTD8A101YTprlqJcrtrrfbXRpbWOTDVeebVCrJ2VuVqEUtdPejOd&#10;k7pp2bulZofFptlb232vS9Bv0i09tt7FpuorJdWChldlAkQedGcyggnIAOTgjaDTBCdSs9M1C4gg&#10;ug7PoWuLHHDG5kbLQ5JYoThNxYkZHIGVqu+oaPul8rSNUs7ya4a5kl0mB9EsbuPAEszxJI65Qh33&#10;YYkggsCDi5/a+kXn9ozNetPYPbLBNFf2ptZ5XYsfNj4ADlmTI+XIKk4O6vNryw1K8G1fa23TXZK2&#10;lr7r8DeX1z4uWTV1q05Nu6te7ldp35X7jeqvfmZhQXNxaRwwG0uzDfXVvqVskgDPZXNuzAx/Kc+X&#10;MnzKAGIUtkkAgelxT6XqEz23n297YLHLOLloI9TVUlCsQCQJE2sXZduQACT8u0DiLSe5txA8O3Wo&#10;7GBopLq2ea11SzCRlhEV3bdqrgiTaVO0jB5FaT2Ud/tgihlmv4LeK4s7i3doJpmMcUskDkHO3Y5R&#10;RjBYuCRg0YKu+RqHvLs+vlp53/IxzCnTxFRSm+Vq/vLpsuZxlqrK2rs9XKzd2VILeGG9S11N7jSp&#10;plWRbkOHs7keS6MxY/MgLiKUIcKGdhhlyKne2kmmtZ7xJYbhbGCe31OxdhM4KTvIbiJt3zRhhKGw&#10;SyswxuUKK0jLa3EmnX9pO0KyO1orxi1uoBOzsi+YOwUbRgFQVwAMEnXa3gi0+7msGk1O0SMNGZYg&#10;LuHdbspyDIFON+M4P3JF9CXF023BLu2nv93lrZoVWo4yjNvWSSTXw9ErO+nNdXUm0+myty/2UrZW&#10;ul6nZWeoafJZRQaNe3ii0ns5HlnJHIb5fkJCjAIUg5wAMuztjZTRFL2y/tK1ASKzvoJTY6kgY5TG&#10;0sAVj43be2CcZHSXEk5S6Clbm1tFgkQsTCLVkRWWV4suQwkEisI2xukJ56HEC6fqMIcsz3ssIjGp&#10;6Usk88AhWBrdZkXapEbC4BIU4MkTFsByOaai0qT6LS/r0f5X2PUoVpyhNzvySd3ZXV2r3ae11fmS&#10;SbeqV3dcpv0pXjVLIfbrLV4Yyonea0t08xmltX+c7o5ImDbyC2AQfuk1jXeiWOszAG8vNJmtGd0t&#10;oNSu9MgspJGdp4YhG4+TY0T8EHEjHFdRa2a30c1/Y6M6XVnG/wBomN05h1GIurCPa3yxzLH5m0rl&#10;nKDORkDmbYW+n21xqNxMTphjk1WZ0iY3OlRxxKJ5CATuEccMmQ2WwvGM14taldQhUinF67WX6a3t&#10;+HSx9Th6zi5yo1JRqRst7u76bySTV2r6tNr4uZGVpthY6xrlrBc2OnQWng9BqTC3tnVW1i6We0tn&#10;vJ2zI0ltaw3MwIyVe8hk5IwO5tNU1TSUl0W5ddT8PwyvYvY3kC6hDYCQFWltbkDO1VLyJnG5VGAm&#10;4rR4d0KG6S7iu0sNP1vXJpvFc8drdNe213JM0LJZSbSUU21uIbVSc/ND97DhRPHZ3cVvZ3cMc1v5&#10;jy2sZZjcrDcW67WDb+qO2coeqb8AfLU08PjKEIKF9N7b7q6a+7R6HLisVhsTWnTqJNaWUrPWzfNG&#10;Wr1fPaUdUtLpqzoXNtZKb8+G2FzawzGVIwI40nswqL57ZKlnWRuQV6BsY2GsGBHt90olSWxSRImt&#10;Ey88IXb86E5Uod2AM8FCSMAGtUwy2V1byxGfQdWaFtRuYj5UiWzyFJIGQxE5Qjzcrj5SFGOoD70z&#10;XJuJUtjZXd/AsoVAZba73RGKQg7V271DSMpyPmbjFc1aguZuUbTXRbfd0ttZnVRqOFqfNzQaXvOz&#10;ejS1a0fVqcemr0avnQyRzS37CTL3N/JMGA3eaWCRkknvmPBz1H0rfsJA1mu5xI7AvMZF3+UxCbsc&#10;4wrR9Bj9Sa5WNGjugHVYWurcuYiekoAAGOeWKqc8ZLMMAYrc00Lh2wFlE/mSttBUqxz0yO5PPviu&#10;KlUlGSW7KxtOPs9Hppb8ipq1na6zbXVrqVpDc20h8mWG6OIpVZCF7j+4Bn1xnrXgGueD28BXNl40&#10;0m01XUtK8P3Kw32raHbtf3PgyymUrLBqNlLKZLrTpdzxyhFKxb0dSh+Y/SYVUYx3QMsF1MYY3hBe&#10;eMMY2VyufmAGcAc4ONua4jxFFrVmd2n3dxp19EXg0rXreOe1stTibeJIHZcB94RhwxePcpKOu5W9&#10;rBT5aje/5pq39fqcs/3lL2UZJLon8LXVfmrbre0rHzv+05+yrd/HjwNqHiL4eeJbI+OrCysdU+Gm&#10;vW8UF1B4vs9SMMGn6fcXYkTyIxJFNaSTSgGOfymkBMrOPzA+EPiK/wDBWt67f3en6jZ2f2hbT9oL&#10;4V3No41v4WXsNyIpfEWkwM3nLFb3Vqsl5Cn7y0JilG+Ml6/aH4W+NNFso/GPgy6l1jwnrHgXV4vH&#10;v9jGFzZDSZ5oLXxRHbPlsWb5hv5YwrlGWSVFLqr185/8FFfgn4q0/wAVfC79pH4VyWmmaxfo1v4z&#10;tLieC3tdT1nSrGS4iW5ni/dSXl9aW9zAkqBUkbSkjIkFwu3794ahj8v/ALQwy/fQje3WST975rp5&#10;H548dicqzVZVjpL2NSXKm1s3FOL06SW/aWi2Pm39oHwLqPjexg+M3gZbOSfxnrEVh4l0i3uory6v&#10;tctLSMz6jatCvzf2klqt9BPbli7tJHIAxQRem6T48m/a4+ENtJpvhfU9V/a0+DWlta69pOxLLVfi&#10;FpdjHut7mdHKtLeRtb+WmFMxPmAqSUVejsPCPw3/AGhPg9qmseFBfeFPA/jAWT/FXwd4ZZ7/AFT4&#10;AeKrQzvpfi/QV4caXNNLKlzboQYPPJXCh9nxdYa58Yvgz+0QPB3jDUNF0744eH9NOu/Bj4v6RYNZ&#10;6R8dNKkdNlvcMXZJmeJRks2Vlinjk3EfLzYityR+ur3qU7Kduqv56p+fR6MulTWKk8F8Nam24J7x&#10;kk9NN4vt9qNmuh9IaN411fx54NsfiX4ULeIfFXw58Jzahd+DtWieS+8e+GWXHibQJYxl3ltFeWZI&#10;pBuCRSldhiAr5P8A2oPg74T8c+BtC8YeCbObV/A+u+EZ9S+Detm9+0alLDBM1xq/gXVQrYFzZO5l&#10;spODnGAoZkH1TqOk/E+30yT9qrQbjT9G8XL4xmf4ieG9KeKwuPDuq3consNZkjU+WlveSvIgkRRH&#10;K3nRPlmAE6nwp4j0XVvISTRvhp8cL3+17ufS4BbW/wAH/HVnuddTsYxnywk8sRuIQdr29wZEVfnK&#10;uKjTkqNTaSun3T2v5rZr/IzlKpW5qqtenKzSvpK2tr9HvF/5o/l/+M91qfjBJ/tN5c3fjfw1Ab7w&#10;V41a3MGpaxaRIsdtJdR9ZMJ/o11EWLbVSRdvlnHjPg/xxELu58T3On385s2k8LfGz4Yz2wt7tLGU&#10;sRdWqbsGW3aSO4t5PVFGfnAP6fftW/D27+HvivV/GOs+H47fToPEMmn+MNN0SPyX8L6vI2+Wa32n&#10;McV0pFzC3EbFm28MGX5K8U+C9K8TJYeL/DLWlp480W3ZNM16KyA0D4k6GVAk0y/hUBfMtVZzE2Mo&#10;rlc7EjQb0ZujXVNuzW34af5EV+avQc4q8Xuu3f5Pquq22Pms/s9/D3XvHt54X1rxI+lWHjSxXxL8&#10;I/H8c5Xw94nbKTWM+4AmC4RwYLhMh0dTlTtAb1b40fAj4k+IrlfAvxu0NNJ+OGg+GLe6g8QWd8dW&#10;sfjR4ehgVLbVbW6AKXN9YwFIZQm5p4I1JBZP3nzfqGrWfh23vfhr48upo/Aut600ukaojPJd/CPW&#10;JXcwajAo+c2lw21J4lIAySOqA/Rvhf8Aat+Icvw5/wCGZPiRZafrPjzwtObn4NeOr7UBHqWg3sRE&#10;1nd6PqpY/up+hhJ8uaKbGAcle2eLUk6c9Xt6Pdeqf4M4YYNKnzUpWktddreXaS+5o/Ir44eD4PDX&#10;xt8GaL/aK3Fpa2YN5qqKTA8EUDEzgsAdvlKW+YAAcYAFfph4HsxaeFfDsbxS2yvo1pdNCwz5bT2k&#10;d0OQR8pM3Hp3AIwPmz9unwB4i1a8+G/xRtvC+o6RN8Q9Pg8J6wbTSjY2Gl6tqW2K+WIqfL2k+bGg&#10;T5Va5CgYYKPs3UBHBe/Z4lHl2EMOlRBY9seyygjt04H+xEpJB5696+c4ony5ThcOvid/uO/hdy/t&#10;HFz7Nf8ABIYwqM0jO3JDZEYG7LMeM9dpUDBzwaurGEkWUEMGcHBVTGVUFi2eCf4eBwRjrUKYbzGe&#10;NiibtrY2bdgJ4z/F1xx82RzwDVkZkZT+5ESAxkFsHI3Op45IPC9ONwPPb8+k5WSt11Pt5RbUG3po&#10;X1bcjuS7pE6/vQGVU6kfMAQhb6E/Lx90irEZdHVFO0uq7FOV25XcpYAeynPOd/UAgVURT9pUAOEC&#10;IgKjekY78bskkjPbk1fVgwdvnDzRNGYZTudAy5HAPOCFySehzhulXJ3Tcd+xpGcp1LNfP8SzEVkw&#10;X2o3DAYWYQsDGdzHO3OFDYz0TBq1hAqHGwbN0gOcqQVUAn0ywz68c9KgVITuYOuSqqgUbI0TgYGM&#10;g5G7g56jgdasIG2BDhnYMpYMGZvnwcL65KHv94ClfZy6ihTlGSk9rj97RvGw3MQf3ZMfltnPy5yQ&#10;RyRjPUkY46IpQtC4lO1ot0SNkkD5juA6YYBBlcDGCfdxMe6Xa0LI6ho4xwHyN45z0AY4z0BPcU0b&#10;CWhV02yqTIB8pdWwByeckgn147d4/vL0f3opw9k437jC4HUGMbQFbguykr8u0E45YDjpk8kAg1nd&#10;AS6AMF3SP5gxIq7tzjjncSxxk5xjkkZMwco5d5AzBmlUjCoSCi7jjocPwD74zgmqs0itje6NJgoQ&#10;GClTkFwVyD1Lc57/AJ1GKlK17x/r9CISlUl+87kb7V8uR1SRChKhXZBkhQcAc56HqB8uCCDVUZG4&#10;sY4w0pO6TGwYxyMHgjJ49Occ4EpVk2JvWR/m84MxJZTypyc4OCuB/u96iwxE24IXVCglb5YwdrBQ&#10;eCB6Z9iR0o91q6ZM43SlJ+8/6/QqseHzEwcAOsmSMYKkhs8Hv0APzdDToioaRSuSp3/KTgDAyTjP&#10;Azt6YzyBjFPVgzFTja7MXdfl/iZvM3HgYUgDH9wmiNYpPKYFQroJv3YycFmHBGM8H+IDIC/UtuMZ&#10;cvRExirc9N+RCGjkCrIUQzM8UcaEDcCSOBwSMtt6enqDTmkEjyqx8smRmkJwD13bXHJGSEYD3HHF&#10;ToEXnClCpJyd2DlCqjpkACQ9uvBpjKNskS75NsRMjLlcYzzgEZPyY4BAz05FTKfJqkNyqKPImm/y&#10;ECxoXCsGYJuYlzwSUAzkkZAwOmeeT1BYSVy8bKpMg2o5ydpO0sM+hRRgY6UNI0Ak3RiYBBh1BYsc&#10;EEDHXgdKWSJXYOsoCHaDFIwCIAvJzj1XJyQPQdKqnypJp62e/wDXoCfOlKOj/r+vkPjH+sVmZlRl&#10;kEXBY8vhuOeWJx3IYj+6KeMZkVZMhtxCjLRbRtVgwzjBJbI7Feg4yhVAgKy4MS5wGIMZ3FWXHXgB&#10;W/Hk8U0y7N8g3FCFLEZbJDOWwMkbceV75U5HIwKUJKPNu7Cippcslrv+RcWMhCuQflQltpGG2sxU&#10;DONp8xT2OEUZ45emEZGdADtGAkeEZvnBbPYryM+wJGcmq6bQMttACABQBjaGJPOR/f2gdOe2BUI8&#10;1UclWKPH5hZQfOZjtwoXqW5B55AdeDkVck20ubXQq0oRTa0fztsaDyJhQXbBVfLwdp+UgfmQV7Y4&#10;5zikVomUI25g7Aebgds7+c9sE9T1POKpvKZGYO7ESkoqBgSVC7F2/gm3nOdi42nduSKVyhiV2Zhw&#10;pE3mKBtHG/GPmAPOPUZ6VMuRWSd2iqbThKXZO3y/pFhp0DuQ/lNCNu0AM2Dkg857Efl71WeVUZQr&#10;gRrvbgmTbtLFVYngkDjjrtBODxUJMgeZeA0QywUiVgATuDNkjIYP37885AiZwTKwI+cAR78so/iJ&#10;P1H8x71fLHlaXUwc1Kndf1sMdoUwrfOmxV3Jkug+XjB28j3AA9cDIpltixFiD1BC4SOQLtO3dgH+&#10;L06HOMc1KC0hMZVPkbayhSm8ZJAzgDnK52n+7nHymqRPyDbtTYoYOgG4GMH5j6Z4JwOeSSetTTku&#10;Xln1uaSjPkvLtf12/wCCIfmLK4CZciNVkIZiygYxnAwSRgddvPUioSpAk3EeZny9qYberKAeOhIL&#10;dCOmTkZzSh2VgSHAlLpG6xlwVHIdT7j6demaYuMsu47iwGTENoyDnn0wDg8kkMO1aONmnfTcznL2&#10;luV67fl1FTJRkeQfMyIp8xt5+ZvlfBOM7lODjoPahozIFTAAJ3BdihAAhC/+PHBxgjrkGnbXRBg8&#10;xSlxhirbi4dHUjnIwcg8fNnPBBahVQiqWjC/MVDHDbQVXAHPH3dowOevo1G8bPfa36k803ePLdf1&#10;/wAAjZPLZkDN5Z3ZIjA5+ZQrkEcMFwR6Z6jmp5EUsxklUSDcu9VaNZGAwGztO3OCxyP4ge+acEcs&#10;Crlm2M6qnz7Qy7SOR17/AIU6KDeinPmM77Yyq4DZJPbnnDH8elJr3Uqj20Kppcr/ABIYgcFNokj8&#10;snZtyAn7xQcHjjPOOflHrU+P3axKpVMiSOKIngkKCdp4JyyjIHJTvkYmihKLHG+xTnaoA4bA2kkg&#10;dc5zjuQfpeSKPeEPykMAI48JMXYA7QTkKQHBzjqcYPNJycE5R2Vvz/4AoKUvl0KDwCTb5Z5WPegb&#10;JE3QgdRjAbngHg+2bsKh2ZkA8ncRuYhihBAXnkHcFPJH1wMAzQw7SkqtG5iBBTZkshJYYYnqQ+CQ&#10;OmQCMZFuOMRrsRdrq7Kry4JIVSrkdM8gjknvnvVy/iNr+r7lx9pJc61fbyVirHDIS/ylACJFGBvb&#10;I2su084B2EHtxjBzV2KNQxYSIzKVH3z1+beq57ghcHGSTyegqYQsA0yI5whRkIJjcocsSTgHGM5H&#10;HTjHFWxGpcPKyhsFWdlxnBCgAg44AwDnGAAMACobSjotWW7Kndqz8yosBRwSNqxqUVEUMqk5J2Hk&#10;/wAO3GOp6gkVeWISo6hyG3ecuE3mMEfKVHJy3H50giQfNgKwJ/ds2dpO05GOCSGP4qcnmpTE7Z8s&#10;KqhNo83cCh2gnK5IIB29Ow7cCiLu/Zy2/wCGFHm5mn1v+gwxhZA8j7GjZZGCDepOwhTnHQM2SMc7&#10;PzcgQyvHKMc/JnIGWXGCAc4+bnPcAc84sOiMW8skg5jGTvCjIIIz1O1X/MmpQkYVzIvmBVIWIMGb&#10;HbLepwOT3PWsYNqN2/JaddP+CXbm1dkyIAhGDgeYy4eMEhkI+UE454GMjpk8ZwDREQwUudwc7X2g&#10;Z65LAnjI4XOev0xT9nBaQbCoyrmTbI+F7nr9QKHkK7QwURqqDcGGFy23I285BBP9O9atRcfc1IUa&#10;kHzS32Xz/wAiqzxlm5CAMQiJGrIqg4UAs2cYx1opxBJyrSbWG4ZUs3PPOD15596Khxpt3b1+Rn7S&#10;pvf8C05MYVASpkkyxWMOzYztwM8dyR7cipVba24kMjAlcIvlyDcQGZyDjAKHnBbDjHGKjQLhXZhv&#10;Z/LjiG3f0wc7QePkbJyefQGmjaXkIRlaVtwYKvDHeSMcZUhSw/3u/OMJU7xblubaylror/p+g6eL&#10;zN68McHaGG0EqCTlfbAPGRgZJB6wqGRmUM8h37AcbhuwoyOCSDtIyOPnP0V8kmQ5kK4cmEIzkFie&#10;obHqGYHHY5pNw/1jEiRHZcbNocfMM4PoB+P87SmoJ+X4kuNr8qtLe/zS/EkAKjzA8jOMeWJQGVXU&#10;qRjnjlDnAzzg5xzAI8KNylo1UYd1/dRgglOc4ACKQDzn5evd2ZEMnDseSgOR/CDgenGPmGOeeO0p&#10;MZYM67lXnPAX5izHgc9cAAcnaPWs25JPmen9aA3GUo23dtQO8OqZDB0LKFXZgKVJGQeBy3XGSfTB&#10;LVZlUK4IkZVZ+CCOcnbnkewPoKa4JjdADtQFVYjlh2K+jDjI7Y70JLB5jY3ENuhLYCZGFDZXGSO+&#10;ecbD3AotGo72s1+n+Y25uHLBef8AXcSIEKUjVVCsWViix7cIMgfgo9jtJPfMsisF2HyuQVV8EKcE&#10;JuXIALEgNtxgbsDuAxW+6fKMYZmR0LZZhyoYkHAwC4wenPHepd7qWdiQNxGyEgIFHKgnqcAdOamS&#10;u7y/ruOLUbx6agrgpGWyWBdRIoxv+YckHuQWGeM88YAw1FYspdS4GZQHTIYAAMFOMDGT7jFAkVky&#10;uT842xpgjaCSFxjpyBz/AHjjGOHNIWcRop2uCGQp8xJOSDx2A7cnb15OWoatJg5K0Vu9v8riho1U&#10;ElYoVjZZNyiMINpO4nO3HyseSMEdMVXNuu+KX5WViSV5BiUqp2k/3sqB2/Q0+RwQ7b2EbnKOScoG&#10;XbkAZwfm2kejAU0T5TflQH+Vm3kKRgjGR0xkjHtzk5JUlqoq9zX2kJzTta2v+ZBMjtIcMRI5EpKH&#10;e5+bsx9M8f8A1iKpksp8zyyYWmZ8ZzGArFecckHnB7gjnODWjM6xmPnbksQoG5QqjccDaPvEjGSA&#10;NpANVJGjUrHGV8nZsIUYUEBQu0YzztY5J7dqfPypc2vQmdlLn5t/6RVYEMrqWdtgldYsISMgFhxx&#10;kMfX7p4Pd9tFmMgKvyYMblRskAPIbBGBhiQe+eASTUkLq5KkfKHZ1EY24CtudDx0G3HzZPHPXmPI&#10;+z52xsyggSH7+3odo6jJA4HXj8LUpczi1u/8hcrcVKLdtiaXDqylY4zsMfltGpYyHc3LHggnb8xG&#10;FZSQxHIjjkBkJMm9HIYMUVR/Dw3fJIb6Y5PTMHmReUzsXV2BYl13IMEgcDkD5cn2I4zQ/wB9szkI&#10;x2rldskbFQ208DkBsZ/2aiSv7ttn/kOLftkobfowDEE5iC8FiV+Xlj1GMHsDyB06VWcBXbkziSVp&#10;vlceZ8/3+fZtzAE9TgAAVYM7KzOz7ZFbYillxncuCwPPVVIbqQMchiKrMYEKMpQfNvZZOWxhT6EZ&#10;5Y88Z/GnbXQcnzPlW9yrvVpsuoWMqqqSScDAU8EnJ+UEkerEddtOIkKFhyijCOVyGwx3vgAnPDZx&#10;/c46DI7lGVmc4QGF8r8xzhTlceqD5exGOOlQFo1jTY5ZRsQCRiXOTkHIOOeQcn5c569CUXzXCK92&#10;7WltfmMGdoUjbtIEbptGzJZtuAAoJO73OfWmEoxjIBLD5mdsIS4BO3OenXOOuTTHdHXazOijMjM6&#10;72ZlzjnrgYyBjvznFJG4lK7pZM+YGXI2oyltxDc55JHTOcnkcUXvHmWjM1U5WoRfZL/h/wCrj2YC&#10;QsHYCNhtbeQAchuOc5BAOQeDjHUYqSJtVcFIwoMYbYBuOAzBMHgAYxjgYxjFOM6ts28K4bzXkC8s&#10;QeQMZ4AHYjIzmoSsYMi7UBRyJHdgFAUnIBDZPIAHGCXHIAJp2vNOSuv6uOpZQuo2u/8Ag3K74UFG&#10;CI4QfvTJuRgdvHGMBG4H+9nHaszVrmO3sbyQtuIXMO5gGdmztUc8kk459hx2vTEMGZo3bKkeUBkH&#10;adw47k56dTyMdqwdSlE+pW9hI26C3lN1PsRJA21mEYVcYwWO8DgHPua0lGPKo03p1EpqEZNvV7ee&#10;x+Jv7Wejx6L8Ur+GJcsdLgaZjKZzI58wyMGJORuLgEHBAr5bKIse5VbewH8ZGFPQZr7p/bU0y3m8&#10;YSX1jbTM1nstr65T5oU8xDJHGWwBkcjGOqnHHNfDEoIZERXdsgYCZBPYda/f+EKzrZDh9dlZ/ff8&#10;j8O4vpRpZ7W/l0afyV/xJbSFVd3PAkYmXbyVXPCg+p/rVjW0yyNbbXnb93LGo5tkwu3n8/zp0ijT&#10;F2SESXLPuaIPkQMem73GOnasmGbfd3c275WXKg45I5H65r6pXlJSXT9LaHy1dqFPlTtfV/eVLldm&#10;2CMrJ5aguwHzEnkj25JqSHBl3gK0kcZVABlV4wPrjmqoY72kJDNjJI4HOeR69qZbSATqi8GRgCe/&#10;UHr61s09nvuc7ceWPb/IsXrSPOECndGgBkI5GOv9Pzrr/ClhbCU310rSeWFKBuEYknk/TBxiuKkL&#10;S3chAdsuWIVTxjg59+D+denaTPbWUUMd4yJGkPnOqjlgRwmO3bP17VjWqOnR93dlQ/eYqzXu26/K&#10;xt6rqQ0zRnn2AaprDbLFGJU2sGTuk24wGckgYPAU57Cud0HTVuLyBNhmBfacxnMrHJYd+Ov5VTmn&#10;l1G9ku7jc+77gY/6tVAUAdgAAB24rttKkTT9MuNUkYIr4s9PVPlYNhjM/vjCjPuRXnqXsqTbXveX&#10;3JHdCPt5OhBqy6/i36JW+Q7xBfLbtDZWbONkYt0VfvZOeFA6nOenpWfaW4tbd55GKRRnfgsoa5cA&#10;cjjkckD3weBTLK2+0LJqt44WEgmLcduxOmfYkg9OmTWbeah/a9xDb2aiO1iIiVlG4OB1P0wOKxp0&#10;pwVm7t7v/M66lSLs38EdI+b6l/Rrdtf1WKS5JjskYRqpBaJUDH5B6Dueld34guIVv7gI6i0hkSMF&#10;Cdz7Iwkar3OAuADjHPGSao6VBDpi2UG1fMMn2iVQpUwxRYYc8DLFc5PTHpWPqOpR26zahJCJWd/P&#10;02zc72yxDpNKvRhzkKeCACcjrnWcalSKhsjtwUnSpS5tZv8AA5/xFrLxWwtt5k1K6kzHblA62MQx&#10;tJOfvsO3GBj1Fbvw18JXF1fR+I9Vcpp+kyLdFS4i8w5JB3Hgk7SPUllABzg1fAXgq48WazJeajP5&#10;VnA32jVdQmJaOMckIgOd7seFUfU8Amvbdc8WaR4ZkjW107zH0+Ff+Ea0K65sLOQDB1K8j6yznjy0&#10;cbYx1UkkHolP6tH6vS1qS6/5f15nJSofXcQsRiH+6hpa+9v0/wCGNbxtrsemzW+p63KBbttfwx4P&#10;Z1kkkjCgi7vkGPKjDEYiA+bGMnBJ+dte1vVNcnmv5mlmFy5EUixeSsyg4CwxjhYweMgAHYMYAwOp&#10;1SGfUimpeLNQne5urhbiN7kG61HUo3IO6RcgiMAkYznC4HH3WNaaTZ2UmraxNK9vIjNpulWkLWM+&#10;ottwplkPMcKnrtUfdwvTcOajShSSc7Xv/S82d9WpOqvZxT5baXWvy7L+rHIaZoFxq8huJ43aCJSG&#10;ijULGD/cL9F9STjAroSkRCyqxSGNfKhhi+WKIYGcOcBsdSQOpx9c2LVL7VWWNGMdhBGyxwIfKgQA&#10;EtsUY9Rk9ThQewrc0lY73VNLtZhGlo0yxhZcxr944BPXnA7jGTyKWIm5aJ/L+u51YWlBO97tf1+u&#10;pfttJVIILi4CWdtcEMLqVMyXOCwyiZywBRgSMjKkHB6aqpCkw8oySJGhMRlj8sgkEcAZwchSQCap&#10;zz3t9qTNfnYVYmSMRhBHtOdoXoMEABRgDGBitOxgWRhtUbUPzcF8AjGAuOTn+VeRWm5enT9D6bBQ&#10;jFWS1TL2mymOZVdU3XCmMxlV2YOcMx/M/hXT2Ng+DHIFabczM7DYSAyjkcdCc49MmsKG2TzpYg4X&#10;ClZJAgZRnJwD+I+grtWWNYLS88xtt5aMZVHPluHMbgt1zgK2B/z0FeXWly2gtD62hFRqpvVv8LLq&#10;JASAcn5QCI41AVSTj5s9unX3OauQxywDzV/eGRN2GwykZ4DHA6kdPb2qa0sCZGluJIoEkXYskzFR&#10;GOw2gFjkAZwCRn05qzLBDvAhuGuHkXbI8kfkRIuW2hcFjn5QDk8c8evn1VtZnsQi5e6lbzM4zQyy&#10;xlIWQxzEgElZMHPy5HGOD05Gfy6q0Zljnd2HygMcoQ6kn5QO34D0HFY6xRJPGWPEUYlEaKDvPAyf&#10;TkN17dySQNDaTtgkLKPOErMg3xO2ckHI/wB0fT61hUspc66jhFprR35jY08RxTODHi5kVS0Qkx5a&#10;kbiN3qQpOf8ACuhsEjMzR3MhS1kQoAiEs4yWB6HoRznuw+o5uCb7PHO6IjySuE8xgQFAByAB37cd&#10;vpXRaT9nlhErK88yqQwbBO5RgKFIwTgY9x65rjrRTcpfd8z1aNOpNKLb3+86nTMKDGsjR2tuQsYI&#10;3LL8yoxYYySo5YHsmOtbCXSSsLS0LNKspUugwcAZ4x0ABUHIxyccAmuY09jdhJHhIW2UJIUjWJZ3&#10;xuBIxyfmye3HA656SztWtp4XtwizzkuwPIReBt3HOeQOoweeegPlYhNPmeu3qe5hXKnJJ6tbHTWt&#10;slwltIroCyFtqAbiVKn5mwDwUPXr6cmu70Kd7Czgjt/tFxKkpE3mx/uPlIZW3dCSRxj0BzXLvttL&#10;WCxj8pp5C0kskakFFxhUJPGflQ8Z4celd34fhij0ox7953BN24F2KcY3E4IPqcc9+1eXitZfvFp0&#10;PoMM+aOmy/XY9n0DX7a2gi1LUpnEsJ2RRRgNLISE/d465OwEknLD125r0rSvG1kJJHuYRbw6oP3p&#10;gkxNECqHK71bceWyCRxtHYAeEab5MES3ZuZLZ7a53wXCuWuLdlym9QSOg3YPQepzg7WnxxalfXAt&#10;rq4exi2Xqu4DyT5YkgkcZxn6kD148StSnJScH23/ABPoqHslScpLXq/u2+Z9RWV9ZNp6PJDcmwuA&#10;y6ZGoO+ZVYlA7cgPgAnLHPBPXFdSghnt5L2CFRDBZFp0hnzIhMuw71KgYZwq5xw7EDPJPlvhbXoJ&#10;dPeyuZZILS0jkuLWEuHljKLGjttyM5IU8ensTXcSeKIbV7WaFols59OeNvIjVcs29MsCQOScfKcj&#10;Z26jz1KEkoS/Hp8/U7sLTnKfpp+T+9nceD9bvTN5dvv8iOMrJLDEzOHIDtuBxhVHAPHX1BFev2jH&#10;7O4d0uWRhczxHBKKSTg+mMkZPPT8fmjS9YmuL+xS1k2wwyyy3YEfleawchiCCNxDZBDYAKjGe30V&#10;oGoWur2k1tBIqyTMQ5Y5ebGWI5PHccZ7YrmpxhGUpR+Xqd2K5oONSS06+X9K5LZ6nNZ6kGsYkeA3&#10;IlQtKS0K7SfmIHZiOOvyjBrsrO8WGVre9CziaLctxMpONzfKdoPUswPfHTPTHK6Tpw0jVYVuNskc&#10;05YgDgKuRgA9yRnpnmtC8uoxq/mxgKqRvtikJEUQXIHAxk4Zzg/3V654UFJU7X9670H+7xNZQpL3&#10;Ut/nod7pd1Z6GkV7LK7TTyxh5RGUjiPzBsjngkqc9Bs5BzlfRLjXpbkWrWiOJGk3TLO4EcpO0JGI&#10;xkg7RtyOvy9NwFeU2lraX+kmzjvZZtRkHnW7iXCAnG8Mepwck9gCa9J0a1sdEsbRdRWO6vFdprYj&#10;95ICAq5fJ6KSGGB82WGcislBypq+1r2/GxlWcKc4uCvK/X5amv8A2vfDytK82a28uRGlkV2uVY5b&#10;KkYwSVUgdQCDnivYPDs2m2xV9T+06ho5t/tQ01bkW09rLjDSxjorHHOQQdo3AknPmCWV1O0cgktL&#10;NbgrK1yW2F12rg5x0baSduOp45IrtNC+zyXInmcK0USsxhfy/MO75kJz/d4GcAZB6jkip068YQaS&#10;3OlwhUpX6dbd36Hr8U7WmpM8sdlf6fdEeXc2c3mNEjsSsMxwQjcfdH3tnB4JHT2ULT3FqltF9sub&#10;zDJCMj7GdxVYkGMlmAVsggAYHJyB5bpiW+naxaXVxNNNDcWrTSJFOEHI3OACD94pklgeTxiti38U&#10;x3etPBFNLp0Ud4Y/PKb7e9jZADjB3I25sKcEDBLZBqYOVOpyT1TfrbbW5Kw8py5qS0UdX9+hsaJ4&#10;iU6/cTKs9pY2d7JHKLmQm2Qq+w7P7wB3dOMAEe30FoWtaffyrFPbzy2F7tkluoLb7THb7ASCCOfm&#10;wenv2Jz8/wB7YLo0xl065V4fNW7gkZA6s+WLSHIxt3FiQOD3BIxXpnh3xLD4a0RpGt4tUimgLTLM&#10;7RGxldJFgBPQcokm0Y4RhjqaMHzYWrKFZ2u2+6/pmuOo08RTjUpxvJ2SV7Nevmel6Fqdil7fSXbX&#10;MGnPayBEhKzsHWNjEh6fxogbP94kAcCrvhj59M1t/EIii1A2wu7UEeazRBl8uJUycMWLuwHAYrxw&#10;a8h0yWXTVTX7ua4jsrWVGj8sv5iXL7zF56KNvmggttwSgILbSMD1K0uZZbxbpoWubcwNAb0jKebM&#10;oVQNx7HO3I5JB46VrHnhJRcbSs+mjUur/TscdWhTlJunK0Xb749F+vc9c07Sls7CxZYLcxyTGzMs&#10;yxXL3UkiSlo1QqcLGjcnJDNFu44A5HxD4dsJtc1S10hkttE0aP8AtOSeVFszeqtqk12hwdsQEyzh&#10;WJAKopOM5HW6VJInh9oRFLdxwRpAZgymGJmZghOAMu7hMk4+70xkVwesT6t4Z8beIvBdoLuVtR0u&#10;1j1FbgKkhjvLeCdrddpP7vbKmQQA/mMuD81ehiasPYw9pC8G0tN03F2S8m1r6HjYaUlianLP95aV&#10;k9muaF5Pd3inZf4vQ09Zt7DxPrvhvStKttHaDwppKzDUdB0uO0S4luQLudp5RGDLKoyrv8yttXBI&#10;5Petqa3+o+Jdd0c/Z9HGiq9xpNsoklaCwtEjupo/MUndKImncgZALdgSeet4bLwna6f4ht2EVtHI&#10;ttPI00cmoySNEYfkwSyglnQgdc/7XHl/iX+3vBuqW7WtzOBr2lx6zDYvAfsDW10jDCq2cwvtJYZy&#10;VRhgcYxr1MRh5e0a5uZpystVdWhr6aW7BQw9DFNUKbUXGMlC+zfMpVOaKaV7pO+6u7WuezR6ZLa6&#10;Db6zbxPLYLeGC4t5JC8qxPIlyDKykHb/AMsxgcBc8duQ8RXGo6NBpkumSW2rabqlg9/rNosE0gt5&#10;Fnk/c3DE4f8AdQ+YxXgLIufmDGur0nV4bi103S7K6u4rRvCwTWmJ+3QmZJGee7EcaF0iVCqYbJBD&#10;EjGA1nw3qTWGsavc6LZfbLDS9DbU7dXuRKTDLAqSozIBklTCjjAJLEEDJFdEaMatSMY35Xo2lfVa&#10;tr5Kz+ZzwxeJw8p1aivZtqMrJNP3Yxbd7au6a12v2PKtVvxrmv2Wq+HPJ0+0vIhqk9i87mzR4o4o&#10;PIiJA++wD7DwvmHHy8jsLPWf+Ed8U+MYIJ1u9L0OS5tYHmijS9u7fymVYQVYrtkCEAKxB3Dk7TXn&#10;3h6e0i05litZriO1RZomiUzoAuSCxGRnAJ3Hjg4HWtPW9F1y31HzG0FNITVdXZ7ZDOrrpu6MsbVY&#10;yWkOEkQbWXcMIMls1KjVnhlicLG8780mk9Lq3TS1z2qkaPOsLUlaHK4qLad7OPfVtK9n569D1p9B&#10;0/W49Iu9GN3aX+t+IbqSSxMZRoRMbeGytwOQMmafJBJwijg9WeEr5F8RyQXPn3Np9k3+ZHLHa3EE&#10;lurQsysyMSFdIxsAOduD0zXLf2x4k0S80W+bU5rO+t9OgEQtDGhtZGLRkxMrMRhHG4kox+fgAjdn&#10;arY7PF+lvoF1dXUo0bdrMSrA0FvdKZGf7OEXmMDbJvckmVnByuAMqtSdNKpRppTUkmu6aXTXXdv1&#10;PLp0pzjPCV6t6U4ys3e8Xdt3lpZW5VF7nvEVk2lC+s1vhrVrLKt9czX0CwWcSxxvcRzAZby9hEIC&#10;biDkEsMc8r4y3QtYatpqXd7o+pta2Vis0Ii8yfyxPdKzgbQwLD922SFTBAOVrqNE1iXxBpWuaNp6&#10;2F5PdaQ1tqhFyDJp9tEBcyiKdmVUYxxyB3J3DLLyc52/EMVrLpmgyR6N5PhbwzZx+MJnMjsiTfuI&#10;5bOdHTaJETywSBz5zckKCPbWEpYrAz9lpBK+ibtaTvZ9ktWfMU8bVy/M4QrRvNuzu46rlXLJrS0p&#10;yXLHuk+lh2m/YYfClhEs1zba5eagrWximDwGJCfMOQvHRApAAzu69an8eXOoXNhoel6bFi98KW8l&#10;oLZ2W2juI7tbaWMbl5+XypwBkgksNy5Jrz2a+mu/hzZnSJDeNol7caveTeT5V7oUMzSxpCDuACSv&#10;IrYYZDpEq4XaF7u41a41Dxlo7zKraf4i07Thql55Jt4ET7OkLTrGvy5V2YLgAHBIABTO8ZwrYeOG&#10;u0pqmrrRWab/AAkld/J9jnlhpU8d9dklJ05V5WbvaUeWNlonaVKUrRet9Y3TuYY8Ry6jBoV1Elwb&#10;ldOiRZBayJDCqRFYWUAKXkjCKFUHO5Vzk8VK6QzaBdappLW8uvL4hgRbVpQkTWcgnNxJgtguJWjJ&#10;I5VR3J44zVku9C8L2Fvp90kWq6HqYma3vLtma78uYJEsKAsN+CWKKAhQgsV3ZHE6JrN9p2pW2n2Y&#10;8yyuiXIuTsDMyszyphTgRqwIBODnnoSfPrYmrCtGFX3k0k/JtJXXmne59Bh8rhiqMquCkoxjLRfz&#10;RjJuz/uyTVkt02e33mnarJ4a8MXMOLr7DqMudIYZFkbhkbMJUks80gJdc/KIhz8yCu50LU4m0q7F&#10;1YSRQW4udAsr+RvsyfbGUiKZ9pIyFVgDk7lj4IwCeb03XPt/h680kM1rey41DToZ5TbyPHxKZAzD&#10;naqbQRgjd6AirUYnvtH1azRbi5kg361e2bIGuJ5kgl8p8H5iA04YqMZr06PJSr+1w9/eir9dUrdd&#10;tEn+XY+VxsKtWlLDYyKjy1G01o1GUk76WTu5NXe7+Jt6nQ+GY1tIr+y1KbzZ7HKmH7IXldJBI8kg&#10;Gcx7I4gN54Oei5xV3xxrml6d4j+yuTfLqa+doepaPeG7WzjkRngjUH92EjlG9mPJzgdBWX4d1dta&#10;1+KSGGWO/wBX8KDT7JQ+4krarYxF+udx2nbjLDjjrWHpdvGNB1HVNbaa9sLFltPP05H4neR0icBN&#10;zCHMUR4GNpVc8g12vEVKeDWEo/C23e3SHf1T+WjPLeEisyljMffmUYpwTSblU0923acOrtK7WisV&#10;Zr5pdNg0/XYYIJrK8/tG3voohay6g4CqB5mQTG6/MRnaWXgYY10CXEF5FNqepTQrY3syxGGF0Jnd&#10;dreUqsQDkhCevJ4wdorB8T6ja6x4YHh+VLdl1e3Nsl7Eqm9haIO8KgsMxlhISQOTtQHGK87tTe+H&#10;PsujG7F3BakT2mpXTGK4t5DGrsFAGVkVsgMD/AME1w1K9PDNTUuaDS1e6duvdJdfO3me/h8t+vYZ&#10;yX7urzSaj0cdOaUX9luS230uuy6DUbi8sNdnMdlY2Vvdj+0bTSvMGqWFoWOIrZZyN+QTvKMRgNyM&#10;YFYiLL4ZuNQjaP8AtSzmtnubae53G20yaaEOSQWG3a7OQEG3KrngkHutUH9vaVJpGkWqX2qaXZf2&#10;1/afnJDCkcEMxmi8x9odiG8zJJHyDnrXk8t1qlxLZy20kcz3gM0wdi8duw2bI2XH3yWY4HXaTwBm&#10;vLzBvDJyou8ZO8Wuj0ukttHbT0PYyvlxFP2U7RcUoyi3q0vgk95K6UrNu7d73O8k06XxZbaaLWW1&#10;tNY05na41W4JUGMlGdCnys5LRp8oJPBIwN2ekOmzDVIGvbW9i0a2ld9Nu3QAzlREszKvUr5i5XOc&#10;BG7kg8l4cuDplvDbXEbvftcMgR4/Klj+6AT06K2RjsOlerabqccUtzFPPhZo2hktoZVO6Hy45Y9z&#10;KM7CwBBQgZUbiVyrdeEqUK9KP1l2lpd+a2T/AF6/ceLmtXFYSbhQXNSipcq62k/ecX/6T9mza63P&#10;NfFP2uxjtDbPbT6jNdiIySOBpwhKyLKRKpxnLkcLt5zu61yfhu+uLTWLi+khEFw1xPcob9FkQNcK&#10;TgK2Q52uwGQe557d/rumbo9NdbaKCysgY4Y7FGdGi3vgsPvH720t6L0GMVBo+l2t1cala34hWQwh&#10;rKV5lihWXecIz9AGUkAnjlctgZrKtQbxEVQlZ7rXTZfn3PUw2Nw1PKZRqx5rpqXe3Na1k7NJatdN&#10;dyWx0mzh0y8vbcXlva2Nioysrg3bvMiyFC/BBDcqg6dua6668K3XjDR57LTrvfrWjWvk23h4W7C+&#10;SJ0VlXeG2KrZfPykk5JI5Ncr4h1DUNF8U23grU1vE0m0tYL+2k88yCxSYhyBtc/dkIBQdTg87ga9&#10;V8N+NNOsI9K/4SO10y1aWBbSSSC2N1d3RLb2KrDG0qSsFysjSIq7ec7gD6OX/U/rM8LinywXuyT0&#10;V1vr01tZ6rTY+Yzavm9LC0s1wK9pOT9pTs1O8Gk1pvK6UuZKzXMtbav4N134wHwhqNl4Z1n7dFqW&#10;nySQzWepSKq2zpIAyodqt8pjAZm3E7CdxGAPafBfjbSPE1u17p0E97qKK6tBp155rW/yMAWUfM5U&#10;DJQDqBxyc+U/tGfAnUPip8VPBur+F4b6LTLm8+0eKdRmyZ2jjXLJGZCZJZJWKdVyAzlnLlQ2zdfD&#10;S+8O3Om2HgzT5tN0bTSk2pTQgQPqexDJJKs0hAMjsF+QD+EjNfJvDcRYTMqz5/a0OZKCtq13Ts1o&#10;rXZ+r16nB2cZHgvYP2ONq03Ord2jCV9YyV0/ed7JWPs/w5rei3CRReJb+1utRMTWQi1K0uNL1W5i&#10;4RomOwRySHAw6kMpjPtj0q3VJNBt7vStRgcxhWe21zW5NBgtFZg/KCORZg23arTBhtXjOWz8e6V4&#10;q8V2fhLTLjxHoV9pUVtqElxZSeIWNjfSQNGY0CxPOFdlIdg6jaC2NzAgViS/tNeF9BngE1hZ3VzO&#10;iwXkDiGFL/ZGQMM8bHlTgx5K4T7oFfb0eLsDlMVSzJ8jsviTUtUvVu39WPxzF+HOd51Wm8ig6vLJ&#10;6QlCUPdb0VuVRTXnvo7q59W3mqaxpsury65q9xJZXjrfQ3nh3X4pZbEMHihkMaqrbHZo/lUqrFM7&#10;WIYjobVrO5s4JYfNTV7kxm6ezvPtV0JAEWGYrNI5dj5cSbWIDEKBxxXxKf2mfCDpKmkeHDBptxce&#10;bdaFPqf2vR3fyoI41icQB4iAqs4yykvjaFBU+3eCPjBZaxZWOoWFtothMZyZNDGureM/lEEmNpIQ&#10;RgrgOGyVdfkJ2qNMBxdk2LxUqVGvzJrs3o30bS7+u5x5z4f8T5bgY4nEYGVNppPWEY6RSUZRU5We&#10;mtrw0jqnzHt1pqUmpxx3gisrp7mV43nitFtL2eWOJkk81CjAYLZ+ViHDYwMnOLqGnWIj1CeCFbe7&#10;h8u4kXcbCC7wIhMPNIzHKNwkBYMmCe2CNi0j0mayttQhTVdNmd4b3UFurJoL2CQKI45EjKFNisQX&#10;DABhgjOckFx8kcOpeRp1vbL9lW7uIUnF1PjbJI2MtGpIIaJ1I+QHcBXv4mmqkFztNvbr03fb59j4&#10;WnU9jXlLDpxSdnHVPR3tZfF0Xuq9nzK2lvOJNJS3uYr2ylmXUnuQWSdSt7bBXDReVOpCSoQVJZCp&#10;O0AAhs12L+IZbSfdfJJdOICu62t2hs44o432blDFgzuwyATwpOTjImvYLC58qyaZo7+GRWtr22mM&#10;kMsywllkVQ+3bKyqzMADleRziuZ1C8k1Se0nlKrdXtr89vDFK8+oSxybD5cagKpIeEsA+GG4qASq&#10;nxHhXhuZYeVm7bbed13bf+R7KmszUFiYtpJpt7pPVWa+zZO3VW966dzQXxbpl/BqTX93dKrW1tcs&#10;l1aiW+uJkaX5LZw2cLhSCeQJCNvOa35nktdMk1HEcDNG+oyaaCfKjjihjdxEMZEZaO625bgBABjk&#10;cadEinS90+y1LUbOe/Bi3306T2kqRhwYvNMW5OQgXLDbwCTuFQraXmoXMrXF1b2urMrzRG9u5rKz&#10;nEYSMMWwwAyyoFPADg7uStRCpjKaVOrac+ktut/PdNWWgTwWAnK+HlywTTcXrpaKWlkrXTvK8mrd&#10;j0iV57p9SW2MNlfRvusLuKVILS9MVosjWzqT8y73YHIJPlFgMgYq6tB9gvLS6C6bY3cf2lzbTSIs&#10;N4QjM0inONzkbSAAAZkO3ANcTqM3irRY3E9vqV9LPPLdzR30D3umyySARgwPbYZYwhAQsw2YOSwz&#10;W4ni24udPe0vLG1urSa3eS/jjuXm+yKsCoZI/L+VOVaRgq4PmYBFdk8fBKVOtFxmrPbTf9O556y3&#10;FU1TrYZxqUrNPla10SdrvVdUrWvs1cm1e3a2bV001205rQTavZyRSLMIyN0sig5PCuk3I5DMMHn5&#10;cGazF2kyBvIu4ZE1DUDa2xSwWG8eNhEnG0K7sY/LBPAYZORjbtZ4LwQagq/b5NOjW0W3uUKzX4uI&#10;nQQQq5LF5SgwwOBkksAmRl6fa6np2hWlzC95c2UjRJPaXCBG8wxSAG3ZgpKRyGb92cnakYyWNKr7&#10;KrH2sNU7t26L006u2mtl5nZQlUow5XJKpFxXvaNyfRt3eyuuayvO99HfbutORHtpb+CFLWK7e3u5&#10;tLgWC7mjKuyu0qAHzGAUglRuKtjkGq88er3d7c22l6kq3aE6jaFo0nTxC0ds7Da+cxNJBKd4AwW3&#10;ZAGVNO+urnQpjZXGbrT5ktvNihlLRNG0jsoUjADKN4IH8Sk9CCbt6Zob2c2DyJcslxDDcBSi3Ud2&#10;F8iNiCEUqsc22TvsyCAWNa+1pTVopqzV1fXto/xXmvPXCEaq5ZNxknF8raTh0eqd7auzW9rNW5bx&#10;xjaw6nb3Ur2irO9uHsoYp1S6ExbBWEFCCqbnBTGfunjAI4mzvZ5ZZIHt96QSy2Fxbh1W4idVdQ3Y&#10;jarI20kAsDk46d5d6hG0ssETmO8tbpbh9OMiu9uRO6tCxPLgKFAc/e+YDJwK5m9utOGrQXsbrHpx&#10;00x28kb/AGiK5VzI4iLdiJDIh3divqK8rHU+aUGparT1Xd+n62PoMvnU5Z05027q8dW7WWiXe/S3&#10;ZtOyM+SNLt1gwTKnFnJDDiS+bA2QlQepyQDyS0g65zV7TrryLhgNrCVJERyrAOrJh1we6na2QOje&#10;5zkTobq/vreJobVA6SSRRZ2LGzhAEbsASGPGfkUdxV6VIGNtNbuSxXmVxxdFC670UqMKwCKWOT8j&#10;++PClSak61O1/wA0n28kejVhF01Tm3ZrbtdX/Hy87abb6gPFLHBHF5pkE6yFcJHhiPkz3JbPI/g4&#10;HXGPYarqqyvZaTLY6xYXBe6udB1UR39jcbATJsRgQWATkdcIRkLmtGBxvMUCt+6hDjBzMhEe48n3&#10;OTj0x1Ga5PVYoZLqGW0ea01GchhfWxWKf5WKKvmFSGVw7rt68nHv3UazhV9stLPpp1/P8zjoUIV+&#10;fD1Yppq65ldJ20bV/ndPTpuefeJ7TSNL+IXg/wAe+GNJubbXPDGoyyeI/Ck0yznXtGnSS21BrFpS&#10;ZH3W91Or20u84bckkhAxft7W1+Kfwd+KX7OF3dWkHjDwp5enf2/qN6Vs9QEMsd54N8V2MZBVoZJD&#10;p9pdAMrxCaPzGIRQcDVE8PX+tWvh74jT634Z1WJ1uPCvj3TrhhJp92pUQvtJJnB/5aWzMAy5CFWU&#10;KzF0rx4niS28d2cmm3HxT+EmlQ2ni3Q7GFo7X4p+Db1iHu4dvFzDJF5g80ZaM+USN6c/bZRiqvtI&#10;pW1vdbOzWundrXTezR8pxHl1D2fLJtOKi4ybbTaleGt9VFyad9Y8yk72R+efwJ+KOvfD/wASy+JP&#10;Dcf9hx5u4vip4FuIRfT6H4itFlg1TTLqz+QtaXM8QhlgG7ywWePd8gHtnx88MeAvjh8NPBmqeE71&#10;oPBXjHW18afs8eOp2W2/4Up45BB1TwPq19kMlhqLeTcWrSYTzY8lCI0kbwn9tzwVP8L/AI56H+0r&#10;4Fbzvhr8U9QhtviLZWsu1dK1mIxCHVZDGWMcGo2z2spmBIjuBOrE7yV3vg/4305NK8X/AAr1s2eo&#10;/DL4jWMw1LSZHMNjpV005+zavbRgmNXikRZGlUZQxzLkZ4IVHgsTPB1oc1Gp9y5tnbvbRr5nPWoQ&#10;xtGlmGHly16dk1/h3Xe63g+11s2VPD1t4m8e6FefCv4kXl74E+I+pWVzZ+HUkuRplm+oWrA3mlzK&#10;dqzrIn+kBCxXKMUO6MlfnTxFqvxH+EHjaz8GfEW5TStL8bi3umu7N21nRILpEeC11uGTc0VxFuVU&#10;Mig5JIfcTmvrH4v6D4r0Twjr3g7xhYXN140+Huvw6t4hfT/LuNdvLHS7tZ4vEmgXQJYahZIyPcpC&#10;7RzwPukjILiuU+MWn2PjX4R6x4dvPFXhjxtpWka2t58NPilpdobfTtNu9Rtw0en6zbhvOtLXUQwg&#10;mVy0cVwqyIzfKW3qYONFewnfmTfK76q2vzS/JmUMb7d/WaWsWveSWjTtZrs9dPQ+R/jzcL4/0LW9&#10;cm0qK/8AGHgrwy/hf4peBrmLnxZoHDRzxA5dptPbZPb3K5Jtnzz5Zr8fPAOoweFPF1z8NNY1W5bw&#10;XrV1NN4M1+dCZtGupFRVklVMr5io0AmAGWRQ4BXYR+mXhv4iXEmsMt7balB8RfhT5lroVxqCmfXL&#10;zSnDpPoupKpIvobZmmVDIpYorISSwx8WftN+ALbTPEOn674Xt4tG8PfEFY9X8MzwAXFjo97EHlex&#10;VzkxzwCQmPdxJBJICScisqeIVRL2jaqR7/qaez9hNXV4SVrrz/r5O6Pzz/aX8D6z8O/G1/aa7aQ3&#10;VhrLNaXtnIoa2V5AXUI5Yq1vdxuJYHUsFcAAqCoHyQuvSwFPBviC/ku7bTmW88BeI5QI9T06IgsL&#10;Vm6ssbLgxsflZSQRzX7FeO9J8MfEfwB4Y+HfxNku9O+Iuk6NJceBvFDMraL4zsVZjc6LLJyVlt2Q&#10;TRJJiRA3AKMM/lJ8U/A1nFJfwWEk8l54clWPX4rVcXOl5J8jUF2kkwOvl5lH8Zw21s59WnKniIci&#10;tGen3/5HiVIVcLUbXvRT3W3z7Nfgz7l+Cnxp074reC3+B/xlu4GTSLiLxP4e1oy77+K+tSBb6jZ7&#10;iA0wUkSxEhZY8/xRxlNG/wBPl0XWX0q+kilZ5iYbuDdHDqCbU2TIxxwQTnPTaByM4/H3QPHV54ev&#10;0sNXlkt2s7lhp2rwMWe2bcVQAg/NGwLZHIG4Y5r9CPC3xd03X/D+gJqztHZzMls+ppMZJdBvwgQH&#10;JPzQSqS7L1GCADsxXk5tltfEQjRe8Phf4tf1setgsRRg/rFDeXxWdvJN+fR9z6AjkmEbFEQlgF3S&#10;g+XvKjI3AkkjHQdgeO1TRoFKjdI8sn71ggBd8glflwu1TgdAcA9CawtIvI5xuDK9xCFffC/mW9zl&#10;txkUgchvlPJwN3HGMdJGcKoMvlsh+bzgdsaMUCEHPzZBUYAPbg4xXwdanKj+7mtfxPpYT5oR5no7&#10;WLCxSAKSqNIxDRl5AA2QWGOTz8oU5AHzcjNXbfYHMWxX3SA5ERUyE5BDAHPQZ7/c6c1BGpMilyGU&#10;uzEbPnbcG6sDkAEjJNXUYJGfM+Z1OBuAkZUAJ3YHHI5znHHfNc3No3DZfr/kaQUE3G/9aFiKOW5l&#10;kCk7lY7ggKc/eVsDnA2vuHTjJ97mwFX2qWEJzHCy5AYD5SORjnFRbWk3575EaKoZ3ySG2nHGeRkE&#10;dcetP5IY+ahJTaWjkK4IwoIBJ+boeD2PU05ONT3uqN0uWLctf01JVUqFcqRHlRwzSK5AYkpz3IXq&#10;Occ4xTXhCSsiDezs0n+swHO5gnXnOCOCT0qRlOPmRwpjxt2lVwzJlc54BDN+PfiozmVneQRkOWbc&#10;wKBi2Ce459R7e2ahN8vMiVKXKkk27ldggmdSwV2do8dGQbWAxkHHO4YI4JA+laSEguXUSRupjTAZ&#10;GAJZQNwPGFOQOny44q5Kp+0EhmREXaVQgmTJG7GOmCpwR0DHI71XlViGP+sCjdHg7wuM4HJzyQvf&#10;A7DsdFG1uWW4ezTm7O1trepVkZgVWLdsTPAYqnzK0fPc/KoXacgAcdzULAhCSXG5V2jcxCqVJYn3&#10;JbHXlc8HcDVoxlmMTRMUHyAbyGGcfe46A45wc84FQBo+jfOqSM7sYlWJtowwHfjDHK9SM8nFKKio&#10;qMd0TOV9G+n43RHjYiGVN6nLR7ifkyDn88c4zjB445ZkCVcxqFRQ0TqpB+mPTnHPYn3NODhsYhj+&#10;VDhpCdm6Pbzg8DBYn5um7vSMhA8tiA6yZZ0AK4Z1xtxzjLDd0zz6Zp8tpJdb/mR8WkHp/mRA5QId&#10;m7OXJbeQMKMbffexHI27fxDHmEZJ2puXaC0gAfAI2fIewLjaSOSePaUSA+XI5UKxzuAXc7Z3bueQ&#10;eTnJ53Y7AmvM6IkcZGEEO8nbsBUHGQWOMBvMOQD91sjilom21t0BtNqCVvP8iSMEGTYqyOgDsDlQ&#10;2eRyOm75ME8c8+z5nfzEZCwYEAGJfLfnJO3/AGSMjB2jHvwYzIpUGNQArFAsgJJxzj6DsTnO0c1V&#10;aVg67mGBgynezNhyQPrkdQcdeD3qrJp6/wDAK5ppOKX3Fh9qTH5Wc8YQKI0JyWyBjHQgg9sYwcZq&#10;OWQSxKsaYidMIiksUOMgLntkEZ6/WqYIJz5gZlRtynKs2CuFPc9B/wB8jI5pjzBywUMnmOEjcgB3&#10;KkAMVyMElR05469aLK6TewlJtc17r/hmXzcvM8oyASTIqKCpTkuEXPQAljgDvninu+8EEvnOEcDc&#10;qvwm1wDyNpdtwB7Vko5kwVG4RgyHDBmZYwxbB6g4BPzeoODxSxSsAJQz427d0uUCFCANvck7uB2G&#10;OgNW4N6pXf8AVyFWlGShLX8Oz/I1TKwfehfKElChDKpJbgHIOf3YJYDGWxxncIzOxYqsik7vkCoW&#10;3Z2ruT1wM9vQ5GKzndGaNWK4GWExkKDPOfl49SMk8ZznoalE7LvkXDpKxEiKfK8zqw4JAI+fI/A8&#10;cmkoxbTS/rQcJtXinuTbyrynJUykgrhcAkryMZ5JVfmHr1GTUHnEuRhQpO05TcAoBGc8cNnPUe/I&#10;4kjSSNWG1WSRSc5UqQrKzfexjhN2QM+3aqqBgyoD8zucMZMF1XG3AwCCQMDI6kk5q1GKckyq0I0/&#10;d0vpp22uKzvGikHK+cJCCdyjAA5yRheDnPr19YzkNtKBSxCnc6xgvydwLNjjG7r1PbgVPJJ+9bDI&#10;zbskBcEKCSoGDgk7Rx7kYOATEwbzo3EhVg2G3sVRiAAgIPUYBPvjvmpjKEW/1Erum0m7qz/H+kQb&#10;V+8FaJxuGwjcx6gjHXOWyP06HDzBGiLudVkEwdoh88alxwHwQBjOMEcfNkrt5dtUskwkSQo5bAOU&#10;diQGYnJ4O58+pX61MiXGEVt0bxyqZCrAqpGQOQducqTkHHB9M1qpSk4rr2IcqcaUZ2/rTUgRmU4Z&#10;FOBuOUCEFfm+YHucHnj7oq15Q8lhGilUcZMjAsSdp4yc8BwQT74zSYdgC3Vo98gjJAUERLhjgEA7&#10;8dMnGexq1EoIV/MUHcSQ+AhO4KCCQOOWGCOwqPhheS1b/wAhrmc7RevT8yqYwIQwUqoTzCrocBEP&#10;+sH64zxnPpVlVKRxBhIqwgKwy0jEbxkknoMsAc8gKCcZzV0iSNpNsnyl2OR8oYbtvYDAI6ZHRgOC&#10;CAieW0iA5EbZeRY8mMbWOB9TjrjPT0pJSaTYXiqji1qVxENiw+Wgw27aDlGC5LYyMkfwjOPvdBli&#10;baRiTZHFHJgqsigDdGx5XIPTGNxzn+EirrRB1YNI4O3zcOAI1ICr2HXDSZHrkk5PE2wKQP4mG6Iq&#10;dmx14JI+mCDnr2qVF3ak/wCrbErmirRXzK6WgUOSAVB3CN180qvOGJPQ4yQc5JAI6ZqyiqVR3j2N&#10;lQoRQWJ+UtgnGTgL0PHmE4JABskRptYouZkwI1VgH4ZumFP3QACApIZcY5NLJCS7lwdzcOd4CuVJ&#10;jYAglgdwkz025xgBc0nGU25dvyNZXSb62sIYvLjIVWQqwAcLujbcsy7gp54wp7dF4IJp6QhSU8ou&#10;s8YYDj7m5SCoPJxnb+LHpUxDAl0DEkbwAChwoJ+XqegHy45z07VLHGCnAdQpKkYG2NgQcEAkdSM/&#10;iPStIy97V6jhJyi7Ld319LgqqQpCO2OWiYsjA5+6eT29x34qMlNwcIxVfvoBy7YPJXqfXj+904xU&#10;+108wDayqrIdoIck7SVyeCCSMYznafxhdjjgAKFUbmYMwGEbcBnJAzyfbvkZhazkm9P8tyeeXJdb&#10;jykbyKTFtP30ZIwcISDzjqSuDt75zg4qNoUMpVISQD87feQqoZsAcfLljn69O1NDovmLgMc+buOW&#10;jBU5UAjr24zjGTkcBpWO0rgPtJXIIwsqgqShOc8hSScd+Oc04JRmk9U/zLjdwUmtunUFL/u4lbhi&#10;qHaCPKHyhcdsfNyc/wAqYSVJ2lCFOMsBgkkYJHfBK9P7xxU4KqgZ8lkYbTHl85BOQv8A3yfXrwah&#10;MjpsjaJlKkByVI2Y5BI6jjcOB0BH0EnB8y+EKtSMo2avf8P+HGgLGAnlXDY7wJI0QzzgEccdPqKK&#10;lCsclGYLvbbuILHk89e/X8aK05bu7T+/0JVOl0kiNZJTKCy7YyRsEbBXOchSTnAznI6kkdqPNlUH&#10;zFICZY8MAAOvPfg9TkDbzxQSpbh1AMhIZQGYFSc7cnPY8f7R6dC5N7ucvt2yqU3AsTl+Ce+eDleS&#10;BjOR146id7W2sQt02NkYSAoFdfLcZTI8wnALMowTxvK55PyEgDOKNoEcpfYFZ8IhUqMggk5HzEDP&#10;+ycvTfO2kFMONy7ULhcP8rKSRnqBwDzkClkmMZjAVCACEEKFmIDE9MHK/kfkHHo/spQeovar2rk1&#10;Z6/mkh+QECGNSjqW2E4PI5UADGTkHPY5wDnIVDH829WLEEkbwGQ99vcZHA7frRGd6OFjAJG75sBY&#10;yM8AjvkgduBwMg1CH3xM6SARDhZWjAk+8g4Gcdz36n0OQpxaUXe2ppGUp++7NPVEz+ZHksysiNvY&#10;q7ZOTggHJA9eegFKG/fEuqEg5T5x0BJLE/Vevfj2JQxgK4dghdihQOScDJOO/QEk5JODz1pvG+No&#10;5l3ysxUhPMERyX3dckAqOuOZCBnklJqMrlqT0UdtxyfuzgMskaYwZRvDEqFLdOPXp6ZySalYszLl&#10;GIL4KY/dttCkY464cAnsB1FQZZmbK/MzFZFLKkeAwcHPvmQexcc9acZEJjaMFUJzvOCGO1SCqkcH&#10;tz3DelRu7PfYJScrRirLQeiFCfLCg+bg/IMMDlWG4kc5Zfm9N3HIIYkp3nG4mMFUKgAKoGeM+6jP&#10;qe3okkhjDN+7BIIB+Uu2FIwec4xzgYyQM5wBUMMhCsVQohJ4UcOC2chh67iePoemAKLg2mwUk3ZP&#10;tr8lYR353rGfLBLIq53lVUFiB1IAIweefXnEhAEUinycqQuM+eIwiyKQvJDbiU7HJjUDAJzEFlLZ&#10;VSJOY12OEz/cYjjAGcYzk4PGTxAXJ3C3bckkYG5QNifdJHuc7l7Z9wBWqSl7yey/ASk+Rxl6em2o&#10;4vjKsypEjkkqhkjQcbSWH/AuTgcjHJ5Y7kKZDgpv+YjkLgY6ZGGyq5PXgjsBTGwWy0jfuyZvnIdQ&#10;pY4zzgZIPIA5GcfeqFpGiDhwqhECbEIZS4UqADgnG4ZbjuevJrFzi3d9P6/Myl7t5dLfd/XQcxRl&#10;DCKI7n+VnRRuOdxbIJPJfdnBJ2e1Rq+VDxByynf5bEK5+YHIPAOTjoOx/AkGxWAf5Q/zAxtFIXyy&#10;RgDB3EIwyeADn1FVXKDy1RWJ3kKFA3E/3Rn0Ude/PHSujRqzNbyUUltovm/61HSMGaXeB5aR7ZUY&#10;7n3NuUHAHY4BBPUj1OG+WPkQqEZAzBoyFCbGTBBxk4yO54UmlO6Pl3UcbpWiUYyrY24A6MByfU8D&#10;oTVkkicuxZmaWAGWM8mMkk4KDjADnbuwMlgPutnJStBSjcluMWl1/Ql3qS0YiZfeQeXkZIJXJIG5&#10;Rxn6DGBmJxyG+UoFQ5b5g7LHkP8AewMlyR6HIz1pm4R+YrbGCNuDg7irEnYD1J5DAZBHHGcVExx5&#10;ER3zCVjGF3nZhAoXLHIIzv5B5PftVxtCPu/P+vkNQk2nJ6t/cSFWOTvj3OfljOXRSSTgsoPAGOVz&#10;nFVZJo38ufYyIRuBBXYSGGMDsdvXPXnsSKd57CZF4+RAVTjeobcSGOMc/KOMD5BVNiu2ISOGYHa+&#10;DjBOBtPXIBKgdOe5waLpu0vl6FNpP2UX1/D/AIZkmVUI5CszICVBLPGG+c4OORnt0yBn0qPzF/dA&#10;ZwQqA7dp+VcAlz/dChQM42qOlRSSfvEVlfc5JUs3DcgbhxwVJznP5YJpBMxb/lmxVSC+/wCXK4+Y&#10;n6xrx/s9+MihGyfX9OhDcZRs1/Wg+VSSqBflaN/LCZIHyuVJ7gBdoCj0P0EDBWBVldcRASKo5Utk&#10;AE4wSOvfOOg6Um13IVJI1Cv5ZMpCKcghWzjjBJHuCOOMVCSu0kq4ZkJAchx0x90jDE4x1HQn6Jya&#10;at/WwJybfOtPysO8xDnKoIwSkh+ZpMYBOMnBPOR6Z5rmrN9815dH70l2YBI5DNiNVbJUYHUOB3OT&#10;zzgb8zbo5SrRFhuKjaiSc7W+UkZ4IH4Z6AmuQlu307w/cTtJhktHlfH3yzg7gTjJUkEDtkNjvjWH&#10;Mk2lq1+dhznGytsn/wAN+Z+f/wC07c2954W8YPNGrXN94qt5bVnTc/lW0clszBsZwOT15z+f5pwX&#10;Rtr2a6jVfLtQDGz4YFiODyOueRX3h+1dr8FlaeF9MD5uL3Qjc3yA75BvlLoOO5znLYOSeOMn8+L+&#10;5VV+zqNqtMX/AHfPLDgE8k4x/niv3DgbD1I5U09m/wAkov8AFM/HeOa1P6/CUfspOX/bz5l+DsZ8&#10;lybq7kXzM8lndmOWP8Tde39KAUjIaNnaJVPLDHmnuP50kSRwrK74wiFix/vHgCq7ymS3aNCAwlLq&#10;FIy2P/1mvvYqy5V0Pz6U5TbrT7v/AIYdIwiUtGQEbk4PJB7fgaq28vmToM8KQ4y3J5//AFU0t+6b&#10;LEAnKg9SaIIiroxLkuAUGeaqza31MalrKUTT04mOe4upsiOMMSykBnOeB/n1rVtvtF7KbudpBGcb&#10;EJwWz0yPeoorQXLIX4tojuzt2mVu/wDn2rq7eycujGFyqgMigbW68Ae55HNZSnBRvL/hjak5Jaar&#10;dlmyszcNHaRMEaZlV34CqD2HfjB+bp781blWbV9RjsI5zHpunIA7ZztVc5PYZYgkmrlxOsVvIlvb&#10;gXk3+iwKT83OVJxWRrd2mlWK6JZFJ725YNeTwnd5hzgqCO3buOK8/Wc1K2uyXn39Ej1HFKnPndl1&#10;t0Xb1exH4g1Jpyuk2G2O1jjUs/XzQQMAEcc4/X89fQdOaBIJNoM0w2wpx+6UKSZXH4H8TRpnh9rm&#10;WG5it3uI1tkjnWJTKVeNNrDjpypPpjmuid47CC9kvWFknk+WJAuZJAGXdtBPb7g+pqKk4+zlSi9O&#10;vmb0abnKEqq926SXloxt3dPb6Ze6pI6RwFDp+nxyECebpvlK/wB1QCoHcyD0IrmvD2m6n4nvs26v&#10;sLeU07txCjZ+7/tNg4/3aq2UVz4u1RImMttpVu6whUQyyDcflSNRne7HgAcnNfQLmw+GukRaVbBP&#10;+EwuIkur2ESxs3hSIliFlIBH2yQFSV58lTz83C5pLDLnkrza0X9feaVazxFRxwz9yL95/hp6LTzN&#10;6d9M+HGkNpGlRQz65PaK08ksKvbeHk2gSM2VHmXchbAB+WFRnlsY8aTTze3EmoXTme8uZcqHfLID&#10;kj5evPp0GCT1GZLvVGlSSad5rguxnihCjfdytg7pMglhw3GeScnpg3Y5E0y1t7i8uJXmuAJ9S+zZ&#10;jksBmQJaRkkEyOPmdx91cHrnblTiowdap8b0/wA7HXUqezSoUV7q6d9tSlLFpukRnWdY/wBMxKy2&#10;VnOW/wCJtJGQrR5z/qYwVDMvGQVXJzjiRLqnjPWHmnZmLP5k7/ct4Rn5QFAwqgHaFHYCt+LStY8d&#10;a+lrptp9slUKqRjba6Zp8KsVVpZD8qxjKgsepPAycV1/ibQtP8Fq2g2Vyt7ewxK3iPWoQY7X7SwD&#10;G0tFJP3VYBpD1LEgAAZcHGnbnXvP4V+ooe1nPli7pW5n92i/rzOaeKCyT7EWiRIEJllVvLWUjgAA&#10;9uDnueOgwAtnDJIYWtyzuh2xCM4HUlW+nT61TsbC51JjLOoitYUbDHG0jJIOe/uR3OK9R8N6RBaq&#10;upXhMdpDHvihJzuOPkYD2OGPoD0JxXHVSgm6ju1q/wCvM9vCtSkvZLfRfgNWzkkhnm1Bw2q3QL3c&#10;zAGJskH5j/eY5+bqT+rrAi1ilWTPnyKVilYfIF3KSwBHPAKg9t1TXNyL9lmXeoRjClogysQByMnj&#10;OQfTt0GaueW0ZMEarMot9zeYOYnZcZX02lz83HPPoa8utNJba6W8u34H1WEjyRjyrVu/z7hBGCAq&#10;OZEjOwBUbzMknCgnjqcdOf57dtJI0FpA4+e2uHlY8sQSFXHHYAAjtmsxUgjZJ7eZoFID/vF8xcZO&#10;TkY6cnb39R1GgsqeY4QxZCkDYMKSTkk4PtwB29a8qpUV+WXa33H1GDStyz+Jv/hkbqMrymIpH5cU&#10;YmefGJcklQu/uOpxxx2GasFN8ixINrbROI4gCuARtxjjqV+hOfpU08KzYxuQL5r7z8kx6KMcduMf&#10;hXRxGCCK4uVkjlnlPkxptKPED0YAjByAxHPGeea86UpS3foelTXPNpPRafNf5ajI4iIPtJMZmKsk&#10;aPtjVQQV+nfj8MVoWUU0yRsWtw0UjzSNP8iTHAIUNnnkAe+PpVGyKOT9sDARRLvgVThhk4x7/Lzx&#10;2HtWjIT5Ihh35ll3BHPG1gAST/s4I+vYk8YTqOzfQ35HUSS/D7vuFtzPDOZG2NFK21Q2D/CNxHbg&#10;nr71safbPFNcSSSGQR4lZUcPbwgjjc3OCQ/IxxnkisoGNIWklxlXMMPJZGdgTu3dedrADqMDnmru&#10;n34RVgdeHYwAybV35bcpbn+96np9K5OZ2lyddD1MPWqK1JaI9D02OGNtyOJy0boqjYqnbhhwOhAz&#10;+YxXUQQPBLHfOSGuoPKW3lY7kJVlOMD/AGjwTzjBrmrWe2d42jjdY7WFUK8EMwVcvkdic4xjAA57&#10;V1MCi9gS5u3ZhE5zCJCrR42lSfUbQcD1IrzMSpc2m/mezTi1GOttvW+g64NxPIsEskklxHCJXjQE&#10;vhSQR65G3JHHB9Ona6EtyREzfuY4w0hIcEuuN3f+IFiAD0OM5rgdPvJ1uY0WHE00bNLKxIlSIMQU&#10;DdOQRjcD2rqYNQ/0qZmiWKGYn7OuMKQSNihmYkgAjnPQAnnmvPxTqbp9NDvwdZ2cGu3Xfb/gntmh&#10;vo9xIbPWpBJbSxytC9ltchsEoHD4XZnOefocDB1dAv4baS4edDBEQsYiGBCiYKpkeg5zjrxzXmEM&#10;lpst1SUb8sDJbMzRncpUgqCOBtJGeuTjqK2LC+mS8EV09s9u8sa2xIFtEQoJOSTgkYcYP97sa8mt&#10;Ta0X/DH1GDpqVBTjqvM9S0PV0upJJI0uRPEUgjjBIjuUaVVkIwRgAYJBznjrgGvTNRtpLF7eKVlN&#10;rJGyy21mq3EzBlPyozEA4ZQCQRz3AHPnEEmns9xNCyRRyYljeMCGOIsC75BOQcnPPJ2+tdhoZeS5&#10;ja4C3SSbcoxY+Yp+VefvZLjPodvPXFcjSlPka9zv/X4noUHKm/ap29fNHQ26ReGpfMt0ujDLKsUa&#10;XcglmjbY28DH8JZS3PQYyc9foDwZrdvbSwtpkqpNBlpVZPJldnXY5DdR/Gobt1xwK8HvdTT7Soa1&#10;m+yRTqkvzCb7O64EjtGQMlVdW5I4wO4xs+F9WWbUg3mGZNzC7ijjWeLKgIrK4OXyfvcZJBOSWrhc&#10;FGfNHRdX5eR6s17ejyyWy+/bc+i7LxHe32oSfYITJJbguSsZbezMgJA54I+UjuW68EFlrqkct/cN&#10;PIZ7mBSZLaOTaqZYAZ5xznGAM81i6R4qg0ydrhbSG3jihEUzSjc8p4CpjqDygK46Ec81BaNZ292b&#10;y8Rp31eYhpBbLDErckbiuNzbVjG4/MQuCflFYVKaSvSeyZOH9tCrOmtE4q1u/U9/0q5lu40m0+JZ&#10;I4IBNJtAEUA2I6IpUksCrJljz8xyc9e+0Xxq/n38DRxL9thFpJMqjdlwuYh3ydmOOoOABgg+FWOq&#10;Q2VrutQkdvJKftMwl2EqDtOCflH3CDjAHIPTnU0/V9LSWyESmaK5vTI9zuBtkkKMiBzwQOX7jjIw&#10;MA1yxalJPmd9Fb7jSGGdRPljfs3+J7jqGoalpAtbNIYmZoBcXKuNyxMZQreUcckBxgHowIPUVb0y&#10;61eINHNG8MTwtNEFbc8gUkjzDx1wflxkBu45OeviLS729ubjViiaaJhPYb1UKV3IpSQryd7KemB2&#10;GM5rVk8RWCaiJJRHEGtysUFw7QNbybTv8xe+cqcZzmN8/eGNqn1dta2t36LY7cPGtCj7JR13fm9P&#10;1Z6Np/jVdO0OV4Zc3t/KlvNE7glURCkb7ScqPlztzjLc5xW34a8UaX5mny3rWlsYgBMFV2ZY9pXO&#10;MEZddqjbkAY565+ZrPxBYy6zc2dzdRSaStyryJE4DSCQMSA2CCqhHHU4LDGRk17NZrpXiTTV060t&#10;4kuXuluY9SMzCS3hAwIyuQpB2ZJK5JU4I5B4amKipNUp6pJRX3fmejUwapQSnF2erfZP/I90j8RP&#10;qN3frolnKLG7hWGK9uJDprrHiF5PkUs7x/uz8xWPcMHoSp3LB9Jtpray1ySz1HU0hWeG6Q/Y0tlz&#10;s4t4zsGAVbJQuwcZJDfN5JplneWn9l21tqUEslwzWl3HclpPLiWI7G80/KFO1ECk8DjGMV3t/oVz&#10;LLotzZyWmsTzpEupaolu9s2js7bPJUkkuMFMkDGc+gJFKvO01a6et9dH2R5ro4eNRRnL3H+a7vzP&#10;pLTNc05tFOlSqs+nRzpfy2N1dOkUc6xmMXAj3bfOEYMakqSFZgByQdywbUNO0u1nikiuY7zV0u1t&#10;5J98MaqGZHdEOQVGVXIxlvfFecxQf2fZwSc3P+gmAReRG4lIQrsDFTu2hlkKngevWtfR9b1OzhmX&#10;+zmvLDTArFrgRiaNTGmYmORu2l14JYnsMdfYlUqQnatrpbTdbfoeZRo05tvD7N3d+r/zuemy3CXU&#10;OmWlrrM9reafps97rq3OoRvb6gyzKLMQxY/drHCoUKeCzEgKACVh1iXWbzTdbskF7qFyxsmkntI4&#10;blAI4wsjSD7zvtDDeeNgI5ya5HXNQtdU1ux1NLmCfULmGK51Nnhji+zyIdjxMF2hVVAiIeOp64Jr&#10;tbu0udDGlavpl5YxT6x4WudV0+Jrdbq282K4nijjdNxZWlcx4cgHBU7TtxWTlGpP2sZXinbTS6Tt&#10;F72v0fzOWpRp0KUISXvyva93Zu8pLa9uq7JJWOj+IF7rmk6L4P8ADtj4ej1Dz4bjVXtJNQEsQt0u&#10;4N3nFCCJS1vCdp+8IkO4dtDT9YsNZ1yxm8RaRNplrbQtpML3UaRO3k29umIgvykbWQvuLfxnA4J5&#10;37frOoSDWrWG2W70XQzJqNrK3n+bsaVpZ1jk48xhIiqiYz5aYBJwepsfGMv/AAhfh+Dw9Hb3sskF&#10;xBqplt1uZtKUwJGwUkNmR1imYhSP+PaM55G3tp4il9YlVqSdrJpOz0jaOi0v19DyauDnTw0KUIRc&#10;+aSbTaa5+aTbfvWukrPr5PQw9EurN9cNno8pQaa8ou77RL3zDd/aIpBOkUobYpaG5MLIDt+U55Jz&#10;2Pi63ufBnibxDomi2lqLePQrCzW5uJCIJVvLSC6keMjJzG13JGCerwkHrmuk8P8AhvRrC2vtasNO&#10;WW38OWdhb/Z0ghswqT3CiBzEpXzCTJM7Snc7CLnhFUcx8YFt5bnw9qlg99dmbTWbXrQIpWAb2FkW&#10;ZPnJjDv5gZVC+WnJByPVkp4XLZO/vOScX/dd4u3fXf0POjVhjc7p4emvc5ZQkt/eXLUi5PdWjeye&#10;l5o5/TfAd7qCeF7LwhqWlw3M+oy6fcae9sGEce1ZYHWcSABnbzgY33Yz13McTavrHiKDw3qGla9o&#10;xu7O68dWyJ4hKFJ/tVvHc2qxxdWZbqGN3bPHy5q14Uhh0TXtLvob6GwgvowZpIHIktpEKgO2VwSp&#10;AckZHCHg5As+KL3xLDoDalZxWWsWb62NL0+eG/SeWGWMzjzntR87kKm7fyFWVQSN6qcFUjDDOrTg&#10;1Kz5uXskraO/n830Oir7T69To1pRlT5ouLkmmpc7bSkrLSysvLW97HPJoegGzkAVrO6vrvzJpLtv&#10;tLaeo8tVRSMEKAWJKjkxnJyRnV8CzxeHdU0zWtUg0/WbY62os4RJG6X0ts9vLE0X8X3/ACW2BhyA&#10;pHzOtOtbTTp9IbUxYWsGraDatfyWkcokTUzcPEAJBvI3I8gYYAbh8k4Gdq0tLPUPAVz4fvdNEM+n&#10;pBq0d1NpyiSGSS8SNpo7oAFVyxZhngg4BAJMYam/bQq0mlOMeaLS6+d9N00Ti3H2FSjUTcJSUJpv&#10;7MtLprXZxe69UzY0fTLO4g8aa1pYv9I1mx1C71aXRdQjgt7OcRzmOWEjP7tlLthELDbkYCqzV6Hp&#10;d3q1/wCHvEX26zguLfxn4SfT47KH/SDcyR2oXzIixV/muhbuypnaCoO7GTwmnT38TeJNGGm2N9ZH&#10;S00nV9V0q9j1LS3ZbtbiaUTLhMTSbhhgSVLK20ZAl0rxFc6T/YGomEWun6dPKNGWTMqxxhvtM5j2&#10;nIGyOEfJ0UcdMj06NejhZ/vE0nGz0st2m/udvO54OLwtbMKU1DllZx5bvXlUIzilZ3T54qSvdxV2&#10;nayK3g3UNc0m1urTW7a0m0PWrHUNA1U20NuLtli/0q1Mk27Yz+dcWwJJLBWGDng6vhTRNW1rTNK0&#10;eznRfEmla5amS4vLmKxgaKaGSJ4I1YB9wkVpA27I6H5c4muoYrv4e2E0UlzbWR8biZbm2lCRSXU1&#10;ncFDInoqqy5OVG7npWp8PpbnxP4lR760v7PW9b1B1MscVtNdsbeAyF4lZkTMmwO4ZwAMYHcvDYam&#10;q1DDayTStftKzsn0tJK3zIxtVrB43H01GEoSk5PonDaUop63g5c6vso3TM+PTdN8VeMI9dja5eK9&#10;1TMtveQpNNeFXWBzjoWWSNV45xGM5xmvOtK8PzQ674uS5kjnNlqE/wBmRi0QbNwFWNUxy4CuMnsh&#10;HvXY6Rr1tpV74Uk1uLWLe3s5b59RskCK0s0l9G0slsQAysHjm3EsRmNVVQc1yZNzZf27eJdRX8+j&#10;yDUZZGiEYmt5GjO6JRhAGe5AIHIaM4+UA1yVlCUY1VH3lKTl31it19/3HrZesTRc6XM40uWMYX29&#10;2o4pc3pa/wDiVr2Oxjgs9Uk8K3EZGm6jp9tFpmoXeWaCOW2AXdMhJIfhmZhglsjBOK6hNUmjuW1+&#10;eK2gmvka3lskc7LxYvKRiSPmVdyxP0xljjOCK43w3c6Fe3tvLaGVbGeSSfULee7hWWCIwqVCuQV3&#10;YDZbDfOwznob9razhdRj1K9t9QsdSW6axvUl2RwRTf6RI0GQNzMYF7sDvJUE4xXtKk4+0pNau7ae&#10;l1az+78b3OHEUYOaoVb2irWe/LKTcorV7NJ6v4UuXU62C1H/AAl2i6mlwtjC8aG6lixH5Nw7ecdx&#10;XIGwGIDb0IwcVr61qC+Htf1gWkFv/adjNDdHTpnW5tYnQmCUOnIZmC+dtzzuHPIxxt4z/wBn+HpL&#10;K6SG3dDJeSSOjzXMUzp5DKScKR5MvB7kcY609W1eZNYsngiX+0Jrt11KZ5hLb6gXhR4ZUnAILxqr&#10;RMrYLGPHBXFdE8ZSp3hBWblGV9942dvTfps/I81YGeKrwc3eKhKDjtpGV1zeTs11avHVK5c8IaHp&#10;Qs9YaW5aOLTF/tu4ub9xutRbkSm4IyNzNtl+QYB6DrxxLXEXi59ThdRFHcasmrWrSDy4ysbzIhyc&#10;E5juEUKfugIuBtGOxuby70vX7drS5gvdL1fSIb6a1kRo4phLlJEnRDwyMkiYXaOVIPOK5S9vdL0m&#10;PUY4yba7toWGl20MLFL4bo2aFjg7tuxWBcjBCDqwB4MRKg6EaDsuTmTX83Vfhse1g/azxNTFu8nN&#10;QcH/ACWaUrqyd+ZK91svU6rwxPPbXEYvSnmxXIiV0Zbuzwjjy0kbONq8BucDHWqfiKy0rUtZvvEm&#10;lTR2IllkumsLeFlFuZ3AKxqCV/cuqISMFi5IVQcDgdNkudW3wwnVLS+kuhHapCfs0bpJDtl3Kqk5&#10;BMncA7h0PFUtN0vV7m8EE22CQ6gZrpLOQW1lteQeZIYlCjOdwwPlG5R2OOSninKjCg6d4N3Xk9l6&#10;WudiyyMcbPGTrcslGzS25W1fTXR207amhq+vWv8Abb3U0txI87SRuWlLTG5Uxys5yS5AUOue53ZP&#10;yEUui6pqF3rFutvaXetWst6k8lqbg2cd1jBMfmrkx4671zjBIHArR1fRrbQfEs8EOlxXWow2KyTj&#10;ULjZPaR3ETNFNuUHJ3bWCnAYxEfLkmqNob7TFLW8UmqSmJDI9jbv+5dmw6sRtxkEuzKc8ADp8vPO&#10;h7KvetJtqbbS8vzuenSlhquBXsI3UoLlbelpLS1ndWVrO630d9uxuG1F9E13RbiSCLUR4plXTInu&#10;5bo6e4mXzY1kjQIQ0aIjtwGPOwAKBZ02O+nvZIi0JkSJ0kupQLeNFEZJwCSAxIzk4H05xNpdrCrQ&#10;tduYJZ1SV4baJcwR7mLEDgbvu5zwB1xg1gwTk6jK2oyJHA9wYUQKDG6lioJGcHjnGe31NdM+Zypz&#10;W21r9Fqr/f2PDhHnhWo07XWr0b96SSfKuq93a71u23c7BoNEsIdFkE1lc6hel1e1hKvfWCRtne4/&#10;hDMDjON204G0GutnisrjTW06CFHvru1jddTkOyTTvLkRyIxyW3Y2HIwFLEc1VTSNMvrdCt3pdjpt&#10;kVa8vBcINTYP5cf7qHdn5TITz1zjJwCLWlLpkVgn9pRX1xd29wF+zWsXnP5YfaWkdiE2hD91jlue&#10;nFetSwlSM5Qq8vs5rT7kmu+uvnvbY+VxWIjVhGrGU5ThLVebbceysla6vtbn3sdDZRwSPqkOs67Y&#10;WLaXBZ6M13Z2KyR3nm5miAdVYs3CqShUnaVJ6ity01GdHlstD0m3ubxki/0rXtLhuLe1IjlB8sGY&#10;Fl3LhcE7tgwuQM8preoW9jPCltoLSWjos90swWG4hdWVY283G3cAG+TLY3g/MUDCHQ7i7tdSsZja&#10;fY76SVodXEME2sRw7ofvFJZAI/8AWDB6L1AP3T7mHxLw1SOHitU7N681m+jemz302bPn62BliMLL&#10;FTWjjeMXy8t4xV24wtKzcb/aWsUlbfz/AOLui/EHxTrVrHqMWlwQfZFN1fpGUN0xVQqRRbflQLyS&#10;zAgrgbs5Pz54r/ZYuLh7Ke1t/D93FqKoY7W91S4tL63kkDK5VEjkTJkIfLsmFcfLhs1+iU4fU7Ya&#10;ZLewaZ9ltJYxPrVksl1dxjasKjIZ1IG44HK9OTnGDPpb29tBNCv9pQC2PmTx23nxxSeWxZFBOVwN&#10;xBHO1s8cgedjskweJq1JV6ftJSd+aTu1+N/wXfU9vIvEPOMmwlDA5c4UVC65YxaUlrZ3asr2vZN2&#10;WmnT8ute+C3jf4fRLNZaJa6tp95Yq13p2kapPqi7wCwm2PCiJtBdvlJBUHnKgnO+GPxksIPHGnaM&#10;dOgtYYLoSXdqzm3TfE6mUIpI4bDd8/MMDGcfqzZeJZNK0yMi2uIJo1ee6SfZe21wymOPzEh2NtAA&#10;MQYp8vmnLd6/G/4++HdG0/4har4r8L3+nWF2PFFxPqWjxNHFIomlSVWt2VgHhAnYhVXcvlsCemPh&#10;eMcnwuU4Ojm2S1HCpGSlKHRpWbtfXvddT9s8OuK8RxxXxXD/ABTQ91wcYVYtv3ndXklpbbld211t&#10;sft14c1WfWdM0PW9Mgtb20mmaG51e31Nry9ZcsBHc2qxNvK+VHyH+4RxnitG7vYLPV1tP7LgeOR4&#10;kiNqN9vNLJD5gQJtx8sjoeCAFUDBByPz4+DPxbvfDGmaMF1eS0sY5UkksbWaSS2lIADLJCcrl8ZO&#10;R0JwRyK+3vCHinwtqdvJY291/ZaXAbWfJndRZ3shMmxhKMeW8RjTJXG444yMj9DyPivL86w0Kbmo&#10;V7Rbu1vZbaWs7dddt9j+buM+Bsx4VzGv7Sk6mGTkouKne3M3eWr1itEo3jr9hJsXV7ZzY6bfXum2&#10;irpWoQ2erJZQeQrRrcPG7KOQdwClWYsME8LlSMa/0xibaxtZxJcWDNb/AGK4RXQMyZnntnJOUdjv&#10;C4Ur5jcsNpr0a5sru8tra2Z1bULGCAPbO6QT3tsVy8kXUF2f5izD5QHBznI52WCzubLToFuBp2pM&#10;DHCv2VTdWeyOd8SJ8okZyVBIIA6Y4BPs1qKcpNdUvnay377fcfPYLMWopJ/C5bXkkmrptauy97VL&#10;VOyd1aVD7X5jXQa7huJP7NS489oTFcoFkQSKhXl95j3eZ3ySxCgkXp4bWLWY7a6eE2rTm6sdTMKT&#10;LewSCPJmxhCFYtGRtwpBO3GTXNQR2l9DBHe3txpmsXMlxFo0Do0kdxbSIxETTfKxQSKwOCAPLJ25&#10;YinaNq8cC6ba3U8u6KS80si2tkOpadKYbfzFnMjBWGTKNrR4UxlCD8wXk5ndRqJWbWt+umjXfW/3&#10;dDuqYSdpOi3dKSatbo7Si0rP4GusdWtZJX2LGzs3gup7aa60q2k1V3XTdOlS3hjXyWUNGRuUj5iq&#10;jjKyDn5QKW402C1sVOroupLFY/a7FA7QT6lDbkC5hV16Oq8gsFJMq56DGtpkuFht5bI3M9rEdMuZ&#10;bAxpb63axxgENFux5sMZRkZTklDySQq0EhnmttURbmJfsQEOlBDHDe2+oLIxjUHiV1liyp8wfdB+&#10;XI41eHpqnGSV9/8AN6bd/K9uhxe3qOs3Kdopx1vq1eytJe8ul29XG60mrLkL7SbWOCHU9HvGvrDT&#10;rfzdIu76NrfVdN3qpZG+VfNwGwGOQA59su0vV5dPaM3k0urWflxx2066b9ldckTS70JyXGNmGGMA&#10;44PO5qU1mj2MMml3tnJdalZGO6huYf3cU0axP5L7iRtnMbkyDhN/3SAafERdw2sGsi3SJ4Z9Qsb+&#10;CUxXgulHl3UXy/LJ88UzqGJ/duc+3BPB2rudKXK1tva97ap7La109lqj1frLqYWKxUXOD7uLla19&#10;HFatO7lyuN7ybi2TGe01USWlpBELbTYN4mlYzNCHjnuAJmxlnUQyDA5IUnPaoruCyvLayMkU4udM&#10;nzGJOI7q2SWUK0ig/N5iRKCD9wEjGQMxC0F7dDS72I3d3t2R3EV59gtLiOJ5baJmZEfIxIiupUEh&#10;l4OMGK2l+zz32napb3EMVrdTRvZwlZ57SAiRL0/dAePy5QAy4IWQMQPvVrKcuVTqL3Xo36a7dNNj&#10;lUFB3w8neNpWTu3fSTTveSk27+7G3ro6149teWmmfZYbg3R1GPWNIk0pmgkivWFxHLaTHBLLtiEo&#10;AOA8ZOSB82Xq+nfYJLqELG2nTebf6m2m2n+jm0BjQXEaLkIiY3dlG/sCMWtQis5dNu/MdZG1KIXF&#10;s2mSqraZI8pSRlRQCoZAAy8A/LkcCpr65vLiz1a1lD6bqVtbf2FdebAXtX+0wWlrLBI3zbUKIZFC&#10;8g7mxzisqs4V6MrXbSVreV3b102vtoelh3KnOHsn7nM00/Nxs1u7KTte2kved7pnCtbpFm6vJPIe&#10;0aXTnBjMF3O0TRhS8fO1ijA8cYjJ5PUEiyu+zEYEe+YhhKwYMSvHTb6jAyWPoKqFLM3NzGkzXFrJ&#10;OJoFuJtwkIiVwHZQG3EFlLE8kYGCKuWeoR3Bnj862sljjzveHeHeIOY42faeMfJjO37u4HivnG4u&#10;Wj8vu63PqJQmqfPq7JPa1k7PZX210s7NIuWd3Cxg8shpElMUjeZhJcD5TwTk4d1OR0Ue9aGpaI2p&#10;xO+hXFi2oRwSTQ6VezjT21MAb0MMhIj3ZxlSwwMEc5I5q1tjdNJOC0ER2MkEeNobnLZznLfjggcY&#10;NX7+31B7JzZ2i6lb2ciO3lTCLU7JH3ZZoCMSqdq/OjArg5U5GFhas3HlnDmT/G3bt/Vzjr0lTxEZ&#10;UKvJJd7NK/R3smru1k15O9j518aahd3tzceF9d0z+39I1OE2tz4c1aCK18Q6XLEqhTazbthygi4b&#10;BGzHHAqP4H+M9M8Pa5pGha3ruqaTpmlNcaN4E8Z6lBIJfBdxcbfL0zVN4BNnIcxywH5cvHIjxlWk&#10;PqvjVbP4k6LbQ67dRWmrW8qRaZ4j0+MreGVExDHqSYypwNsdxyQSFOQSrfKXi+51PQvEMNl4t08S&#10;z6VbvLFcx2kEp8Q25R4RFeqw/eQeb8rMPnjJ3Lk4VvosBXWHrxr025Qumm+nk/6t2tYwzShDH4GW&#10;ExEFCrZpqL07KUW1r81tdSTTsdr+0Xc6T4a0zTfDPiPwxp2n+E/FHitfAfxMtndBqXw1165SSbTL&#10;6N3XZPourNuERaMxxNcoMLuAr4K0prvQr218OaPZ2Vp4i8L+Irq98F6JfSx/2C8guYWksN7h5JIb&#10;pVaNrFiiwtIjrJlXST7F1XVI/GFqsHi+3vdQ8K+IPD8vhO6glkXWL5tCuYkbyGJ/1rWhi+0WsoO/&#10;bE21iduflDXtQuPAPirVdK+I1tol9pPxGtk8GR67qmozWGiW2pTqW8L+I4r6HElrHfLEwW65jivB&#10;IkpdJxG30FSr9bqKs9Eunl3/AK8z42hhZYKn7KbvOz18+3/Dva123qfZUWuWvx78OeGNc8BeH08M&#10;+OvD/i1/CwtPFGqx6Zc+G7tLNt+l3V3IwCiE/u4JJV8ueG4WFyQsYb87bvxtZ/CPxlfeNU8Kz3Hw&#10;k+Ilpf8AgP4peBptsjaJLFMkN6sQUbFmsbkTGFc5CM4UvsyfdvGeo+PPgB8cPD+p+KbXSxo3iu2s&#10;I9RlsbqXX7S6tHjVbfUoriEqk8sG6V1nUbSYyrAEMK8q+L9npfwV+It5oN5bib4WfEO5lGradcoL&#10;7RtJlugLizvLZgCIC8d4gCqEElvIh2kDc/VKrLEYe1W6qQlv200fp3+Z59JRo1+ajZ06i26X+0m9&#10;9dGvM+Yv2m/Ch+H+iaL8VPAurSahrmgXnnxeILictJ4u0uedjYXkhwA2yJvsV2JMhHtYXBAyD8s3&#10;3irw/wCP/CTadrV5Anw38a6oAl9vC3Pw01yZisMpY5aKEz7V2uPlDsMnAA+5LXRZtPutX/Zt8R2H&#10;/CT6Drk15ceAvEpBvYNPvooC15aScbnsru3B80DAB2yIcrX5X+IPBviL4La54m8Ha5YtL4V12SW0&#10;vLe8KTi/tZleIxSsOfNjGELjkNHG+SDmuStGTftn8S0dvzO6hyKlLCyfuy1g+vez87/iuxQu7Qya&#10;Zr/g3xppc/8Aa3g7Vfs+rWMspivrm2Lh7XVrOUAoJFXLQzxgrkMrAjcp+LfjD4QstB8V6f4y8Nas&#10;jSrF5NprllI8E9u4cKjToSQquQUnickbl3ZKsHP1JdX+uXlifCuu6ut14u8K6QT4G8Sw3SyXfiXT&#10;raTMunvI4BklhQMpiOfNjXgEcHwXxXo0UkF9qe7TTPqGlNJq+l7F23kedkpCtyJ0AV0MY5jJH3g1&#10;bYSrXs6crWjtff0uc1SlRi/aRv73rr528n93ofEnxz8PeFNf0Tw/e2fhR/Dvia6Sa31XULC+8vw5&#10;ezoxLxxWXll4JByzATMjLIpVECnf4X8LfHw8HatJ4b8V20s2iyzNYXtsz4ngAVwssbnoyFVIcjHX&#10;OckH7Q1jSLLV9Fi0DWIzLc6dJE9rqBRd93bB41t7yMkA+bCp2SYPzIzcCvk34vfAHx/oH2rxZerD&#10;BAmpBNCM12lpd+JrV7YXrvZW+S8i2sLQB3ACgzIuS3y19Ng5LMKHsaj95fh6HzGNlWyqq60F+7m9&#10;bLRp6u/4s+vfhv8AEW+sRYW+oOn9n2j+Q4mLC4tISuSQBkGMswO3JIOT35+w7a4hnEckYUxeSZVK&#10;sCrZz8zKPo/B7g+9fnB+zkNM+Lmg6t4Fu9Ri0b4kaZos3iD4cancT403xSluitPol4XxtkkDOsT9&#10;CcJ82Vx9P/CL4j2l5Hpej3rs6ajY+ZpF1KM8jie1Z8/fjZpUwRyCpwOlfB8Q5d7OXtor3uqXl1Ps&#10;snxarx9hN3Wji31T/wAj6WQn5WQBmUgmRV3AjkkEYzk5A9scdauocKCUdxPHjbH+5Odu8Dn5Tkjb&#10;z2bHeqkauQpVdqlsu0YABIySvHTOR9Pu/S9blWQHAAwPMJlLSY3AAnnrnB+XsD2zXx0vdVl/WqPc&#10;hBKTlNaf10LabcvvjUo4LEM4BYoQAOD/ABKBgAdwe+RMCVZ1ZVklwjucFY2YEfMq5IB46HOcng8m&#10;okVFUCPeqMASu3KAhQVw3I78Y9CDVh/mO5NoRJFcMI8OAo5HA5PHOP1BqpczvGPb/I6fhp80dla/&#10;poN81SxaFdjBQQFURlmUHYRjHfrnuCe+SjSKinIZQiECMkjGACFIJwPvYxxgEDtUiyLEUjYljjjJ&#10;27SrALgZ7lmweehBPQU2QtIiNGcEYZ2UgBFXao6Y6dMc9BUuL9pd9Pz/AKRlFy1g3ro/uexXEkhb&#10;PloWLmOR2JARijEknB7Ixzxjb17VVlkYMI1jds53Ajc4IKquF5GcfNnPZfpU7LmV3bkBCyr5e0fJ&#10;uBB/DcCDn73FRMVIKMUVFYqu04wdwGSA3QgsfXOM+1Xpq39akWapuMtHe7+//gMrqTKS6sAFbCIG&#10;yUHBOW+6MfMe/K5681DIx4O0AGSNSdvGNpwSOoJ5H0U5ySc2kUliiPhZcgDOIkBBJAHGRhjjgZyf&#10;U0xkQBUDGIyOpVMAqVHUnB/2ienTd3NNSadx+zm58ytZf5FYR7CjspKO2Vdh83LR7mwSc8xAbe4w&#10;MdaYNrSwxmQBXZY8gHYpY4B4J6YIJHU9M5zT2EYR3+VyZPJaEjd5IVRKG46jBXrjIc45FQzKVfpi&#10;VZWVIyu0EAuvGfvDJBwo5KjkYOHF2kvafP7hK1rrrv8A13K7yO8abhsAyvJ3oPmVtrMDjA3Njodq&#10;+oqGS5eMCNBLIkJDJDtIJJA+YHPoq8noAvJHNMkmXMO5EfYT88fzZPy/OF2jGSW6cgjoScrWZUEL&#10;M8km4L8sakM74JBH0JJGfVe44rSLhzckdnoTaNSXMtNd+oCfbuYuAgUqOCpbLABVI5PJ3Hd15HpU&#10;Ms4KkneYWIYxvI+FIG3OenPzdzyW4C4AiZl+VGeHaRlzuCnPQEfxDHy9fTjuKgmkLMZSscpG3CkF&#10;TtCEEjB2rk4HTGAoHeo2bfyF+7kuVb2f6WHtK4KgoQibQRuJwBkkKM9MEnHHXPUZpGmBkErMAhJC&#10;hNzJbrww7nOeT36HrVV53wgQBIzwsYBMajOMKP8Avk/l+DXyElCxxyqN2xgd5l27wUwAATkKRnjD&#10;Z4zmqtJx5en9XJlKUfh2fkWGlkMago0QTlnkVsLgEHPvjOOe7e9O80MpjATZtXEbkSiQFST0APGS&#10;Djr+VVMy7hJLMQ8j4V3G9wBxkrjHBA4x3YkZ6zo4ITCmMBfKU+YdmcAnoDkZ2nJJ789apNpW6sIR&#10;Skubd2v+pZEhV0woyuNgdh55OCVZTkgEBGIx/d46U9JIiojYkNlpcFG42q/mAMQWwoRcZ/utyOBU&#10;MKL+7UsDkqSSQWDALu9u2SD0DD8Zoj5SFyCxZPKG4BTtCbAqgei7QBnjA9KTkoyv1/PYah73NJ23&#10;t/XzLauSiuoYJFGScKX3gYBKnAGWKgZ65Ug8jhZGk8sopcFlI2rHgsoy2AvtjOD0wfwjMWNylWcC&#10;QOjgjl1BwMgHgknGD1IJ6VPl95kkChW4gdkG4EAZLAnKrzkEDls9eSI5ZX2KtJrzdkv1K4KvKIjE&#10;kSHKsCSsZztB4+9wenOcLnI4p0e6QDcmJECOrxozyMpOwEkAksNoXJHHy4PBqwxViWU5MTbwdpkd&#10;eclcZ5wM+/HHAxUiIxBGxSRCI127SyYIGRjj+HOc54J6EgJq7SsZtWquEv62KQiz0XrjzFHzFTnJ&#10;xzg8sRnIGe+OamSJOFJyhZzHJtDylmUfIMnnJRhxg/vT7VdijUMqRbtxk3CV1JBAy3/1/qi8VP5S&#10;cKoeMBRuRRtKnbhgSABz85z6AHnqd6fJBJPcqnCV+a39WWhSiRHYrKglV1KIQ3IO/kcdhhxg9A/e&#10;rQBUp+7w43gxxjhTvYng4yCWPTgEj8LUdqFCJGDh3K4l27cAnB9OcAfj1GeLEce3c4P7sgncjZYg&#10;jJxljjqTn3HHQUVJU5Jxa/rQcYxp1LW0a/GwxYC75PVjgkZPGeASR2K5Jxn8qVYNyhAQSWWMq5bc&#10;Dt2jcQM4BZhx6dOlWzCBM8bhSqOI5IjHh8sQGVhng44PPByPUVMQ4eVd2WKAt5vO3kdMnPAYds/M&#10;awneLuum39ehKjzq89F0/QgjwAm5ERmXzVdVKbs5A/Rz9d3tSYaSSJWUupxKUUEs3A+RCBgnOeGx&#10;0HU1YaMBF+QLlSscaKYyAwwARnjbuYL9BknjKEnfGFCbkURwIgGFJXywm0dyW69gG5yMUuVtc66G&#10;s1tr7ulxd4WVTsD+WvyyCNwHC7E/kFUY7AdsVY2snynJhIYzHcfnA3M2e2eGwAMknvxQJAHcqqBI&#10;2wUC4EfVscDOc7jkDjaMjnlwIMA2KcoxJYZDopPyjaDxjB/Xk9K6FK0k5bNWJ9pCKbd77+oxWkSK&#10;OVwqESgSeWfk6HIHPHKOcc4C855qW4O4KqjcrAwvsOccqCWI6DBByAeM47igFGVyGKrnbJuIJTH9&#10;0f8AfY7d6UHETMSHTcJSzEFSHIOVAz1BAA9QexxScYzu49f6/UEnKnaK/wCASnEiPsYF3IkIkkye&#10;doY7j3O4HJJPz/hUbFSikgE7AVQErJJncdy54PU9DwGAojOxnUbHIYoXBDbcHjDdMHA6ccHrikkM&#10;iFNgZT0Vj8yZHUHvz8p69qyglGV+pVueHtJLVCOpZAqx7JSwZXG4KmCQAwA5/i9M4zz0MoGFkDMI&#10;mDkEbz5pPAAJJxn1J4yOvoxogW8xlwVBQNExLRKGHGeoXOBtPB54zxQzhgyyn5mXIXaN8WB0HOcs&#10;VPbr3ArSDeijo2JKCXv/ABP8v60I0aMK6hVCyBDMoJLx7tu4DGQAOpxkc9hinKYiF8sKFjGEZowg&#10;4YhvxYFiT6knGaVNqmGOMBypLjHzPu4VRjjuzcdyR3qIs+3EIdN78ZGAyqWG7OB12k46cj8CNm+W&#10;QmrRv36foMa3lLErDMwJzuRhtJ79Bjrmik2luQlu+erSRHcT379M9M84xwKKbjNvRHBJz5naTQPt&#10;5bauI5NsZVdyDlskt1GdrdzgHsOk5ZXRcK2dy7WDHJKgdDwOit83emqpRipAaaRHjfy0ALZDfiB8&#10;xOTnOaUQgOBHncHyS7+W7Bm3LyMDpjkdfxrma5tE9e56Fpt7f12EjUZDqzfPKJS2zGOpzkDAPJ9P&#10;rRGzKrxqyh2wAwVT5igKMgAk4BZm5xg47HNIEYxLlVIA+cK4YOCcEAemM57c9KXauWZyCUZosuw6&#10;LgLg46cjjB4NTKLik+n+QKKVTmlrYFSSNI0SNFkbEmAc7ct6Dgjljk/X3qJAihE3JsVWBHkr5T5I&#10;PIIHfGCM1KQXyFikAyrNv43DeFJJ5zwc5OOvfNK4cRHkBEYlFL5KZxnkH1yMrwR06Crl71+Z6XCV&#10;pT7afgrWIAGkyUj2GD5EVmADMgbII6AAgAkDoW4OakYMqs27cGABDDA2jOeAMA9PfkHOaUB4yFYq&#10;BtKg5ZnOV2k4HYe/pz3ppLnam3IkYFgEEZZTux8wAUk8kknJx04om7SS6dPuuEWopP7X/DELbVJD&#10;ASMWbCgBwPmJ46HIBA684p7MzIWHAEw3L5g/d4UZJPQfeHfGT97uWEu4OcIPM2BBn5+AoAGBz+ec&#10;/mEKikgjJBYbBvRMjgkegOfQ8jjpUXvbTfUbaeq32+Xn8xVZTEWkUgFiUXJcqSr424J4yFPPPzg4&#10;xnDFldY8/KS0eMjEbZz/AHvT5fryD3pGaQAsFbasu3O/5jjnJXGRktjoPSmsQu5wpzGnlllcMWba&#10;ASMc/KWx0yNpycAkRLmlJxl3/DQmMGl7i1X9XEVm2+V0zIQbgfMWXgeZk4IwvJ+jYzVeTHl7YysB&#10;EZ+dR5iEkAgtz1I/HjtT2klMQQ7lVWyIs7SjsqhgmDnBwVzznaPemrOfuqCQ4b96cxsWU72HDA8h&#10;GwB02jHUAWpcsVNqz/r/ACKjFRXJfe1wMoQ4jZkwMKpUMCxGM49fnUnrxnAz0rtKm4rgNg7lVhsO&#10;Qq5B7/xZBz0P5sm2okcu922oSRtLgMSu1gOg4A685+ppjuHiWRxnZGykF/mkJU4AxnBOH4OO3Q7a&#10;mW/tIL1v9/3lS5nJp6af8MRhihYnKqyZWJSrJI2d24Z5X7vUYGW9c7oy25RuCvuKwsSVRCC2d5BO&#10;AOfXgKfrSlZlSRFMYG1SWyEjK8FsEnGfm49P5NAkWNlJKKkZj+WUZbbjBBJOcYOcZ6euM3SgtZbk&#10;wbsr6L+vvGhw8bHayBv3gVyVwOeoPTODx14xioS/ksxkUBY1EykDzFK5J/pn6EdakmYDBwEk3Avv&#10;H+sOSWJB4wD6j6g4OaueCJZIcgxRbkk8uNSUiQAgDkDA5GON2c5zWMFNXW9zOSSqOMf6v0Hs28ur&#10;FQ68sJULRyLnAKkEjPJyQBnJ45yIBJh9saMoJ3ofK/1YKOVLYBA+WKRsdtvGccilwhDhkYptKjGH&#10;yAMHnJ5DdOAcD0yxEUymPftYNtUxBZYyDxjI+b174PPvWtOUknzeRveXLZ9evZDOApIU+dFDtcMh&#10;JCrgoO+cZYdONoPeoCwD/NtLKMO33G+Uqdx46bgAD/eQ4yMEsLbhIdqqDGpVSnKKdvPA7EjKrkjH&#10;TtUau6ZEhjBGCoZvKBKMvynnoSGPGc5bqDVtNe993poRJJvTbr3/AKt+ZKJCqjdKuYWDxliNy9WT&#10;I7FSgwRjBTOTnNV2J2qI2DL1ypWVQu7CqccYyDkn165NShhMSGPKtlPmCKXJ4DDjqCPrn3BqFjkl&#10;2JdgwlxuE+cNIQCOvOzGDjG0n0qIKXxLe9vxKUOaKutH1+5DpJo5VLHaTvdV3E4Kg4z7kEAcjGGH&#10;oDUFwwHllExvxGhaQs6cgMx9gckenoeBRvV8uqncY1wy4YoBkszH8ASAf4TjNRSuzYXJUNxuUhgW&#10;YBscg8ghvrg+1bJcsuZvclNxTUdW9H95GZFI2OqhiNxO3aEA5JIwM4z146VxniFgfCmsBS2LeEh1&#10;kc7IsuEck4bGPN5AB+VmPau0uUjjJZW87ZbgsNwQMSFBB4B42kEDOOTyDz89ftA+Jv8AhDvhn4zu&#10;2lUyzWpgsS3XdNtiDIvHKuQeBwozjjNa0ozq1404aybSS820Z1XBJS+ytX6JK/3WPyf+NPimLxl4&#10;v8RalczzNaaPGtjpZYhiY0GxAxzgcKOmcHPXrXzWpVy8xIWNEO1j8u5jnaev0rc1O6uLyaRW3rbt&#10;OXuXLFQ5XPHvjP8APisG7nSZ441AEStiMKOSBkZ5+lf0nlGBWBwlPDU3skv836tn87Z1mTx2NlXa&#10;0cm/XsvkrFW9mCokSnYHJkcAZ3ZPeqpYIATjIyyADDDI7/hSyMGnJznB24LYIxkcelOjDgGVsMCx&#10;8sE8ED2617VktfvPBnKclb0/4Iu3CxB1JYqG24zjqOlblhpszlZ5wyKVAUY+YqfQe/6VWsLNpTHP&#10;csY41O8lX+dx2AH416F4b0xtVmaSXfFp1nEHnmHDN8w2xRn++3cnoMntzlOXLFp+tzSlFuS7fm+i&#10;QaZZQ7onuI3CA/u+AEcLjdj+nqTV24uw0n2e0iKqZSsKLjzSRwoZuvABzzjPYVf1GWKFDHBl7mXE&#10;cextyRoOFHTqSxAH1P1yPKFtG07AmVz5Uat3bncRnng5Hoa8qrOVZqSfu9EevCmoLXdr7iSW5itI&#10;3lUiSSGP7LHITlVzgO4/2m5Xvjd7CsWys1uJ5ZpGfz+WVjyIV64HucYH1r2b4WeAvhL8QTeWXjv9&#10;oLwr8Er6zvUTTz48+HPi3xR4N1GIqA8s+qeHrLUr21dGbmP+zJlZUJ8xSQlfQtz+yNo8aSSeF/20&#10;P+CfPjCFl/cvB+0NrXw7lcYGH+z+J/DWkzgcgbWQN14GCRrJKjFRT95/8Axh7SpCd0+Rb+v9bHxw&#10;8otIELkxQyKEtrbfvkuXbu4GOCSPz49a52+e51bUoNLhJNlYlbdn272nfHzYAOCS3A7YUdK+kIf2&#10;ZNbv9dvTeftA/sgL/Y5ERkh/aK0/VraViNqPbizt7iSYDI5iRl4rqNL+DHhv4cW663rf7Rn7LcGo&#10;Lbi40WC317xv4y1KB2yEnW3sfCc0MjYyyl5QAcHqAKiPsaXvTkubt5nUqdbFLkpRejWvktX8v66n&#10;n2jx2fw405bpYUuPGd1B5eh2AbePDYdSWupl7TEY2g8rjOQcCuCvr3a20MtxcMwuLya4BZ5pHYu7&#10;uT3JJ616Pe6d8H9HSbUta+Lfjbxx4j1S82vZ+CvhYLLTXhL5kEer6tqNvNubsz6d8rYJQ9De03Uf&#10;hhZXUl34f+GT3mmaaBNf6l8TPFsnjm8vbrgxxRWltBY6fjJGVmt5x2y3BHJNKpP205atdOlui/rV&#10;nRCDpv2dONo+du+ra8unl6nNfDvwp4r8Taub3w5oWpeIL6yWW8t7aysHuraxEcbyz3l5MR5cEUKB&#10;5GnnZVj2bwcgEdlqXhTwf4dkln8ceIE8Q69AzRw+CfhxrNjrKRXJnKyJqWvo0tnENsbs66f9sZQY&#10;B5ibmJxfGnxR8YeKNJh0zVNauY9Btbg3Gm+FdMEWg+FbDaSEMWnWqR2x2EcuULO3V22hq57wbpYu&#10;LxLu7kfyraNWEYIdrqZtxW2TnnH+skYHgFRlSwNVDmd6kly2+b/yuzdugmot88nr2XTvuj2fwdZy&#10;3VrLc376Z4P8JeH7dtb1EWlurWkZQqYY44j+9upS7BEa4YtI5wW2RlV8il08+LdYl1F/P03QWld7&#10;AXDmWeRGYs00hAzJK+WZm6sTgcCvZfFijVdKTw9G8dh4e0aRr7WPLiK/2ledcyFFLMY8CMIc7cNg&#10;HOTwDw3usz2drp6yrDfMbPSgo+zlbdGMclwSTtVQA3zHhVHGT97jUk6ylD017d369PI9LkSpuC9d&#10;PXSK/VmdBJBdXcFpb2/2bS7SQrcMMN5rKAfmbkbEAB+XJJc9gMaN0LyWIXMy+XDclJYYZBtS3t1+&#10;VNw6gls4UYJP516h4a8A2dxoc+oofM0y3aT9448m11JLdfMaSSQ42wr88szY4VI1BDOCPL9b1U6l&#10;qIgszK9lbS7oCU8n7XlVYylMDCngIp6Iq+uBy1WoT5VrLrf73/wPI9fBxlUj7WSsla1vL+rsgEyW&#10;ylIl3xhwXyN+XxnLn8R0rZgtlW2jLrtkuBvt0OcMuWAOD/eAz7471W0zS5bm8sNPiAYTypFLLJzj&#10;OAS3+zjOO5OK7LWWsvt92th5rWdq5srV3UKYo4xtZjnA3NjoPTgcEjyq043t1f4Jf1ofUYWmlU32&#10;/PRmFFZW6SJ9qbBCK6qvJQ8jJ6Z/OtUQ+WTNMI1UAyARDLLyADx3wSRzx+lQvLbysQIGBeMJFu+Y&#10;umSCWPv1rSUrO6qApjhULJGV+Zccen4dvyzXm4h+9Gcduvoe/hIq3LJa7389CzaLuh8uWR3US/ux&#10;Gfl2jgHBGcHJPH5VuwWyn5FZnO7BDfeYd+Bx6Hp3A5FZa3TQSxusMRClcB03mPK8DjngkD1BPrWn&#10;DcPNcMVZYfNAIdXAIAOduAO4FcE5bPb/AIY9LDreL6XtfzNTTgJ3+wEF2aZVV0iztBYoB9egPQ5B&#10;4IwSzVdOKTS29rIz+QrRNOCRHMoODsGAwGCcFucEZA6C7osywGQ28akCXLSSv/rACGHAIB+Zenb1&#10;61HcreSRTTDaYom3PMZFZjIxwqkZBOMMegGMVzwqty931/I66VOcNXLyt6MorYy3sIhAeGCzkGWE&#10;mxtwHX6nP5DHSrscC6fbxxS4M6SF2YINwL4I3Z4yBzx3x71bedYIfss8SMs4EkqrxKJDjOW74wPX&#10;FXrW3U7XuPnaI+b5e0MkjA5Oe3HHA4yBik5Oaco6XOml7lS19/8APQ6XSYrtIC5xBE6rGGRtpA55&#10;yeo7c9ulbcDSRtsS6OFmAkSNRsYYBIIxjP8Avc89qzoUItmvndpDFA8cUMcwQjLAtkdQflAHGBnj&#10;ODUdoIbWETLI8kkgVWjhYFYgclVxxyOPwFcVWDUWou6f4dvyPbw8pK0mrs3rW1nvGRYHIn8gyTKz&#10;fPbq4yFyRjA44we3NadmZSbaIxNcGORjJIGyxJIySx5/i5xwcfU1h6HiyuRcfa9zHdMyHMeSzg/M&#10;uMYBJHuAcdQK620vrRZvNiZJY4n+4QD5g80b0PopIxwc4Prg152JUaej3ev/AAD0cPJpKK0irHW6&#10;fDAg+zy/Mp2xysnyyHDdSAeR8vPJ4FaN55N2Y4NiyiC4WXzQxVsIcqCccAA5xyOPfAw4NSeFNxkt&#10;4YnhG5kB3Hk5ABJ+bjG7J79eMUf7bU3DW8YLP5pFrLyJHX5hvCkcEcdex6cEnyK0UpPlW93oe3hK&#10;0pQTp79P82/vPZrTUtPvILi3kmWPyrZR8gO0bdqgsB0GDuJIzkDjtXoVrrkX2azsbSU3ckMaRqsT&#10;LLLkqDubJzgfxYzjBwFABHzrp8d3d3ZmWNraGSVlklztbcMqhIxg5yRge5zXqumxf2HYGFA5uLjF&#10;x54ZXO0BACrAk45A9OPeuGpSqKzm9LdN+n6HrQrU5/u3LW/XZaL/ACPZoFbU5l0+6vVWeNYoWhgX&#10;Y7LwzBuMbiWHU9z35HWy6RZ6Xd6U0E8YVYMy38QxJtGDwOODu5LDPHbBFfP7a5dW4nktWMJCeU0p&#10;VWabcSGznBy4IA44GScV6VoHiLU/ECW1lBLaGe3XMIlTyrZW+6wZickYeTG9jjcevQ4e7FOLj1/A&#10;7qUKrkpqfurpfulqejS6ham+itkeF2inZ5QZjPHOyFXSNkToTllflcbeDnhe7sNSLLD++EogRjJa&#10;z5LxxKo+bGACxZVJY89Rg9W8Z1TRtZmvtKubVVMdzMzTPF5skQWNYsAE842kdzhQox0FdTYtqFyt&#10;5GktvFcmML58pYJGOPkxjLc+Y7NnGMD2PLKjOEm5x01PWoToVIxipard/PU9tg8SaLJbWQvFabzL&#10;xovtCyMpQKroeAD03KwPBwoxw1a3h1dNt4ZrK2v2+zJLvspLg5d8vklSMEEHI74zya8J0Z8WM3n3&#10;KpPHOYhCWEkaLnd5uT8x6MeOME5IzivXNKudPOlwHzFu71GKbxmZk5ygOOTwDx3/AErNyjCFk1e3&#10;b5NfqbTUKU3TouTV7eXe59E6Zd6JZ6HONUWMiG2228srI0YmAysjllIyWAxggkjsODzZF1qyCOVW&#10;eC8mjcXokO7KjAO4Y6ktkdMYGB1rmrlZNe8OPYo2/T7c+cpjGycFdjfMwwSN6ZCg44B7ZF7wpfwe&#10;WA5kjFvGUhjmUssir/FxlQOWxnB59646vNdSm7xt/X4nThU6VOVWLfO3r5drGVH4bvdE1bzL1nnh&#10;a5c2irvbzHZmBB7BcE4yOjfQV9GeH5otPtYJ7hXCCQI8aEBCCvLBc57fjvHvXlVtqz3Ut9ps1tAJ&#10;LO4F3ZzTxhlQiNirA9Sqh1bIyCT14rqtE1C+1SyZ7eK6uLy2j33ETSeZC2NqO20AfKXcEEgkFsZ5&#10;wfIlCNSa5Y69F9yPYnXq4mEViHZK133TPpjw89vO86m2l894FmgMsPmtMgO+Nd2OMAkkgHPoe3oe&#10;gTLaXMls95cJasizjT2Y26xyAF2RgcEY2sw9XJAxkLXlOieeNKsZJxH9ojw0ySKFdI1RBEHXt8uO&#10;Pm5B55NYi+K5n8SDTltLpVkUz/2i5c2sgB4VW2kMeD04yTzxmuiolheVQ1lsvK66/ecFPCLEKdOM&#10;raX+717n1/cagTpdy3+itbyW8ixm0P7/AE0NsiViTkr86qvPJzg4HJ07BNGvI9Ft9St5VSALc3cY&#10;vJEt7oYGwSoWwcq2WC4ysmDyK8P0bUNKup1kGmR6fM9siyTTL5ccxVSryk5JLkMc7gOQQByc+maZ&#10;dWceoweb5FzZSxs0hjQSpENyGIOQefldyRxyOwxXZTxELWuuZ2WvS2tziqYP2MOSnfmtfz1Vj2HT&#10;dHtLQ+I7m2sbSSKWTbptpCWktihkY4DNkhFDOQzc4jA61oQ2F/PZSFpfsct03l2t7HMgtoUQxyJI&#10;4K7AuQ+RxwQcjGBz2p6LNNru/Qr9odEZku0hnv0lexgLMY0mKKPmKupJC5G3oCePRbPUNTtprS/S&#10;O0s7i3umeye3H2YhA+wSGLAG0ZL85OOfYawjRb9jUj7idk099bt/M8avKpGEZ03eUlfXSzsrL/Mq&#10;aGbvXPEi2a63pWlL9oSK+1Roxe2sKR7lO+JDufdhVCgMTuJxyTS+BIbnwhDcHWJZFS7vfMkjsmz5&#10;O0ykBZGDBW/fNhCu0qPmUj5W9LshYNr17qswl1GTUrWKc6lZmO7a7vriEPLKQnAxK0uEP9zB9a5q&#10;5hLXl/Je24M+q6pkp5my2jVNqKojAwAwUNnORuI9cdNaFKDhVpyXNFys/uWvTovvZxUcXPFOWHnG&#10;1OUYXjpur3s7X6/grJa39l8IzW9p4T1HUHvtWtl1PR49LtbmKN7qezaeJxiQBcM7mUoC+Cd5xzzW&#10;TqumWEEmp3kMkM+sXOlR3Go2HleR5jhI7eECM/KHeOAyOekjSF+CzZsaTDqej6VHdabqKNo97cpH&#10;pemz3AgtjcWttJKjKiKTvw0ioxBCmTG4ck9HeLcyrY6tq9hJaTNaWdtdi+nRriJo4cW6KpLna0cT&#10;AEjAPAJOcey4TdBU7bJL0vd3Tv5/dfsfJzkqOZTxEJ3UpdGru3KuRpq+6d7P4kur18tZdQgtdEW7&#10;tdFutNsr+TVpIZ5g1oLgoVQzqBziNzhCfmIOcZrtbLTEl0HXkt/3N5q9nJqTQRwwx2UKiQyz+WgC&#10;rF8qMFVMDCIoUDCmpqVlb6jokrXWkWhS41SeFp4tiyvnESAjbwCAsgU84KkcEZt6PPcTTNE1sjrE&#10;iabBI91GDMboOXOM7T5fUsTgEjrxWNJxhJwlL3XH81/VjuxE/bYd14JRlGV3qraSv3/mte9nb005&#10;Vr7Qri1tDdaTDb3niKUaXNItuIriUL5axyr0Mcg8uPLDBCqx53EHqfEt5D4V1SOGCx1G2t725bQ7&#10;u3u1Z9PuHs/LEiqRj7j4cIDkl1OWYljZ1nTpdK1L7N4r0e5sUvj52nyTWUhmWASLGtzDsJ6LglQc&#10;4PIGRWX4n+xatdzQnxLNHBqempLYRXWnkT2s6BIXkMokOEJ4woZsAghcLhynOFOdKpPlndJXsmrL&#10;Z+vl36mFKrh8ViaNWmm6LUm7c0ou9rcrV1eNuu3LpY2bHVdHmvdJh1O/k8rT7WWO7t7F9sk6XYdW&#10;EqEjBWTaSTgg57FgdC78O+GPEA8NWt5c21ncJot7p8skAW0l1ARfaHDvI7AnmWJPMYAqjoCuVzXk&#10;eo+MLaHVLmKNLOK+s9Li8M/a3jEESxwsHjldSuWZi75ZiT+9HHan6f47glvbe3nAu0t7me2+zyDE&#10;AikRModwK5JiBYDOckAjPGazvD06nsa1pRbS231X/wAidE8gzCSWJwvNCaTejXWMtVolq5df0R6n&#10;4cmjg0PSdNtpkt7eUmQx6ggeGG4mTMClcDKYiJwwBUu4Bya2r7QbfUfD+nxPZ2Os6gurqFubaGO5&#10;hYqEjljjmIAdXV02qGI4BxyM8X4k8X+GtV8Parptppcs90Hs9SsH064C/wBmvb/aElhYddrJcbTy&#10;furkHOV8hsdf8XXWnpo2kQ6jdzsZJGtYHfdJEV3K7Ido+VVZy33tuDnHTqrZlHDtUqcXVjKNk4p9&#10;9rPyV0ctHJsZjlLHTfsHGd2p21VuZybTva8uVp2vbse7+J7Sy8TX1rplpAtparbCytpbeJYLwyrm&#10;SeFHydhJD89CWD4ycDy7xBHa6qugJpN5czX+p6W+h6jbwnfcLcWZV2laMLkB/Pji8snrE5BA4Gbo&#10;58R3senR7RZ6kJPtEc0QM05Esa+US2ApBMajbz/rHJxkZxtE8F6hpd/qGpSX0I1zWr+a7F1pltHZ&#10;RC6KiNT5g2kOoiiOcjB9+Ry/XsTiUlUp25tZN+VrJea1Xpbsepg8DHA8tONdfu17q113u5PZp6S9&#10;V93P+GNWuYXFlqK3Gmz2TwWyXQSW2RvMD+U88ZUkB2MYBHXdxXp9t4nv7zw/ftcRs9tMjRXAdFDA&#10;SKqNEsmcgqGBO373PUEU7RfDNrqyabdXlut1c21j9ijmkcojLCAsK5OdxWFSvbAUcHk16Nb6ToOg&#10;6JqDzCO3sl8u4ZLYLIYYXkYMwUngqyDg4JBHWscNg1TTVOdoWev3PUvMcxwrnGNSlzVLx0Wut7O3&#10;XXf5HP6FfWfiHwTqkf2bU7bVNPvYp9Pv/kOm3sP2iGGSGZM5jUxq8qliRyuABirtnY6k1veaPPYX&#10;FxbakXlhuFaOO3hlWIrG6fIxyhdiQNpOWHTmt3wxPpb6S0GkRqgN072wupVhiWOIspVzxjOQeTge&#10;4q9e3t5Pd75bz7bMk7I9la/MgYAKN0pwWIxyM4ODgnOa6qdOlL2VSeslFRdtOZed99H06Hz9TEVY&#10;4qvQhC0XNytJtuLtG1rbK6vq0k7+VuZ1LTb7QvEey9u44tR0Uw6dewwamJR56Kjj58Ebym7ATKx7&#10;SOoaqe3TWgv72Zbee9V3KWxOy3T5d2zkkjA2/eIGFPJ4FX/Et3e29sJ9WsltbgubfymgjEixgOwZ&#10;1B5kBU/UAbjn72b4Z8NQSnEMoUXZaSUk5jJkLEs3qcKxzgnCj60VF/tqoUYKzbdnur7fcd1BJZfH&#10;F4ydpJJNx2dt+rsr7atpO1yLR9Wm06+jvbK5i08Qyo6pZW5l+xxgrhW80su87VyWyMvjA6VLJeW2&#10;lz211bW6rLqd7NdSwW7mWaXzCkjSEfNtJLH5gAC5Y44NVL66sG1WeG4uzbk3kliscYO66EWY3cvk&#10;bgzKfuk7gR2NdPbtDdaNaaTCyrHb33221cIP7QuHjSaKMK/PAEkjbc4JPOSAadKoqnNTUrWvb106&#10;dLm2IjTpOGIdJ+8kpdPds/tWu7P19Vqzn/FeopPbaQ9jBZwSJZSQ3jWkf+m3ZeQZllOMEjaEAOCc&#10;DIb5jW14NurSXQdWkuWNtfW0f+j2iIZp7jfOsYKYG0YVgx3EdMdeRk2T2emaBrt7NJFdWmkRJdS2&#10;txE76nfSq6hYYWz8pb7rKFwcnlSDUXgjSL7WxbJEJP7TMrQWIkKAXEsspKQuS2E27iu/J6AYweMY&#10;Kc8dCpBc05xs1va3upq3Xqu9h4iGGjlNWhJ8lOlNe++t/fad+mtpb2TuttN+4Ml7riS6Upa6e0eG&#10;UbNrktkMAgBAwNxAOB0BwSKhuX0yOWx0u2JuLuByt89zBGEjRAAoA5BO4nqB93oMc2tT1SWW81e4&#10;0CKGW5FrbWE6Qo8SR7UWK5TeCdmDGWck4MjNjHbEtLCKTWjBcRyI0lsJmmRlECvKDmM5x9cKMHeO&#10;a6atNJe493v0dn083bU5sPDmpKrW91RgrR+1e1/e8lzaW6+ljv4IrWC+SW0trd1uruK7jhVy6iNN&#10;2+ORx82HKgN0PII4wa6uzfUodUttRi/0yQzxONIumC22n20YOyF5ZPvRkjp1wcYyMVzFpcG2ube2&#10;kjYK100DSkhzcJlnZmYZ27DmMd24POM16Ve2QtY9OeMfZUC21q1zePvuf3oCxSOoUsyMTkkg7AB1&#10;3MT7eAp+1vN6crT00d/6v5fgfEZpiPZzhTqLm54tK+t1t3vfbb3r9b3iY3iJtVuPtuqm6a6NsRFF&#10;pNvIbnTWeGQtI6uWK4w2ScEtheikAbHhGG1k1eYXU0Ud1fwJrn2aWUwRTCRGzyI8uylMYUrhVPOB&#10;kR3EKa+timoytDp+kmTUZE0jRJlgs2ckTxBwFj3KZEOSxA81e4YJvaLaNZ3NxG1i9xc2V59ktlgu&#10;d15qMCureVuQlCVUqWjzjLMu7AUH26WHX11Yr7Om+t9N7et0vQ+fxWJjHKpYRq1SzVorlsrpJXdl&#10;K1k5Pdc2smlc7lLmC4u5bSXUUuEj+cWNxZpay2cEQikMkLeXvdSgKHcQ26RQcBwKjgls2N/9kDWO&#10;i29vHBLLDMkN00tuz+a5Vs7JFAjIyefLJ6ZFZNvbWbpq93eSWd1a3N3Pb6UWsJoxFcQMD9nmQvln&#10;G4oWJ+byM42qoNu0ze29oNStbS0E6NBq1jYTyRyykwOsUqJnKqX81VdflU5O7INeqoyckpNa3f6K&#10;7101vpuvSx8XOjTpxlyN2Vk9EtUk21H3by05dVpLe7lcpn+y7m0uDLPdBPNa0j1J3hEMq73Ia7iw&#10;uzDNhiMDL4AGQK+XPiB+zX4b8Taz/a1toFnqsMlxHdXlxHpzRYlhUtLGGwFJGGbMZKEtnLHNfXtv&#10;JbG4msL9r6y0O0s3sBaXlnNdS3jyT73ZsptfPltl2z1X1JqM2Uf9pXAu00ybTbS+F7aafJCZbmFf&#10;lZHUIQq4b5GjOeRyMEA+ZmOT0swwyp4pKUL/ADXW/p6q7PcyTibM+HcXPE5dOUJNN23TTtbove2b&#10;SlyxvofMkPwk+GQsoY7XwZPbwWyBprk6ittcQ4TlvLjYN8pBYbSevzEg8b/hP4U+Bd9pIdS8R20/&#10;keYl2yy/ZEK7xGd29gSGU/LsGSvLHBB9kXT9Qji1s2WpaZbaRcTjVZE1zTHRbozIBJJHGCJRs/co&#10;ZFKoNx67SCXIt7C3ifUNZbVIVhivl8jZcNpsZk8icwvsAPMhjXcdxOE5JJPm0cjwdGrGtUpwfKus&#10;Y23t0afTRnsVuLs5r0Z4ahi6t5NbTnJ6q9mpxaT97VXSslfWyEbR57SOG0N693bwae9+t5O/lfaE&#10;mKmON40QJ1bcUBBABGSCormjofiizvYZrjWbnUfD91PPb2lne3SW8NnMVkbLBtxiYbGAyx/1ijK5&#10;zXo82pRQ6Vc2sBRriZPtcUQs5r5I5YkR1UAKwAZo3bB+RRJgnGAczVLKx1PTbqxkhRU0qY3mqQRB&#10;t122+RreNHACjf8Aac7gCOSFGAM+9WweFrNSgtlprZX7fcup8tg8yxVOX7+K5ZtptwTdn9pLTlfN&#10;KycWl0uk0zldQs76GwtrfW7WWK8stYjsY9e08ALo8cQDwOsrZZ8tMwIk5y4+b+I2JrRHmYxiwi1S&#10;7uor260+4ijtjLLDHbQqUdyWQymS6kUbckoQAeraF5eNbNqXho6NchZdJWX7S17BFZTpbo8LP5bb&#10;S0jbpCwQud0QIOKoXk91dXujG7uypdJtLJtJxd3mny2dm0iyFlAXfuhklCsx+ZGxkZrllGlGo1Ft&#10;vRa6WafLvp3X3/d30qleUVKSUVaUtGmmuVT+FOTSvF6XVuVNWbd8u9lHh9YLuF79Iprs3NrdRbXn&#10;sXYyxy2xJQyKxAyFbKrkEbQeL8+mW7W9hqN5vs9bhaaWTVox5TyXIk8nbcS/d/dRskqsByJXAwC2&#10;a0WjQQ61rA+0TSmDUovEFrMbhZZpBERMizO64wMq2VJx8gJHIFb+znsPD66fatc28NndNMbW7iMU&#10;N79pt/tcKggbUuEAQmIEiQodrZKqeP36cantIqzTst0mmv8ALTttqdnNSl7N0qlql1eVrOUJRej8&#10;k2k91JvmfLZs2bm1S91GLUXGoyzpCbWREaOMmOExvMY1KgMrKQYy4DZGD2xVvLBdQ0pLeSEzaTBd&#10;HUrWS2nEssdq1y++WNwGwr/MXDH5CSMel60vLO8tZJo57mC5stRXULawk5twUUFY43DcyDdGzAqq&#10;/LJgYzjMkhmN9oNms/2HVdGMsJSWQxWkUkl2JkM0oLJIpZY3AGQM7eQGFLnTpuaV1Nfe21/wXby6&#10;HNSlVjOML8rptWvfRRUndW6aqPMrpcz1d7OZbO4t55oGnmnF5byWGl6qYzExeVDdROspJLBBbgLu&#10;67jghiMLe3kd/BLFBf3OoWt5vfS2ELzapaDakdxHMwXefMifDqTtYKOPlqW3/sm5s7KO4kZo9Rtm&#10;uJIZAksOllp9wdCMnMJHBGQVmBXGOYNR0+Rf7KuIp7ZZrO3gs7oaXI1lb3skz5jEUv30VlbywxGQ&#10;UG7O4ZzlTcqV6Oy6Xu9fzsm/6WtQlCVeKrXUk2k+VJXXXayu0k7NLV7qTtgwWX2HVLzzbSIzXoPl&#10;XEtz9nsp4LtkkW5V1JU7QxJXgbjwq8Cunlulh1SdL97fz9R1iCyvo1XEjZZEEucYChiRkYJAGMgm&#10;q9jE2qNc2ZjnsRpksvmWN1GUlsYzPFu3kEnyC8bksgO3LEDDZrkry9tr9nuba2fZZL9mgEiCSeOM&#10;F5AJy3zHC7h5gBG2PBI4zxVZSwkYwpPSTuvP+b8939252qnLH1uWrvGKUmul7OOrdleydlp1TaSv&#10;zGsCGy1K5Mhuria71FrgoSsnzSySHzMAbgf3bkLgAIOneqItYxczW7IWEczSHzVCujOcBhEy5wQF&#10;6jI257nGzqF3DcSqqxMSbw3F3uyqxGFp9u4EnlVkdDyRh2IweK5XTZY7tVnt7t58eakwuZERpHSU&#10;FdpALMSjKxLEElumAd3zc5U41bwd1d/p9+rR9thVUeG53dNJJ/ptts0r73Vzt7WeVJnhniiMkUio&#10;uVObY27tGY51IwQcAewGDV2xnurqd7S2MNpqskqx2UphRYbsHJ8sueUY7QBj5Sz4bsVyrffNHIAF&#10;Ms18xQRYeZt0e8YAOQMSquOD1FbX2WDZuucKsgFk7+YJZ42ZUMrGHALAK2QcqcdGzuNdWH5ocrb0&#10;T6+fTyf5Hh4lU4tppcz267W6dV3Xbz1OC+yPoWravq1rb3ialaaRJFq629oEvNKhFwh/fxkB/KWV&#10;YT5iDzIWG4FQu5cv4teDbDxhYrqGq60s/h/xKBEniW/u4bdvD/mWqm01R2gjBUxTW8UFyzIylG3M&#10;dyhq9Z12y1CO4sdR+2RpqixiHSfE0UgubDXCcMluZGI3SIqqrwyhZMKeHVUI84Gs23gy2vL/APsm&#10;eXw3c3C2PjLw3BII7FYrqPyJ7SJgf3lteIGf5sATeWh25r6HDOWAxKo1E/ZSafey3v2e+v3pnn4q&#10;s8xorHYaUXWirabt6JxbaVtUuVv/AAzSlZv5W+Dbah8JPiTd/DX4q6amjyXUEF7Y69p9rBrkGqQw&#10;GeXS9W0rY2JEz5iypGWDrPIR8ylBf8c/Cf4JfFC3udO14avqPhTx74M1PwHoGv8Ah6JZbayu9W/f&#10;WMZi3MqJZ3klwUV3RQ0yMjI6jd598SLXxD8NrXw54I1PUGm8OT6kPHH7NvjXXWTULrQVvXjLaEb0&#10;AD7POWFtc25JSOUQyIEKqa+k/g1BpXi/4e+MLzw9pV/bx6hqd3ca34H1O3L3Xg+6sIRa6/pl0CmU&#10;miRrK6t5I/vfZY+SGavoKUpQxUIU4+72eu6ulfZx7eTPmsW41sDLE1ZXk9G4uy0dm7bxkl8Su0mu&#10;u7/Mr4V6trt94b8SfstfGHQtfm+NHgHUbay+HfjC8iYS+IrZTLNYyaVcAPbyR3saXkDwx5CzxKMZ&#10;YqMdbOx1nw1qPgXxJb3T2N1qBl0CPxppjW0GvQhWnOnWSyBfPWORZI2ZBtQXLAuNhIu/tLfDHxP8&#10;Q30fxB4F8Xaz4c+Mvw8nuZE1vTNZbSYfGFhuiWzsngVhG8++IuZsBvOuJGZmDcfH2u/EK/8AGMGl&#10;fEDU9RvbGfxMbrwv470+SUx3HhXxNZGNb25hkOTAt8sKzmIhQs4mCLsArW0qcFVp/DG3yXVfK/zM&#10;1GGIm4VH78v6Ul69bbP1OCvfGGpxePta+H15qd9pniTw59q1/RNPSZ4tZXSFLNc2QcMZJ3tomVll&#10;3MZIJBzIu3Dvidott8b/AA3q1jJPBH4i8P6RFeWF0X8mVWCIEvIX+61vclGUryUDsMhlDVueKdOt&#10;vjNLqR1Z4dF+Mnw4stP1tPFNgscN3r8KMI7HXbL5cqJYHEV5EhZTIhyFR8DynUvGd78M9U0W58SN&#10;JZ6TqjiwF9YyebpujvLlbiEHIIs7ssZEDjaHZkOMqDliHGEPbUtU9bfmn5dgUZSn7Fu01a3r3Xqf&#10;DvhiGGXX9Q8FeNYvsnijRNQkuLS3uNhmimPmLEhYnBUblX720q6EnG01wnjfwn4j1nT7LV7O0l0L&#10;xJoOpPbazZpCLWXTb9FChIvmP+j3Uio6NtOx5CCVAAX7T/a7+Ei6rocXxX8EWLxa1potRq0trF50&#10;sMIV8SyBcOY8yruOSALhQf4Xr5f8PfEUa/fnz55F8WWVnFb30cl4k8OvWht45RFcAKVaVBIygHDI&#10;0eMAhlqlBcnMleO//A+RHvVYLmdpa3X9fifIutykN4d1aWxEFnBeQxX0YiMMmmXjYLLIxxtt7kDC&#10;jAClmX+6W+idU8W+CPjZ4Hsfh/44jeOPwZaSWng3WZiGuPA1rcymaSznIJDW7XEzOZEAO1g+eGSu&#10;S+LjNpGonxPZ6Tpsng7xpbvpmu6bBZfZptMv7dRFdQzJxsMgSK4VwOHVzu644i1062sRaatop/tP&#10;UdGgVtRhimxZ+OvDk5QSKUySbi1YuGwSyFiWAGBW1Gc6dTnouzVrf15/oc2IhCtR5KqXK/vX9fkf&#10;DPi34f8Air9n74ki21JXgm0eWPxRZvaN5qvbbiWETEbZEdfnVwCp2kc9/qfRPCF7ofipfDbn7O2r&#10;2dr418JTNceYLKe4SGdlVs8hHliV+MHJFeqXPhDwp8Xx4e+Enja7Syib/TPgn8VJy91bWVvcyYk0&#10;bVWQEtZSYaAl/mt5kVslGy3kep3/AIot/FniG117TLzSvEnwv8VajYz6TeBlu47RJZJYokU8lWjG&#10;VKkhg6sCQMnqzuP1nCrEwXvNJPyfTz1OPLorD4j6tVnonePnF7/OOl15XPsfwXrcuuaNbXE8clvf&#10;xMbfUbViXCSxIoc7gM4y+RkE4fOD0ruU5USIiojMWCghtoBOBkeobgAkE59q888PX9on2PU7AhNM&#10;8Q2y6hbOx3ASqrsqOyjgyCPAyFyV6c89xb3MTrGrSleSyngbgcHI7+pI/wBr8vzTE4ez9rDSLf5f&#10;5H22Hq1JR5GtV+O1jbt2SIKZHIV2KSOfkKvxgMD909eCR9TzToZG8osPLLSHhycrGVwCASMEsYwo&#10;6dee4FaOaGbzFSRHIzlY3wzDBzxjJH3uBnOfYVO0gXLPH5YyImckF+5HJz7EZzyT+OUaaUnKOu19&#10;S5txiop+6/1JHfepcog3Mqq+NjEYABAHPU9exGSetRv/AK0BBKI2DP8Au3HkqWXcG44OSqntwPXo&#10;m5URSfmaPG1ZCRsJ+cDHGQS3J6dScd3GCRZdroTHsBKsd24LJKACvJBzgjk/QY5lWheS1Rbg3Uir&#10;7W/QjZUXczbjuOI2HSQEevTsR+PXmo2HmjYJGkQyD5wgMgBKsQARjkNkHGBxzVkNv/dli4YCORGf&#10;91IRvGccBtvQd8OfU5rPsVpIlBKD94v7sMGGS5KDpxkcdBgdqUFGXxLUuc4++uW3dlN2CIhVVLEc&#10;FRv2AFo/97sMnoB3NQNKZJEeJXV+ARKASdqhFwvUAc5PAO4DHAJuyLtCCKQFTwseSCx3bQCenoN3&#10;A65IGTVKQkmWFU+RpTIpkG1k2h0XPuAxJ2+/TOaOZ6LraxEpKNZQvoiC6mcqyIhf5RHnIYsANi4X&#10;AbkKduFwQuCRwaqTOZ5ZGULnbuBPzMuBng89TtyOxqV5OSWEbxtIXfYfLUHOWbGOerDpkbs9sGvK&#10;vmFVcKpkP73cQZNwbnAxgHOeO2CMcCqa95Rbs/x6Et+0UoSW2unqZ00yeYBjc0MnyiM7l9Mk4Bxy&#10;PxP5xO7RkzsxJ2Y2/KZGAOef/H8//rw+faWC7TkgIYclioU5B6cE8frxzVcxurKrxnYOXZ4yDJvB&#10;ZV7YACrnuAQO9XyxhSXKtS4q0b3v/mQKFQJiUFzNkwZIRCQp3MSuNpYso2nP7puAME1JjtICRAtG&#10;iyb92WQDcMevBJ6dicjpiyjlnjw5jO0lmDblZTnAAA54D5ycHBHfmMDaxYLh3XLIq4BBIcqM5J6J&#10;164zSjeLv17ebMXJJuV/P8iB5AFHzLIrDzGYDzQhPPzHnoTwMEZUjsKa0jBoyqsyghGVSA8ZBLEc&#10;+6McgYx2waVQV8psRmSIlVdF2yAZVioPYAquD144NTLA0anzMso/dlw6llxtQuce5BJGc5PXGTaa&#10;ldLp/wAMKnH95zye/wCW7GBw0qRh1AdyrcjcrNtwGYgZA3r8oOPm+Y5GFlTZGiojIzKu7dEA69gV&#10;DY4UBepHbJGTyJE/nNt+dQjKrZLMiD5gnzZ2jIPzdc8fN0M6o2dvJD8cAh8Y8tRnBxwgVRjPynjp&#10;RD3bdUrfoCb1la6TdvwJBEg4DMrMdxAOVJYDdgH05BHTuBzgWhErOTHCpJH3nIkYqdwI9DnbntwB&#10;7GnRwEl0VhHuVhEzSKrr8mANmdx6YO0nBzzirJjmVfkDrGWG5BhFIPIIHbAV8ZJzuPBxzKgpSvfT&#10;+rlvla/eXSXz1I8MTgsWCAEAucgqoYH7vAOcgHJwT6mp/LMxWMRlXUg4fczDAdyPTI2Y+pPHUVOI&#10;2m3s7LJiVGdQCqKxbcUHI4IJKlcgbj3zVkW0bkgNL5pbYnICMAGCnJPPBJAPdF9cAjPll6fnoTKM&#10;lBxhfXv8vz6FVIQWmbILGINGJwFLjKoFGAATgjOew6ngVYSMMkciBSFAbLuA0g56nJ6BcALgBeoB&#10;ZmNpAQw+YoFfau350yFIGfTJ9emD7VcRMrKzGQHyyd7KFDdB0IJPU8HtgHinOXuqS6afMFBuqpJ6&#10;Pv8A1uVIY5SI1Z9gLs3mNNwo9PmPOMjA6YGAacjswjlcquZNoY7cShthDEEcj733ckgn04uSNu2t&#10;uUmQhgQ4JYCRkJzwRkgHGOj4PTmTy2P7guQCzLMW43ALk8gcYIYjnPy49TU05TU7SW6/y/zHKXuq&#10;MG9PzIAr/JGflRkDkuoEfCjKHHftnjNWlVmZpI1V2AO3LFhluB+GOR1zjp0qcgsrYLAkZ8tW2pIS&#10;dgySvAyrYIOTj0PLuFicRAzEocZRVALbeACAOQ2M1SdkozjqC5faWt2IgnRVSIsg7R7slSQeew+U&#10;c/7OR2JfJEcO5KvkgMF+baflRmBwOfk9OOfWriRKsYRNxRX8sYw5OCAWx6AHoeTx9aRmZmYMfNiI&#10;+ZSBvUBWG0ZGDn5MHn+IY71PPbVPX9Oob00uvUqlPNYDbl9udwTarBePTJ2/OcHjFI7A7toaNUI2&#10;jcUJ3ewOOpbkcgg497MahpCxX5klySzeYwbPzHOODnryDyQeSRTX8tJFOd/lfukQEbsjlj6YwOSQ&#10;RwMnoKuLSafXX9C+SdSm0t91+G4xiDhQG8xs4Y4KseMqQM9BjPp3NOXy1VgG3hWdgXIIAXkc44AJ&#10;AGf7oyMYpmDG5AH3SAXClRgnOBj6c8dx9anCheZQGDHBKfvQQMBePcEA1EowumnoKEWkm3t/SGsE&#10;KlioVkQM8Wd5TGfl/DBIzwR07U0uAjbFJGGKhnILkyBW+bBwdpJHsccdKcEdVkUSITtUkbWkIBDg&#10;nZ0PIX0604kgJI3ChejsCy5JAz054ycccjoSSLSj7NOD0ur36X/Mck1FJdfx7jCAMFVVUXaPLCqQ&#10;m0EYHHHJye3B9KVt5UEFRgYPzZB7LGQBz3xu45GfUJ+8OyLIBCBS+QTyQOSQO4xx7+lO3K+XnVZN&#10;p2J3LFSUYE9MDOD06ms178bu1tBcyhblXSzEY+XH90Zcgv5khV1DE87evJPTpkHuTmuZB+7bcBtk&#10;eUgZKMhCsAFAx0VgfqDjgips4V2dmRC+84jCCMqCFUewOW+uOagGQJE2jcCqBCSpXGO3YAqV5HQ9&#10;s4qo35m3v/n/AMALqVTmez/S3QkLIyiOQRkA4Cpny8EFsnPGC2c9cenNPMoOWbMeQw/eMCULFSRt&#10;B44B5Hdx15pV3YIYgGQb/lXKH+8cgEdCep57dDiHYpRZAqfd3hoiGxzswQO/yrjPTPoQaIpS1b9P&#10;PUlTnq9NOov2hlypdiVYjIG0HBPQZFFV5dQWNypbPRwRwCGAYfoRRVOUU7NIahBpXv8A1YmRE3zb&#10;m+dVLTRLmOQEsMZHUEjePc0Mg3xhY2VSpJifLqSBn5fTdxljkDrgkAU5VEQj6HKlWg3FSAenXpyc&#10;ZBOAfbl7RiX94oUMu3IcA+X165GCwPGOh5BGOK4170+W9l/X+RrGMeXkn0/psiZiSJNpERLPGkYb&#10;Mpxs3HPU/LKB7kjHAFSkB8j513uSFUFj1YnDD3AwB6jsMVGrKQoAAzxF8wjbG35WBz3259+Ohpzj&#10;ajFHkUcsu3AyxBycn1YtjI6np66Ozg0v6/ruCSS5tLPT72hm2Q+UrLv+XD7MAZzGCQcj7u4Y7kDo&#10;KfMxVGWNHVQpAIBDITkZ+uM9f0qML5eNxyNgRePlQZO052jI+XAwf4G6cZgkdowMFmRHw+CFEYG0&#10;7mOR1VycAMRxk8GpnScnrsn95EpSin3SRMdzEFQCcqHCAKATtJ4z7D04HBqOYvIjqFAwR8xURsm0&#10;KDgZ6FX4UfNjGQKZIjqArFstEHYFwd2SFBHfnPTvtbntSRhdsbctgu6szhQGGwLngnOC/fr1PHLS&#10;XKpSV+3lsWmkuaXz+5f18gEcavvEe12Ulm2DL5VcMSO+AuM9MGonmI3FEaMfO6sBsEagfMBn7oG0&#10;n6ZOR3kczxtkA7NwVkXcGXaTwORweQeehOcg1E2Qi7Msu5Y1Hlgk/Ls44/iAYZPTnPSqlCKV5a/o&#10;KpdyUYvt/wAMKZEJTEYJzy5ym0BgCfUdx0zg/WoHMmzy2ZXUKUVEIIIxtOQOu7+Zzg8ileSOBkDr&#10;l0+UxcSOihwvcdl9SclhngYNJgxcKS7lsKoXLbQNysSDzyMseT15JNZXTvJjcrSlGe/fy6Ek2P3o&#10;Ccuhdi6MXAALgkYyAdgXOQAW5IBxTJnVQ+1DJ8xj29fMwGBZTk8AgHIHfPBNQ+cdy5VNqfKXyc42&#10;qrEjPGAUPB9eCSaHkRCPmZkVWB4/1nBHX0Jz9OOtWklFRepio3bje2mv4DzKsnnRo7ui8iTYXzk4&#10;HAJCHoTzgc9xiqe+NVTBCsuZN0jkMAScAKcc/Kw/+vUjkLE67pMGQBWcHCcgjk9cg5GByc5PXMTS&#10;KAZTtVx1UoGjC7SDk4JH3unq30o+KW25TjzJOTs3+n9IjEs4SVyG3rHhTgyLHlRjB7DLMO34c0pu&#10;EUxuEjjR41hYLko6hgpxwCPlwoLAZ4J5JNMXyPMJLoY2kyo2fNMBj+EYGQMcjHIz6mo3XI3btm3G&#10;Bj5SoIOM9scnjninTlGUXHbby2saJznFwvtYJQWCyucgIQ7gktn75bI/4ECOM88VXkJ2sqKTufeW&#10;XG1iSFGO2CFP6UCYRDDgNiaTgkKpCdfwwNxBOCGz1wKa7hFcxsqDcruZQN3B5LDOVOcknnpzSjNq&#10;Vk9uvTpuZRlKz7/8Hv6DFdUb5lCgldoJLL97ptI4PTJPXA54FOEitI0bIRMJdpT77EAO7bSBg5Gz&#10;nPAXPOTiNvMLOX5BkBYsoLqVBbB74GScdMnntULkPIQkucENjJLFSSDkHkgZycDP3fSleN1J7P8A&#10;4BUX7S1nb/Mc4Y5Z1dTDGA6gMir2ZmyARg7M8cHIzyCYpJQEwxP3RsxFnYf4TnjJPXgn7y55zTMs&#10;uMsArxh8r1U5YsrscY6n65NVtzsjbyxJIbYz7lJHTjjcAcAZ6jOevDceeTlLZW/QFenFyXf/ACHE&#10;l9xUNGrnylYrtAZy/IwemQMH3/CkZ3UKzLuaV96/IzORgfPnoORjk9+OTimvJG37xPM8wIZF3AMA&#10;NyktjPB7gjn5ew6L5kbSKd3mGPIRyrEuQd4BxkHqBgccjryTpZON/MpyV+a9raW+ZAZSoK5aRgMr&#10;8u4BQSM4J68ZJ+lKowHwkYjESOquTzkLj5iSdx65XsW5xmiQMzBwwCbC6KuWZ2VW2gjsM8duvamO&#10;6bVBwu4sibiJHGeVDHj1xke57Ck/Z1I23Zg7xqLVvsQORkknkxbgY325ZgpUHptOQBz/AHCM4Jz+&#10;Z37bXxAu7nUtK8B28u23tJI76+CQ7Wd2UBSp9Auw+pyCfU/pZcHCl13DhXjGC0xUgOq4HBbhsFf7&#10;o6Zr8Yf2g9fs9Q+K3ijUXC3cZhNhaCfJVXUpEXReOgj2jtxX1HCGGhic7p80L8icvmtvxZ4vEuJl&#10;gskrcjtKdo37KW/4HyTrgW3nkt45HMcfMhIzjOTx9R/WuZSUNIXC8RruQgkAeg/Ot3WkU3bx78/v&#10;cDJ3F+hyfb5qx5QtuGjYBnZAV2fdHrn6V/QeGjywV9z+fK8nOo+VWX5dykqEvlv4mJZiwyM5PStM&#10;SICqpGJJSu0FwCkY9do/Pn1qvBbtMxVV3HGMY3d8f4V0drYxRNiQK0+PlCnLbu2ew9hW1SWqT/rY&#10;xcdFOL1/DoXNM06e8ns7RAxnmbCxnkKvJMj46KoHb2r0XUruw0W1j0q25WIZYJ+7MzkZ+b/aIwW6&#10;gZ254qrZRjw7p32u6XGq38eU3LmOCMHA/AY6dyD9K5qy8zVdRwx3hCWDO2QO5cse/OT+VcE5Ko3S&#10;b0Wr/wAjvoU1Sj7Z7vSP3bmtGrOjTEGKWVvlkzkw5X5mH0UYHux9Kq6hcOyRW8KgP5Xk26qMiOMF&#10;vm57nr/jU97cqrvbIFESQqQ+7gIScADrk/5FZDHy337kMhA4XDKq5wB7YHWsklJKyur6HSoT+Lql&#10;r6kcezTYS5l3IODKfl8xjxjHpnqfaqdvf3+oXS26qty00gUeaznbkkADByAeMD+dUryYHe8zgRqc&#10;eV/y0mOcYA7Dv9M12fhzQJJY47q9mFgtxbtdBgpY2dtlgpI6+bPgKgPG3JJUZI6FCLviKq1OWUqn&#10;N7Ci3a3Td/1+bOlhso9GjW4VxBZpGk11DayNANZuRkxwrzuMacFznGW7bgKyL27udRZtV1V3MEYy&#10;kZP+tYD5dvoqAbQo4AwOgFa93Es0qz3WEtrVRDBbIx8qFVHyIDxnjktjnJJ5PPH3c0us30Gl2ETy&#10;KblUAQZwAQpOOnbgn0rgjH28uWK179l1fqekm6VJqTdlrvq9rL0/Mm0myutc1EXTOII1EkiSONkV&#10;vEoG+UseB1wO5YgAHgV6FaiOYK1nuTR9NDNYCXmW7zgNIOo3uQCvJxgk5C5rA1G3t7aJNGsJS8MJ&#10;VdTvQwC3TDkQxHGdv3jnODtPsK03nu3tLTSrE7729maK2hX7ttDGoBlYAZCgNgdeF9TmtXZKKpry&#10;S/8Abv69SKTldyq9dZP5fCvXr9xoWti2uX7JbokFrbR+ZeXsi5tLOMMvOCSDtBwq9SwA9a9q8INa&#10;QuusxxTWOmeHoxaaESDLIhcsLi+kLEl5XcjYCSS7dQIwG4vw3opljTTreLfZ2sfnyTSlhHOy5Ek8&#10;hA+6m5gAcjJzgttx2Xh3R9U8Z6l9jtb1NJ8OaejLJeshit7RF3K86xA/PK3zxwqcfMSchA7LzTk5&#10;J0U7WV2+iv1fn2O/DUVb29WL3tb7tEc/qtlr/i25nTRbO6h0pr5rSDdcC3habY0kig5wXVAJZ5QM&#10;RqybiMgH0Twhod74m8UxeG9Djm1OS2ji0ebULWA+ZfyyBI0t4IQoIgVSEUn52GWYjNZnxJ8RrHLa&#10;+A/Bln9leazFoxikZ7iWNm3LvbAbyycSOxAMrnJAUKo9MtNatPgt4QHhvRZ45PHGq6AbzVNVjLXF&#10;74btro/6RdjkhLq7AaGAN8yRuWUBirLyKdOFFSS02j3b7vyX6nrUoV69blTs7a9ort5t6eehF8XP&#10;ElpYQ6X8PvDUXk+HbBorXxLrFs6yDxBeQzEtYQyIT+4gfluRvmySMRxmvnKOO6utVlRIfs9yxaMo&#10;4bFnEh+Y45OFUIM84FSW8GpXwn1maVobXTZFtrG2R/NgEkgGI/diE3tn5vl75Ar2XTLXS7ZBceMb&#10;eWG/ks1/ts6WqR37hlDQ2zqfleUqVZlJUjcATnaK8+peknKs7yb1fm9l9x7lOcqnLToWUFol3t1+&#10;84/RZI7a708JlEWQSNM6jNzJgGPAxgIWGOThQSc+qG3ktIZI3GXeVmR3XEZ+fGRnkgk8YwMDniu1&#10;bwzFIP7R0nUrbVrBXCWNi0LWmq26ADDTW/OTt3HEZb7jZPQtnXemtcTGJpYUURbmYl1aMZyBtYAj&#10;OGyCOO+K8mbbnzRPosJ7qtK+v42KunW8BR34kkLrDD8oOMkMXGCcEcYA9T1qzLatYXDC4jLI43RJ&#10;H8qRkkfe9Tk549KdCYrWzEcaCWMS7UlDsVzswxJHfLf5xiqdzqEzfvNrlZFMQWRmJXg7DgHoAM8+&#10;hyK4Kspc1nrHufQ4anJU3Pru/wCvIvquxZpWRMbGW2VkLchSCV5AzkjPHYYrT0hJIIrhGt42mmwq&#10;PcA4gVsbWHOO4IHUA84rmlsJ7iJJG3Ivm7beFZMSFj94oOpAxyeOR9BXbWqusUNtDG4kZGMzTIxZ&#10;SpOADyRjGMHBznNctSN5PTyXkjto+7OKUtN/w/4JrWqwLbT2zywxxpmTzwdoYLyyc/MS23g5xk9O&#10;SRt2llE8YuHhRraVTsE0e1lJyQ+R6ZX26deRXJuQ6yFolSOOTLrbk7SCMBT0weM9cc59RXbafMVh&#10;mWS4E1vPGsCMCoEIA5IBBI4C8e4xXDJuD9otWejCd7K131dvmY11FE11amCKNYVdm2xDeV9AW5PG&#10;7r3wcYzV6OaGG3urYM0gaUeYvygxshYqTgjA4Yc+p4yay3kgtn8mMOsoUjzAd7MuQOe2eOenXmrk&#10;UYhNuSNkX34y8mTNyQDnPP3uByDkcGoT5YqNzROPtebvt5F15XJ+0PKixhMSQJId8jHJJIXsBgnf&#10;zyvXBotNrzjEbQhzmSaSPeibGGWDY4OQCOh+YDParkulusjXU4me3WEsS2cSkKpIxjryRx1wOvSs&#10;+1iKwSLITuUxFtny7Np3Y8v0+4MMexz3rmbUI8zlt0PUpp+zUJSs7r+vkbs14iTW62cMMqLHsiYw&#10;BluAC7HOM7mLfJk564zxxo20yQbvIlMkku6QxOQ0TNgnhs55ywAxzkY5xjhbeyuw8xtmaRUiLbS2&#10;9QCQFGCcjk5654J967zw9o0+mQQ3+qCaRoh50cAAYOM4w4OPyHr71yVkpJczVlr57bHoU50oTScr&#10;36f12RqQXN8WjMUIzEvlpCSZCNwLF8c+oxjHT611vh6ytjcyXt9Ask8IC2qLIFh6ZB4GSW3EHJxg&#10;cdDUdtdwzG7mR9kj25kiWWMTSRrGAIo1BPQbQMk8BfzbaXljDfEbpUVZfOJmkAkePJ52gkAAHoeo&#10;9K8uqnKL9muV/j5noQUlFwjsu3mej6/cwW2lLc26wQMI9/2WBmd48rgDacZ5BHJ4Cjiqel+IbpbS&#10;2acrcYib96MszDcc8HBydhx3AYjJyc8freoXF5a288DR+RcYkuH3DeqvkCJUzliGznHQAkDik06F&#10;YZojLeLcAZWFGI+7kEEgHIAyoz3x9cZ0sM5vmktPx07HrUJprllunsz006mswWKMRwxbT8jOA6Ha&#10;ThRk9cHn2+ldv4QuLNNLvJoWuJ9TO2HTkSdh5LKMFmToSR5hx3JBrw2PT5bm5N358i/ZuY08wrt5&#10;XO0f3jtGT1AB5rd8P6tLpOsKrC4NtIgmnihmEj2+5lBbaSoyVLtg92HPANYVKVqdrWVvvvb8T2sO&#10;4TpuKTvHX/h/I+vIdZuZvCkt7BMkOovZrHGJJG8+MAo2A/JBx1zj7vTPFc1o3iO7nkllRAkixqUe&#10;Fs9UYsSxPzchFGST69MV5Bf+LGtppp45ZRZ6kzf6JHiOKR5W3kmNTjquQAMDkegPo/hmSG48NTvE&#10;BJK0qThjJl4CWYBP9kehU4GU6EgV5tSEeb2lS6STsu70PUw3+yJSUVJTa17d0ehafJC9hGUlaS5e&#10;RhMrK6iQHlkIJJO0llyeo2joQB0ugancQp5askBjmL3khUMI1+78wHUHKnucJntxi+FrW7ubc+dF&#10;bW8ZtzDaLHMIJFPJDlRywAXOCOd3FbK6fZ2+rX2m6XdefE42PIJQ0kOFy5IyBlAARnGQPSuOph24&#10;qV9X06ndHEKUnTtdJ7/5n0boN1ey2VyPs6C3lsntjs2kh2VflUHOCR1A/vdcUuqaKmhfZJ45xB/a&#10;tsLlrRGVZWkyAzELkBWbzcfxdyAME+O6D4ov7OO20u8kS2l09RFKojVjdEbm3llO1mUbixJYjGQP&#10;lOPQWvI7y2t72e+QRSSCUygmfygvQsADgEc5/u574rgxHNyOG9u72LpKrQl7Ryum+i37Go89s0EN&#10;rDLfjUrgbpNrhZkjUbjnDN8mPUDpxyAa978DXen6faWNzcGeOITCG/FhhrueL5sqGPyqdwx8w464&#10;wa8S8KXmnT2t1qENnO1zKTAJwSZEXBV8gg8AHJI4GTXo/h+G9khd4UFo0d4YjFMfLlbYTllX6hsA&#10;9Sp4HFebToTjVVTq16WtY9GpWhNOlPTVX/X9D6E0jUU8i2mkS5hMsJEuQZ5JEDDLKQM5UqVGOh4q&#10;h4g1nXbfWNMOi2dimjXckca+cVGo7YxGJi0eMKSMtywPOMnqfKoPGL2t2qrey/u5RHcSoDcNCgOJ&#10;MKoHU8jOM5xyTW9by6r4jsUbR0u5JpJCRcu7KJScbVRegx8/fPzduMXUbqy9nG7s7/dY3oYWVGax&#10;NVrltbXZXufR9hcL9muJ7y9mvppBHvjnuI0jQqwG0EngAZ+7knaoPt13hS5juofs7SxRwiISQJZ3&#10;O+1sYYS5JmjPGVCZw2AQTweMeG6V8NvFstndtrGozWGnvAJ4dOtIBdXbSNuLjzEfoq56YJIODgZr&#10;tPDGja/pVoLLQ5Z7hr1ybW4uopLSa3ijyxnfd90glhjHJ7kcjCdPGxkp8nS1h/7FUoydKunNNa9L&#10;f8D0PobQNaewSXzn8qG2DXEg8hhPJEvlxl2wABgyISOfX6eoaXq0V3JBqOn60+ppNHNILD7MpvLn&#10;aoMixqxKsC3mADqfKPQ8Hwmx8M/ELWooLLUbiO40yAmS4vbeSVIZY3UbidwGMHGSRzuzk459j8E/&#10;CywtFuIb+FWtLHDK80ZZbsoRltwUvtyAoTAyScDkZ6MBhsY6tpLlh573/q54uOngqadR1FKfaOqs&#10;9Pv2O207xPqVw8V5piG0trjD24uIzaXAl53qyH6EEEknnruOLOvXd39ntrzVL2WU27oVjtEZrm9f&#10;EzGRFXlhjaNmTlgp6gEdvqXh3T9W0Cw1GSyttIstC2KIrK78u/uAx2RiRC2XbLscKoKoOchCa6T/&#10;AIRyDXNJ0CJrW7tYLi/nhkLzGe6upjwGjiCqYlVP4ySWLk5UgCvaWWzqynRjO6tFxevVpN26anz0&#10;cww1GUK04WtJxla11ZX33d1bz1+ZV8Oas+s6dazeHbO6uLyOSGG2SdEiYfNmTYpJbAZVOcAnrxwK&#10;7J/Evi6Sx1ldX0Gxu/C8llDJc3M9lLa3VvsPkx7b3aRE2/AUBSWICgHGKraTJo2l2mdOmtrKws4p&#10;Lua8ijltrqUtGypaGNcRom7byCeJQvHKnU8Q6rp3iabRbbStFSx0uwtUhM1xZx29zeyyfM0srBiD&#10;koVjzz5aJkBiVHdTpqnRlUjVftLWSWzvpdrXRa3vvseFipU8TjlB4X91e/NJO8ErS0d17zaXLbWL&#10;d3tY83svD3ijxBDZ2q3moQ2twxuUs4jkXEjExgEEAYwSdwAYHIGO+jF8NPE7SGVb7WILbTEP2meP&#10;zJowoYAgJJvUA5JIQjBPTJJr2u0t7hYNNk8LfbbOfRUTUNU1mdoXto1Ta58tEJYKr5bdIwyQD5YG&#10;M4Y1GOyRbzUbxmfxBdfbLuZZkubgRvcu11JIufvSbXcbyMgbskHNKWVYONJPEQb0vdvRrS1v+3n6&#10;djJ8RZjiJyhhFCMb2UeW8rtu910bgrrd23RhQWPie6hjtbrU7m4hW3aCyjupCyoHdSVUE4VQUXAH&#10;THGDzSa54DvLuXSLq9mFlNZiVIfsbebKC7xsgcY2oNysRjO7Jwxxgd1YXN/qtvDboFs7QSvbQ3Ep&#10;ithHHPKjB5/LZuSsYJUyMoYttPUnpJBaS6o9tqeo3OsvaXj2bPabJ7fdGyqTG69cg8BT/DjjivSj&#10;gaEsOo2vfls5fk766W0Z4VfOsXh66VOMYuPM2oLW219Eo631v1elzxjUvhJpesaol5d3Ur3d5C0N&#10;7HZJGJbiX5gC7K4KMx4OexB7cpa/DPRdMfWZp9Okh1DTLxN8FzPLFI5O5pg0I4xhgccfNj3x7Ct7&#10;ZWttJagRwagL57meNIllmjto4jJG4K4DO8hjG0Hsx6kEZnhqz1PVbk3htBaS3t+pcBtzLcTjauGw&#10;SSXIweRnuAMiqmDoTnCjRprnk30206+abFHPM1jQqVK9VxpRSSu7X1TXLbo0mtnpZ9VfQ0rwLp+o&#10;6XI0lhbWdlp+mTT3KvHI8jAWccm2R8lFIAOD/CXGe1cFpLRaBPaeJPNWJ9XiNlZ29tCjpGqQKkqL&#10;Hgk/u2wd/XeOeor1e21LT7mfxBpEGoG5up7a80tbeylaTSrhpWaBmReRkKQmSDvES5HBzx/ijTT4&#10;e8JojxwqdY8QWlnaM9kHvFjEMkvmpMQWWPapDFT8wl74zXpV4054eFbDpL2cW21/Mmktvmvnc8rA&#10;Y7E1MRPCY6bftZQioyT1hK7lvdvdPVbR5dOnBaV9kvJkTS7qJX89LSK8uncW0fltsLEKCwwVJGGJ&#10;XA78jkb6/Zb640FdKEJsbhoLVIJGeGVw+FkRsKxVuQO5BA/2i22mn0G7heURTK7NvmQ+Qlu+xDgL&#10;jhfmJwTnGAOtGr3tnPqY1qN5wFnFhbzGMxIUjyWkDKfvFwrDBHD4BylfLVaqWHUaj5ZRetu3U/Q6&#10;GF9ni+bWUJR91/3k9Nvy06+Z1Phy6tJNPiKzw272BlW7khfdGjFG/ck9QduBz6njkkVdRnjt7u2M&#10;hima9aV7iykjVbqGNEiJlkHJAYNlWIAwrHNJ4htrC98DibQjHpmoHxLb6i2oyOqr5FpBKskDRjbl&#10;pJHyMHOCcrnrzbSaj4jvdL1G+uYk1BYbfS2jjjjkciODHl7VAZyCwb5jnBXPIFb1YThQjTi7tqLT&#10;8no/u0+9nLhqXtqs8Y3yx5pxkpb6K6tbo231TVlpqbk2pQaVaxypObeUTyQrZ5EZmBhjkSSE4ICn&#10;zI1Poz8dBUPhHWbG0kntdQkljMUZuIBEUknlEpSUvNIxGRhmCsFOTtHABKc9ey2Umhapa2kT6zcx&#10;atBDaahFDHdtaiIXBlaNZQXKjpkZAXb8vIzzFsy6vFrk2nFYJbTTVkgMhI+3zJIIo7fJ+78xPzMf&#10;l28ng45puoq0J0lrbRdHa/MvN6L70elTwlKth6lOsmk2k311s07Wv9prXXfY9c/tOfxFczxXq2Pn&#10;tO0UWpKy3cbR7Qw3YOC+zJ5GMuSwNbXhqy1Oz1pNAtWspoxELeC/khuJjdu8WwOq5RmKeYVByASG&#10;yMGvD/DOq6jLNZSTlXt5Lr7PtVCkFuyll+Y8ggnGcDgE89QPoSLX7bQbzzrVkGoWZiuFuJZP3UQE&#10;qM4SdSVBUqSp5XaGGRxnsy/E063Ji6qacWrvrbt80eZnWDrYKDweESkpRaUV8KeiT62tfbZXOBvf&#10;C1j4e1VYdZub/V5dMu2sgyyKJ1meNskYUgBnijLMc5CKuVJBGbp0mu6V5MkjyMkMBijvkkaDypup&#10;CYOVBy3PT5eOtdrPHHIg1myhtpDNeyXOsTkgssjO0rnaclizAAeivz2rj73UPLsI7uWWS8OrST/Z&#10;ztUWMN3G5ZYVbODuiZizZyoLYBxzVSFCKdVLlteStvbS2vXodOCr18TSVKv77doyv3V27LaPVvur&#10;b6Fy0Fre2epIbWCK5FpJPPKJyqzhQHJc5+ZgYztXgBiMjrnuPAN3ZHVNESxi82eWe3msbRI1WJZV&#10;YFCWOFwHYszMMMFIzwK8e0XUrR49UV7fbJPYo9kIzi0SJmIllfOGyFWQrIpBQxg9sjrtNafQ31qB&#10;VkM1gjywwwc3O5Y5ImOeNp80pgDqCenBrLAYpU50cRFbb6dndL7k/wACs3wHtMPXwkm038KbutUk&#10;3u9E2lutmrrc2PtE+g3mu+IE1BEFz4hu0lMkKeUn2+WY+S0LKUYEPIh35Jz3JzUXh+xhfUvsxuxf&#10;QxBwZn3yRB2bAAV+4HygsBjdjtms19Yj1XQYWm8lNPl1BI7ncyx3E/mKyIvODkAFiOSoLcD5ie0X&#10;SrPS9Nj/ALIltlv7vR1ufs0YezWOVnAViuFXAjVCGw3zPyTya64uFatzx2jaVn3e9l5tL7jz8RJ4&#10;Sg6VXSrN8l0lZKKVuZ205bt729476exeCO/trSOzmt7n7FaaVcyxeXNbzblF04Ybv3e9XQLu6OrY&#10;ODWloWsJPHDLra3F9eQaoRLb+c4v7dbe2Ks+9SuFUJKc5yvl4rnNCvNStY7G4ivkLwW8kktvLa+Z&#10;HvWQAq8b9SdpIHPBQ85ArWn0+SF7jVrfUFiv5IINVVLu3Vbu5S9ngVrq1k3hUWJ0O9j8x2jITeRX&#10;0FGpJtV6UbNJ3WjVvi+dndK/TQ/PsTSh72ExMlduymuZSvpCzsvdUrRbae93ors7zSbGHUbS/thq&#10;9sYL6eX7DeS3UdvcMpmkcuyk+YXkOQyrwSFyD8lN0S4vFjluL24aa70OJNQmhng826+VRDcS2xQq&#10;CyRhXVGDfd5Uls1wPhC5vHutW/snUjpb39y9lYvPZFbfSrlWWLbLtkdJIg658xcK+/OflGe203/h&#10;Mrf7bdWR0zUdSfWNuqNYWNw+k3Zlh+aNIZFKK42Enaxyrow6uq+pRrurSpVuR8yve2t0ttL3dt1f&#10;0Pn8wwksPVr4eVSLT5Wub3Wr2Uk3ytJSXuyaerV7JO51+mT6Toovkdv+JJqK2+t6VJqMpjur7zMR&#10;tbPGwBD4HyE4LBuh4zYh02zt9Gm0ySK21W01GN45olt53jjjkne5aL5GJRI2kXZJlUUxYIB2lsKA&#10;+H9X0/XLe+0mO2vX064nMWowahFqFtcW6SFtiTIQHUxFt0P3lY7Q2HpdE13UWvpPCl3ceXqllGlx&#10;ZSXwNxZX1vszbWb7lAdJd4bBZWXy/XaK9KFeNKrTpz1jJNKy2bbbi/Xp9x87VwtecalWlzqcHGU+&#10;Z2uoJKNRNXbs370lbXVW0S2vDOreLL4XEWuWNmumWcrMmp+HtexaJFbnYHNvOmQzFMBZnwQFZQfm&#10;Yvn1Sxk16S+sZPEUGpx6XcWsMV1ojW8chiSaR/3oQQ7N65+UcNuO4D5ajSLxVYXE1louhaBYWkqG&#10;+KXV41/ai6WXy5YljT5UL53Rh3AD+Z8oNdhcTxvPpltpsukwyMks+o6RDDby3VyjpHCQYDImFJEg&#10;YDgFQSeCK6ISnOlGjXbTi18S1k7q3Lqtr3XU8zEzw9PEyrUqcFCcZWUJXSXLrzr94lzPT3Wk2ntu&#10;YkaafqqaTBp1tFqFvf28lj9rhu/sRswqO6RfZ1QnG5mDtKMkr7ha4nxnFOtvFb2dnbS28Wmy6dLL&#10;DNLbPdzrNE7QxgrjfI8iypkbQzHk7a7KW9+w218+nafOj2VjP5t8lxCiWs3nFrltpYsQAFVCmdgO&#10;MYIrBklDXlpY2l7PcahfXieKQl2738kKRG3KC3d3J/1kKIzSMCFYlUPDjz8SqdSm6PV2u1ZX2slf&#10;fVO+rOzLZzoYuOJSbpxbaUm33blLldotRatZLZ6a3JdWmitJbfTdP0K+u7TVlGjpFPqS2qWKg2zR&#10;qZTvbzGMiFFbho3AIOTVmbWrO5u4otRuGi2IhX+1L3y4nSK2O5tqnMnmvF8zjDLvQ7c5FLqUrwR6&#10;x9m06a0urS4uoLW5jinuLu6nSBYnuflVo4R5LIQzlWIxg4OKstqDW2qRrq1m1z/xKmFtqywSSiRQ&#10;JC32hVVjtyC3ADYZN2fvVEqk4TbcrRbV9NF5dOt/v0JjyyoQl7NuajLVSfO37r5ldyi9OVaauzTT&#10;aaOZt4f7RW2utNsJtPiljns3lkP22O3uJ3McKkkk4WF1ZgRjM/TJZhk6loxls7qzluL6yv8ASlil&#10;azWCSMzRwRC3jlguN+19yMrNwxAZmJGSa3Lpri9gtdQv3h0LS9Nml1FbuHUHRmV5Ei81oAFZcq8i&#10;Ax/Lul5BIGXWGo6TJqktrp2t6jeXpvjcXF3q0ianp7xeSYplgnlQ7NyjCxZGcjcccjll7Go0q27t&#10;a+jatuo6W1+T/L1aVfE0r1qCfu3bteSjaV+WVT3k1Z6/aV1trfDEqTNY6RfWqDUNRtvs/wBundHj&#10;tyynBt5WIBCrbBSy5wwfJAZSRvsM13d6Mlxf2M9rfW/iK2upn22izQQsifP/ABFisC52gH72B9w2&#10;9ShsZbu3mWyvNLsdL1aYwRSRRzFCYHlYwqqnduZYSIQCAGbBGeaWsy6dHZSaiXxrIcSwI9qkcEcc&#10;Etq0dthiWDOvmsGwSSr7hyM8lS/I05J2e76xtqujvfZnZSaqzpxgpLnWy1UZuV03urcqV1ey21vd&#10;kdy+jT29xeWrXKX0dxaXKRyQwzKQ0ZRyCVX5wwCDAwEbByRt3NZt7ddUitJbRYIdWlVS8lu1sp28&#10;iUAswwnmMuF+UbI+u4Zoakq6qsWq2trBfrEgvtL05nH2TUbWIzRuspIDEmNBM2ASCTweKwriWDT4&#10;bDR49Ys7tL27bVbObUkm83QQqb5IljG4bpCuEIONwIx6bKrCnB01rDRpu3l/6V+F+zJp0XiakKkL&#10;qqlJSST6a30bt7Oy6JSs0m5RsaNjpr2cGoxWlujGwmeN47tCsk4dlLQNljsKxRMwAwFCjBPObT3t&#10;zfXtrYWUMdxDrccVksdzCYQsaxJBJJjllZUiJ3dFJYkDjFaztPtcWuaelxaXWr3V+ur2U8kD+dCJ&#10;pfMmlj7hUErlkfBKeuA1JZRSya1LFcxO622p72nt5x5SqBJK6xzthVXCFlLlVKowJ61x0pS5qapR&#10;spNJrtZtW+5We973KnaU6tWrJSlFN6q2jjFqWrTa5tVta0l2toJCsc+rfZ7VZNY0GxuFlkDGSdVA&#10;/wBWE3KC37qV9rZDCE4XPXmPItotUh2wIbee01Az3MqedC5ni3KUI+bykMsYUE5RTzyMHrLdw2sa&#10;1c39vc3d7e2k8NtJb2y6Ob9mZEACFDieGP7Qsu8nPmKApyccoJbWKwumuY2ENs8lzBFFCy/uWZIb&#10;m3nKDZGrISoY/KGI4BABWKUeaMZdG36WaaXq1o+/zLwTqKUo6u8YrS+84tO19bKTbV0rXd1eLRha&#10;hpbw2Mulp5thcLH52orOv78yRys7Bic7ABIVIDfMo9+ecutJtm1AxC2ksfP0q0nntTlNkxtjIXXp&#10;/rP3Z9stjg5Pfam3lvpd7lpHm0uO21BnmLG7kS6mtlRwTkNEsSqRx8qN6V5fLPDNqMk4muN+4oVQ&#10;GVG8s5jgbLfdAdlBzwMdsAeBmEYUXyRjfVf+A26ednr9/Zn12UVMRWhOSk1o7vX4rq/yXLpfZWWm&#10;qNu31SaW9JQMtxbQCQOFECxiOLEcgOMEfuWz6lW6EiuiuUgtbcztKvliQySTI5HmtKu5pDgfeBbc&#10;WJ65zxuxykCmGJ22gSSxiES7tki4dWPTr91gQCOHbpmuxF7aOps5LExqIRuMV/PJauyyHBeNwxx8&#10;wU89QMHB5jCzTpv2j1euvfp/nczx0IwqQdGD5Vo7W2Vr7vzdkk/1KtnrF1p1/eW7QNquiXhhTWvC&#10;s4Hl6kmHKS2+cGK6jaMOkqEZZVBI+Uq3XfDU3iDTNVfwvL4evnfzF0WLUWk0q98Rxyr5lzp8kTgx&#10;i9hAw0TKqNmKQmNXBXA1acW0Q+WS2ubWTaWZSGZAz7V+Y56c5PcjpUHh7xT/AGbJfrb3oOnajbfa&#10;dUSNmL6Ncw5WG/iT5dsqqnluhIWWKQox6Gvby3G02lgserx1a7q/Z9vLput3fzMyynEOg8yy18tT&#10;RNdJJW1a2bts92vde0XHy7U9H0D4jfCnxR8J/E2n3M0ljqP/AAkfgBJNPP2zRryLzI7+0nl2CSN5&#10;Q0sbxqBh3Q4DEkY/wS8aab4Tvb19QlvpdL8U6YbDUvEllo8s93a6volofsF9qFrFGJGvRZW7w3Ox&#10;ibm1V2dyUlr0f4zadc2N/p3ifwvNbWnjNvMvmikvmm0Px1DbGHz7GWKRFQXUMJyI413XFrKrhWkh&#10;KL4p8WNLsPCPjKw8R+GjNN8PviNZaZr2qaNEBDrOgT6i91DDPbuHzsimhmtZWUlohNGWYoSV+ipz&#10;rYdRSlzeztbzi+n/AG7e3knofKulhsSpQqRcfauV+ynHlV125rKS7tNtbnlvxv07TdM8b+MLSaWx&#10;sbu80+38UeBj5MhGv/alMOuWMTYAEkDSQTsrD5t8eDmNsfEn7Uvwp1bx3pniOznsdJ0jxxbeANOu&#10;r2XSdJi8Pj4gaHA9zDpPie0KKq3F1bTRfZrptrShrVt7YDB/1o+Olq3xL8I6u8+mfZrqDS9L8Q+H&#10;fimdPFvaa1qECz2+hazch1SSFL8W81nc24GfLWYgj5CPzn+MXh7WPih8GpLjwa95YfG74RNP4z+G&#10;6ysJrjxJYOzjxJ4Kd2Zd6XgtLhYEkwhu7RQCouC9ezOg4VFTjrGa2eifVX9ej/Q8alUlVw/tXZSg&#10;7aatLRPz0erT1turn4u/Dr4p2nhrVdJbxXplzeeMPAE1zoWqaNZ3G7WXsWyt/ZIxY5yiyXEAIwCV&#10;DLjJr648V/Djwl8e/hTrnjL4cXVnqVl9lWy8Y6NDZNZRzWc7rFZeJ9M3kiKOWZUhu7XcPs90yuh8&#10;qWvzj+O+qWev6zpn7QfwnsDaat4fnt734r+GoDJNfaAqyK1rqgjYF57CR1aJ7gAmB5FEg2fMPSvh&#10;R8bdS+C3iPSviX4Wtze/Brx8zP4x8N5aW28D3N4ph1W3kj3Zk0u9Q73HOzlgd0ZI5KNsPJqSvTe3&#10;y/Vdux6uIoQxdHmi+Sqra+fT5S79Gen+F9Z8XeEdAsfC/i+O5voNO0xfC2p6pf27KHhHmWVhNcRP&#10;gquxEs5Aw2oYEBGGwPk74pfA2fxf4e8UfFj4R6xps3xB+F+oMvxP+HKwNo3iGLSy2YNc0u2BxfW8&#10;W5Y7qKL97Ed0yL5ZdYvsX41eLY/A/iHSLqy1m+8TfBjxxD5+i30saXet6BbyRKGsZyRidrQhY2CF&#10;RdW8ULHa6gJ4Z4huNIsYr3xfpuoXGi/EHRriFY49FuP7X8P+K9FuFMceo2F4hEoWZVIaCRS0MzSK&#10;xUcCU1Qcktae7XRp7NHGoyrQi27S016pp6p999fJ3PANMXSfi/4M1vwfqsUWna/pmk/2krooxe3E&#10;CO0QLKMEybmjSQ/d8zDHBBHxx4dur/RdZfQ7fFlcWupy3mkNfL5P9l3ZJjaNkcYWGZSUdCAqsVO0&#10;beP0Y0f4b6b4z1/SfFnh74l+D/hzq7zi50rxRrqyN8O9YBU+dpGqiGHzbK7MoMaAKykuoAOFFeWf&#10;HT4FeAhdah418P8AxN0K614Wh1O+8P8Ahm3mviZWWPz5Ee4jhmEJnW4XdJEBlEy+35jrCnCcPawm&#10;u6119Lepz1cRGNdqpBuWzstE7aP0/I+cPBOuWugeJNZ8JzTxf8IxrSm58D3msQuZ/AXiG/huLf7L&#10;IMkmLzNwmVSAQscowwUr6j8PNMuPijNfaF4tspLT41/DmI6DLLeIsd1420e1c+daXRYb5LuwTc0c&#10;r5LwMBjCgD578QaVNqdzfahoKi01zw7H9tW2uGW5TVrZUGy6gBUKbmNY2LIVG5QVI+QLX0p8E/EA&#10;+MtppkWs2/8AZfxa8OaFdW+jeJJsaZLr/kWZSye4lVdyNHvEUqA5aPaf4WrpUnVp+ym/dlp/wP62&#10;OSr8aqw+KKV+/dNd97PyMPwIt6LfWvDKxNPL4d15105WAV4YLh3uLNhjkoI2aPP/AExbOeSfY7UW&#10;t1bQSyGHc6FWUSBjbhvlZCw6EYbIB5wK8x0G61mLxpd30umjSItY0SLRtesx8l1aarYEG43gH5Vd&#10;prna3AIHGN5x2mmSm21+7si6G3nU3NqGBZm53OUBGcjDPk4PcYINfB5hQqUak6TTTj7y9Ov9eR9X&#10;g8RGrTpVYP4tH5NbN/I7AQQx4KBImB2M0aruGeobrjJ459D6g1dETtECQ37xCjtEWBAYHowwRySA&#10;Rnp1A5qmoIJw0ismFVj34LOBnBOcox7HIGfvCrqxhvmkJTgOwD/e+6T82eo+cYAx374Hkct9U/PT&#10;8j1ZQjzOS27D08onZsYylMFZFLBhls4B6YBOef4cgg8CRt5baU+csQCASJCxC8n0LbuoIweQMilk&#10;CjZHKwdihR3A+RWTcrEE8c+gz1x3zSITI8nBHygRrs2yqcktuXHbgcnPBzzUSu+a+iLjGHL7r16f&#10;huUyscwidkwAqyxIQULBtjAEkA5wMkH6c5wElIchVJBRQpPIK4Pc/wB7AByM8MPcVbaFEYEkmdgF&#10;wFByAMKR1HI9Bnp2GTVceWu8xncBzEFUtjc4UDAzyOpOedxq04tJU9LGUuZRavdX1f3f5mdOxAQn&#10;Yd5OH3+VgKqc5JPquSeMt25xAxYHZkZQ9JDkKMO5BOOASzE4bk8ADvfmRX8xIlIVnLKwUsJNmwbj&#10;3yVJPGCAOp5FUlYyOSFaAtIJcsBImeeBznjJJyGPA9aE24+/01v3fYuzvd9Wv03KEhQEEoZLcwhG&#10;V/mIIDMSeOhKPgcfd69DVaXYrAPEE2qCrfflyG3HtnkcEZ/h7davFWlPy7v3xKBQhyQcAgEjJ5Iz&#10;gHjHpis/LuMhSuCqq8gyCvyuxBx0AY+wAHXrTnyzqJ3sCcFK8dW3/l/XzKkkHCFGkZ2kEaYjyzsx&#10;XnGOS28jj1zx1NR0RpCVMZPGWiA8zaeMNjlgQT14wT2JrTIi3MHA8zzA7DABc4bLnHBzgkn7pzns&#10;MUVR1YFFkMoLsW37l2/MQfYAjAGPXnjbVRbh8e3TzMYwkpOz/r/MrpC6LGysuwRuzxxlsMQCXIJA&#10;OTtH31U4A+Xmotrq5C4lkjYIkZC7kIHGVAyCxGMMAPmzjBzWisDyPiRiwKtuKlS8g5IIDY+YDoPq&#10;O+Spt1MmAsuzLeXtYSRAcqNqeuQfy7cilopc17xBpx+PX9DNdCGYmQLtBC9dmOV9ByeDjrkNk4JA&#10;dFE4MjSoCI5DyFwXYPhg4I6fxA9evy8nGkLZWjOFfIAKbTvwCSwUtgZ5wTwMntSyWyMQ/mOAAVY7&#10;xHuJG5csSQMng568nqabnBapaFwm0rTjYpJAwnUruVCCCrIdgH8XPI7+3WtFU2usjMNjLkqi4jJy&#10;Su7uDwT6YI6VIkL+YqhnO2cbFR1RJF3qpI5/i3HhiRlOPU244YwARMql8jBJ3IQVzuOMdDgDrhSO&#10;uMwm1JQkv60L9+za+G+3YpJBK6jarp5h8sN/rB82GbcMD0Ukey89K0YoFeMhQd6jDNuIDdckYz1I&#10;jxjOdxzjHKrEiKCQ6rKpAUnbICdo5OM8BjjIxwvXBFaSwpJJIwz5ZYMrNwXBPGQTnBx05PJ+tXZX&#10;5U/d3RFFr2rjL+trFVYh5aqD5bArHkJwuzDDJ/Ek4HercaqWESPllCuFOdygKvRhkcgN05BY59Kn&#10;SATMAo8uTAygU/MMpkn67QTj8sdLcVuDJnc5fzMbduCQBgcgZ6Eg8+lCal+7fyFBS5ld3Tf+RCYc&#10;B0IZS33fk2o5AGeOMYDL+ZoeLL5QRFFKlRwjA43YH/Au2emPoL4jAKlUyPNDfMPk7DJOOPU4/u/S&#10;gKGXftVWMrHafmAKMy89enX05GT3qG3K009AadRN7NXf9fIpeX5jneW2jcwym85wWHPHJyB1PI/C&#10;pVRiwaSPZJnGYhtznB/E8YA4q1+6XMh4JlOQkRdVyR3PUhSeueQe9NcKkciSyvKWfeW2YBXk424A&#10;4AYH144pqpKKa3em3yLl7sVKFnt89OvyIiGD+YweUyNuCgFWXBI65xznv3P0p+6WScxohY8xhg+0&#10;rt4U+mdoBPfk+uanKqDtVnYK32gBtpUnLdxzgAg89S2aYxTbwE3IDuZl2mQbSME469frg0Rk2vfd&#10;2RVdpcluwizzq3yGMAsi/uogq43EHIPAGSOckAZ7YqVmD/IUKlTt28hGywbcxxx1bGTnj3qFUyXl&#10;PmKY/wDV4XOSBknPYcL0449walj+YBGI3OBIMp8u9wGO4decgkZ9u1VJJPmhvt/X3E295xff9VuK&#10;oHmNu5Xa29wW2lkYArx0yQQeQTj2xUBjYIDGoMgk2xqfmOMnB2kEHLEfKRg56EcGWQpESpV8qhMQ&#10;BIlc4xuznk8dfc/WlBLhlCF8ECLccElR6gnIyuR3xg/RyXuKSX/BN3UcFd/1exXiIACkuWZAcbN+&#10;CFV+QOoAZhk/3R61ZDfu1cjYEfc/yEEcDODjJ3FlGDwDuwBnl2BIsZ34VULSKSMhhnAOepyMnntQ&#10;yrgOZfubnK52Mqhg2fbJUd8cfmtOZp6X1MfdctRjfu0eTZ+4mdd6N8oiACls8ZA4Jwe/A9mqY3Vn&#10;IdfmOW4KjBIBH0w3P+0BjjNRgschi6IW5gzhV4OVYDsNxOOnfnjEeSSWLEbolZkYbEwu7dkg5yR+&#10;nQ1SipSbjs/0QnzWsm73v/XYmUkneORtJDEfMSFOSOuMnac+hPGaVY24RcNJFiTDDLtkYPscY6+v&#10;TpxXVirR8yoTgkqMNENhJB6kcnv34zUqORGsruS+9i+CxMfHYY6AH6cfjWbUYPkT2L5kvi1d1939&#10;aB5ZWPClf3jlZGIJ8zLbQfQkKM8cEnrURZo2lVQ+wuxYbSpOcgH6bh1/+viwRtjmdVDSgKHCZKAD&#10;kEA9OpzgEkAcHaMMQIeB8o6MCdpB3F8c9t2T0zzVRcZx5UtN/wARSpucopS1/rcj24O1hlVQDaWB&#10;2cLzk9D0498+pKEGXyvLQlnyGDLhs7srnjpnkHnoKcqlVR2MgYL5QUqoK/ebn0/h6fTnoTCRRKXf&#10;qcOdu1iBubBAI4IznODhe3Wqdl/XmS4/Fbfr+Av2SVuWjvpGP3nhWTymPfGBj8qKYZ7VCVeaKNid&#10;5R1cMN3zDpgd8575orN1Hf4QU6605X/VhY2HG1d7EmRGZsEABuM+nTsetOfZIhLvu+f5d0exAf7o&#10;HpnIzjBznvTmcDeWXbG0ezYq/MoGzGBj5ecnrxtX8FKyPISrb42jCqyhckkcZ6Dv6jqeR1OMlZtq&#10;yd/wLuq1lF3S/UjBj3bjIWK5AQqXViRgLkD2OAPU84HETpHiQkCLaTJ5hfakeCSSegA/i56EntSF&#10;GJMUh859+0qFy7ZIUjH3uVGPxPHUUzMSAjeGdXw0YYMmUjBcsc4x8wzkjaUPQDAcZt605eVvLQXN&#10;H2aptaO3zZKN7AF5GYbRsiCElwAPmcZyG4GBnOePaonCsrNl3Zyr/K5c5URrz9Qg6ZyGPOMmpZWj&#10;2EKwOxvnRtpVQNvA9cYHP1qqWVA07KzKWZwMKTwfL+8fTaV47gjr1cbvRvU1lHlXM9n/AJkj+Y5c&#10;SFlw7EKSH2/dXAOO3ldxzjj1DJGQZTCsJf3ZDf61V2EkbgeMBSBz37nAqnNKSAxUuBwquA0rlSBj&#10;cBjBJIyCR19qdlzGCWLFWDrIpJ6DaBjPByo4PXC5yQDRs3zbmUnOerfT7/62DeV3gLvJYnJyA2EV&#10;QCMEDJULxzz+NQTDOMCTCscGNfLVweQMsOcCQE/7vpwXK0meGchpmgxKCqjcqgHP93IbKj+8M5Ay&#10;IXYBUYrywWQb+CVK54J6ZBB6E89uys4z93YtKV9Xr+T0sQzncRtKxAr5csaOHUoysrAEdepUgduv&#10;pSNNkFUDFmgDbm/eM4znr35UkH2zwagZVc/OX2gjYrYJGR0GM5Pysc45zn1Aa/DbVVnVkK7gpQy8&#10;vuIHJIBIJ4yd5quSNuXfuZxcrvnS1t/wBpdSF3EDLBWbbvcE8DIxznIHtgUTNl3J2ICrPIyncrgh&#10;mII/PnP8J9OYJJQZJo0ZQpkBiZM7wCXKFcjI42nJ5BBzjFO+0BI9wIIwwmBy5Kg5yFGBk5UD3wfQ&#10;U1Gpe8dilUhzKMt9rixSDL8t5zbiD5gw2GLsq9M8rkAen0qBfLRtjNGC5LKEY/KSCB6ntFyT0B5H&#10;WmhoQHEbhRIpVUyCkhGAec9QN5ORnCkVC4RAwUieRW+Us5+YMPXBweQDj05Hq73TSWj2DW3s9/P0&#10;HO4Z13KTkqoLAR7yQUJ3dxyT6kKMHjBYxQtIWzMxjyRtOVOT1Hfgc9Rx3FM8wKoG0lB+5ViCc4bG&#10;R2IU7hx/dHWmMwEhc7wrK0TEIWKB1YHPfBGQSemeKiKfN+A2oqG2+/yGCXLkKpLONoZYvuFVLc9s&#10;E5HPTecDplpa3CHcVkVgJGCIAWJDr2zgg5+U8HJ64FQNcE5UbipAYoCMsMKx24AyCxYD0wPrSsX8&#10;tmSN1gg2wvJtLW4b94V3AYPzIj4wQSFbGMHA02veduxD5JNQjtoSNIrQvgLH327xcL1GATkg45+b&#10;2GAecRF9zgqyhcnau0Kz8HaSO3y5AAJ5X3yKwmQsAAqFF+V3AZskADJ+9g8t6HaR1JIbI7OQ5cFV&#10;clchZNp3E5HH0xkjlOp3DF35HaexcXCl8LvL8v8AhywWdiSEMbEkqNwZRj7mDnJ42845z19Ku9XR&#10;oMOH3byMgjLnbjb6gtjjoM5C4NR72iKEOIy0pCmTIjVC2AR3J+bbkdxSNIhEhVTgzeWkhUFUJY7S&#10;2RjOB09DyOgMJy1UdrJohfD7y9R0u12EZZDNG5dDIySQq20ggAcA8DJHQkAjtSMzg5AY42ybflbZ&#10;glcnBP3gRke475Ar7lxHGrfuSWl3FmlbaQoPPLHO0DOcfJ1JPCBhIx2HyzjZ+8O7eAwx82B8vGcH&#10;vGDx0pp6JvsTNcz5GrSbv/kTvgF/lwhDRnbh/mIYjDY5ICsc5/h4NNUB9i5xGrZjKKAyfMxC7WJz&#10;wD145xnjiIMocq4bZ5WWyqqQxB2jaOwJH/fI9wVVUG0EgMWyMbiSCOcZI5Axxx6eoFJOPu20/MfP&#10;PR6Xb2OR8e6rJpuiXMqKWubsx2FtDFJukMk7BUCgcDqeTjjJ6V+Pn7UHhmPw947giD7JxosZnQsU&#10;WJ9pyBnr9zPsSRX7Eavbxalq9lbSqjR6dm6ucqfL3SKPKkJIJypB4A53NzyCPyl/bkns08fwiGPZ&#10;O2lJFvGGV2U5bPbHUA+g/P6/gmpKjnNCEV8Slf5LT9T5njCPt8krTr7RUbevMr/hofBtzcSPOJAN&#10;ypnOW4PJ4pkK/brnedsUa4EjsfkjAHf9OlEYDK6dVLjedwyvU5H0yKkT5YRDHyqPljjLP14PsK/o&#10;CHLouqR+Dzldc6Wn9WLs1xHEi2+mM81wTgPs29SM4+ldXodpFpax3V8hmuHJe2t2+9LISP3jt6AE&#10;gD15rL8O2MUIfV9QiBt42MMMQba0snY4/u5OT0qe8a7nnkvJZDGf+WSIwUquCAR9MD9KyqykpKnF&#10;6dX+hNKD0qS1itIru/8AIl8Ta1K9zIJ3E92XVZNjbVyOFUAcYUHHHX1q1pIksrBpSskl1cIfkB3b&#10;wcHH+PtmsHTbFLy8WSc7zEdzE5kZjxnJrpNQuRbhLaE/vNoEjjhIhg4GO3WuarTjCiqVNat6nWoz&#10;lVdWo7RS09dDL3Eb5ZizXc0hG0KGCA8/gev51HqU509WiARryeEZG/eLdPQ/7R7+nFOFytvby3TZ&#10;YAlIy4ybmQjg59F4J9c1yc8rTStJI5aWZsuztnr/AAgHtW1KnzSUYLVNf8N/mZSqzhN+37afl8zo&#10;PD2lnV743t0Xm0/T0+0TsxwZmLBUQ/7zMM4BIUO3QGvQ7XVJGM4BXZO+HZVx9oIGGcD+FeFVF7Kg&#10;HOBVe5sv7D8P6ZoBjWK81CFNa1R1UCaJJgrQxM3UEx7DtJ4Dk45Ocqe5GnxO5IMpUvGmMpGo6H2w&#10;OgrDEVHOTpw2vZevVm+BociVeo2la/fTS34a/Mn8RaksUC28Z2ySuyBBJ/qVGAuR1z1ySa3NN0lf&#10;D2kC5vJgmo3sPnTvnM1pGxXy49pOTI/JwM4Dc45rmfC+mJczzeJdezHo9tI3ly3EW9LqZcN5arkb&#10;j83IyB8wyRnNalxqd3rNzNq1zHstxMz6dbSjErM3H2iQ4G5jtwO3yYACqFEqCpR9gnrvL9Ev66HR&#10;GSr1FWkvdtaPdtdX5IubxH/x8Fl3BpRBG5O1ScqhHGXfjLf4AV23hbR9Tvb4L5RSa6hP2tkQNNDE&#10;uCkKE8AthVAJwSeSAprB8PaU2p3Vo8iSkI4uMBDLNcN0BVSeSxIRfQsD2r0631a40gSWenfZ01W7&#10;nVZrlELNCzbUSCIk/MybkJK5y5J4GKxrVFTaSd5vS3lsa0KMqs9JWgnv56f8EvFpobxvBVpeW9tb&#10;CULreqxyB7a3t4SHIL5HyqFVVC8s5z/dVfRIiun+Hry509Tb6XYKbfThITG0ygMHnds4OTuzyOCQ&#10;vJZhz/hLwXY3081vc36WWjaXCmpeKddvDiGFgwIReCXbd+7VB9+UkDIV8a9zc23jzXIr5rSa2+E3&#10;hnUE03RNDjnFrceNL3Hyxs/Vy2N8spP7uLJDAYrh5JSXLJ62u35aav8AKK+Z6sZyhNOGydl672Xy&#10;1b6JFbw1FpHhuyvvHN7a3esavqChdGt2t9qahPcErBhQC2xguAuFDIpwNm0nj9fu7yGY6Tdyve+K&#10;NRvG1Lxheb1dJbliQsMeBgCFSkKjLYKHBOcV7TfzTWh1Dxpc4W9s554PCthaqI9O067OVNzHARjb&#10;boojiBIAAjG7LMW6z4B/CG2hsH+NPjSCzvtJ8PazGPDOm6ifOTxprkhLWsDhsiaKAhp5WcFCIyWA&#10;LKDknCE3UrfBFa9/KK9evyO5yqwhKNF3qS283s2/JK9vn5E+m/CkeE/D+l6xrBtbddAsmv47G8f9&#10;xY3t3mQXl+xwSUyPJgXlvJBZQCCfILyQajdstut1PFA7fYGuIQ82oXVwxc3E4xyzkh2JzkADivVP&#10;ib4v1rxt4hm0ZHbUrCDV5pJIrOA7/EGoSuvmlcLuZAeAeu0KF6kVWttI03R/Bms6ldSi41p7pbO4&#10;vkk82xglmdneONl4MixwkEjIBZVUkFmbx68pVU8RX0jrZL+vu8rH0eGp0aFKlRg7ye77f1v6s4Mw&#10;RKLR5DtazRXVY/3nnu2WEj8/e3bflAHRc8gmusl1RbfSraPxBaWmtC5i3RJfJtv5SqKHdrlcOUyM&#10;BWLKcAckEjlNOtbm9WIWMc817qN3b267VEjQYUsY9o53Fmb8AOprsdb0qDQb+9TVLRtR1xH+z2uj&#10;LOYrTRVQMv8ApUgILspY7oFK/NJh2O1kPnVG0nKWiv0/JfqfS0ZWhGmldaaf5sZpvgnWPFsV5qvh&#10;cNcWWnQfaNRtryVdKmsUjBJMMkjLHJjau1IWMx3IPLyRXHXFt9j3fKZrieQxxjb5aKpJLbQRkcYA&#10;yAce+a19Q1K+ubiF9UumuZrCX7Ra6Tahbe00XcvLRRKQsJYBRhArYABOcCtn+0o/Ewg/tAabY69J&#10;CYItXkzbQX0ZyPKuDkhZG+6JxtPPz5ADDjrtzvCmrf1/Wx6lBVKd7O8fy1/pnO21zKoMbqBIFAQs&#10;D5dug3fMCO5JHPXGfUmt+xeWVPNtWmt4LaPcY1kB+91ZTwRkEfUfhWXd+fbzXXnwusouBBLCSUWM&#10;oCghYH5sKex6d+1XLC8t5YBDJbGI3LIJCr+TK0RCncAcg/3hgc4/LmlG0LR6nfhmub2qSt/w3y3J&#10;lCSxLan5ZXkWUy26jbtUgkAj+EDg5JB5wea65GhhSMJCyxFY264DDJD/ADAcNww/4F9ayJrYWaPD&#10;ah5ZZI1hiTO1wHBkB3joQDye3HXs+xjuot6FwrpCUk3BZ1bacs5PIzwWOPUetccpJyUG9/0PUhFS&#10;p3T1/r9TQRIrq5iMEQdFIaSRPlcEsSRkfw/LkjrxWre2KWc0F63lTvgmJVACQIqHZj1JO0Z469+T&#10;VO1Roo444LeNIZAHluASkhIw25ienAxgdvqc7RkgSzlYROzHMKl02MMfKxB9DkmuWXKrXfoaSaXK&#10;uXb/AIF/8/mMGrRi1ktpZI3ijPmyYG18swfIPOMNnocY7dqwbC6+33zICyQsRhscooDBuCO+MAZ4&#10;28cVDbrNqF9JaW7RrbiQkzKS5YAcZ77uT19RzXXW8UOm3CBVjO5Qquke4JlgCDgdwWxwepzSUYKT&#10;lU69PlodEJzblTt8/J2NO0Nj5UttBAs4nm3b5AQTn7oJHp7ccV0Nrqggnt5Z7dpZgrDqdkYUEcj1&#10;GMEjnAOD2FCFYkuWgjfyJsOXK4AYIUxkdsn0zgk9cVrRyxme48kCaUSM0sz/ADuGkJZgD7/Pz6ni&#10;vNqw151vr89vzR3wcakU5xt5/gNvJJYhcXESW++WJovLSNSi8DBQdNwIBzx8wz3JrCsbdUaWW7Xa&#10;GfYZWkyNmT0HJxwemeBiujnt7h4DKqiSZG8tLcAKxIHBJ91Yc44z3zWfqNjOunlXjZiRiMHCvGcA&#10;8ex3A+vzehqYWhBNbv8Aqx7PtIWULWffysJLBBGbO2tZGnjd/OkXzSFAJXH0JBbOeMqPw27JLGdI&#10;UljFndSYt4pgPLCkNgrlSTgLgnqcAcE8V5wv22JxDNdNAbV/NkjLDfjaCq56E9epr0XTY4RFal2W&#10;4lWJpAzEiSFjIpHPB5AAPbkU3BxV31G5p1lyvdb+Zu2n2iCYwTRqv2dAVjVtpRAoAwpAzwBx/IZr&#10;RfTLWe+TULOe4NyE3zW4GxXVAoDlypBxtwQe3rzjEvpBcRTXYhzcsER5IyzISAULEn/c9uAM44FJ&#10;pniB7NwiMzrMSspniBIXAITGOh6dMjOevI5eV042krqx9Bh5VIwd/itZtdtGdXNY3k8kqRwxh44V&#10;uIWkO4AsvyhgAcL8w4AJPHHr01pqNxpjRWccsyXFxGj7FdfJB3AkH5fQ+/Q+wGFZ6jd301zdzAR3&#10;saKsSxSKsd1GAc8HpzgBQeAgJPAI07SVoLqDUP3M6R3BXzHlDPCu5c45GNoDLk9MA+x82sqdd3lo&#10;le/fpsexTr1aVK3TS3+Z6jo2patAsi3WoC3Ty/tkUsiecl/uH7uNQgCruLZ3kYAJwBxWnZa5JNdi&#10;SBYLidI1g/eSBokkzyAWXOVZmGemTkHvXJS6nYyZdW4J8mBGJkRcKPLVhtzkYPXPqeeawbGS9N5K&#10;o2JHCu3DsYyz7i7EEYPy5HXgAgZPSvNlSjH3qO13byWyPUoYt1YONbd26adD3f8AtfTLp4YDLLBL&#10;FaZmhaPaWKtjcCvyhQqscc4IGcc119jr72doxWb+0RNCtu1hagJIUO4R7sAKV+XGTgjbk9fm+W7b&#10;VIrKZItUvLu8SG3aOC3LNJZoAdqjBOAOAfl+8ykkHNexaT43gWyW0s9PRlu7XyrdhA0bkSxsAwzk&#10;hhvwCcYIBPINeZWo35o1JdD2oU6jUfYK689F5/cfW/w+8T6Fa6LYafcK0epSzyeddTh7iwtyyYVN&#10;iIWG3B3NzkEDbkYO3oMviTUbj7VDYy6e0V1NLHLJ8oaEsRtCg5y2eAvv7Y4PwH4YvJtOt7+a1hth&#10;Khu5JLmTDtuyNuB0ByPfk+9fTuh6lFa2SG/YSyi73ypFteGWJmD4cLwo+djnqCxH8OBxyoxcl7dt&#10;8uluy0ORYjklJUEnJvV7u9+nTrsbvhPwPbxWrX2rXsZvb2TzBb28ITzEV8lfM3NuHynkKMEYxxX0&#10;B8LoYHZEjsTH9jumaKIRKYSUkdiFjK7nL/IeMdWHOePKdM8SWsuo2bxW7Sso2WkKkeXGHYEjbySd&#10;20jGc8dyce56Dcm7khm0l1EVuJZrh1iUwLtBBPUYzkYBJzg81pzUqk+WCslsvT+mwxE6s6Evbu99&#10;b9F5Hq+o+KYPDcM+pXy2MsPkKgjmfNvbJGW2gcH5QRg9Mrj3zHp+q6f4ju9Ga4FsG1LT41k8mCOG&#10;FYmxMEjC8IQWGWAyQxBHJrx7VdbuNSig02Oys/ItxvmE8ksz3DbirtsyRgR4Py4Bxzg16N4Yu7K0&#10;ntvDcuky2Es9lBdLqEaP5QVPnd2B+dWcBWUqRhWIGdw24xqSrVnHnfJ0Xn/wS6WBo0MK3y3qd0/s&#10;2se9eGtbhu9cdbm2ECWgFuLdSkVm0akRwoASS+5RuOepAOW5r0TxHrkh1IXWi3oilvrhHFjPNzZw&#10;qCoTcoIY4wQfVcehPgGjfY7G5srf7HLBYajMNQtnDKQJEbCPLIzE9WVACRnkhfT0ddV8y5cXlpdJ&#10;C88l9bIIt9uPIkmhSUSEGMxqyNkrnuDjkjpoKdajPDTlrzf157M5auGoxrxxNOOiVkr7r/PS/ke3&#10;6dLHLpKQ3OyQiOOaO7kUSGYIVDKwzjBB5I5ywyPXrNb8TCC80OHwfezXUP2aNJJ5UW0aC7mjzceQ&#10;CCxSLdFGhIBLo7KNpQnzCz8SNpOjSyXMLatokdlxeBsPskkXyxIF/gZ2i4U8N6EA1U0m/u7mxkuT&#10;ZSWkKzpHFcqGEcHzCU5baBuYxkAZPC7sfwr7MFLDe5Hsteqs9k/P9Dwp4CnWm8RVs4RbSTacXzJL&#10;VNXuktttXues2OlL4bEGlX9i0QuFju47O6cPHcq0qPEhw2NpCs3yn5ducArwy6E2r6ldItmyyadN&#10;erZ2lgFtYdMMzx7oklO53hjMaMdxY/JjqdwqeKhp2jeI/Bb3F1BrNpeeG01C626nNcR2wkeMpjYQ&#10;UlcOQFzjZAGIOfnsWWvwzalqDaRGtpZ38rxQaPbkSx2Ns7bWth8pZlYoSwfJbf09d63sY1J4TRKM&#10;rWWrtZfk/wDhjyKSr16ccwhHmlKLfM/dje/K7K7auk+m32ls+80+5nsbK28NSajBt1/TzZanZ2d6&#10;tzJqfnsp8t4l+aNSilSjEuxz1AwcC0Ns0r6VJIk0PnhrpQxTy03FxuI64GCOo755p3h21sLvU73U&#10;7xpQYraaGa6lmklCyopgkbKFUBjbAKsQoOOM4B0NEsIp4rqzX7Oy6vapFc6lOiteJErK6LG2R5RI&#10;CnIBJV2AxuGNpqpUhScdFqkt7RSVk+12eXJUcLKs23ze7KTSsuZt3aet+WPz0S0Wi9Sk8LwXXkpZ&#10;3aaLoLRw2ra3dTxbrqVEllRBCFLRxyeWg3kZzIoJY8nnotSS7t7WVQ8Fto6GOSzZPKu7wTkvvlYH&#10;BAO3oBg8dScbyaNfX40mHTbdbxLNJEvpr+Fbm5+0hikT2xGWGSsYxjO5fQgVzHiDUIrDUboNYNb6&#10;JPJa2tlqoEsUOryyW8d1JEGZQBtkSZVUj5hAzcgHHsY5wjQWIceVPR6PXZpr+7F/nrfQ+RwTliKz&#10;w0p+0lutrxs+R3vq5zi9FdWSvFJJnZafo9vY6bf+Ib20a+FtZzrbGztTcfZBJHL5dw8SnhIlA3MS&#10;qqQMlc1zOg6qNE8N6PrtvqljeXja1DD/AGfdqJbqFoik+940dTtkG7BxtGOxArqBqmnRaDJbXVou&#10;qzXctpbPp5me3i8mcb7hZWRw+AjQuCPvDPAzVXxL4Wu/EKWGo6LpFnbQeHCmhada2kx8iXzbhppp&#10;Cz4YfKr4+/8AKnLDOa650ak4qeB1qRgrJb3ck5O+10l57+hxUMRB1ZUc1bVKc1eT5VDljF8sUm72&#10;lKaTaSVru7s0c3a6JDFfXGs25kt4baT7XJbxYUXHmZkLLC7ZwWLggAD5BnArT+KKq3hbxNqFjcx3&#10;OrrZ6Xf20csxi+WI+VOwVsE7E8lvkGAs3U4yXeJIbnWZ44rKG30m80DS47rWJICE0zUViLAGBBjJ&#10;BlbIUkHCnoK5fWLsaj4CmN5cYvbi4t9Lia5VtmpCNAZLVccYVFhbaSOOpPyiuOqoUsPiMJFWvFu/&#10;d2a07PXTzPTw0a+KxmDx9SfvRnCLju1FzhJXaveMlFt7Wi1dKzt5TeaRdX/hy+uJHiC3Xk2sO5PI&#10;nQsjbn4IQfMCeSxKoOBnjntLj1aHS3t7qGO6sv7QREhMwQr5BUsxVvvfeJG4j7pAzyD6N4gj0q+8&#10;G6pDra6jpdtpQg1G2VLcWcqSGWOOIyCRQTCyXM67lySRGR61zlnfXUgsdMttMiuNOhuY9SXdiF2l&#10;IIEDPjJwDzwB854OOfna+DpUZxlLdwS63u31T9D77DY6tUw9RWTtO+trJKMWrPvt/mO1C4GoW2n+&#10;F5/JTTl+zajPfrGC9vd/Z3VY2RuMrHKxIyFLFT1VTWBa3dxDaaRY2SK01xqw1G1uLYxPJshT7M4y&#10;MbSfP3bjjIJwTg41tYvbaKPU9RtNKuprGFJV1Brd9kFksO2JtxVTsRtowe7uvPFcDd/2ZdyyXdrH&#10;fjV9VHnXgtMR2lvErAO0ZjH90hkVQR0A6gLNXSotb9t7tX0S+5/edmBw6nRs42V1fZ+9a93Z+a+S&#10;S6nWz3NqZtRg0lrrRLzVtGkfSbUylm86QosswkJDkHy58nBPJyCCDXLWt1HHLp8dldRad/aN08d1&#10;eMimC0DZKvzwxX5yQvPoc7a1dDuLTT9SsdZ1NJLm2jCC+SLbDcyCTEQCb02ApuLjcQpCgYGecWw0&#10;Ez3dyk0sUcUmdRtIdgaPTizFogcHjcybVLZwGX+EDFYmNRuCVm77dk7P8bNGlHlpe0jNvlSWu99G&#10;ra3bsrPXudZ4Ss7Qxvoc1q80XneXax+e0UMLFUZJFlGfmbv7JznIroWa91K7s7exVYIbWW7sHj1F&#10;oUiuFjJKzg43eWY3jIYkAltwAAO7iPC9nM6W87/2fay3URnMV5cyI9tOGAjSMnjBwSM9McjpXT32&#10;t6lZadcWk+i3H9p6rdmAa3PeNKttJNETKuNxDO6QpkEBlCH5sMRRRaWG5pJ6a6fJ2fU5MSqixd6T&#10;TbdrN7N6OVm0mktXbXTS7N7wLcaZq7t4d1q0ujp2n6jcX1o4eMX0rPsVwjKDmSQQxqCrkLyQSCxP&#10;Ew6b4tnsbpLr7LMkOoNNbWNkUka1Z5NpKqwwGZQFdz0Ve3GOy0rRbjT9I+3v5SXE6yaYtmbmTTLi&#10;JHjO24QqpBdAwOVYfOFOcEmur8L2sukWF94n0e2kvrvw5aLeT2Fw/OqW6u63qvA4BZVikd2xziNu&#10;xxXoYfDuvSpYeu9Um21vytLSy3slojjrZjDATxGLwlndwST+H2l3dpv4eZyXM7W69zwTxBcSaD4f&#10;S/0qIQaqlxNomtaB/aFvLNpcSQqDdI0fmbwSJgBGxwY+MkgV2vgy+u9Q0ux1y21CC+1maSewu2e8&#10;aOfUhJEAWB5EmDlWJwMSHJ67ra6JY6t4rsb5dNNtBqD3d5faXZREL+9choolJO6IJOwKHJOe2MjI&#10;8Kv4f8K+Iri3htYZNMilntHS11AWSWyyKY5JSm1trghTkKNpUgjrjy4UJUMZGvUqJU5NRS10tZ86&#10;7O2r879GetVxDxOXTw8Yc1eK53pG7TunTbva11prqrNttXOynS8niay8QWGlaZYRIlwtkkys7yKN&#10;hyScltzSoQQvXoAwzpRSRaZ4plWKZJ9DlWKa1E8UED+QUjQQn+Evubac8s2Oa0/FFzoHiLS01mTV&#10;7eG6CC0uIn1F7jUtcleSR5pombkyxRlSVVvmHIUbTuXRdL8OXcemafc3EhvLlWtll1C+htYZ4dki&#10;K7MwUK+9PXBEbDqwr0nhn7dKjVi7csotvVq9rPT8PuPl44yDwUquIhKPxQnBR0i7J8ybe9lfmv11&#10;s07ex2NhLPpmj2+ku0r3S3lgtpexWwtbF7mLzSI3HO9VtDtLEqSIwMclmImoWNm0N++n3OkXlhDp&#10;EEsD28TWc6ESohfG5RkMx3Ku/bjPOR5PpniZ9H063uUFhBE10hQzhb4jlo3hljWN9h+8OOowwONp&#10;qHU/E02s2VzqNrZm2l8y2g8mytpYXvnEreX8oQIFiAc/Kw2748AgnHe82pxppQg/a26PTlsl+P66&#10;Hyv+r2YSxEoT5XQc/icdVJzvuno03o1dqz5t7r26yhsdMS9sLt7TS9RjiUQTqyRRXLbWmkh8tT84&#10;DJuV077hypDBkE2pW8mZDPqulat5V1q+mafqdlqIiuDsMs4CoGO4AYjy0gEDHP3q820iz8TapHvt&#10;7PSoYX2RldXs47vVbiRcOjW7owkjP3s+W3zcBtwFbkGheJVisRatbLqwtmuNRs43kRraW2kLm4Jk&#10;QRqxXzDk5AUHIDZz1wxGOqwhKnRkora3rtbZ7+V1c8qvl9ClVnDEYim5u176pO127p3hrG97tJ21&#10;V2j2671a8TT4riz0WdrTStHSGVJ54DqAsUdZZZXLlWdZY0BVoy53I5K/NtLbiLXGSO5sdP0PXFjk&#10;iiCSXiu0duvmxESq/KIwuGIdC2PLJK9z5Jp3hzxTeX9za3ev6plLNLqwkgYTR2cY3mSJZ1eIKI8n&#10;LoGHLFQcgiO0+Gmv29/fs1z4ojhuBGunwJaRNCYioby5JSsnmEcvuCjBJG07cn1Fis3qyg1h3yvR&#10;tySaa62s1Y+e/sfKsO5U5Y2kpK0rOM2pKVrpvni9Lt3Vlve9rv0e41TSNW0oafqmv3cNvaeZa3Gn&#10;22mtq7acsgIdXZoVLPHz+8jEjR5c/KoZq4650rS9Mhvdc07x9qN5K7OLNDarALkWu0JLJJEqjcCS&#10;qk4ODjn5q2LT4ZCK6hv4f+Ex1uyMbQWNndeLm0yXS4bjYEIEaRlWcsCIlbHyndwAK3dL8CX+j+bc&#10;6fp11bWcyB4mTxXdXtoTGro4uY1fY/32wPmXKN8pyKqpgMxxjcsTSjzL7S521tZrZeXz+REMbk+A&#10;Tjg8XLlbvyNUFF3d5RfMnNO6Tbs21tdrmfJWXi/XrcNJbSrrUjSrau2hWEl604jjDkFVj3tJngkK&#10;HGOecGqX/Cb+I7C9vri40PEVxbvb3JuopLIRxtIZmVcFWDytI2RggqidSxz7k1yNOjt01LVtPcTF&#10;1sbcR7UYuiN9ntwAmDkBVcZ6ju2KwLjSNJuk1DVJbK406J7X+0IbmyuZElhkhkjjLBGXBLgZCBuf&#10;suAVzuqauT4iooqjiZKSvdNrTTXv+L6nLh84yuVSUsRgFySsk03q72VtIdF0T2at38dl8beMLrUI&#10;4LbTtdvbieIMbLybuWwuvMV4pHLZCkKRjZuJ2kZ4AJ3LvxN8QRb251KXyytvJKlrp2jxJORuSOFC&#10;QQYwChwyF2PygAZBrsBounxabqYvtN0XV1TUPLl1y+tI5NV8wKf3F9BcK+4MCRlWxnceDydmfR/D&#10;AtLCaS08ORWF7evFBDBdQ20s+4JFEtnIDHscMx+TA2l3UEg88UcjrqMn9ZnzNa3k0ld+S1t80ddb&#10;OMoU6ahgYcqbSfIpN+7fS7926eiaUtLuy5beUN4j8T2VtGt1pcU1pb2/k2NvrelPapp8khBBhVkQ&#10;s4zndk4DHpzjPsPGVktja6bFYG11qffPq0kUnkQIRJJFBGkOPnwqOwkIDZZhyCa9Wfwzol3FcSW0&#10;GoGbTxBrM2lQ6xJcSWscv30V423rJvj3IxOdpBxxgVhpIsJI57G41q2uIVW7lfUW/tu0QFV8p5WE&#10;Rc4UvmRztAQeuRCynMKb5o13ybdJNq6vZtK21vQ3hm+S1KbprDWne+j5Fe11zKLldPm5nZNOVnd9&#10;eAfxdPZXJeCHZHBqUV84uZPLe5mhI2yvGSxVmO4kB+Q+3gKDTzrib7a5xBd38lxNPrkuoQxsHjuL&#10;eSB4yc7yFjYAAttyOFPf0DUNJaK1t/NEcbT3Eswks4tkl1Kqh4ZGkUtvR2kbp0LZIOdqtuItM+xi&#10;S7S8u9IlheSQ2WnAT2kiuIiXX7yLkFf3jnaWBDAE7iWV4uCk/auys1pt1+7o/UmOZZdOMJUsPfmv&#10;FtNty6W21b1aV1ey7JHMeHtWivz/AGfZR6ZLBYJLdzz3twFYNIAGaF2IWNdpVcscDYp2MAVq04TT&#10;LCximglik0+V7m6uL3YftaXMiGJHA5YKj5YNnGcAYApureArK9tIksLaynuWt2ubcW00aHV2Vdm/&#10;eoKl4TsDRHbvAOMEZfl7fQ54dR86XW7VtNmPmStq9wtlJkq8cOcBtp5Xa7Ag7iAThq5YrMcOo0q0&#10;VJvTmTWidujXSy67a9Top/2Zi3Kth61orVwafM2rp6pte9zSsnFK+m6aXdeTcaddCbR4lW7vJVgs&#10;ZpbgylLlVcRxSSj+EfvscIWE+GyADWn9nWaymvbOM6bL9jm0x9FjuvMbyGgRt+7AG5H83aCvzbSv&#10;I3Y5+S7hS30bS7u4ls7+LXEMtwts8rRG6zEJUcZAJUqQpB3buCetdHp5uI44MyQzX7X/AJd/K7IR&#10;56q6DzI84UExorFv+eh4HDH06NSLm4x2Xpo9OnR3+TPFxSq04KrL4tru/vJXS1d04uKVnrKLelrl&#10;eeSzmvopfPFo07NfPLayOsUd3GTCbpG2A+W/lbePmLKMjkGuWure8uDqloHGjjUSYPsisrwRzXMk&#10;cmwhx0xIGAY4TaCACtdIbvTpUuNPt4XuDpcgiWCEIJoPtESS3CoC58xUZSSQF2GYgd2bK1NhczLe&#10;o/26RVGk6xaFtgmhkhltoL6EKpAkt5NyugBYMinOME54lLEVOaD/AE8peenl0+SN8FKdKaXK0rK3&#10;NrazUoaPTVNLXrZJ25pGTGVl0231ZoJZHgvRqd3ZwzCF/OSdxI8T7SfmUHgqTuklwBnJ4vUNGCed&#10;JAzgQKs8gc/Ju2EoMehwF6nlwO2B2elhLK0ulgl1BLi7lXTLwXMkVzBa3b7n8yKUEgK6+W+/CFCQ&#10;Qx+bGHLZX1qbqzuGxCn+go6KVjeRck2zMG+8TCwUZHO3joa8rFRVanCDjd21t3/4P4H0uCruhiKn&#10;s5pK+l76x00S2927s763ve1jFs54pJTY3CBfOjFwHlCEhpcu5ypPYKRnBBbkKQRWrY2lrqWTJq0m&#10;iXSuzNHLpE13ZyKjCMgSRSF413FSXaNgAencc/dSRW82zzzN9nybaVYdiuuwOGVST8oclWx/cY45&#10;qWxvJGLshKySRYhkLhPLZzvJLYAOTnOO4BzxXnU6sYNRlHmina33dmvlqeviMPUqUnVoScL21Vvw&#10;Uota6N3V16m5rXh/UoRaT3mnHXNG3mObVdHljvLJjkfOs6E7CmDkyiM8HINY918P9RUX2q6dqF3D&#10;aBPtemazOwiAGSHRYzKCfLAk3LGWxnIG0thdG1DXvDWqT6gkep6fvVDZ6gk4v9JlViBJHJa44DbR&#10;uDuobK4wwBr1Gy1nwfr9q1pGzeGfElzA4bTG1S5s/DdwZCyuLaGRzaxyO+GI2/NgDd84avoMvjlu&#10;LbVb3KvRN9elnbW+9n5WbPAzPE5xl1KEaaVShopTgrpLduUVJ2ts5RdlrzRjaJ823F7Np2n3eg+P&#10;JNOvtBexXVNB1e7bdp7T4mwIzukjM0TyFkIY7FeUFVUhX8c8Sxzp4K1ibw3He332XXkvfDVhcafF&#10;c3Hhy9Ct/aen23IL2F1DbtcCJgwjDSsnmKFB+rfFs3h6aW+0cXMVr4vvAtn4p8IfESzh0vwj43km&#10;BKwyiAKmn3ZXDxapZgDzpCZdwBI+ZL02ulrqljcW2q6n4HluZtM8X+Er2RH+JPw5Eax2yXsM0UQS&#10;b7O4P72NnWeHBYAEg+3CkqPLBO8LNem2/wDXp3Pn44mWLcp+ztPSXk/Nd720fXS9nomfAP4iaN8Y&#10;fhh4++FegxQp4lt54vE8lxdlHuNVhguoF8Q6VM7Bm8yxR4r63jT5/MjZkJwQ3xv4617SfhX44+HX&#10;ibxRjTvAl78SJvhj8Ytfs2J17wXNqMUaeH9bjTiMxSTWslvIThjc21qd6+aqhfDnxE1r4QfHjwtf&#10;xadFput6Jqceuf2tYRW2laN420KKOXShK8HlqPPkkkEcsw+Z0llEnmFEkj+g/wBpD4e+DPiRpvia&#10;30K1+z6X8a/D15FbW1zFDcafaXEIW703ySib4JoL6ARNuBIIVlZMMK7qOJdSnDDSl+8hon3jvH7n&#10;p6HnYnBfV8Q8bGL9hV95pPadkpr/ALejZrzufznftsfCLVf2cP2ktU8R2jGz0LxBft4gil024WXR&#10;tWtL2CKW6miYDabXUI5WujD0jaVgWOzbXzbD4otfhv4j0mKRo7j4G/FVxFZzwR/N4bmkbbcWkqHa&#10;MRTbJlViCoU5GCGr9ZvHfgjXf2j/AIAaf8NfHGkXWmfGv4UaA2neF77VibjQPH2nW4nl02MTx79t&#10;xMEnsg+35hKq7VZN0n412eueH/DZXwr4ksT4g+DPjmzeCETwmXVfCt7CjRuy5AMV3bMjI4+XzAhV&#10;gp+7rUpKX7yXwvfyat+v4Dp1nH91F8zjon/NF/rZfJnrC/EDUPA2ma7+z3493ar8N9Tuorvwjr7o&#10;LkeGZnZms72yl2/6nDJ8i9Iy6DgjHnegePIfBGrt4e8daZJN4fs3Nxqyaann3FrZ3bCKPXNJnbHm&#10;W0iDMiH5G8sg7XT5allPoOq6NB8GvGOr24N4m74W+PrucDTr2GbeLeyuroABY3YBPMcjyZCC23Lm&#10;uo8PXU+neA7r4dfF7wnq3ivT/C2rXdnoWrWcsWmfED4aG4KLcSQSyDZc6fIZUM1lK3luWVlKsd4i&#10;FGNTWo2lp8vP0bJVapTUqjSad/ml+UloZPjC6h+DXi1NT8MTaN4z8CfETS0TX9O1GRLnwn44s7hp&#10;Y4bhlHz29ztzG2cSRSQ7ydvzDlY4pPF9lZ+LPh3NBdar4YurrR4PDGpXgfxjplrLFldMaFo9l7Cs&#10;gkCqVzKJJNx+ar+laf4y8C+H77RLzRbTxn8ONVaXTI55LOO9/sUSnzraPU7QN59lIxSMpNkoULqs&#10;jjBrP1r4RibwzZfFv4d6hcanpCWo0vxdbWTy2XinwFqtsobyLyHqEMiFoL2M7GQEHax2h0aEqNVR&#10;t7y1a6NdbefUyquEsOsS5e49Lrddr+X9XM3w5qd9LY3Hjv4daL4du1gsVtPHvwx8V2D6le6FtmET&#10;yWcySCZLVSSYi2ZbbmMswwTlaJbeHdFvr7x14Xtb7SU8Tz2ujaDo02oJE2gahPcLLetFM+N1rELe&#10;SGObO2QXGw7ciqd18RPiPH4k0TxJ4fuNNsfiuLAXPhTxFqXhy1udO+JNm7M0sMnAie8UxP8AJNuS&#10;4BkGFO5XwbHxRoPxZ8UzXdnpmoaT4vXRHs/HHwyunhj8OySQyq80ugW7lZYWLSyzi2Ubo2ViN4Y1&#10;tVTacoqzf9fJ/p5nEpJyg42fKrafp3WnW7R718U9P1vwt/YHxetNMu9R0HxdrreCPH2hJbCG68H6&#10;kqxqzgjIEDPJG0Mzgg/KN0uxs85r/m2niXwxf7wJp746TcR5Khd6OkYBOBxnqTgbTnOefqzwB4YX&#10;xP8ACm30vxNrGhIL7S/+EO1z+2NVt9GvL6TyZptJvil0UxLGtsyEqQwewVQC7YX51+K/gjVvAg8O&#10;WWvatoEmsQeJLHTBDo8sl/b3SiQR+etwsflnehDugLOGV+q/MfEzalCahi4LVJp+aa0/4Pod2V1X&#10;Cc8PU2unHTz1Xy/U6ZFZs5YSKE37olBJ3E7RxnBBHOOxB4q0ACPMRNpY/ONxIkA7k9cnpn29qr2s&#10;hxvjLSRPk8qAoZ0AGTjjA2nbwAQCRyczorldhdFY5V5SvyDj5uOvocnI47818PBydmtj7D7LlJ7k&#10;yAOojAZQEOxm52DIwwORg5yOh+8OlMZHjQIpUDcNrKFYOFGThenboRyM+hyqssZV9xjd1WOTedoJ&#10;Yp8hB67SF46khTgcUFSqRupO2TKsOCzKW2qPcAhvrk++KjGF22xSUZ++tX+ghKhpJA0ZEWCu5QXT&#10;jOOef09PWqU7KschdygCtuct5aDcxO4t224XpwNp71baNGby23FlcSRxt8u7owJ6Hng89qhkKEh9&#10;ysFJUMsgxICWXGMckcg4JwcHIyKHJJWitfzMNW16/wBaFW4RnZ87UfzCqLKApUhtm7aOhXy2BH+1&#10;jB4qvghJXbMCKrMxILbkLMVJbPzcDPbkdOM1LKSG3uHC78RyRgoi8Z+bgkZ9/wDZz6iFkLMQqH99&#10;yq79qDpkgjnA2DsPumrUXyuLehbuoSmvi/r9SqsbM3yh4t3zZL4YdicducD3qCXcXVxKVbzCuS/C&#10;JnG/gZ6DJz2IwO5uPNEoIEhUs4Y7FXOF6lQDz16H0/Go2RGkCyDaoKBUfEbMvA4GBnjPPqCOxp8n&#10;M2/6uxONoqbepRj2qCx2YeTIC45GGDbSAQN3zDPHbg4qJ4Q0ihWKq0gCgkNFuySWwMknGcryeD+N&#10;tw5MKR4KsmXKjETKigYHGBn9339ecjlApYuF2uQg3IrhQRnBPbgZ/wDHvqBnyvnU1qu3YmU01yyV&#10;+t16lDyycHzC0nkmVV3hwFA7vwOR6ddxHIODKQ5MJ2K6qdyOo3glQpzyADzuOMdOoGRVpVjZmkhY&#10;qS6xo5yXyxAG0DuRUqqocJGQFL5O8YCMudo2kHdzxlj0x2rRpNJL1/AtKLWu7/zVrlJ1YFVVoj5S&#10;eZtU4GN3GeeM4IBGMk9cqRTljMsYRWBI2yOwbKNxzkds98c8/U1eRI9sv3R13lxvcE87iOTxvQg8&#10;YJ6ipFhOZDFjbGPkVHU+YUUjI/HI3DOM8nnl8sbptbf1+pEpv2t76dvnsVUgZRtK5VodxVGAZxlW&#10;G4kkjIKncB1QcVbjUk4X5l3koTy4zzuZcHHT69CCRgl+wZY7TvB8jeqsGkCgYZTnAztxnAJznOeT&#10;LFGfubt0wGGYL5YAXnI5z/FzwOSajmTduv8AmUoyTvT+Fki20h3OAAgY5cqqk7QRg+2HIPXOe/Aq&#10;3HHHuAJ2Mh8xhv8AlBIOSwx1+bP/AOvFABGcAn7xfLkqoVvlBABYhQWy23OOx4FWFUHcQrLGrbfl&#10;QAnIzzwckYB479/UULN38ypThey0EjA8kFDubyxs2/uizNhmODweM/eH8VWEjUvgb2CqT9/Abnux&#10;HQYOScgetSx7ciVJIygYgBxgsGZVIXHULvQnHQZ7UqlEUyooV2Yuoz5nl5fBUjIyBuxwR36Zos27&#10;tW7lxcUnr/SECbkcq25GYoysQfLYFgR6dUIxjt9absKyZkIxMxZlz/qsgL9/PU7QOeMde2J3RYxN&#10;OgV1KgqpIRxgE/exz7DHOep6VCBvIUyNtDEKByBuDKNzY9efqKduaXl/wBSXNeS0m9l3fUZGFYpv&#10;CuhcxgEHk4x9Dhhg5/pTZFCuu4BkcciNtxcsBk4z/s45689M4AUwGQKYo93WMj9yePrwOgOTk/pI&#10;PnZQGZkRdzbRtaNSNuVbjoDn/gXFNpxqcy/rqYxjyx5fRW/L7iESCJTE0Xyy/d2kfuwD1J/DAJpw&#10;UlpFZgwV2LBWAOcsc575GOTxkHB5pfKRnfc2w5WR2JC7FdtgPHTBPbH07UOdm3LMdshjKvksenT1&#10;9T39feozk3ZLV6f0/mVKbUnz7diTyxhS0iMqHeirIys2HI5JXgnB5Ax061DIgjUM25Qi4XA2qSzK&#10;GIX3Le/Qilk2nzJF2SIAFAU52sCc47dMcfmexUDggiRgij5SvzgjJ+Ugn2wTjBPPAyZlrFN7fkZy&#10;ftfdv3CMZXcpCg8An/loCSevXkMOf9n3NNcMZCCCBkSLuGI+QcEnoPutgE849qfCpXywj5VkYNvX&#10;JYAFSwyOBk4xyflPPykhxcLNwAyp+6DuCWjI2FSW3emfveuaqVNqVltY0UeeLpp31X9ajEBQKGLq&#10;iAqJJDuAAAGQRnPUn/gNBxKzDe7bBneHCqwK4YjtyDj5em4dAOHnyxHhQrgMwdQwYqGOccDoBtAB&#10;HHbuTEI9yccsNuwDgBcgbc+5Uj5fQDtSgnbmb0WxMkk7JWeiv/XqJLEpZ2JYMG+VwBjlccDtnGeO&#10;59MAQkt5aAjcjfvERxtYZ3B88dBtX1HJ9MVKWUne5ZgygYfncWI+ZfYDC46YGPXMbSSNGGBXGCrI&#10;xHmMPk2kscdSGAHtx14I6PlS08xtuElOLsyaTcDl8vk+bLuYu53kOfmyM8EnOOSOopiR73R0bYEV&#10;lZzIrDLY5PHt1Oc4P0qSQAHaH3K5AcM+FbcSWAHTIzwR6jrSeWdyIu4sX3DLFSc4A3EDnhm4/wBk&#10;evBGUZRXP6+o5SUqqT6fO4seJCSysuFwWDbUXHKnPPVlJOBkj6nKJG0brKXYSiQ4kJDpktkYIJxg&#10;gEEHj8qR3TfmNmVFU5j3BwxViMpjGOgyBu6bt3zBUfLhWVXLDCFZUBG5GGfukcjBJOOhxjvSipRa&#10;a3t/kEZWbi110f5kJXaW3KS5VWOF3BNuRx74b9aRl+8Y8dCNwBPJOA3T2H+FPkwTHtxgxsCpYFcA&#10;56AYPUnJPGwdqRg235WUGVSDIQFjJUkfhywzj24q9k4z3/zFyKpFxpq3m/MpvM29v3UTZbO7GCc8&#10;8+/r70VZeCadjLHwj8j98o9j+uaKy5Ys6o0qfKrsOTI8hjjYABEbBChsYYcnk9hx/CenNOXDqQAp&#10;j3btqjCjYQgIHTI5H/AScYzQP3mEZGCud7bSAVPGOAd3RMDqOvQmoyC5UKR0Bw7Bt4XGMHB+XPcd&#10;OMdcVnaM6jctv8jhipQmktHb7xg2tsdBtLbjG6sNuAMqCT+OD2/UV1KMY90IjSTa0ZCDC4yytzx0&#10;GDjB6cVPIynzJN33ZWKIyHKoCdpB9+45+8AMjpXkkAZQZBhspIzfIuGGeCpyDwB/9amuVTfIhNVE&#10;oxvdf0hziJEZVCSK3yNj51wG2suD16nPpntjNRPgk4AJDBJGb5xvPU88nIU8H0+lPZnlZ1lc9QnA&#10;IlKgqoxzxgIBjt0FU2ZyxVS6iWMysHKqvGxeB3x97vkp1xjBzKN31HCygub0/K7H+ZlXhfqchFRA&#10;SFODnGQCMkknkjHHU5ruX8othUV4tiFfnPUjPP07jr1qwPLT5yzHH70JGcOAQflbPTrnPT8uIo1w&#10;wSNUHlMVcrH5bqQc5PTHJJxznOfU1Mld763/AOHNG9E77fctVchcRgq5PlfvPL2bSVUqwU7jy20A&#10;jpk8nspzAGBdUCCNQxIiOXzuK8KPQAY59RTmlUySSFXVREI2Vl+RS52H5ABgDKnGOnviq8zBAfLa&#10;H90SUIARWUfMDuxycEDI7546immotN9P1BRc5OpJen4DJW8uQsF2sfn2FygTO4EljwRnBPbg8c1T&#10;YSI0TsBvEZcEkncrbwTjpj7x6DGBipJZGWNlZzISjBlJyYSBwN3TnCjJPRxn0EJkVUJQxgBHxKAF&#10;k3DO0AHGM4yT2BxgnAOzkpNJ6aEQm5Yhcq3uKrbmQgIhkYZLqGI5HOQecBm4z264yRFIWdm+SMyI&#10;ecnY4xxtGCD14xxwpOc4y790zykMuyJAQxj2YG3aoBB9s4bjIPaqyzglwu5SX4YRAhSCGwMknGfQ&#10;9G9yKUFyppO7SvcJpRnGM15/lYe025nZ9kiszCIYKI2D2XjgDoD7cYqsHQBFy0hdlZSSDjKnuCOO&#10;gzz0HTOKc8xV1JXahUK5VSSpbBO4cjP3lGOTtz3NQqGBjYhtysUH/PRdoPDDHbBJ/wDrU1fWb+QU&#10;3z2V9WvSxYLhSqKzmUKoKhsAliGyOuV5HTsePaNxJ8zS5jBBB3cZA3FuenOeoz90cCqyssbKVdFX&#10;dvV1QEKC3BHByApTBGTwcDPFMwBAU3oS6GJuArlcGRScc5wQMjsTnjNJKPJf7Rpfk1W5GMqZFEbK&#10;rM4dGOGQltyj16bfpjHOajnKgvuRkCZBMiMgKlUB2nqAQB12/wAJGRnB+7AfcwVGkdnAw2WY7gSM&#10;+gYlu2B2NLIodEkEQZCu4gHZwcYC5Oegb1znGeCKUbXUZdxuLUZT06ERcNAclSozDwS8bFum7tuJ&#10;QA49OlMe5yAMlmD7ZHLhwpYkg9QcYUgcH09w587WTYmQpCszEgbgynBzjpkj3zz2qCZ0WNPlI3yl&#10;2KqobICkgn73AfHbJUnbSTjJ8szObsuSK31v8v1HMTHIiyxBpo28oN8qxq2S2Wz7DvjoO9U8BNgc&#10;Eu6bcjJZyG2jBXHPJ7c4bjkYjZmyVQAbGVkAOY+ASCy9B27dc+uDIsqYyoxkhiQ2HIB4AGeMb8nP&#10;p9BW0VFpWWlv+GMVJNtvfsPG4s7FlRVPA8sIEBVs9ME8855xt6cmhC5SM5kKAbUDFi7FtmV3jJxt&#10;UcHj5QKarIAZAFEjTFpdispLYC4YDkemcHG3vTQXVl27VVE3MNpEb7tvJOAcrwPqW68GsVUs+ZLf&#10;/IpSbrPmW+/z6D0b5HI2mAL5RH323cEYxwRtDenb1xTjuLMI18xgzxIhYkcZwOcYyQOTgck4yaAx&#10;3M8gbdk42sXDZBBC8/7Krj03ccDIWkWeVY0ABRi2xAi+ZvcY+uSx4/Wrik7yt8vuN7qi0kr/APDl&#10;eS3hJmkEKpcTCNpMklsBDtb8Ni8jA5GB1I/GX9s27jn+Ic8SOsk1nax2s2ZBJ8xG4HIOBgBeB6n1&#10;r9npzF+8QYSQgbfmACEqMHPPbnPOMGvwm+Nl9F4u+Lnj97xxDFZX99dl84B8tisa46cHYvH5dq+x&#10;4DpOeeKo17sISb/BL8z5PjKo4cP1orX2k4xX33/S584OEihJXYJpmOFIJEYGPzz/AEqfTrdHcRlP&#10;9Y4DnJIA7mmCBZZVRkcAtvAwQAAW6/pXQ6ejWeZ2i3uuFt4/fov55r95b0uj8KlCUnyJf1qbk/kx&#10;WaRIiqtuhkbK42KzZwcnqc9OvX0rkJZppnEjbxEWwij52YHggdsdR+Nbmqz26wpbTTiAP+8utqky&#10;SyHgKB0wADwfes2GWG7ZxCogtLRfMkmfBkcgEAZ7deMccfhWNNLl9pLe5pV53yU6eyX57flqajeV&#10;ollEioovLphIsQbLqD0B+lZIBmn2SOSCokuZSSWj5yQPc8iopJ5ZnScgmW4+S2jyWKqBjJ9+KLuS&#10;KwhSDfukI8y52/xN/dJ9s04Jq7e7LfLNKKfur+r/AD6FPUJw5jCyIIV3RwxKQZI8BTkr2znr32n0&#10;rd8D6Guta3A8yAWNiVuLpnxtVQc8n1IDYB67a4hndpFwpLyglEB5jHbj8K9s0GOHSPDs1gySx3cl&#10;ib2+ullAD+fuiRCAM4COeh6swIORjac1h6Tb3tp66HNCM8XXtLbS9uiKeq3sl1e3mozHzHnuGlYg&#10;4XJ4QD0CqAoHQAcelUNL05da1SDT2kS4mdvNvZJcpY2cS8yNIwySEHOBwTxnJrnrq7eebESuE3bI&#10;o1zmRzwRiu9trddI006LDLHHqOoKJddu0DK1ogwy2ynvyQWHcgdga5KUlRp+0fxO1v8AP9TuqSp1&#10;n7GndRer8ltb/L7yLxDfJ4gvFsLQ+T4a0IGys4gghN5sckuwGeW5dufl3YBwBhIrV72WKJIzIuVR&#10;Qi4MhLLGioPTJUKPXtVywjgkRooYmZY18mBY1IDYyTk465JJ9ST1610Akfw3b/aQIn127HlWMSfv&#10;P7LVgPmVR/y1ZSVB/gyeMmsJVLQ5Yq7v977m1Oi09NPs36JL+vvNS6v08MW8Oi2UqHVrmJvtzxgO&#10;9kPulAfUAkHGcZ75rX8JaNdXl8NQitZma0REjjt2JNoUCsZmbOFOFLFm4AYc9q5rwb4Wu9avmmuZ&#10;kiit5vtmqXU2cWylhlcAHcTkhUGSx7DBx3niLWY9NRNI09pltlVhdtG/zz7jv8rOBgAszOefnc44&#10;B3ck2qcnHepJHXTXPSdPaKe/ml+ZparNJrLr4fsbySw8MR3Pm30jN5YcrgGVyPvsFVVDEHapIXbm&#10;u5jkvNe061i8PW0VjpWjxDTtFhdvs5WN5P3s7YBbfcFSSxwQi89No870S3m1SS3sozDM13cKhjuT&#10;9mtZMFDslOQQgUmRz12KScZAr0bSLvULm3h0rRpLN5LOEm1Lxlor24kwWnljQq21tuFC9EjVQcnd&#10;WD5oxUG9VZv17v8AI76SdSt7Rpq2i+e1j0uxs7b4ha5YeFC6W/hPwbp0d34y1yONBbaNZ/KTGXyC&#10;09w7qdoIIDou4ZBHsvjrxVLrNz4T8FeAdJn8rRZl8P8AhHQ4nLRW15e+Wk088mAokjRd0roqhSAu&#10;QAcebXmp2Hwn8EWPgqymTxJ468V6umva+keRFe6snmmFpW4xDp6yySOzkxiZRwxjRq5fTvG174E0&#10;fVdRs3e48V+KtHGg6HqU6Klzp9rMc3t5aLjKvcskiROMYhO47jiuKrNNJRbcU/8AwKVvy6fqepSp&#10;JT9pK6k/d1+zDTVru73t8jpNajsbDW4vBHgiT7b4htoXsvFniqAh7eIYfzba1kTOIwFk82Zc7gjK&#10;rFFLPlfErS4re58OeENKd10PQdIt5rucQmN9Uv71RcOVQZLOY2tFVRnbgAnrW94F0FPCGh6rq+uX&#10;CCe7tzPeSl97RwlWnmDOQTgxRtFjO5nuUwCC2OduPEd5caiup2qTxavrCC4t77ygbzTY5NwNxGvS&#10;OaT5lhUZcLtYdVrzq3MpqE7N6N+ttEvJPX8T3MJaalKEdNl+Dcn5v/Iu6ZczeD7e4ttKKWutx3Li&#10;51k3AkfQi0R3qjjpKgcgsuCrR/Kc1j2uln+zTqN5MmnWNrIF/tGVDLPIxJwxXq0jFSI4+fUkKGca&#10;+lz6bHY32oXFqU8K2D/ZIY9/mSa7fRgFoLbP3xECBJJllVnzksypXOvf6r4quoAthLcTMpTTtB0u&#10;3ed4VZo2xsGXbGELyDplckLhR5tSNWdSUYr/AICt+B9Fhv3dC6kkvPq/+AYMkRljEGnRztH5rXMg&#10;mUzSEgvteZiNpwFB54yx4PzEOi0xw1unm20LRbd5JeWK1QEAbiM8k4IxyeB1yK9W1XwUnhezt4PE&#10;uoqmtzQreL4X0a4j1DU0LbZR9rukcxQKPNA8tWknYmQFIyFZvO7q7Cw21q9mY5bqUzmG2n8l49xI&#10;jZmywOFKkbuRvPQmuSq9oR1atc9fDznUppqPXR90b2p61H4j0q0F3j+1tHK2sWrTJtu9TgwTFDcs&#10;OHeLaChOW2EqWYKu3mNUliikjm83fPtjWQKhcxj7o69uBkeh7VTlihd0lZJrS1iyV80+Y1xIcAsm&#10;MA/d+Y44weppXWO8uZZdjwWmTKrAmUgDKj5ehJK44GOeeM1nOEbKKl719fI7qdSknJR2X4+S+ep2&#10;Fvqd0loy2sM5uFjf7PKVzKEZdpB4JHDYwMEZFRNJepbo1+i5lYhRgL5bc7WOOuCFOD2XANTW14Li&#10;eJrCE29uiJblJpDcSXR2gF5GOAM4PQAAEdSc1p6ibeVZYYvLmu2kVAigHywQRtUYwRz1z+Hp51Vw&#10;hU7u/wCWh34etU5+aCsn597EltNa2QE9zL9pihAHkqzSKMjJznHykY5X6ZrUkgvbqJLkK0dplRLM&#10;+7eoaMgbf90LtA9FAHHXPbRoxplrb292k+ofaRFc2SWcizRNldzGbzCpRRhSoUHIPJIxW9q6ytp6&#10;W0cwC2zLGY0UL5XBzu7novI6YrnrKEanMejOd7KHRa39StpwSPVEdUSO1ti4aSThrgxFSy55G47e&#10;nTmuxtow8SG1iUCSXzJpXfAEQ6BeRwT1XB+935rjTb2MdqlqWbzHmVi5O5isbBwTxgYOOOMjI7ki&#10;/Dqc0N1ZqsgCRRsqQRK3mHJbafMGOh6enHTFZ1lK3LHV2/yNYNSqqV/Q3NTu4o7pZVQeWirAiojB&#10;mUHcRnOQuevTJPXnmeOdoYLeS3liPnFvPCq3mKATk5xnuzDjt054rtFHqFncGOSJFePfAp/fCMAN&#10;5ZDdT0257kn8KmlssMUfnFZxBujikAJkbjIXGcj7+SvfI9Rjhlycrie5RinTi5R95flY2LWW9stX&#10;eJ5POhnXKEyFTIQCpAx0ztPI9OOgror+9u0s5GCyRTbg7RsA0ozgnBx0HXHQflXFz2uqW2pLNBcR&#10;vbqMoEYoMsCQQSOMZH06VbOsz7E8+XfHH8mx03OxPJZc8HHXkHoORzUOLb5rb+fYupBqajB3W9/l&#10;Zr0M+4sxLeteMxf7REIghYojEENu5GQeCD68jitqG4SAFLzJ2qsqKsuFY4IBOepIYrtHYA/XFOoW&#10;lzMAxkEMcyp5UbkQDGWwCw4+8cnLfd61SWOSS+mUXMcqrIjxwvIEZgGJyO3PHPHNaK0kuV/8N8/U&#10;VJpVVCrv2+X6HdnV7e1WGG1uUYFVWQTNgsMluGAycNtJznhMVh3+sB7zzLW3w0UQknlbgKQXLBeg&#10;UjAHHA5yM4xV8lFuDDIsJSYbVbkopBzhcHgcYznvVOS8hty9ok5mdv3JjaMspG0ByOvUkknjqegr&#10;mdP33Kbs9f6+49yhVh7WEaabtv8A18j0fSteu5p0upWiaF4jCInG1ipyvy+g6H3B967LTtat7O8s&#10;IbW0XUJNQuBDbQiATvC2SyBF/iZiqrg/eJI64r51u9Vug8K2oYGJk8tYXIiB+UZHoTgn867zw1pH&#10;ibX7iO2ghNrG8yFJZhiQgKz/ACc54GSduPl61x18POpL91pH/hup68VGcYyqS87eX9dT1DV/EEUH&#10;myrtmkZ3My7QZvMcht3HHU8Y7Y79cCPXruZF/s6C8uZohuuViTz5lQr949WXqcDn+Qr33wv8JtCg&#10;msry4uItQEZja7gmXf8AMpz5a5PTCLkrjBYDI4Ne+61aaLJ4ZjGj2NrayToGW2EKpGiRqPLXAXAB&#10;GcbeDjtXl1nhqUJU5y5pLXT11PRpZhOLhRo079G5bWfdHzJ4O8Bar4itpNQ1RLiK1hHmG1iDK6gj&#10;5UYjKjaN7YPJCnnrX014U8KWlha3W9zaQyLGbOMQeXIBGSY8gngncScZHzCuV8J30llDe2EkhaO3&#10;tikNtHJIpg/dnzG2qNo5OD6Aiurlnnu2i+ySveea8lyIYpG2wj549sisB0Vi2F3KoYDcDWVaSmk6&#10;ase24YmrVcasrJ216dHoeyQa/caVBbxyQC7t3itp7tbhXtTKGUNGViBCruRw4xjIYMPvEn0q61aO&#10;4tTe6aTBDqgLG1sLd0jhAK7lVS5JA4ySc57ngnxGxVTHpUN1LJBYXI+1X0skwldNu0FB2PUgcdh9&#10;K9N8Lm1uZLtI7n5FljeISOUigjGGbJAOQQVweMlSOh48r6mlWkubfXzVv01N6UaMKSrQWsb699ev&#10;5+h6jbsF0aWQ2j3t9fg2SW9pdm0a0Z12Rv5oUoqbnBJ7gdQSK9C+HNzrmmWMtlqhlgU3DWBgDCRt&#10;sZXJBHBGWIyCQcGvDknGoXCH7QwtbRi4tS7DypQ2NylRggbQcEKPnXk9K9A8PeJPOv0a9e6eZ7f9&#10;6LaILFNsMah2BPyg845PXABrmq01KrKU9N0vNWO1zqxwzoxs4vV979LH0FaeINIl1u10+KTyVtju&#10;FwIzJ9ok/d7Imy21RtyTjjAOAece8JdhdZtJiUiebTFvZTJceZO0hMyqWIJKR4ETAfxZbgEcfJ8V&#10;1p+nJozi33z3l6063aDfJGFUEFpCQfmZscDkxqT1O337wld3E7XDNYu7RpG0SOrNJLkKQ3TOMFcd&#10;N3bODiKHNCpKnJ6aO9uttjkxXJCkpxTUUmtet2lc9FPiC0ubdYtQmubZ0nEdsbZQ7uSyKzbB2IBI&#10;wP4QT7ex+CtQjgt/tljPum1R5I4kkR2Y28qPGzb27nOFAJIUZ4+Un5o8TWQ0e2s72K+SD+00luLr&#10;TII82/lOyqh8wOSScMpjK5AjySd2BqaR48hkv/DkEWo2yX06sU06CYoXjVmiWMKFBXeUiwT14JPP&#10;GdHE/VcUlV+O6X4r9OhEsIsVg70F7urt2svy31Pp9r61t/G5Kym70GxsYmTTrgGK2huWt4mnt04+&#10;YBzKpk6E8jgg13ljdDRpNEitopb67keCG0huxhVkaRROpH3cBQgIbcP3jE4AxXl1lbw38P261sbl&#10;Ea2M+ozW1s16losSgHCqCSq5DlyCMu30rR1jX4/E2n3OvQG4s9as723NlHABBZrZW0eJGm4/1jFE&#10;x04L7gSRj6eVSoqTb01cl6bv9EvmfPzgpyjTktElGXdPZNrz1bOf1G78R6v4qudSn1uysI7vVnSw&#10;0u2thFb2nlbymwjLKBD5UYj6ZjJzjivo3wLqVwJdO1O1+yWtxDcx3sUd8iQ/aJY3REypbZ+ZOAD7&#10;AeCWt9DJ4ZjaymtLnWX1iOS8t1gRpokZ5DNtnHJbOGYLkYwWJ6D1vQY9Ru9Itbn7Baz+S3m287RY&#10;uZW3kkqnO1VBUE8jJXPauPBYWFKpLE0W3L4nr3/U3zKaq4RYeqlGK9xK2lkrbaadDv7vUn0rwxJr&#10;kMSW9realefa7a4FxHPslAklkIICbGeWQEOcjuCM43/D2uSa/ZaXY/Z5kFsILhTbwrJdzrDu2IHw&#10;2NwcuTjkjnuDwUniLVdRSPTDFDBpt5ZRWNxBbO0jc5knDgqCRuQKQozk4GRXbeEp7HTvER0qO622&#10;FzYBrYxOIriMvHtVdw4Klyd3+wQOprujUjPFJU5NUnaLXS/+TsfL4zDKnl1SVSlequacWm37q2T0&#10;3V/O9tz33w9qlkdK8Oabp9y9rJqmsDUdR1u6kOnR2saA+XD9oBBXcBLIdpGCVBPUV5TBLFqGt32i&#10;3iQ3nhzSMT6TJqEwnt9QG4SCRHDFWdkCxGQ4IGQCCoNW9OuJ9Bscal5dzqM4mg0+URrJFCF3EyEM&#10;GUoPMO3n7zdBnJ0otQubvULBbaWXU9WvJY4BJNFGlpZ2oHJZgQFUAMgULtVWJ7cetLFzxMKVGb96&#10;NtEt7pLl/DmPicPhHga+JrUfehO9p3taSk3zqVtEovku7WSaSbdzpbi78PWfh7w9O00lrcSasRNp&#10;bTPda28JtfniYKAPlcKVI3fLJyOMU/wvqmtNptxZ6gQ0s9hcafc+Unkwwy3cLIZ1HdgrMF4HJbPA&#10;yL/h3xLo+uQ3WqC7sxa21w0K6TZxxJf2Cx7YQ7yOMMZXMjEx+YSFB4wdvR3mjRDxJJI6wadptloP&#10;9prZRagLhtSjnxFGJWZS4LMXQ7FXCqSpByw96FOWJ5cXhai0SWmmjS956/3b20fzPmcTiIYeNXL8&#10;bRan70rzd2mnfkSaUr++ldcyejvypX5Q2Z1CLV7SXUS2o6T4Xe2s4Ygbh7omC3mgt5Dv2bcBJGcD&#10;JLPklsCvNPFTDSb3w9p19p8tjax67mDUtQiRI722mhLRBASNzBt6lzxj24r3iW0msPDNnr1lAkl4&#10;JpNFOn6dGsIjtw5V5mIwSEJCMwI24x04HFfEbT7HxZ8N9ev7r+0UufDMWnapZzzXazXF85vnhvp0&#10;lOXCbJJYtu7AwvGRy6+CdShP2UrVlHnT6NL37N97K2mp0ZPm6pY6n7RXw8qipO28Jyap3SVrq8rp&#10;O6s3raNzE8WR2+paj4bttLt7W7k1rQ4/tM95fJZRPi7lURb23KMJHC4wQuQOpyT84z3SS3JtZ/N0&#10;s2oubmOSSeS1nyrSZIC4OWeNY8ep9AxHT3Lz2+meGrzS7uS8kgu5Li58PTlxdywwCIJ5d0dyIJQ0&#10;ibCDypc5wAfMteVL681J7jVnsNWnEt1okFwr3M1kS8pigkXqVGVDSgMW2huQcn5bMsRVxNqtlzN3&#10;sno00mvTX8XqfpuRYJYCEsPKbcFdJtPmTU5LZvazVtLWWjd9NoammowW0UEEOlWsFrBFPAZRHDdM&#10;HcM8oyFyf3QOMDO0YBFa/gIWuparKktrbSr9vEJDhFWGNpjmXdywUALgLk7WHBxXgA0rUSZra61C&#10;WO6ijiiltoceVOPLXKqc54BBG373UgdK0fB15qNnq0TWWoTwag11H5NpcW7PZ3ULfIUmUAMeSGGW&#10;GQjjPp4VDE4mNeDrx1V9L/K33dD6qtgsPUwFaGHqWbWm+nnfc+lvErC/0XxlFYafYCCzhsbXSIoY&#10;jFdXLxmN5ZFiXlSoYLJuJA56ZGeX8PWciiK4uNX022v0hlt4t9qLtYhaxh4EZE5ZnMTxg8kOeeeD&#10;kaPbt4av9Vt9X+0wxQGX7YLyR4JY5doV03En90zqyljwqbTg9A6ez0pNQbXtE1SVEub9bq30m9l8&#10;+b7NKzNI3mEYkCsI+oVidu1WIJPqQdatUhiK8Upq6kr20TbuvvaPAo4eNGlLDUpt05JNTSvryxjZ&#10;7725trd/PPjS5maCyu4reHUbQ7olgs1NwgMgYcgbz8yHaGOEIGK7XUNcmudJgtLn7HNapdJf2tqj&#10;ESTvGzRmVzgEHy5HXIOcEYPp5/rPiG5tLkTXdlcXq3U0+mafrMlvLaxPAlwXREzwHTzt2wFsNKQc&#10;/eqlYXcE6yNpmmXepajps6RiNi3nyRI7MyFGPRm8sAIccsc5yRy3hSlOlFu70/DT10O2VKOIjGrV&#10;grJ3VraPq9dtfmes291e6zomnSNNZXt5Bqkr3ItVLT2ttlGTzGxtKrGJCGycFzuwcZ9g0ILdWFzY&#10;TtaRXcML3lvtkZZ7u3EMi3IwrA7ZUlCFcEEKMjqB8x6DqlzqOsW0s9s+j292yT3E8kbxWtziX9+p&#10;Azu3KyngnaccnNeoaxr3h3StR8N6nLaWk4RhDc28mp3ENtcwhp32uowYt3mIisJCxwQewPXgcdTp&#10;Q9rU0dkne92tE3azd7WfyPBzfATrQjhKKbvzSXKlo/itdtKza5fTfuekwaUdV8FC/wBJ8i5ufCcw&#10;vrW2iulS61CK9EKTI5BLhUQGRXU5UoygKWJr581m18O2/jXx9C/hfUdNuoJvt6aHf3TWUunFbcea&#10;peUFmyfMcMAciU9cE11Pw28Ra/DqJk8JWi2lo37oMGk8gKVzIjZyHJ3nI4yCefTO+N2leKR4t/4S&#10;XxfeWMpuLK3tdRijsTFdwKHmgiaRMkqIyI1MoAyHAOPvNpXryzDKYYmhRlzwaTulytJSV03re1tO&#10;yOfLcLiMBxFUwGIrRdKpGTjaUlNScoScXFPla5lJ8zd05WWj15PUvHVxpsV54VsbeTU/D+sywa3Y&#10;PdNbXV/ps8akRRO6AHeu0xswwpBBI6ioLCx1zXL+LTblZ4YCiq0tnOzMSpOxEUEEKzE8HgluAeRX&#10;o2g+G/DF5oa3qWsHmnRzeWN0sjQmGeRd0DS9D8gl34IwWjIPBIrpvhvZ6Lc609vrF9a289uIbUXM&#10;jtBZ3U0mXVAQuS0ZMQJCsMhxg4rz/wCyvb4ijGrWvzNWV7JLVtem9vuPoJ51h8uwWJq4bDvmpq8n&#10;a7lKyjzWW7slfvv3JfCfhGHTre40xb5hdS6lJbymS5MKFYwkoYYO0IBEzdMfKMe3tsHhWbTL61is&#10;0bVrC+0MXlolvH51zesk5+1DC+ubUq/XhgRjkeUR21/qOo6x/aS3fhrX5Nfug2saRqpvI7tknuI5&#10;BKoiLMspiZSybA+9SVwxNeq6VaIk3hq1u9XubVbLTb2UfY7pU1jTkkuEEssTfM2FYWvHzBRE3ykB&#10;q+uymlSWHcFT+Fqzvayvazv5b/I/MuI8Xi6slXnXu5JuUbc13yOScXF2esVFWadr3s3E1/Cfiq1a&#10;9vJDYzafbQaiwhuZbcRXdvk7R5kQySqlJF2KAQW55IB3tUFh9nR7OLUZ7LVNZXULLVLS7CSMTIv2&#10;qN3kI4kjm/5bAgFG3bsMa4bQIG02bxFp15c3dxeadeXrQ319cR3EepWyzplCXI2lTPIzMuejbQSM&#10;ntNE1Nr1mVb7w75V7AJZrOa4C6dMkUjGSFERWC7yjMSoG0IB6CvWwGInUwyo1Zau62V072a/JaeT&#10;vsfFZnhqVHGSxmEi+Rct/edpK109r3672teLSbdttZdclvNNSKy0KXw4LVrDVY4NW+3eILCDMzWt&#10;2jRHYpc7S/3gpTKk7MngbHxBqlrqaW9l4k0TVPD9sHs9Rh0HxdFcakzRzZDtFJBGA5j2q0cbNzuw&#10;VGxaZe6LpCpNq3g/TFtNR0m4it7q0tNTXTrcxl2KywFgA20AeZFgBi33ADisi5/4RHUtZt70Tajo&#10;+s2FtINcsFhgt71miYhGt3bKlotnKupyNuOazxmIq1IRlzJSUrqXM1zK6vZ2W1tYvzLy/L8M1Nzg&#10;5QcWnHku4ySunOPPN6qXu1E0vhunZs9dtNZiS7ilj1qPWNDvIBoz7IhpXiFJxCzxfvVMQYEZCjGG&#10;KrtLHgEGu+LyhuLfR4bLRrCR9Hm0s6lPc6ltLqkbRQlEkLSBkKu/zIC3ydSeOfWdW0+KPT/Esmk3&#10;1jfSyzWc1rANQuG3yYE83lQpH5wVmQK+1SzKDk4JzLeTXtUlns7q2LSWbW1msV7p8kOuLaTHzoZj&#10;FA4EixqoJSVmwVXI5NdKx1SdVUoc3M+m2rV9W76aXSu7nmxyalJSq1IwcFb3m204p8vNFR9nFy1U&#10;W+VOOm92n6JqJgh0611S5d7SaW4me7l1NJb2XQJZLeZ7RUt8F8Qg+UWUKx83cOSxHKTeK7nwymm+&#10;EtVubrXTqljA1hqTE2aLC0iFWmWUkn94Qh8w7sIRtwa5+6tvFmh6pFoV1dG/vpbaDVLu4s7No7PT&#10;4zPGcSXGeikKGc7SemMEE+keI4o7+DTIdQ0WKfT3nhgtobC4NjfaciPGlyjSOqNmOUI/l4OS/LAL&#10;mnJ4vF06k4xdKrFpbXvraV7OzTSV2k2mP6thcJOhTxLVehUbknFpbawceZKSabdo8yjKC1tu824n&#10;uppmSK+1PSLB0l1U3lnYK0FuGwI5y5TysvtkVFk67dqjk5nsriz1NYL+eyuoLfR9Fexvw9ms1vq0&#10;UilkaNsD5/NhxvYKgJ7fdNHWNP8AE1sJhfKsp0e6ttYvNcvpxPBdeSRDHDbIDGPLwsjOGALEnKoW&#10;U10E7+LdFhjthb6NqcdxeXUyR6WxS+jaS7kmhlSKWXYN0c2SByDgjAAA0hCarTc4y5Fvpe+uml+j&#10;XTf0OSq6PsKaw84c8tFaaVly3k+bl1bjJW5tY3Tspb1rSwjjee48N6amnabq7Rrqum3bLaW7JiaI&#10;kMh42YYsqscAjgkkLzR1Oysta0e5eVptKsrhhc+JLkzATKFCvYSKpKSld0ZJUvhhnHJq3f6hLqmp&#10;Lo2oWmoLZRW/2m40KBzFd392i72Eix7gEOPMAI5KknLFFBeW+lnTf7KC6faaFo9jNq0dpdSfbdZt&#10;rySQtCEQkBQC2T1yCc7dykzzU693D3eR6X0vJNN6aJLdvW/pc6qEHBr65duorOzu1BxcU3K7c57R&#10;jpyvq5WsluLiS11xZ/D2t5sZoIpb4Kxu0CL5EUU5DqUT5nwMdSuMYzWpp2pxz3M9lK0X9kXN1qqJ&#10;f+bJbwq87yI1vIjLsUMGR9rEHccgAA1nR6lpsl1f3emaZPb30+nyWon063SKe0iWWJ0mk2fupGyU&#10;KEMDtTJznjagsraWznlv5DpunanqLahFFNN9mhm89FUmbK4UpGoZV4IMu0gsQK0pLmv7KV9bve26&#10;019NfNnPiFTjRjDEU2mkop6c7drXfLrJq7UW9LLVJWZhJBaWaxw6pBBYC5RIb+4hu2m/sy8kkSeK&#10;ScEHb9o+YDZwQCeRzV6eyiDXKT29taSXEsunWusKTOul3eIw8ah13eRMiscPuyVbB5ULomD+3tLk&#10;eNPItNX0ZZEvZU8qeK+tZE8gpCwJZSRJtfurAdhho1W6luLu0v7Y2V7aTG7vzLYbbO4jiZoSylXP&#10;mKgaLJjIO1RkHkCfYU6a126aevX7n0666GbxFWcnKPxpvmXM9PhV7a/avFp3VlFNe82+fvvDdhPb&#10;S3EaSabc6TKbe5hjuLp7J50CyBoZQRJyGjcB8LuUjBxVWx0dtNc3NpO9q1qssGrQ3Er3hlG4qJkI&#10;JVw3luG3YxtB5BU10ltG7RETQRJqdsDazyxxrJFfwPDE9q3liULnDFTt4+Ugn1zzOjQF9QubjRxe&#10;QSWd8bFDPHG4BZopEbl1Uu5DHDHgbiQAeGVDDxqKryWfyXb7nff5nXTxmLlTeHdRyjf/ABaPstXJ&#10;NXknq/hvbZ1odQWRobma/slntoPsmo2ttrAkudQWORWWTyJURyAoYBQhUb1/u86dzp0pvRZy7JV1&#10;aR9QudQg3XBt5gqhZ0jUDCyxNhiN2DG5OMA1Bcxz6cE0/WHF9ZFUmTVrxXWyudw37ZiELK5ZwN67&#10;euDkY24WojUdOvbiRLm5urCGCK1nWMCeKONwpiiKgfuzmCQA7SVKYJ+8aqH7iF6kbyTV12019U1u&#10;15sqnT9vUSw8lFNNxe6lquWzsndNr3ZL+VNW0Mw2Aspo9aSUyWNytzGYHRpre4eFyvlOiDCBklYr&#10;I2QA45XJNVNiTYewjFpbXqzkTrIFtFdI/tnkOCT99iojfP3o3VfugDWtNTE9m95bRNp9ukhtNQtf&#10;tO8xH7MyLMpC4dXjicM20YMnA+XIxrKC5tbldFR/IS5tEhjnkjxJFKJzJGCxJ2skyvGGJ+7KckA5&#10;HLWhRXK6ez/N2+5Ozv2Pepyre86ztUiur0sr7pXTcLprfmW1kzkfEGn2UaWmoWChra3t1aIq7eZC&#10;HyJIpFyDv3qSevUHrlRiMxCqoWPAUTxunV42+YAnvguw+bOMcY5rqby0d7y9t4TE7zQrby2zHYkE&#10;6zOhR1OBG0ZMYzwAF64ya52WKNLfT52VAAJYZohtjmgKOvy+uGVg/TbncAOCK+bxcZSqynGKSd7p&#10;baaf5H12BrXowpzk5NbX31XNr5/FronfvodXY6RoIYahqU11YSM6wwXht1eK5TcjGNwo804Db/lc&#10;KNud27araV5ofw41VfKn8a2un3G1lin02I2l5bFlIRYknV4pG3BQFkYsQMAqa49pzc29uoVspDiE&#10;SSmVlT5s55wo+VQACDjkg55yb++kt1Nta6neRSkMbo28YtSEHGxJdzFh3PCkf3eCTeHzGnhbL2UX&#10;FJbp6/ijzqmVYrGTcViakJ66Raslt/LJr70r6Dtcga00oaJ451K28a6A+lpcaNr/AIp8JXXh3UtE&#10;81oTb2ivI88Mi8Fs280YjCtgKzeW3k/iPw5qOqWeteGLaCGb4keH4LS90GOLUI7nVfE2mHMsCAQM&#10;DeW0azL5U9s32qMSFZPN2fJT1zxv4l0B9UtbO7RWui0NxbyRhbWWIsrurRHIlUO2AjkgiIErxXzz&#10;qvjfw744uF8J69cPo/ifT4Ta+EoVvG02fQbiXcirZT5EQt5GcSyJI0eNzFW+9n6jB5th665Zx5b9&#10;L6JdtfwfQ8LGZDjcK7RlzJa3S1e2tlZd7rrvvv4z8c9Mb4uaJdaANEv9P8Z+ANLk1K2tLp1g1TQY&#10;Im8u+jtWxh4xvW5BIA24yBmvV/gH470K8+FPiC38caOBf6VoT69ps11p5mh1Sw1Vp9CvJ7UZKyJZ&#10;XMd3MkTKp8xi4AOx6424+JNxrOuXXw/8UXtppPxS8G3ELvFc6PJZTatY20bNCTvLSGUbUMUsZwxw&#10;Sw2rt8L0WzvPBXxT8QuNSk1fwj4w0jVNM0+0BSXXPD62gW8ltJFWSNWWN5pRB5iqZBPIVV3ietKU&#10;/Y4qNaN3bR33Rz1qLrYeWFrK0Zaxts2rartdI6P4gXOkaR8UvBdj4nlvLDSPBWpz+Lp5vD8zfb9X&#10;sNTs7holgk+aNraLVIoJyDuCywlvusQPwj/as8NaT8JPj5410jX9OS5+HP7QKN4o0m70skn4feJf&#10;thkvY7ZhmM2sktyJNqu4MOoM2Q0R2f0g+IvFGmaPrPwa8e6LPpU/iD4LeMo49YsmUx2fnXM9jqlq&#10;9xIeXs7qKOzfdnhIpV+UivzL/b5+CEHxJ8SeMfBkVollo/xDu7v4vfA+2S136lo17qU+ptNocbEB&#10;hsdJ9PWP5SSLZNp3kn38PUhVpypRd3dP0Vvx10Pka9KtTqxfLaNnfz12+7X5H48+B20O7v734ceL&#10;o7i50qDVpW0W5vIA1/pt0u1ZFj2nCM3O9FYLIAh7hh9D+Ej4b8Wappvws+JniXStD8RQr9m+FvxT&#10;1FmPh/xFHE4jt9K16ZfmQxsBbidwWiDqsgZNrRfFPhX4vHwlLq+jeMbOw1y3ubC103WLy+t3Op2P&#10;2OULpGvWs+VIMDObaQ8kI21uM16xb+KNA1m6MetWNprWh6iUsdfht/Ms77Rb+VYhb6layjKwu/zK&#10;WUFCM7gdoFKpHltC3za22v8AI3SdVKpHVPon1/z89j1HWn8R+AfEU/hH4ope+GlS+nsdF8W2hT+1&#10;PC0wwHsboKNuo6VcK6tt5PlMGi+ZTXD/AAz+Is/wZ+Kaap490k3NjrKNpqXehXclpZ3NuyBLK7SS&#10;MLFdQlZPuS7keNju2On7vvrnX7DxD4bvPA/xYY+OPhzD5WhW3iizZLL4heBbm2YLCYLliypeRLlv&#10;KcGC6RhtyTmuOtvCXhLSxL4H8YeOIPHfwp1W5MPgb4x6LbvBqfwyv3O+D+2dJZnkti3meTdoQ0Mu&#10;C0UmU2piqXNTjKUnGXT1fXzXR9UFKdnKEVzRtr/eVtU10f4PoXPiR4P0v4k6hbp4IsNQ8M+L/B5j&#10;aw0q1dZdFvraWaU20sTj5rZ5Wmlk3sGhldmGY2wG+Vb/AMOeHviG1jfya1d6D8Qre9aWz1yWHz49&#10;XR45jMhCFpZGGwkrsDZJwSNwr2fXPB3jDwL8RdT8MatrkcPxH8B6fBq/gmAKg8P+PNLm3Xxkt5yd&#10;k1veQXEjxqS6CRCMq+StTW/glbeM/tuveGtUuPAqXEhvrSO9k2XngrVAI7lGjztMloZWTAX50V8g&#10;sqnbTnVhNQqu0m7O+z8jldOkqTr007Kzst77XXz3XRnR/A/VNWl1fxf8E/iFqOpDWL3wju+HOux3&#10;AuFLo5msb21mOI5YhLkFQRtJYFVbNdp8R9eE2ofD86tbQXFvc6xBp+u2siP9n0u+htpD5lvJnKht&#10;odCOCsm0hRxXguifFHVrW90zVfEfgnzPHvw5un1HxLoFtBPa390sCCS/1DQZBgBhs824gAZHX59p&#10;UYX691rwTpPiv4ceLbDwNcJfjS7P/ha3hiz1K4WPW4NN1CBLp0uEH3/KkdwJYyf3DglAQyrhWwsa&#10;1CUYKz6Lzt09GSsVONaOKk7pWvbstL/d+Rm3Okpbwrc2eJbF2PkyLHtSEnzG8tgAPmUEkZ4POOjA&#10;U2Qn5TETEuJHYtgEHdj5v+A5Hv61F8DPiJ4d8R2b6P4gGLbUk/svX4GXbqGmTZDLKgbgPC6qen8O&#10;Mg9ep8T6Fd+GNbv9FuEWR7K5wJkObe8iZQ0U0fA3LJGVZWwRgjnjn4HE0pU5OSVnezXZ9/Rn2tKo&#10;4yUOa6avF97b/g0c8iDawSNXV4/u7SIs8bVxuPUkD+7wfTBcvCwnarGOQOolw4VQUIcMMZwFznjk&#10;dx1YE2eS2yRSXEqGOXK8AEDPHPPHb6VKJAG+Visibhu42kKMnJUYzwMbR1I6cmud80morc1prVpr&#10;7vl+bITlCBtIdVRkJIMrsVHmZAA53MTg+qg9hVdicszAl1JYqnDOBuByAxxkgE9OW6DpVpvKJIMZ&#10;kZSChQ4l6KSMnIJBBx9M4FVPNURAvH5g8tVTaxLSbv8AZz8uSoAzj73oauLaWq6iurJNWldsZJB3&#10;BUMVP7sqPLJAAOR+XNVipPmBk3sdiSOUzyAPlA457ZHOD1wamlMmZAI32GTcV3BTg5JXp6gHGSTn&#10;GKikBCjYJAY8tsDARoBjaGz1PyY5556jNKK5VyLu/wBDdSgouXz/ABRUMSKZG8sqYwxCbtm7533B&#10;c+ynH59KaI1fzEWFMBgyEA5duFIUAEk4znnsevWpiJQdjHy03ERvnhg42jaM4OfU5GCBzgiqwYZw&#10;kymMEPGr5bzMkAKrHqfmVePXn1Beanzt/wBIw5pwi77NfqOLyAM+FljEheTYwEbg8ksAMYA69OOB&#10;VWQxLvhjhcEox3nCEAnjcCTgkMTwOcnOQeLjzRyo6sHO18Rqi7VTu2D2OCwwOPnweOtcfK+ZSVEg&#10;wPLOXLHKqx79SBz1JHWqg1o4vVaDlGLs1rbR/mOt4woDxbR5mWEe8N5owfmK+2MnAHBONuRUo+6Q&#10;qZbAUso3ysc7vlywxwTgAgcc9iKwK/JCVDrIu7akfPGe2cDjtwMECriNIoVlZxswTmXCu3ykHI7Z&#10;CtgjGFOCSDgi+dtye9y4QhUjdajYiBFH5YTaiMInabzN+WYE45P8PcZxipfKAGAwkRQWChN2futj&#10;Pr8o56565qGFrfAlc9YgpClnOAdpwvTLbiRnnCccE1KzNk5WRp2DINwJ4fIcq3U/eLAdfu5xzUNO&#10;U+f0M73V0lf8ti2rJCNkMR854CI+dmdgJ2g9BuII+bONxPSpfJCEIFO2MARYyqOAzBWYnkAr6gNg&#10;jcegot9yhxtyuzd5ZmLRoSFC4HIyQFO4dQoznpUhw7LDISdwIJCFVG8DPQ4H3AOff1pOVnZLSxai&#10;27xeu48YzLuG0ElsSZBAwwz7HBIq3ENwjWPaSFSKQKrAL8uABwMnC4z7VVZGZSCPm2tIk0Z3x/Ns&#10;Jz9SXIJPIbB562I2kBt5CPnkkEh2ncyEbGJHfIwMngErz6Vd+V+92/Qjln7ZqS7FiPZIyMGVAD5h&#10;cKFCqo4Yjv0HT0FJJJJl5M+aQzFEKMMHOTkMOnHA69wacq9JCJIsAoSACQOCHz3A/wA8mpwz7n3N&#10;HIcbVIAYHAPzHHBOD9Pr2IzjC63SLcZcjjUet9/uIo0UoGZcLKnz7nJy7crtOccAH1+lQsiRCQIw&#10;3R7WCyAEKR0KjnOAcfj71YzEwy3mb1Py7iMcALnjqMHqPWoy5PzggMU2uflfzNrBRgnnIKr+hGM0&#10;qSU9WrEuTilKPTr5Fbc/mEBU/encOC6MDg7sDjt79DxxzNv8tzsHlhsRM7B0IIVWKnPPIDc9gv4V&#10;CiBQgtwJTuCsfuKV6HGDx/CuenOaepzzMuQV3oAAFPBHLE54BGRgE7unBI0lJymkltbT7iFKUptR&#10;XxCKw8sMr7cjcMorA9gAeeu8Nk/3e/FSoYZHBlVFIXYSzYicFM9c9yo6demQesZfbkhVDZCxtnkh&#10;BkL0xxkg/XPUmpEbcwQqWYkhsclifmY4PQ/MTg9x65qW7wdNf8N/ww21NJyfUjKRwruUhzuDqWy7&#10;KQp+9jgYPr6+tIJVMYJVXOVVmY7zKVGAM45wd3PJ5PNOBQN5c2JVyoXhn24UEdsDJLE88DjPcsxG&#10;6sjbA5Bj2yHaVHKOckgZO7IPbI6YoceXlin5iaSi9b36EY/dIWkbI3fOVRo2G7anDAYGSR6deO9P&#10;YLNubb8owoGSAi8kYOcckn0OB9KUyrIZFbfhCxbcPnlDbc/XOc4wD+tRmNiFUlU+QO7DDxlsnJ69&#10;MkkA+vFXFu7cujG4qNRqL0f/AAxIjsruDFuUgFCRhyD169QQRyO4bqQBTHWIfOd0aoPnL4VmG6PO&#10;WB64z3OAB3xh0SxqHjjw3zGMSKGwudrhexPyk9Tj5hg8YpHkTax2AlTvdVJbeRnBA7duPrQnFxSb&#10;KnPliuZa30XoPDKFbhSSCm91DITz82QeQMhcdivvmkXKfvGXO5yI2Cqyp1bLdRjCnk8ZI9qGkjMa&#10;kFtrjaUx8zHGe+R1z6ZwM+lMQMFGXGyZhgJ8wYkBfmJ6jOTkeg7dVKaa5pehEnz+/wBdH+H9aDdy&#10;FdiowKKdgUEMgUbsAc5IGevp1PUyGMviMABwdpPlEIysOQemRyePUdcAGgCNBIjGPLxnYpG7fz97&#10;POOhxxnjIPakfaskZbaRtMOSwcsMgnvnOCvT17YBoai46Fy5Ye61rpb57omyu5im5t6EurLlRgjD&#10;nIz3Gc+g5PWoiygsrjDv8xJO7O/B7984Hf8ADjM0apIVVUQqgaMgjA2llwRn+vc5zVcuJFDDLDOI&#10;ydyMMc9wD0GSCM9umaj3E3GDbWhCmpJK/vPqRrIiSK3mqUMe5FDZLDAXaO/B2/d/56dycCLy9r7E&#10;AJIIY+YckHA3DHAJG7pwSeeTmrEbeWd5UhegVuWQZHPP8XyDGOx96aQzQhnV1VWw7MvzEbzg564I&#10;Xp2rpikvfa1asNLmi6a2WvYZ5Yky4ljjBPCnIx29D16575oqX7TcR/JHNKEH3cAsCOuc7qK5nNN6&#10;IL0lo5O//DEW4ou1iHdgQcgR84ZgOoGMOAOmc49MsDNIScuWTaGRclRtJBYDI7bmUngcDJzgrvII&#10;OQyKWXbkszZQkYI6ZYKPQZzjrUD7MiNdynIkA++Qp6q2SDwCTz2PX0l2t8OljOcnFuTdxWlRA37t&#10;4xJwoY7sbCc5A5OQcjPr1yKrlWctGfLjk24bYNwHmDG4dj9523E8bcjJxgnONyq7KJP3S7FZWUqV&#10;JyB0IEZXPP3jg9CY9oKOqsWwWRXZgVkHZgDyRkZ5xxgYBNSop3nB2f8Aw1i6a9pSvcVpBGkZdWaP&#10;BkIQgsSMncFY4LEZ4JHzHHGc1G6jlt6kqWVjFlkIIBUdORlCcccZpryKCvlpksqzFvLLBQyBsOcc&#10;nkjbwRjnOar+cpZ4wSpjAAJO7O37uP8AZBI5A6A+tZ88pWlJf1ognNezi5Lr0FldEKqcqDICcrnq&#10;Tjn2JJPpnPFRyRibcI3cBnMTfedNsmSoY99qo/bJ5pWdYtoyWURsGUnerph0BxnGOD0POD14FMdl&#10;EJwxJYlFXepEm5Cq87cfecH1zgCtYz5Ul1/pkRdSUm5fDq3+H6kbMiMzyMV80lGB2uQcHOeemcj1&#10;HvyagkdSGOScOxCkbI8FQckdeMnI4A4xTpCjRuwO9FICEbiNrZI3Ybs27pjrg1WkmBfexcF9ys6k&#10;r8xTHzPjHdThT25xTS529NfU1bT5ZJ30WnT+upWdnBDcozbkIkcFZCwwTkZ65HXpimGWN952oXIC&#10;k78MB8vzYBHUN3zncPSpJgUIDnkfMysdvJBJJA7fMR0GCDkVE+1BuDAsVfeoGBtYgj8RtPcD2ok1&#10;JJxf9bkUnyN2V+/fYVXlYKqu4DfK4OZMgnAOOuBwMDj8uKYGwFighU4EYSbzGcsvLYI4+9gYznbz&#10;SSSmKQjGSwIJCkKmMjk+hB4zj7x4606SQsSB0UjCBs9d5I6dVGMn0HXtT5akUrPSxblGUGnuno+w&#10;2c4wpjKLKqsihWYRAktwN2VA3FhkHcDnHzbhAzylRlXZMmQgDJUDZjJGfVBnjkjHs9ndyrMC0ROS&#10;XPybSwXjI6fISQQTgj8a4JmKRgADDMC0pdTwSFB/vYQ9vp1pKT5eWW6MGpQ95f10HCQNtRslSQkS&#10;nChwACdpJzjJyF6jdz3zGzAsSvyhHzHGzlsgkjCkjkdewzzkDpUXmggsdzNE4YOi5IwGUseAcAFs&#10;fU+wpjux2lGRSwwhKDk92yOeAT/CPvDnqKtK9Rdzb2kYJKX59LhK7OGlAG5QxkiC7GBcKrADJJzx&#10;+R+UDBLJtqIIwzMBgAsMAkgEkZJOMg4PfrgZIpmFKIwBYyDnBbaFUgbR0OPlI+h+ppkjmRwodW85&#10;jg+TtKBh97v0BxtH55FJRUk1F6p6mcnBqclprp8xC+whf9b8oAAOSwCq+7J/h+faD61FIQnn4bZv&#10;RVYqWYHB3KP/AB0Z6DPvSB8gHb8xGT8v7xiGAGf8TSSFeEYIsjpglhiVhztx045Gc5/XlQio2tHV&#10;/jYd72neyv8A1cjcOcCSP96zbmRm2Mc9MY7ZGPYA+9Cl4sNtwuPmPXHRlIJIz94En09elMYyM6tt&#10;AWJV2LIqvyrEqSDxjcBkMTnGORgADOIYkCrGpPD7MZB/h3dic9ueaaUk21/V9yFKMdVqthyqT8yo&#10;qxxgq6yJg/eHA98AAcgjI7Zw4GR1RHZmBOzyyNxZsHkqOmfmAwO55602QZkYESBHK7igPzBXQkDP&#10;X+HjIGF7ZOXRqFaFnLbk2naf3gGPusQevCr0OD6HJNTGCUVccpNK0t1b5j3RUClA6KzZDFSxYqwz&#10;nuAPmH1U+uabJkxiRWBw5+QfIiYC9PXhs49B25pJG2bCu/ch2KckIQEIXI7Ekj247dgkYjH7ook3&#10;luygknjqAcHB7DHIU/gQu4qUntuaSqc0ZR7dRt1lLeSb5lkSIeSwXcysDtDHqMEg4HT5uTX8/XxJ&#10;UReNPFupyMP9L1u9DQBypUC6dfmH4DGeuM1+9muXDraPZRgie+TysthBGuG3senAIx15PPU1+N/x&#10;y03wjDP42hhjWPWbTxo62ComW1CGRMO4boVVk4HPMhOa+54ExCw+YTcot86UdO3Mj5HjLDutk0Yc&#10;yvF82vdQZ852EkQgae7WJ0kciKEgGUIBnG7qB7CtG41m6miEoht7e2sohFHHBbJCSTn7zgZO0Y5J&#10;5JHpxzlx+7EMYwghQGQ55Xv098Y/GsTUNSm8oW0ch23DbnTscE46/wCetftyjKdkn5I/FovlpNze&#10;vVkLzy6letjLO0hKDgnJOeB+dbMkVvbDyN4CRqXuSpwZ5B91M9+/P/1qNMsxZW730qlJiCkDHHyH&#10;AJJ/4Dn8SKr28B1O98tWxbx5kkLHBAH3mPp+FbyUX+7Xwrc5VOV3Xe70S72aLMJ+y2r6pOP3sh2W&#10;cQOAvB+Yew4rl5bgzStI+4hcs2GyCc8A/jV/XdQ+1TrBDhbeECKAYyAoyD+J6/jVPT7KW8uIbeJS&#10;yscEkHA5HJ/+vWlKEWvaSX/DCrVORKmvn69vQ6fwbpUd5fm9vo2ays2MkkYXcZT0SMHI+8xA7cZ9&#10;K7t5Bd6P4muBMqNDeWsDiMYEjyNM5VT2VAhB5/pVXU5ItIsrXQtMiUSopbUZUON0rA9SOBtBOO43&#10;N61oeGrWxvdH1m2kjWKzsZ7a81K9ZifJiBm80KOrNIxUBcdumM1y1Gq/NNP3UtPwu/68jqwq9ilT&#10;a96Vm/S2i9erMnQ7BbaBNcuo2d2doNFgkjwJXXO6Zs9hzjtn2zW9bwi7mWGISXM9xIZZpkG8OXx3&#10;75x1J45z2xDi51m+kiSOO3iVfLt4nxHHp0KgqsZ6DJByx7kn1q5LJBbQHTbO5RcHbdzRbri4u2AG&#10;UjAGAuR95jnDdK56k01db9F/X9dDalGdOdtLJavze1vTY3VvLXSmS2smjuNQiYAvCokhsTkk7Mff&#10;Yd2PAPbjJfpmlXuo3z3ao13dyyKkRJEcUG5uSWbsBk54/PNR6dY2dsG8qFlZ4AZxMwadAekUYHAJ&#10;DAknJzWjZam8Vtdyor28EbGNJ7c7ZEIO1mUDgFcrsI/jPbbmsW4ptre2v4HUo8zSatFbLv8A1qbW&#10;p6rBpll/Y9kULpd+UJhIqQXtyq/vJmZeTHFuVV525V2wcgilotlea1fJbon2gJdC1uLm4Pl229ss&#10;8jvkkIoy785CqB3weWsYBdzNf3QkWGNNluIV5SNDwikgZJJ7c9fU17f4a0+2h0hf7Rt59O0+6u3j&#10;voreNftt7CHVpoITxhpNyQGTHe4bHyhTi4xox9pLe2v4HVRi6lVUre7/AE7mtqDaPpOm6dpOj20t&#10;5qWuwAWkkm2O4NtLLgySDOI5Lx13sp27IEQfdK16r8PdE0zRE1TxK72tzYaTZws1yCqXGs3oKi3i&#10;jDZPlqd8meFART0wK8W0i0vvFeuzawUEUV3O8cU0mI7Ozt45Aks0YGAASgtoUQY2gsAPkNekeLNX&#10;k1nU/Dfw20GdbOz0xXvNdvYBtETMnmHzmxzsRcbfUuuWyuPMfNNxjtOb18l5+i/E9eFWnGpeKvTp&#10;22+077L1f3ISwXT9d1LX/HOro/8AZGkRjTjPnB1W4UZbT7dix+QMZNzcFl8wlQMIvQ+BvDWp+MfG&#10;N/4s8VwhbbS7NdWuLAx+etnCFEFjAyqePNZYoI0GOAcDCHHPz6voLKNMtbZrnQ9DxY6VoMFuxvPE&#10;OqT8gyNkZ+YySzScD94FXAJZPffCkNxY+HofDs00Nlc+K9Qg1fxHdgorCOBHkMczKMhR5oEUUbAN&#10;u7nKjGs3SXtI7Kyj036v832+Z3QcqzVOq7PeXdq+y9NvN+hS+Id2kVjonhSwt5HtbOD/AISXxPHI&#10;XaOeW4AnRJmB+Zm/duwHCRwJgAYauB06206506XX9Y1R001ZGitht2X+vXjfKYLYDcEVRuBc7hGi&#10;rwWK5ta1qkviLX9VsdIlM1tFG82uatC5RJG3IkqhgMKqx7V44QHABJw2NZ6pLrt1a2el+baaLp0a&#10;2Md8JVN6I1JUw2gOVhMhIAcfMAWOcgmvNhdRcpfa116K9r/5Hr0nyT5IytbT52Wnq3v5aHpNh4A0&#10;vU9NtPEHxS8WxeBPDNnbFNN8GeGtOOu/ELWYl/eRwwWhBs9MglXaqXN/J5mbpJFtLn941dbqfxFs&#10;vDul3fhrQfBo+E3gu8s1vLDw5pd6knirxGphWNL7xJr06/bb1XDSTrZReRbETgi3wEY8JD4j07w1&#10;At/9ks9U1C3kZvC0DA3FpeSANm8dTgG3hLOAzljM4fdlRlvJr17/AF+6muNYvjfates9/q2o31wD&#10;Ldyv80krzDquQQDzj+FegPFiKrq/uqast3537vq+/RHtYShzVPbVXddPXTRLZLT1Y6fWGupbq5iu&#10;7qSfUJC0spVFMiM4KqXycKMD5UAHr2qhFLZx8XDrc3fll1ijbdgksQHIHPAbjjjpWYRFI6WgkVrZ&#10;RsDhGjjABJZQ3Xqcc9MKOMDDjLBa3djM0P2iVZnaO2jwE52iPuSeSCRyMjGTkgedaKtCO+x9BRqT&#10;1kvu+WpvTCPzbD+0D9uuuUjsnkKRw7+Qp+YYUh2wo2gYBzjIqhvaK1ZzAxjN1IkURdhAhLF3PJPA&#10;34HcADnucvz3nuvPaTy43kJzJIZp5CzESEk9ST+HX2xvNGkdpbyXUjQxOrNDKE+eYqBudRwCqn7z&#10;c/dPIq6t+Q6XNuSpq239fmWdKe8sZmYqZsW4Z3YAxgMQFAz1I9vTrXodr/Z8AW4IS4v5oNyyXeGg&#10;gxgnaowCww+RJuUg9AACOF0WNWjcAK+I9wjuWdCxyCU4yAexz6D8b0txdzN9nuCYoHOY4zmOAYBw&#10;q8Hpzk4OB27HzsRGL1h0/X8rHp0YqVNytZ3sdXZX5tJmkkg4nc4kUFPMOM7l9zjHHp3pftiRMtxd&#10;kBjIQ0flGQRMDgFwRjAzzkc/njnrSaKO2WK5mdyz74oUm27AM7MuQfTJOPbvRGwELYkJjkuQz2bA&#10;GTbhATv9fv5yP4h1xXJJRem/9L/M9CEoySg3d/h1/QsB5UnWNJneOSMS5aTzHVABgA5wTwRk9ec8&#10;mrFxqUrXCIEVYfLXfA0p2g5PJ564zx14Poav2Vpb3xZHkjsljGZbgQmeaEDnIiYqpJw2AWwcjJA6&#10;ZIIEdxJII5Ugd8RKAkjoBhVz68DnjluvHETcOWSTOjDqc6jTeulvPbT5fqdTpcsUcwF8QGSIKqM+&#10;1DHgODxyc+uOp7cV3Gk6TZXGnQyPIm5XVLdiobaVVlAx/dAAHA44HTpwtrplprsCSmVv9RtkcyJD&#10;kjacHHY7s8cDFdjozQWlr5DhxMikCRpGMYUhVJ5OD93uDjJx7+dV540ntb8bn0CSfKo/Fb89PzLV&#10;zBGk5QwztO6ly8hyqYU5Ge3Tj1OO9cXqVpc/PE28YwqxopRiApIYHnpjHqeuBmvU0nin8iaCWMLa&#10;xjzJJETyu/ykk53Z4AwQcHocZwNYurCOV2uHU3BBWRyAqxK4LgOPQYHTp070qdaL5ZNaWf6GjpyV&#10;pU10+ej1PMUusRNBcoSRK9vHMjmRS5Jw4II78jHtTLVZY53uJvOaYKyoVDcKP4k5HTpk9N3YkVbm&#10;1bS3uWngTmZQ/mAZ3cj5iPXKg8+g+tVrjWvNdbC2tWnk3go8MIaWRsHblsnADbOF9OTWlOcZS5YJ&#10;69LbL+kZ1edzUrfDa7+7/hhdU197OaKQsrSyLlURtwKhBsJQdck8k9Rgn0pdJ0u98RTxzQJLE0uH&#10;8xyAuGwQR2bcCD9Oc+tzwZ4dttUuppNXLRW8CqYI3yyFgysuGJ4Huc9Dy3WvTJpYtElu3M9ja21o&#10;sf2RFRjJKzBIzsBB5wAQDgcvj0pVfZ0Yt35pafLyN4VZN2prltrfvtcoaHommaZqM/niWSTcIlkl&#10;QsY5GIJ2g/dJwxJ/wwfoXSLt7eK0NqbYMESJSSIJI2cmOVjIcKNyngEhQM5bk14rFMmqGHawS7gh&#10;knbLKBKwLPGNw6lg+P4uQenGO70+y1KKGzuXjurksVlZrfeHtWA+U7wcrtJYjkDPevKrxrVI3Tv3&#10;Wx9DgowjONWpK8raX/rY94TxDFqVpaTWsjKYQEit/MLCQKX+6c/KOSdwbPI6EE10+m68yiOG4tWW&#10;Hy96sjkLglmzk5xk4xjOMV87abdX8NxdWtrO6i3lEhmlUtHMBxgdwCMnnB+Yd+K9f8LNJcySM2+S&#10;THlW7orFH4yVPPTtkkn3rwZ0p3WmstvvPpeSisOrWb8vT/gllYb6OXURZ3M7Nd3Es+2VC6jBYFWO&#10;B1XZnaeSFBA6D0HwnPPbWqyTSK2o3DtFeSSsRcKuWysfzYwBtJ4z94elY2o3d8dTvXCQW9tA0Vvc&#10;zyBriVQyBydwUkkKSRgHp7Yqzo+pG7kjlUxpHbMEkvYLdpIIVLBTuU7VCruyAduSTnHZzdOFo+dv&#10;Rd16nbCvXqUY05W1s/w2/LQ9i8N+JtK1PzrS7sLeJIB/Z6y3OCxkGEZ1Y88nJ46/gK6jwZr+qabr&#10;M8Daez6K8htTJIxaSUYTYc5xtwpwMZ5Poa8k0ia3ee2vsM2nXlzIkjxJuM5j5kRR1yokBJzkZGet&#10;e3eEvC82oX/n+cyWa2m7fLOq3R+Q7NrggDqTkYPy+mQcVhuZx5Z6r5abu5tW9hRpVNNGtfy087nb&#10;/wBnvJqt/wD2Va+XDNbLcNHb8rayR/64SBucbVIJHIJznjFbGhyC9uRdC/a2vxbRb1jJYJCCY40w&#10;MlQArYHTIzgDNdLZaNHYwlEnW9tHg2XM6yAhVbJILgDGCSvJPO7nrXBWVrPomqX0Iaa584sC4zFJ&#10;sYk7QwP8Jz3yMctWeJw6TjWtd39db7nNhMXKqpQTaaSt8u/5nvmh3cN23ksk00ll++aKWPaAuRjY&#10;uSRxGDjg8EdhXsvh5dWZ1ntZ3luL4BbaygbESneBtZF5znAHoGz0FeCeHNVTS7yyWTyS10huXtbY&#10;uz2QIIeB3kJY/J8pYs24E5YnNexQeJLFNM221ncrNPMsLSwEk6W38eQuSScoAeAD6c45o8vM5y1l&#10;28/6ZvUnUuoxWkrb7Jdd/PWx6suoyHViJobG/gsrQBJI5Xm05pJGKgA7VYrgbguBnbjB781plvba&#10;b4mjSXTbKO+cILa4FnFEsJlViGWWQ7oywYsT8oO4HtisiO+lsbVzcNIbVHyjwTokk7YO7POQeV+V&#10;iSCCDmrqacLj7VrFsk0kk7wvIdRjUXkodcrMADtADbsAEjaVJYZxXPWpyklU5ffi769v89jows40&#10;rqUrQklHt/W59b+G572PwqItP1RrG4ma6bWnXUFj8P3lparbzwwiRgzgs8cgZMbSWiUBtxrgm8X6&#10;kdCllsIY4457dri6s4yrNPF8heMAEFiHaIntx9a57Stb0a98FzaVLDB5V0whj1K6Yw3FgYyzBkTJ&#10;ALMrA5+bCMAetcfHo+r/ANkXV8mvxzWUDNbLZ2m6K3kR5RGTtYgtneAAuCFXkDGT342rKvRgsK9F&#10;DV3tba552Fw9GFepKtpefVaPz/rZJGzovjvXZ7Zri6hs9PSLUibe1eMyXJjklKCMyBlyqJEQAwOG&#10;5C/Mwr6O0fxdb628eq2tzNZXDaZDaxQw3s4t440QKXjYuQWJjyR0XcmOOF+X7Dw9pVhp1iJrqeS5&#10;uZZYmtIxLFboHCmFywbdkMZCS7sMIu7PzZ9n8FaloWm6Lf2dzbpLdusc/nq+yKFY2YKkjE/MCWUY&#10;TacFshsDHm4T22Ek41Kvu8q31u7afPU9HHywtdOrQptvmstOjav+X9XPovwtq+nW11apeQPfrKBd&#10;TzS3ZhijVCjxgkKcFig3AbgMjBYiurmlv7nxdqPiI28lvYwWkF5BDENkTw5VMIudxi3I8e7OcqTn&#10;qK+Yh4mgt41e5mIbz8xOWXaFcK0ZQgk7QACTxy/AHWvQLDxtbw/YZbV5VM6GGe2QvMlksTOdqnkb&#10;WQkqB33D/e7aWcYaVP6vNa3TXSz2R4uIyyp7T29JayTi73ty6N26K9tz6Y/t7SNEt9f/ALZIA1Xw&#10;7fS6avknzmmuHhk8uFckqFdJMPztTrgCtX4feKtLmns9Vll23iQxTw2MkMkaiELFgrG6jezDDnJw&#10;GUjOeK8xin0vxDY77qV49Hkh+zzXUcgaa0VNqEAngAZIP3eAvTOT534S8P3tjHe6jpsMmp6ZbamL&#10;PRY7qFZNQtAzZaWEocAOVRRktw4wDlmr0VjcbRxdGrhYpwtdaarW9/Psj5l5NgcVg69GvOUKkrJ9&#10;tdLa6K+8utu2x9hanbaVod3BqFkI7Dw/d63JAi2xBeVkbbPEx6AK0kjhCAcqORyK7uLXoY7nTL2L&#10;T5LjVDbwwSzTSwyXmpWUCu9p5UWRIpj/AHZ83GHCnk5bd5Z4fvdS1m6lstV0mybT4dSWS3ae2YmW&#10;6ntkdUaXPcmdtjZVvnyvNegXEfhax8QvquoQabplxoobw7ZQ6RJ9ihjnjQ+a0u1lzlkZPnOxg2fl&#10;r6rB4i/NVhNU4uS0atbTV+l1ovO3Vn5rmmFjFwwuMjKpVjCTvF83MnblTs023dczbe3MtUrekWGq&#10;6ROs13o+myzaRHoE+tC6muHuLk3UtzunhEOdrBkVnbb6huowvP6rFqek6Hcjw7o8vi2wuFuNBuzf&#10;QLbJcWdwqTEW8yZdSDMw+ZSA8YwepqDTvEPhPTJWsoNfX7VdyLcILC0e68PRq/lMyJIMFSVLLwCu&#10;SeAoOMzR9W0aTxrqFjYa3dR6W88VzaLc/urO+aUiV1miKlFVGyuNpGIzjGRt9d5lQmqdGVSPNJ8j&#10;cWk03rotulrPyVz5Oll1elOtVhSm6UFz2qRqNSimlq9GpJydnF/zO2lz5EuP7R0fTdOnu44rq1st&#10;btFvbeaCWOK9gUxyt5V/HIFZijxbkQbjywbnFUdTW1ng0+9utZu9dlt9Pnj08zQiS90je0kqwxzv&#10;l9o3RLtzglcHgDHY/tAxalYarHb3hsbjwxqWt3uo6LJ4ff7SqIqQSmCUGNSI0+0vGpUDcI3AyEU1&#10;4ZqjeI9E0mabRdF1C+02WxeG6xut5iJ4lM2F3DKgHhhyCgB4Hy/n+IlWwuLrYSMXKELJ6XfTX0fQ&#10;/dcrqQzPA4fNHKMZ1G+ui6cvk1qnbW+jvYqatqnm6dc6pLcfar3TomuZYw6RzXiqkcCKULbiybSS&#10;i4+RW7kVeF1DdWXhPxlFqFvYXlxqVtbXqSuso0lYhiGVm3ZGwW7E7wEVQOdp48w8Q2XizV304afo&#10;UVjf27yXM8tzIIHuFlEf+uQEswJjJDY3n5gD8xB3dH8D+JRNbKCmlzRwr5i2rvPZRsJAw2/dChA6&#10;5PTIHXg158JY2dRylSbjprtqne/qrWZ9WqGCp0FKVWMZXfZ6Wtb0e57Vr2q6bYaJNNZ6vD9pklms&#10;NVjdTqEDRzM8iItwd/JQLvRfusAeNqkcLca34fltr/UorhdNFvZW88aWKG82iNz5gG4qzKf3YBwM&#10;DoMgip4Ph/c3Gow3up63ZtFqe2GW3eCG5tLwWrRiRXhbdFl2+ZlIJ/e7sDK1sS/Bjw7pega3fzfa&#10;L3UVS30/S7SW8mijDNOWYAh+UAfL5DBMKAOoHpunja0pzg4pRjqvldW82eO5ZfhKcYSnJylJapb3&#10;kk16R2v0RzWv65YWGhadqMXipdQtop5YL/TGtJVkUFmCTpPny33bAXTI2qU6jIS7pfiizk1S11HT&#10;bWW1nM6XFxGsUge5kVlLSFSxywC8KuAe+a2tG8G6fqGlPplto6z3NnI0zwrEJTdoqRynyAzBJDuc&#10;AgkEbeuOvpfhS18Li9sbiGyktNR09l82C5g2W4BKxBQGGTuLjhgBjIx1zVLDutiI1J1LRajpbqt2&#10;nfexjXrYfDUKlP2bm05btbPa6S26Xf5nn+htrGra9qGhRac9lHLMqRNdOAA86KqtE+CdwAA+THK4&#10;OCMD1Tw3oFtpuhW9t4g1Bf7V88T3kFwn7643kFWCkB0HygAAk/TBzveK/DdpqcnhTWPD+qpoeoSa&#10;xJoAs75Wh02zuGZr2BpLhjlRh5woJbBRvYDBPjGDXdVUaw0Ka3p9pHpDwhY4YyLQeUNuwlSTtYk9&#10;Tt4yNta1qOHy1ylO0pt2i9007N+jWi/4Y8KGNr5nTSwqcIq/OlpNOLaWlmmpa3d9NGr3R6xJ4WfS&#10;vDi6z4WlGnX2j6lNM+nqCbHV7aWOPYsYXlZIGWUjg5WaQ4KoSOb0PQP+Foax4putWjijvdb024s7&#10;2GadmWOWAIJJogSG+QQOwAHJJO0ZAHofhbxfZzD+z5ow19LpU1vcxajbFopYpIJVd8hldZWUbVZe&#10;CAfmUYB5DR5/EXhz4kve2NreeRf5vbBbRBJcRpdrK0aBWUjGHC52kZ3YxX0ar4RPDYinFujJqM4r&#10;ppZNro7O3mfH4etmcYY6jJqOLjCU6VSTs2rp8l93HmipXd7LRaJI8Ya0so9I0ieK4u9PFxo8c8k8&#10;rSt9llEssdxayRhgdz5i8svu2l2H93HUaL9k0S51G6Op/bIP7Xhu1eWUR4tpEM0cLgKgcxsMFkCj&#10;DNzgE11/iyHR7vX9WWx0l9GbRdHtofEWmpAuZrueZUlkSNGwqIwQAtt3Ncc8BcWdL8P6bq+kI+kw&#10;GTUS0ti8bWu1LuTyZ/JBJO4GSSIwk7di5DE9c+fPASjXaw7i2r2dtXa629b39D6WWcUZ5dGtilOM&#10;Z/Em01HmtJXav0tZpvdO17nU21jaTq+tWV/qs9stzKupMZDLaQjZGsMsoBwIlkI3Z+ZPOT6HsotY&#10;1DVLOxWK/wBI1JrJg1ppOoaWsn29TIYZUW4bBZZF85GjwchwM44r578Pa1e2U1zNPb6vZXMMs9le&#10;w2ckZuIfLViqSb8qUXYwYPnKg9CNw9C0TUopfDlzb6leXr2Ooxzm3FiiXSWLXKrGHMG+MZJyduQF&#10;IY4PBrqy7HwnUdPls2m2ttra/rto9T5bOslqU7TrNTUXFRbSk7O91azvppdOLcdFZ77Nm/jbTdZO&#10;n6t4XMJtbRbi0lewtLtLiEtsXYUf94oUOMurMB8xUEAjs7rw0mtFrrRjoXhDV7lzcS6StlNH9qwj&#10;t5wZJNitxhmKkDbnPZuC1DSoZbh5NK1iKdH0G1Etvq9g+neX+9MBSGUAqx24aN2JyRICR8orZ0mz&#10;nu4LT7VHaXuL+4srO+j1hrO7jeG33rApCuV83eFVXBLNDjKYDHpw8Y0pywsqbnTk7q8ubrumldPp&#10;f7zxsbBzpwxtCpGnUSs+WDjfTm1hUlZptXs9d3F3uYEV34st4J4RYA/ZdRns5pLSF9QCzNDCjQl1&#10;LZVQVdcjG6TdnPRunS2+u/2lbm5u7JbyRILu++zi8l0S6CtDM8gBQCMsoGxmzwPmDYNS6preseEt&#10;SbVYP7esZddvd11aeIrZFuo7iDYCqyx7kYYRPmjZuFTIBOKzk8Zy3fiy6vNO1xhLfafDcanM2lDT&#10;3+0oWAi+Rn3Y8uI7xjJcbuhY+Z7Shh6yw1RybUrOLtZxtpbVPa17L8kexSoYvE4eWJw1GCi4c0Zx&#10;5viTi5JrkktHezbadkrNSaWppqeJI7K/0u11u6isrOGPVL23w8MV5siWR1jmZSmPkKqQuC6deKj0&#10;Lxvqk8uorfTw22rvPfPdXlwqw3CW1yHfZI7/AC/Jul2lVG1UwPl+VZfFUHiXUH1K+8R6podjEtgf&#10;7Gn1zV5NPvZTEFPlLCIztYtkFTjIBOfmYClfaXd+KvB9lBY2cMvil4ItPju5LuOFtXSOVBDbQ72V&#10;WeOHcoUsOCSeFFdNWhXp1W8K5KcU3GN/iSekbJuz7d/Vk04YHEYeNTHxptVJRUpxUbU246ylK0ee&#10;Oj59E4tJNWWno+inxnbaPpjQapp8+k3+lnTItRvryFLyziun2eaJWV53BkkQs46FDwQoNatvqeut&#10;5Xm/ELSLi7uiLfVI7HSEv7CC2kVg7Bw+PMdYFJwAGIbIByw8I8JjSda0q3El9qFj4jZorCTY0t2+&#10;lh9xaOBS4COWjSMoAM5JO0cV6FFb6nPaPaW2h6V/ZkGnvJrF419Y3TX6W0e2SX7XCGfdKWKiBSQD&#10;0JJ49DD4+dWlTcE+Vx/nk9V3StZLre9lseLmeTUqGKq067pqfM73pU43V73vPmU794cvM0m0r3fV&#10;W+peDp7Kxge+v9X063ePUfJ1LZLPmJ/Nje2MZRY0ITcSck5HPBDZltqni+xso530+21YXF+s+gOp&#10;GvSWKzGTyoWAcSDbGSAJCzDYcBcEFI9S0aKCyht9DtYNMkmjtfsbwpPq13DAgmmluJdoI3ytDErE&#10;7QuccnFOi0vW/Mutc1C11q11nVpLma2srGCK809FdsiQSQr5kZTZIuJDzsLHaNqlqVSq17Cd2lq4&#10;e7Zaet+nKnbqzz40aFJSVePuyd0qrUm3d6RUWrPdVGrpJJPR6SWmt6g17DbWPhDVW8QQSLZ6jNLH&#10;5cqSFFKGJWkTyi0Ucm4kjcsanJ24PWafZWF5ci41Dw/BcXoti2paheWcS2u1I8zpHbxnzEaHAA39&#10;T0BYgjLXxPLB4djn1nW/t9us32q5k06yhmksY4wUitzL8pW4DmFTu4+ZsMeQM6e3PiG6hm0yHUT4&#10;e0DTluLq61m0kW81stxIovQBh0RNqncwBRSCCGB66UqcIc1KTnPR8r5dE7O+l0rLVy3b03evFVo1&#10;KjlzQVGCvF1IupLVdFKTi9ZNKNO1knd3STXaQvdW19pd/faxo2lWflsX0vy1R4Lb5p4lDSF1Muc7&#10;8AECPGTxS6LJ4k1KGx+16laXkjvHqiXYKxsIdjmSIKXJTDrCdyLnAA+XcSOQM3hKS3t0t9H1KxTS&#10;7We8snu9QN+JpLgYRLlXzmQ72AJZsLCBk8V2CahqdvpkH23TIYrxf3NvHaxm9jnZo1jEgnj3hd+4&#10;KFOVJALAdK7qc3ObnF3itVyuVuid7pLdO2nex5WLoTp0ko017SWnvxgmrOTVuVyb0kuZ8ztpzXsm&#10;O+13coi+1FWMl5LZzxCGSFo5mmZYSh53yAN8oIHPJJNTXsk2q201zPHFcpaagdkP2eQym5xJGyoB&#10;gh3DBSjDaDGx9MQ32oS27W9xfRQW73dupnsbN2n1ZpslIbhDv2KIWBJcSYZQxI4BFSO92WUFm2rw&#10;3N3aau99q+oSOH4i5tnEgjWNm3ywkr1cFuepreEbyfO9PPrtb59bepzRozfLXpws76Na2X2rNK1t&#10;LJp63it27Z93qGk29zMmqfaE09NNaOSO8jjtpbFkkcACTzOGZG3tGc/NnkZGHWl3Z3x8+fV31Gwv&#10;4I5rl7G3jvraZWi2bZBGTtccRhkYbQxOckFdPxHpWmTTSaheJAP7R0uMXU8MY8t5pvNVp2VmDMjL&#10;b5kWMAqMvu4JrCjeYWlleQqbC9gliWaC0EjDeBMf3OdzCIkxBS7fMGVuiDHJPD1aNXmjZpXfX8fl&#10;09bHfReHxGEU6XMpuye1k99NG91vbpFyWxZuIJYrf7NEkep6MrmKKCF2mFwZYc+XuGNj4BKPt6rg&#10;g45rS3l+1vd3GkXd2zhI3luGn2zRQKWWWCaDnzFQAkMvzICASQMVu3M8k/8AacsSrYyPpMd/eRxj&#10;zvPEMiKQqAZJIVvmOSD1z2yru7hsIli08Gzju4ftWmSwIRtJjJubWd+h+63lk84JBPUGalOMW2np&#10;b/gadv00sGHnOooxlBOd1o9V9mUua2jfW63SbeiUTiNXmutMSX7EZTpkd2v2q3iTzbKCVv3YkkAJ&#10;wu1mAIOTnOSRitxobK+tNPne4hnuY7KG6BgnxIWjeSOdSoIYqYtm0kZLHI5Wor5rZtOuY7OCaO8l&#10;fydQt2jAt2txub5Qesq7t2cAcnpnNcrAt5HZWslvdtbtFCLeznWMYVMvEyMgH3MEIwfqc85JryFO&#10;dGvKm1zRa+S9L/L0Z9LTp/WcPGSfJOMrX6yuutruzfVXvHpoWdVkOmRWk8r75PORJLjBYR3FvcSG&#10;V2UklWeKWJ8Dh9o54BHP6/Eghm8qLEtnmOZo2zFMAyj5ADggoVYHkDaeTkAdgLE39lY2rO8l5bag&#10;GlsrgeXa3IMSESLI2cO6qU6YOAMHAFczdJay2k0cyP8AZ7aYI0xjIYFlaVWO5toXKkbhx8h6nNcO&#10;Lo1I81rcslon001+f9M9TL60Izi95Rk+a3VN2jp2tsut9NmjC0Az3ccM5SQRQtsubl5iUSN1ZD1x&#10;uzkgL7+2ayNZso7V57iPfOIImYAnndjBAI5xgEdOoJxUulNBa77eOVPtMzST2ZY+a5iIw8ak/Lwx&#10;68AAHk4Cnc1mCF9EmnQyNMdwKAgSE4UqeCTgl26dSBXhKKnRdJ6SSu36f1+R9FKo8PmSa0hNpLpp&#10;f/h107eZ8v8AjrQDrOludlxYXUjfugdSewnuQ2Xj8tkAIQ7MZ3jJlHB5r88fjP4X1DQr6JNYj1qO&#10;e9lCJfFZV1BQw+R5Xb5ZlRQfnjOeGwDtzX6NanPFpttrMUdq48tCiiNdkA3AldxC7t+0c4OAAe1f&#10;L3xTMsOgzWaXLX+mQTss9reRllgkZ8BohysJbIYo38QJByQK7cDKNWnHnVnYrNqNXD1ua91f8Gv+&#10;G0Phe+8X/wDCXyeFF8Z6hef8Jb8PJvJ0Tx7aDzfEcOlIFf7NcqfmuVgDSkRyffjV1VkYFx7L4kEu&#10;maxpWtTT6Vdv4y0fTtcsL/w5O6WOq3GnXzCe7t7lstvnht4VMLKjxGScsA2APkb4m2V/4X1608Ra&#10;M0TsVedba7kJsJNkbB4ZnYhRuBY8kZG73xYt/GFrceFPBWmwMl9pVtc3ni630d7oW93pM5jkje1R&#10;QWZkd4I4lAwoLjfhXzXv0KsvZP2j1tv16ffpdHzFXDxqOFaGkduXzf5H3Bp1vda3LeaR5cmoDVdB&#10;Xwbrt5FA7T3j2t5JfaTqEMGCWkW1kms2xgOLVx8uSK8M/aX0y+1j9nfw/wCJL6+1DT/iz8JdU1fT&#10;LrWLRHjndhcW1/ol7atgf6QzMS0bMAGWIYxX0B4D1e417VgYbyUya74M1bVfAxtYPKtH1PSon8UW&#10;cS5G9TLGniKDBJDSGIKT8wr6PsNI0b4l6Z8dvBniG0lt9G+Ovw9vJLKDSoEittM8Q6Zptr4k068h&#10;3Er5S3Oi3JLRnCRTvlowdw97LUqleMJOyat5arT7nb7z4jPHKnQdamruPvJej19dL/cfxv8AxGmu&#10;rL4yj4qeIPh1p9h4A8ceIbrxFLcvDbnRdE1e/hY+JNNMcj7Ps180k1+1oyMqG8YIQAFPr3hX4cz6&#10;l8OvHU/hPwjaTXv7O/hNvG2q63p+pRvceOPAOs65DZ2WsLEWIvG8P3V1Fa3kkZLpbPHI6HYWM/xa&#10;tNCh+I/xY/Z88daVJFpHj+xh1P4faxqO5bfSNasj5um3wOA6xPHdC3nQf8sr0hlYxKF1f2C/i/q/&#10;w+8T2+lan4Lg8Q+MPA2rXnhfWfBk1v8AbbvxJ4U1OK9sPEvg6S1RvJnjvIru8hSCVW3zrAxfIYn2&#10;6Eo1IqnVT/ll6v7Xz39UeVOm/ZuGEspWvF9Guq+T09GeKWXidNBl1PVI7KYPqdks+r23l/aNF1mN&#10;d7rLJbMwG5CzLKqgMYpDjDBTXnl9qvw58eastv4P8eWfw48epdMb/wAP+JI7ix8I605IMbafqKI6&#10;R+Y3/LG5URKMEShc19j/ALRXwcs/gZ8TroeHZrvxJ8ONW0Oy8dfDbxCzpNb+I9Dv7Q6lpVxPPEvl&#10;C5NmxiucIqPdWl7tUqBj8zfjz4AXQNWtPE9pa3djcSTK80McQewjjlijltHhk2jcHBkUgqCpKjAO&#10;VDpYeVGc8LN3te11dW/4KMViYSpwxML3W6XRrdfLbU/Qey8T+MfHzReDvit4Qg0fx1ougrZ/Cn4q&#10;Q6XcXWhiezmDwQPPAyWptpcMPNXcq+ZyADkamt6MfFHw+1/4kQ6Xq3hLxSb6z+H3jvwJPczSaVoW&#10;tRSA20liJiNlnfrJI8bhnVJXCEqs6Mfy7+HnxL+ImkX0n/CN+LvEnhq8hH22Ow0/Wbqxi1ONRuZJ&#10;IY3CSHAYEkHgdcAV+hHhfx9q2uJN46j1S88R3uo6RBo/jTwhrMj3k/iHTWgY3VlvbcyXNksT3EEn&#10;3o/LRgQy5HOnHmUasdu+v9W3X3BUdaUnKnJNPsrb239dn958EePm8Y+FfFGn+KdC1jWLbX9E1FX0&#10;1Lm4lkurCaLDqiEnmIkshjPGNylcdfqX9lr9plx4903WfElq8lgmvCy1jR2JCw6DrsB0rVbGAtud&#10;IoBPJsAJKhu2K6D45eCrfxQ8VvBKur+KNGtR4h0HU7eNYYPiDok0cdxC42k4vYo3MM6khRJEMHk1&#10;8Tw2kWj+PvD0/hNTPpWtwzakfMkxeWRiYNcWsy548uSB2XoWUA9xUykmudP3o7ff/kRTb0vFcrdm&#10;vJ/ofdXjXQF+Dnx18U6FM7f2bdawLOW5QeRHI6/Nb3XHBWeGeKRTk8SqM88fdPhiDT/iv4YtrS5k&#10;WDxf4N094UkRsza9pjM7RkHndJasy8YDCKUDogFfmh418b2nxCvbSG+1ITa4PCFik8rTrcNNd2GL&#10;LcrjBO+0Fg2T1aJyAABXvPwV8a6xb2un30Us9nr3ha8FnOQSHlhV/N5PHEi4JbGByME9fmc0pRpY&#10;h14pcj3076/hqfRZclWw31dv34fC+2n9L0PR5kaGRopQA8chDB9qspQ5bHqeg46noM0wlwgdZUdw&#10;gXuFIO3jp1I4A5xiuo8XHTbnV7q/00RW1vfTf2lHbsSpg87Eh4znjOCBjkHGOAOPQ+fOI1TbHGcJ&#10;yyJwyBWIAzgHnp6ccc/LOMXUbjt0Z7dKbhBXWr/PqOlMZk52tu+RhkDzCAo24BzxuHA7D0FVnJEh&#10;yCsQ8x28zIRiDl+c47sSB0AJxgGrRYsUABAzsbBBkBOQCF78BRkds1E6eWzpu+RkwWCkuw/ukE8/&#10;eOM9MnJwMVjBt07N63Za53Ftb/1oVV2yI29nkDIzOMbFhQbGC8ZUEg8ZPZhnpUYGxiD5ZfzDGFI2&#10;iMDacnJ6Lhuv9/oMU4rgszxl3VMpCy43ZJJHoSTnO3k88Dg1C3IjjYFCGKkMpXdweCp5GSvfJ4OC&#10;c1V4r31t/mL4ZWa1/wAxrNtVi2HUkYjJwVZcAg4HT5SfUbiM84qJVUzZEh2tlQXxuXBG4sBxzkkA&#10;4Gcc8Zp2wnCLySGCvtLBDnl+QcAbSeeO/uUxJIiyiRxlFB4YmQMMnevIAO08dM9sihS959BTnGpL&#10;yXnuLgyOAzRlmOUjyARtQKARgYAGDk4+8PSomaKUrgAuHH7pQdxO4bT7AYQ4656ZxmnPJtGSA/Ri&#10;Mg54bA9cEuM9stk5wCIVBjYxwlsKdgSIHjO055B3fxAZ7MM9KcY2Tknt+bIqSdKSha/T12/Qc+za&#10;wLEO24FHb/W7SG5XPQBgMkc7iO5wAiJgruxaU4UlS2xtrYZh/tEfrn6mUQK25VZZDIGHzDsQG9PX&#10;tn8aecttcr95QrIGDLgAA4PVmzg7jjPOc8YF7ys2bU52dlv/AFoIj5kACqAXG4HCsOD8xBOSSVxj&#10;tkk8A1OyoWdizD5yQijc6tuAwMc4OemeQD/dOIIzKuMcNjynkJwZgQwB4OAQWAxxwFyM5zdRY2O5&#10;AyllZDsYybkdDu744U/f4GRkBcDFWb2V+hlGEpXnPf8A4Ycu95VZU8ps7i0jYA4KkNnoo29jz+BJ&#10;0FcOZEYyRu/DOwGI/nI6D0IJ4xjjjkCq0bBW2qpBX5YySNjnYdwyP93Oe2MDrgiELEmwhBkFRKpd&#10;yCSATzycBjnPUnrShGCvFbbX/rzLptwgqcNX2/yL8TqQGY8KRGryAF8ngA4+oz2z64qYByHVo402&#10;oJCXKowWVGIAAPGRwVPfIIHIqNEIjd8jOwEkgkphgxByOucDkdwRyKlQksCwk2IVUNzl+v3weSCW&#10;BGefl6d6m0pS5Z2BtpNde5bR3kw5IUKD5iyJvbJGScdOpPX/AOuXMhGGB2iQ4RlYxxFlweuM9wMD&#10;1HTNV4wYjuyw81CCCoI+bEgXOMgbWXHsRx6yrlyYzsUKrq24FkjIVjgcYJJUAc9SOfWVHmaktjVz&#10;clorrv8AIiYqGQSKQcAmTeY2ODyq46kg5zxwDyDikaNkEiqHQN+8CKNzJ95s9jnjGR03fWpxHGdq&#10;kAsGG0jJjACnP4cj8vamAouDIHDhcySE5ZsqyNz3PXp61pFRcopu0XcxUIqHs5b/APBWn3kcaKpX&#10;dicYCB4vlWRSBgj8c55OPWiR1PlnbtckHO4nfngY75ALH3yKkCsr4dQwDOFJ6sMMF59iQf8A9dRF&#10;i0SIYwoLlsZ3jODwQOADnP4804uCipve/wCBSSje76/oNiZZFCsreUWBcD927dAVOejAc9MZ6YqP&#10;cMFX3OwUo0jDaNxAPAGeDhuOcZHJxzLhowWkQhdpjWSJSq5YYXap44Yrnjjf9TUeEBLKWWQNvVju&#10;CE8YwPzzSUfdb7ke61vp19Rv7ry1LkxODjeWYDggAZ6c5/U1HCzZjH7sk/IOQpyAcgEcngf1pWeN&#10;0dkjQsx8zOMsSoyMHIB42jkduD1pQ25AY9u55ArBVz5mMFue/Kjjtg0Jz5efqJ8tuRPTQaNgwfNb&#10;CZDHbtIG5dwXnoCHI553HvQpIj4y5RvlDN8uMKMkevyg/QdwTTAEWXe65AdvmZuGwOBn1GOvPT3F&#10;PicBtrvu5AMYATJwMYORgfewM49c8EUtZXXXVkc8ITSb2/pEoj3F5DvZSd7DPIIzhT2/vH6ke1Kz&#10;Rs52ElFd8uq7lYDbzzkgHt7E4xjhhPlRvsVlaQ+am2IkngEYyMAqVU8r36802NZQxUosKnKlmDMo&#10;HTjOeM45I5xzzQ4XXtF8N7G8vdTV7vv+gpdAQ21RlWGSoBYLghemT/F19T1FOI4jJVQy5YuGyx5w&#10;MN2wcHjsp6YzQykFFtywLSNGQxZ8YHI6+oHPvwfV2+JpNvG/iQRkjLAsoz1ycAjnvkZ6ZBKUZpcu&#10;/wCv9aGUZKpFvbZL8CQhMLCqFUiXDqV3KARxlgPlzlef5mmuI3SPCyMAcErkMSdwck9cY457fhT/&#10;AC0lc72CSbjgq2JMAnBAPoMYz/Pmo5CQY0YghGKxkqCxbZknsSPkJxyQN2MdahP2qatr2L5k7OSv&#10;qGFVRKVR/MIfaW4yMgkr2wCOccbucVHIFkdTzglo1QHesuQOTyBxxj8emc1NgQkSFTIJnKFUI5yA&#10;qgcc4xu69jgn5RUVwvzGMO+QSM7MxR5BORxyeQQfX1xVO75eXS/9fgS48klCC93syFQzB0UlGUdf&#10;uurfNkKOvv8Ah0p0iqyMY9yoThgF77shsYHQ5PPdc0BFV924OEICRkMApAxwe/Q8DjkU6P5lQjcG&#10;kI3RKBEoTKsSc4GMEnHqD6c6Xkp2+78CoTUL3X9f8DYkwnO4x7s85QEmiqpuivBjDnHLNKEOe/GO&#10;3T8KKycal/8AgPyOaUpOTkou39eRWZ0DTRurxxIDGz7ty9yRuxnIHU4A+YGmSGMs4Csx8vbKz7iy&#10;kMQwZjxyFGMA/ezmmkOX8lWBCsZHjHAI+8AGz3bPpxxnmhGY4WORQJpUhZ1U7jsZAzYGeuCB7YGT&#10;U2h01N5+9o1qRSFlYoN/zEROV5dgACeRjglBntkHpVV5pN7eYreStwTFJG2M/dzhvzA68degqwJH&#10;Kloyowu541wd3y9WByT94A8Dr0qvOc4O3YAG274S7gHIyExxtyMHt16jNSpSV+ZehmuXSGtn/X5k&#10;Mxkw0ZZVLOHdCCVk2lTgkcg/KW5xwCfrXZ5MqzeYjEeW8QbYSrDcobryckfkevNWvMPGVZyrnfs+&#10;aNwVVWbAJ69c8dAapmdpRGsgLLsCjChdwJz0z1HzAn0CnpiqfM7tItw9o1N6LUjbdEoJwxI3Fgir&#10;GWG/Kghs/eA4J5B6jipJHDRbFkDBSxEiZTzBwpwO2cHg4I3euKjlkad3yWUMyrGCu1G3MEZnIIAP&#10;zYyc4GTwRSmUOBuLbShYhE4HJCnPtkcnrsPNJLmkk9yY00k01df5FUExjaGCogDIOHiG4jC89hjO&#10;PpnPWohKu5fKdXMm2NEBGQSQqgZ9sheRk59DhuGQqpZcBSCqgs7NhvQ4yGI5J9ODzUE3AhVgzjcS&#10;5iAkaYMi7RkZJJyflx8pjXA44q0eez8/vJpOCiofZ/H+rj5JpC75dMIqo7EGUrnOcEA9PvY54HFQ&#10;h2KOgw0jp5Y8yMHONrgbsYGNoIxjI3DJyBUkuCCssbblXe7EkFiwOMnOME7vm9jx1FQhiu1yFVDH&#10;gSoAXxvyDnIyfvY6HBwDxxF5w1S/4A3T5Zcyen9Mi3SGbheRKTFHI37obtu444GSFVW9Sn0zAVkk&#10;8pSgcOB5hBKCTOWBOeQSVOc4/Mmpefm2u/meUSuAPMQbC2dueSSBnuMH8IUUIAj+YVWUtxGHkTaG&#10;YNj0GDxkfUdavmUm7K6Ljo+S2rbf/DkEkZG1xgJtyWXMYBwEC8HIHAODjoD1FJK3+qTD4MpZgqN5&#10;jEqgA9OQByMk4JzUzgnJ81pSygq2ApJDDnqcgckdM9arsZPN3MGO2YM42uzzYIb5SDu6qfQg5OeK&#10;h/zt6slzdRy5V7r7+RDIispLFGUKu7LHaSV3bRnqO3HqOCMZYxcmZ/vFiY5D5hDM2CzNnOTxjJ/6&#10;afmuCH2je5RAS7KgGPlfA64+ZQPl/ujjtS7HaJF3uuUBWJCIhnGV3AcfxEjOeoPNP3FJSvuKpCMo&#10;KXVWGuARGiEMiMqAKgUklSMjHODtfkZxtxziq7LsjLiR1CuCMPgvn+JSe3vyOtOI2klUTqyqqkEj&#10;5V2IGwTwepJyc565NRS7drJM4RY/mOw7VwDkLn04OQc9/wALcYKPuOwWgpOMuiAl5ZAZGRASXB6L&#10;nkgdO2Gx07AZqN0keSUt5koMrMELZBOCEJA+hzwOpAA4FSNvaN2O/LOyRrKQjbtxXBJGByvsOPUV&#10;X2+WoVDGEMYj4QpvHBVdvYdCM4xhe/Wk1Faf8MOMmlZrt+On57grLICTtIYAZyAy84OfXHXoajWR&#10;RIIiGIMwbDMMhsFsFsdw2dvTgHHAw/gtuMkbEjcQyfMTlsEMec7WAJHGT0GAadGgLKA8m5ySSZCQ&#10;FZgqkn0BU/MT2NZzevNHbuTLSTSVktdeztcc6yl1DfIi5CDAdIGJxzjGeB3x3qJCsYKICgDt5ibs&#10;gKxJcbenzBiSD6nrk5sDy1iDyMXMi+YoA3OhddwyT3wOVI4wRikCIcYGWMuxSMBzndjnpgKuPy55&#10;wdFJSXLbQUp7Si/P/L79AbbMisjMigBpCzZMw5wMduMZwednHpVS9uPssJunViy/u4oyQxkdhujV&#10;cZPOMntwQeauRpuidhOwJIfyQmUkUlQhPI6Fx0OTjtmqV7cQWKqZF3q7hY4o4g25yAAAM/ePA9AW&#10;574zi1FJMSi5xcp6aX/JHDeIpLi10i9vpJDb395G9taxggGyTYmSOcdGGeoJDjPWvxt+NmoWOreP&#10;9ZOnTlbHSFSCJ5WBaeZFXz246kvvAPfAPHSv2A+I91FpHgfxV4o1F/IbTNEkntI4iqmLKFY0DdBu&#10;d1BIB655wK/DC8E17q17CXEzQKZJnjUvJM2SzMTnkk5OT61+icA0nVxlfEJW5Ekvn/kvzPjeOa8a&#10;eUUqV9Kj+9K1/vdl6I42WJnme4mZ1heURIgzvn5/pn9alms0bUHcbCkKqsWOAxCZJ5+tGoLJcX9v&#10;bW4KxwZZ8jOORk+gPBo1e5dJXcko7xqisE2gYUAAD3x1r9li+Xkt5/5H41OMZc1N76FfUbxSsVtA&#10;5KgFWAJ5yeQfxP60+W5GlaXJEpAub8ZkORuVB0GR68flWdp8X2m4V5h8oPmElQDhcZqvcO+o3srB&#10;f3CcRjIKqBkAZIq1F6U/mzm5/eUu2i8tCjbxSSFQmHnlIRFUE4/ya9K0i3j0CyOoOomlQBURkLGe&#10;U8qpAP3U5Y+pAqroejpbqLyf7zt5cA4VnIA5Geg6jPtVfWL9ry6XT9P3/Z4D5UKrkNOxwWc455Oa&#10;qrV5n7Gmumv+RrSoxhTVes7W2Xcnggu72ViPMa6u5PLSIMZXAJAzj19STmvR7G3s9M0XUbN5Y1s4&#10;ES4upDhpdWvInPKdikQYAE5BI3c1m6VpR8Paaby4aOTWtSXybWJdspsIirrLKSTgPyEXrg7jkFRl&#10;umRR6lqItbiULFPaSwQxgK5kfYxCj2JGN3YE9eM8lSUpXp0tFbX1XY7KPM2sRK7b1Sa7/wBfcYv2&#10;y4viZZnNnZgZC4YiZ8fex/ERkHI4ya2NFkJeU2aEQxLg3E4H2iZgSdqtztzxwOuBnmsWTzNSujBE&#10;TBbo+HPRI1BHQdt2B09q6cziwskigj2IhJtgRsJOOZXPfGDj045rNciilbfRI2pqXNab6av12Qtz&#10;PeNdQafbPIl7cyq0kysd1oDlmJb+8MZz1GOmemxdX9rcodPeGSHT7J1WS7spFVpCpKsNmNrO7YOQ&#10;Rzn1rm/Mm0W0N3cMpvdSJMasd04DY+Zj/CWPbrjnPNNso2unE1zI0Wk2Mg+03PCPeTSZEcEfI+8c&#10;gkdAGPJwDFOKTcX8K1fqaU5yk+ZPS2i8v+Df7j1PQrPRHayea71lyUZ7Gyg06NzaKuTvlYSgsxPy&#10;gBcfMTnChG9NvNTt72ay8L2NgJ762t4xrE0QRFt5DxHBsUDG3J3nIDPIxJOcjkfCNvHpOi6r42nl&#10;X+0bYf2NodmufMd5o3XhMEggMuCR8in5exXV0+zv7DS30W3jik8S6uxu7+8icGOyikJDBXIx5nzi&#10;Pd7yEZUGuOt71TleqWvzey+S1fyO+hGNOHtYaO1r36Lrb1Vl8zsbjWItL06GOyEc8scluHmR1Ear&#10;HIBaW8C42rECWkZgP4SSckLV7w/p9xZ6Dq2pfboo7jXdOWf7fcIIsWiTKtze4OTh3by0CnLkDlgm&#10;2uMh0m3urooEH9j2hM99qA+VfJh2maQZ4BIRUVeoBx1WoNS1O78VR6jaacJY2aO2Sa1aUvFFCkir&#10;aWUa4/gGOjEAhmPC7q5koSfJT1nLr2Wh34eThPnnpTj+fQ98+Dfhey1u4vPEU9rImjxwXSeGzKoS&#10;4fyVEk9yeo3SYWNDzzPnI2iup1Tx9LqV1rvhiwjgWTSYTFeawturz32oygl4lI42W+93OzAZkQE8&#10;cJ4k8RxeBfDng74e+HDpsviXU9MtH1F/ndtIS5cNHGQOEYrlhuO4jYODuB8a1W+h8P2tnZ2pSa/u&#10;7afUNRYq0Xk3N4XdnOTmQqmQpbhmbkAZFeZi5qdVveK91Lu+vyueth3Uhh4uVuebT/wrdEd1rU9j&#10;YXHgvRHJBYDVLi1J8/UJGxIIFk/iC8F2BwX4OdoWuq0SHSvDOi3E97cxrZ2oYXkcWJJtVuWBRLK3&#10;OOMqCrSrkKkbEda888Og6dPbTIiQ30ryWkEd8vlQWKRI7S3Dg9oVBdt3BIAOeQbup6g2s6ha2uVg&#10;s7bcsCyKDJZQ5HnXLqAu6WQ/NtyMZRcjBY4zhzwuvie/9eR6WHUZO837sfxb/Vl/U/EVxqEk2pai&#10;gkvb9lWy06BPs8QCjZFAEJ+WCJQgVBySOvU1XktPKsFiuistzOTcX08y7A5AOIlb0Q4BwOCCABxW&#10;Umsxkzawts0MVov2PSraWNZZS/ygGZyBkplWIAxuY8cnM8UFxawWk2tbhkPIlqAElk35ZDKSCduB&#10;n6EHNcFeMoU5RitVa9+3b/P5HvYWq3KPtLXu7W/r5Fm0eHy4SqLLvZVz0iiT5jsB687gTgDlR71H&#10;O9x58Md2ioUB8uFR5UpycbScEDkgZPPXGaz47wWsZnjlKSxRFxIo24bKjK+hIOR74pi3WdkYZHEp&#10;DyTMd1w5R48EnryDjPXjHpXI1GNpNaf8MexSj+9tLRfrbc1ZLp45rdhDGrQExnK4VMkjJGevU5JJ&#10;5P1O3dPaKtvLdBngtoz5NoBtKAhiUbjqW2554HbPTNtolM8SlhMNpdlVDLISx+VDH1b+ufzsoLRV&#10;E90t5fskwBtFufsbAKfnVpSsgQcnorn2rGfvQjFPQ6YK9ZeXb9fmb+jG5upXaK5hgNwxKyD93awq&#10;AWfr2Ge3XoM5GZo0W5upYZLud/srGOSdIxtw2QT19OnPP4UseppHBHDY2FtbIWZLS1ht2aEFSfmZ&#10;nZmdhuxlyec9BgVWt76JLiVVQvKCJ5WyApAHIyOcZz/31XC4OdZpL7z1qMqz1e71SWydyeOzCC4e&#10;adQiMVEbudz8NtIAB67QMdOvan2cZlWSFGfLOD5rEOc7ju54wCOOf7x5ORgeWGbUbkQKzRYjdRGx&#10;ALFBuJPcAkj/AIDwe9aNxbTxPYTY8qTzFkl8pisBVWyMD6Dqec5/DCXJaz8kdlNTe6s919ysbcFl&#10;5z4jl23EkXlFXDCMcAfNjJ6gA8Hjt2plzpn2CchpYGVgYWWEkIxwWIzxjGM88fzqRNWNpJI6pHE6&#10;xYOYtrhjkHI47dQR39qjs7n+1obpLmMiQyqlvLvQRbePMZ+rD2xjHzA9a55czTb6/h/SPQoRcLTe&#10;2mhraefs975ZWSMAF58LhEIOD8v4HP8ALrWhPNB5kyLNJM67H3btisemAoGOp6HPJrNeCfzE+fzD&#10;NKyu5jEhI+YjdyCexIz2OKjujIjQkRpFCWDM5wWwF6quCeeQcdfpXm1KcNWne3/Aue5SqKdRPm8l&#10;5HV2yRG1dzfsSoDRWsKYZCpHJkLYAO3jgkZIAAwTwWvahOtyj2srhpE8n5x8+G2bScc9d3fp2q7b&#10;XN2s13CI5JnWcJFshIXY+WzkjAPIyvQ44PBq5Hoai+a4mCrFkJJliYwQNgKgnpxn3OazoRi5XbtG&#10;1/8AgnS8QqEOXVz2+TODt/Dus3MAuGX7Nbo5WN9pkeXL8gLnkglSeR09zXrOh+FopbFtrozOhDXD&#10;4GxsDcp745wfcHqKL660ueKyh029lkuvPlEkH2cIkaDZ5YWbcWfBGCpAAAGGYkhem0WL91DE0u4y&#10;DY8ZAaGLJOSW49s8ZFbyxEYR5KSt2ffoYNTm4qtutbLa2hnW2nLbmK1RhG0RLM8aljIQM5QD72Mk&#10;Y5OTxWTrK3F6VP2hxHFJy6xhZrgKTjapztyNuecjPfmuu1aK9sp0ZCqxiY+QyKshTaQQdm75eqj0&#10;Oc5O2ufs5w0V6bhBNPApnjVn3EEDIP1BBzn3zzXJ7Rta6S7npxpxco3d0naxe06+j82NAjxtGipc&#10;iUDYV2ocg46jp153HI6GvSNBu2EU7QXcka3UTwRFH8gqRgduQBgY4JzjivLtJS5vLSe8kl2l4QIE&#10;8sky/MF29M/KCDluwYdcA9LpVpqN1JiO8ijF0vkeXtMjxjgA7QuAFA5IIYlgfU1z4hSgnKLvfuev&#10;g3TjaLloetQalFObtpHhwVXA4AlZSGyWGchSP4s5CjPeus8M61P4deMxgXEsitsDOWFvHvBV85+U&#10;naMZOcZwPXybQbSeMTWs7LOs+5pl+9FksVXCk5HDYwe7DHpXoaz2scVyt6sov542kErr5jsT3Y85&#10;GcnPsOmTnz62G5Ie+9d7r06feezRrR5uWK0f/APX5vEb6lpJV5pQXtPIvJwhIuDy4ZgMhjkhctyd&#10;qcZJNQafqUeLyCOGW4ZMRrEu1gVUMxMhUBRgocjB5HOe/mOkatNGJSjO6NMDHaRzkRzgnHKdOg5G&#10;OoHtXoGjRi4kdpLoaYWdWmtyGUPwGzgDJXoenO88E5NcygpPmWt9/I9FVKcZezlte6/A9J0Sxv0h&#10;0u4e9jt7Yh5IbJbJWW1zNMskjysdoB3K3llCW8xcnPy19KeEtT0WPQ5tPnn+1gr5MsjRiYlVQHnn&#10;nkPx/udcnHzHay2l60cjeclsjrCwa6+0JKAqgMqgLln5fbg7RkAnaWbsLW2S1nU2l5eTWgXzbZWU&#10;IX5DHcB3OWY9OR0HNcOITptxp2WmvmtLmlSUMSowryflZdu59btdaLpF1ZDTrm/uIpbZJIre4lEw&#10;V5AVdVVEQFRlGDMDncMljurL1fUAdZtY4EVbmdTqBtlkKr5e0OC2R8uNy5ycg9cEYrzjS/ECNaWQ&#10;u9RjmvUXy7UbvJmtkQZRCckfKBkdAB174s6lrkoafVZzb7VjW2hlkmSLcq4JUDlmB5O1cDIGelZS&#10;qS9lyt6b2XbQ5sPTqRrKD3s9X11sei2cF75lnqjubY/bA0AEwkjjMZ3CUNjqroCNhPIGCMZPtOge&#10;MfKuL37Tcy4WRF8sALa3DIrgSSMSAWXc2w4JIdiW5+b5Fh1nxdfSBNP065eIRpGk8wW1s9jFVDKS&#10;SAF3KR3IHTGa9x0bwsk8tnFrmqXsUwhSbytKjiuZrjzFVkjwysMMG5wN3ptPNcVSFaLXsVy66X66&#10;ansypwqUl9ZkpO20d15Hst3fpcWcD/ZLaZL2WVNv2uSNombDGRo1YA8OWGQVJ/GurGpf2SkcbsYY&#10;JbbaFdREy7gAhMgZlAOf9XjPBB7ivN5vC/iTw9BqJsrC/wBQtLSCI3D3lsYpLBJJVMYZ3UKrM3G5&#10;D0wucZJtx+C9V8T/AGVLzWY9PhklP2hdPgM0kcasrBRnAVmZWBYk4yGwa0WHxbq8rhZ2Wrenb5q5&#10;531jDci56n7tN+b6dO9jpZPFWn3EBsJ3Eh8iUh/NaZ1wikMdqhcDaMrgk7hweTXPxfEw24OnWNxN&#10;PZ+ZiUMmJpGCk/dBOFUg45+8D+PeaZ8M/C9paX9zd313Nq1mDJYz3CJi5MceFj54QEAbSvcADJOV&#10;5qx/sfVLyK18yztdJt4jB5VvboTcEuzyBpFG4ncTgknBXp1pVcFy2oyqWb6L5bv+tz0sLmWGqqUq&#10;VKUoRte/o9j0L4eSa14vZrOPV9N0v7QFtra91i+eLTLcOGZjczHlUBWQ7tucN0JGD6D4P8NX2r2N&#10;vdarrWnRzyqJreOzgNqWbcsIjkJYg5UZByu7O7AyBXkul+C4XM9tZ6tNqOHa5t2t5THDMqMMsUK/&#10;McDaMgEZHTkV7Z4cN5a20mkWtpYus67kivdxRfMJKxwllb5ugzleoJY5OXSwl4e/FN273vsZVsbz&#10;qUsNLlTadrJW+e+t/wAD1Y+APDKwW0epzX4ivbkRRTSX5V4ljbDcxt/EflDLkAJkHvXqWheFPB84&#10;s4JWNtqGj3cs51NLuSKW4jMaxRKTnIgYvuHA3BjkHIFeL+F9b1HxUNHtNQaztLXTyLeG/EYCwySy&#10;r5bXEvV0VkDHjCBm6budycalp/iPUdbs9SmuND1C5itLeayt2s13u0i+QqMTtC5KrluVQ4IzXZWt&#10;QpxxVGnGzaTVldLTX7zzKmHqVH7CtWakk2rPS7drfNH1rpUFjp2kXGj2VvprjVE+0P5k5aUR/u/M&#10;URrnl/MXkg9SeMYrvvDcVraJZ2JsbO5022Mhc+acSSs22FVQDCgNgrjk7V65OPmg67ZanMl3omp3&#10;00Hk+XLZLJA62x+SFNsyKG42rkAgkkdSQV9NtNRtdP0nSIrwXdveSxTXaPKGLp5MpSLauBlgElOB&#10;yA3XrXp4fGySdTl0ilZrtdWWx83mGVVJ0vZSbUpt3Wt78r13T0S0t5Pc95v9PS2tbCZRLbwajO8l&#10;l9luRNIyIskbI4OCGLBAuQeHDcYFSnwWLO2t9T1O/mZZZYryG1bUFmvrkyLGI2IxuVcSKck5IBzk&#10;gk8tpPia18T6do9gI5lMEk11FGx4T9yEl3uxB3O0IAAJwcYA3E10d14lsZtIvNWvtOup7zQbW30/&#10;VbeOUWl4ftBt47UyB1IWKPyiNqKv3zzgceoqmX1ozrQjurxevRe9p5bpdvuPhK1HOMNOOGV1Lmal&#10;a17OfLBJt6c2kW/5mrb3XZ6d8N9I3SaqlrJJbraG/vLa0tmWNvL3Axwl8JI8mANqq4JOdxByyeF/&#10;A+m6hqc91dQzaY+maL5aWYge8uon+0qkKmMlTuwCirwFVweMZqbwn4kkefw/LrUr3Ol6tFdSWMbI&#10;GbTmtdgwqs4IVd9uwUYBOOOK9ak0cRahqPiWz1HVLc2V+ZrvWL5ork3cOnxhJIwNhQ/OojD/ACgF&#10;26ldte9l9LBYynTr0qa9x+9F2XRPm+5q2q69T4TNc4znAVKuDxVd8042hPVr3Z8rhtq9JJ+62rKy&#10;krs+N/jUbm21HRL+fR7geHrq1h02x1K4jAstXu7VpTPMjAkgMsyEjaF/dNtztYDgdS8VW+qC+ttM&#10;tkvvDumyrb2QskAF9IMgFUZdxGVU4K5wwHBzj6N8d+HNL8a/CiGDUb9kv/C1lq+vaXNbXaRWsM0d&#10;sj29qwdgB50swQc5yGXuRXwfoeqwWun6dZCS38ySaVluHeQXtmzqGeIN93bIMA55/wBG6jv8hnft&#10;MFmKrwmvYVoqS78yUbxfS15H6rwhUoZjlToyg/bYaUoPe3K5S5Za7txjrta7srWPQ9MtbzUJL/TZ&#10;gl9d6xeRS2UkKeTcQKjbRBuHykhWXI3YLJkdcHttA8S2M9nqnh68t54NGu7iP7Wij/S5HtH3yKMH&#10;LbC8hChsAsATzmvF/GCCytfCV/bJNM2oNOkF1byM1syRSxTFguOHXzQD0yXX60aP4jGh3w23EixX&#10;Vm939h1W1bNw8W3bIEGS65yAVHDDkLjI89Y2rRxKjO6jHR9dJJO3nv8AifWTwNLHYZzWt9UtmpQe&#10;6ff3VbTRp99PaZ9LsNYe2j2wxWPh68mk0BfIW3upoLl1eeW56/M/kxkhmJG1ucdfUrXSLJ4JfESa&#10;VDqFzFYz3bzxNJHGrQWj+VNNHGv3t0jIu7JcqBkbq8t03WtOntY5bkbG1yze3tfJxCLORvl8x87m&#10;whbkAHrjIzmvRNClutP0RLrT7iOZi0qXMEiiPz1j86OeOSYHLRtGyYQgcyuQele/gKtLnlNK91dv&#10;quidn5Wt5Hymd068aMYQbjaXKr6J813L3o2teSbb2vd+njuj6BcaPpmuax5mq3Gl2dsizXUCBbyw&#10;uGTEUgXIMkYd4wzL0VmBZGcVteEPOubiO8uootTuzbM0phnUXLshO5kZuN27JIkwDnkrkMPR/DqQ&#10;waxdpew6vZ6RJrf2W8kSBJ9J0PdAkYtrqx24C+a8eZFwFVJMgk7l4TXNN8T6T4vvYdR04xfZtfQT&#10;XttYSR2kFsUSC0nj8vKssgcvI24gvk5wVUVPCxpUKOLoxbSdmvnv6dvmdSzSWNxNfA1mlKUFKLb1&#10;tZK3m03rZp6x01TfQ+KfCs0/gPxjdWeqpaJo6N4qijSdGktbizkDeQ8b4eNnW7wkkT87yoQgjb8v&#10;6Br5i1yGfVZmuYFRZ7eZgIfJk3osrElSGJAePBwCdrHuD9xaXbaXeW3i62Bs7r+2tGn0vWfCPiK2&#10;/ssNLNFvt7q2u5flDJ+8VTGwyxGMFSK/NrTrw6bqs8Ksl1Gk09lIt1KD5c8W5fm3cHcwYFW9cAAg&#10;CvI4kw9OMsHWoWu07pO+sXp5bPyaNuDsTVxv17CV9ouLTas/egk133jpLVSVrPe32Zrkuq+INS0G&#10;YanpVzZW+iTCB9F08aJrNtHLJhYbqdflmYpGWjIZjiZwQjMcbGna1qupeH5tE1eCGKfRrWW00y7t&#10;JgbyG6twkjRSMM7VeITiJSpQhkO5cnPivhXUJtT0+CR5pDPa20oeUE2hkI3MwYFmDriUKrYByccn&#10;k/QNva6FfWHiTVbFZxZ3lrZak0UdkEmurkC0t7uIoCSDuS42kEgqxwPmruwUYVHOpB7q7Te65dXr&#10;rpZfNqxxZjh6WX0qeFlC8Yy91qNuWTn0tb4ud6dUnfqyXUdXeEXZ1T7fZ395cveJrU5P2aK0kG6G&#10;C4ZS20xmNHyWKkSjkkVu+HbhfEGhAav4huoLZZk0TWNT+wQXRS5JlW0b94pIt5Q8ReWMDhdp+6wE&#10;UyeHotR0m+8O+IdYMslpFY67pP2FpY7lYMI7xzSMiEuFjBUgknBZgQc9LqFvotjbrrVpoDahb6jr&#10;MtldG8to0sr+J2kERKFtySgmKNvLyPmzkg4Hr048taVRVFJQW13Zr1WrtfW9uvWx8pi8RRnh6eHh&#10;TlGcmuV8qTUldOKVRWV7XhaUo3UXblTOL1DQ7K206/a60q+j1ez8Qhp3tY7Kfw7LaT4dXYRsdh++&#10;AYjsAGOetdR4Z1v+wtNm0W0vbqztJ9P8pbe3to5bWfzkKhSrMNu9i+18scYOCa4KK4uYLy10HUbi&#10;Pw/aGVtMkvriyeCOxj8yUmaaMRgyJuBG4noThgF21p+HrPT9FujZTavbeJIo7aP7LcWKlbS9idI5&#10;bORXHzlg80eFLZ3JtYdjjTrw+tKrFKCXut3s07dt3621sdmLwyrYOWHxsnUf8SKUW00rK6bTimmt&#10;I82nN21ehpL3uoaNKbCOyudY0OENc6fMIoLq/Ee4gKkjASbGQ4TjBkGcg4q1oniTVzBvsPDui6dY&#10;alKDqGl6bbJp8BliLOlwSzFklUSEgoVyOMHpXml7fWWoane3RsdP80srQzyQulx5kYdRIgDhFBRR&#10;u4LZIIJwa14Y76GK2u/Ot3EzSbkicGe1dChLbTyA3OT0yePUcCxri06bdlu099bdVppo7aM7MRlN&#10;OUZrERj7zTSkno2uZq6kk7SV4tpOLVlrY6fVNV1MWV34Yl1O0X7fNFcf6TdqlkZRIp3yTDIQAnLs&#10;DgBScHAFeNWvinSLXV1MFtpJ1BIJLHUb3SZ3vINVljnkjEjs4+YmJl2yRDCpCuMn7vV+K/EGlIln&#10;9q8I2WofbbKSA3V/ayarZzyxyIS7xzs8ZYAOrIF2hZXyOePHreWxsYZ7OxtNOt/LgkjtXW3WNYFL&#10;NJ5YYgNgNzycnaMnivIzTFThVh9Xld99X2aWvz2PfyDKqcsPJ1qXKpO7V0uZ6xk3yt6aLR66dLI9&#10;h124kmsI5Z7qS4ScxCJPtZRmHmCXymP9wKrEn/aAzkitjwj4sTTFhMVlHd31kGmKyo08cuTtXcM4&#10;bABXggDOc54Pjr3MGo6XZ291dz+b5UtwqRTJHGoRVbBGws6g4/iXG7IB6HK0TWreL7QsMonUIsLe&#10;W4MZChAFzyHUrtGAMYA5Irnp5xWp4qOKpaXX6Xtr1PRlkFHF4Cpg6qvZvTZNPTutLXvtr3PqhJLW&#10;YTyWlhZ6Zb6tKt/c2OnQRQvAXmL7vNK5EjAktJnGACSQcDA1rVFgF9bW+gvbpGTLfak0k8l2VLKw&#10;wrZRfvBVkAGS/fPPDWni+aONriW4KAbIGyu94wVKKQM4I7degH1q5e6xcTWBP22aWKRGBhCs6pHh&#10;uxO3+6Q3+178etLHxxENH+X9etj5ulkVfC4iPto3jdW1lurbtfFZJW5r9G7s6zR9V07V9JZpdZns&#10;r17lLSwshpz6lerCuWAeUskaB8ovy7m+U4UDFZ3/AAn3iu2WS1Oo3c9g9zHIWnup3iaJEkVVVVZQ&#10;VwykqML04IGK5V76S0hNza2jW1k8+LS4DxqyyRgkBQDuJ+VzkArxzjjNG51e33W1jdahY207Fntb&#10;FJIopZGkO9mKKcsTsJyRwF4AFcdOvWUo0aN/aJbxvaXr077I7I5RhHUnOtTUqcndKXK+R6Xs1G90&#10;0r3bs7u/R+vxalrpsbbU9UtrFbe4gjm00Xc1ssiQkFY5Psaus6n72HdN6jOCOMc1418UatfW0OlX&#10;N/d2+nb0v7LSdFvUilhiM0gxDH5m4FmxhJG+5yQc5rI0/wALeNvEZWLTvDOpWqgeXLqGoGHw/FeI&#10;3KENcyozgZIBRGzxzjGPTZ/hP4zh0K7s/EWp+E/DFlLLHP5FvJcazrICnapkljt1U4MS4hDMB94k&#10;BSr/AFGCyrMsfhqjdOSpNdXZNtddtH2/M+eq4vh3KcfRlia1KVXn0hFXcVdWainN8yT3sr/3b2OE&#10;8P8Aiez0q6u7jVb7WdQs9UtYbGbS1MKhjCE8mKQs5PlbwFIVs/LjcRuB91sPiTd6La6ZYrocdhp6&#10;zpPBb29l9ktYIzCBH8yFwCkjhtm0BSmCQflHmWsfAyyi01Zj411xoo7YSzajaX+lPYpGvlqiO8tv&#10;GVMfnbtoOQnO4k7Rr2Hwd0+yjSdPiV4muJLjRGvNNgn1Gy0ywvklEpgjFy9tKIyCzM5Ckhs7cZFd&#10;mEyrPcDJ4ejKKVtGpdG+t7t69EeTnOI4LzemsTVqOV21y8krNxikn7tlFpWV5K9krtJHo6S2Md7c&#10;6vaXmhkRLGlpINKC6jBJOvlPE1zJG/yMSe4Db1wQSBWtb+IdYb7PPFa6De/YrVIpIJ7hry4u7dX3&#10;7PMiWTFwWG5UYhY8dCTXnVtZeLrLS9ShtNBsoLu1slVtVm8aR61HqUbI0kkpmSNGbzAjEReUWPJy&#10;oXaUCeONDDWc2gateabeRRXkyaH5GqJZPKx2tFFbDdGp8sjJjyEPLE9PdpVcTQhaVOVutk7Xfr00&#10;PlqmWYTEJqVWnJqyjzThzOKS25JWvZ33vd9Hv6tPrNvdAx2uqW8dgkMF3bWVpZDVo7QIXVoizlfL&#10;zgxkTKDh/upkipY59Ku9Ys5tNm1KO4nhhtpbyG0ykoi3Bg00ihVZQMYjAIQDBUsDXkeneMWFxCYb&#10;a5u4Una5uLbW8NfFSDtMw+SQDES/u267wQuDXYp4uMK3lhBpWltcxTrJazWmqIhmhmRMwxbsuwVm&#10;bKruYMdg24FY0szoVJ8jlpfs999O3U8/E5BisK3TpQd2n9qCVnZe9dJy15W79273OmMeo2KNMqxS&#10;y2M5MU9wxWcR3BZy4UHaTu3BgoLb5AeCDmo8DMt7pJ+zXVjeW0d9osCKZLcs8CEtggMBFudxlRt3&#10;AEjHOLrviE6NoizwzLNeLdRzx2unWRuL13f/AFTNHJ+7yMbSShOAoUM3WjbazKE022uIrq2+z2st&#10;s9ne3X2TUEEibWXHlxshLTN8gJZRuwVyGpV8TQhX9nO7dk+/xaW+78kRQy/GSo/WlFatpdHeNpXS&#10;fns1bSctU9XzVtqQ0m4tUuUnurM23kJGZcNeYLCRcZLlQVGSv9/G4Gr75kVZo5Z5rmePzN6oqM5R&#10;ogCnQIoC454GPxrUtdKkNzod3LbZlt9Zk0620+W1WWS4AimeQlQSQFZI9zMCcDGRtqjo8txeSXkE&#10;MbyQafDJcyPJGvmKjygJzgcsAuQeAc9ASa8mnBKtGlN6bpdbWTPoZ16MuavSS5opczvo7ykkvvSv&#10;bdu26Vq0bS3H2O1kWFy1sYLIPNFEZlRhIAC5CIQScMWXOMd8Vzl7NDa3d5IftLLO4gE32ctFGGBZ&#10;Q6fMAwIUZJIOGOO1dNqtnMltb27oix2XmuhaILcTRXeJMs38QXaMf3QxxnNYNwyRM9lI2/yka2ZQ&#10;4aSGOJgqGMjgJuIAIPQnoOuGMoPl036N+lmreTv9x24GcJPnjqne6Xbmvf5qzta13u9LcRNKbq5I&#10;uGZLxFNynABXc8hbAzyC25iOOW6DOT1U1yBZySRRW0dtOoIMsSu0XzeUoUM21RliN2OME7gBXP6l&#10;pqwrZXVvNmVItn2mRCGljJjYl8ZyCdpyoyAcY9Xaa015pl3agM5CtA2zI2rtEzsF6HhEb2B9TXy0&#10;XOnNwlG71t5n09aFKvRp1oP3ItJrsr6/knqeb69Ck1/c6ddnTZLCSLKRDSbWe9vGkEkWUujGXQnI&#10;/ekkKithT0Pyl498GXmuaVqE2ganYy3unPJK2kw3yRa1YRqy+SyQStvuC2xCCivzJ0JyK+yNYtp8&#10;iIWjOCjW8gjgM0+wbnIZR8wChH+pk4BJr4q+KdpPb6nNDb6be2ljIgS41G6WW5eeUqwUhtqqMhSy&#10;oMYwSc1eHrSjG1WN+nW/9I769GNSgpwaTstra9PvZ8DeI2sBqF94Z8aW76JZ/aXitGkt47m1iZjH&#10;HI/2ZlUJtDDdA52EKSu3lT8X/FvwtqPw2ujpttEltrXhiFNX0a5tFKReI4omBkAQuSCyTeU8fVAy&#10;kqcbz+metaVf+I/DcfhaYaV4pZr6SG08KajoLweILoqC3maVqu0GUMyeWbPzCQ2SoGRn4S1yz0Lx&#10;bF4r+Fvjy51C31OOKW48F6vqtu8HiTw7OpA+ytHkGdc7wu3D5JV8kkj6rCShUpRU/h7vv2fkfH42&#10;E6NVyj8Sd2vK61Xnue6fD74gzxjwbqGjNdvpGi/EhJNEt5bkGTTN++7t7RkBH/LO91G2dZPldbpS&#10;O9fptZ3kPizwlYh9It9Oh0Pw2jaLaQRmCZ7UyXFqPuoMqtv5CLzgrCmSS1fhr4v07xR8KLvWklN1&#10;cW2sXVrc6haCEWEN1f6YdTt71bZAxCSjZFJtJO3cmAVXc36l/ATxjLd/DbRvEs+qNeWn2W98K+JL&#10;/eJH0y5jEE1sMfwxy295I2zcf+Pfpk5rvoyqUsWot6SX5O36nz2PhCvg5VYLVS39en4H5Bf8FQfg&#10;b4euY/hh8ZtE1JrTUbPXZvhx4q09LArJoWoQQLc2d8duA0V9bg8KVG+zcbQTz8F2Fl4g8NfFL4U/&#10;tC+C75rXUbzUNM8O/E+4s7sQnw/4p0WaNbLUE6fu7uKG2ZvukzadIdpEmW/pG8WeAr/4z/A/4kfD&#10;q/sdGurLx38RLX4X6TqF7pxXUNN17WdKu/E3hzUluNwLta6nollAISu3y7iQFgFCn+f34b+ALv4h&#10;+AfG1/DdWNja+J/hgfFfi21v5YreTw5rGi6rZ6ZcOqyMHFxa3EljO+0qTC1y2dqyEfVUk4VIzk9Z&#10;x1T/AA/r1Ph1NwhUpp605XVtfVO/Tf70fsP8VtC8DfFf9k3xdDYRaFpfjH4JamfiH4G0HR7q21HU&#10;dS8I+Ntej03V/DUuyOMA+H/FKwXCxxhlsdL1sCMuJEab8cfHnwag+JPwP1vxjo+rC2vNI+Icng7x&#10;H4LuSJZbCeO0ju9P1ONgAVikWS6hKYYpJGwDYZQfr/8AZ1+IviHQ9P8Ahr468b+CPBHiLwX8MPHa&#10;eF/i6mvalBL4qvLQ6c/hzxbbWFpIjeYiaXfwauJQN6XGnRNE6uGB7v8AZI+Fdrqf7XfxV+DXiS1s&#10;te8MeDNYuLnX9Svr/wDshdYl8Na/KLCa4lbEYGqva6fBHwHkGu4XGFJ9Cu415U+a3Nt/k/k9Dz6d&#10;KOGqVZ0m+SV5W81a6Xrv6s/nP8a/C/xd8KviDq+g6tq9hod/4B8T22mah4lcyjT9I1IwRTTQIu0S&#10;zNC3n2riNDukt3UfwGvd9L+Kejy679v8JWs+k+G7W3juLTU3tUi1C91SCQO2pXqjgG5kxCYwWWCF&#10;kXJCSO/GftGQ6x4h8VeM9U8SXMl74pg8Q30HiYF1SK4ZbiXZLEIyNu0bdvHpkYbFebfBfWL93vLa&#10;AabPqHh+RfEFla38H2i31FoWHmxOuOUeP5iCP4G7mvPrQjUhzyVmr6I7sNNwXs5S5m0mr6LZN/M+&#10;uvEvxHSy1PRhot4kb2mtLrGjXXlj7Jo/9o2ou4rQyN1j80XVu6NuTBUgYOB4/wDFfRNK0HxjoXjr&#10;wzmLwv4ouo9UksUiDQeHrmfMeo2anG0LhixGDhJhkkjjlfiZpU00cnjLw3pklh4Y1K9VdU8O+a8s&#10;XhHVEBla0UklzbSKzvbluAh2AsAK6jRNQ1rxD4B1TTLmWO50qSa08TWkYQGKxuYhJDP5WScHyrh9&#10;zgAkDnp83HLmpO8Xo/yvoaqEJv2trST29bX/AK9Ct4xh03w34z0rWNGnD2sc1pZt5XyRXtqllBbz&#10;OvQjz0WV8tzuLDocV6P8MPG6aP42j0u4dA+s2uxmmuFFuuSREH5BG4uWGONshGTjcfA52k1LQNW0&#10;77O32qygSSW7Kgy2cEVxFIqg9fmO0ZPQN6cV59c6hc2fiOy1pribzrQRRuQxaVhGAEDDPVFGAD0x&#10;jiuTF4dYylNN+9Jfij0sJUhhZqcG+VP8GfsNJqki3UMQysTReUh8zBRgWI+bPQhlGeMHtzUpCJu+&#10;QpGgyqZUoF4249j1xgnB6+vBfDzxJa+NNHs9UGTM8CPKXPnGWQAsCATzj5uhJ5HI7+hwxBnVNpje&#10;SRkOM7uQXCZ7YAwBgZ2ivz2tBwm1LdfhbQ+ofuyTit1p69CNhuChXbdjb5bqUYsBkjJ56Ej/AIEc&#10;HoKrSSMoXKKHwQrbCmwfNg/kB7ZJxU6BtyKoJ/eeXhGCYA3KcAehBIHqB61E0aqr8DaWHmNgbQTh&#10;kzzzgH6Drx2UUo+7Jat7ihUlOTmtHt/mRMMszEhiwDKsrbtp/gJxjGfmz7AeuKosGVXUAKXZUALA&#10;udxOMe2W/A47CrsiyEYxtUZGxhgqBn5iAD17jnpjJxmoGZlWWQYd9pG0jCOSufmIHGdynA7E9MYK&#10;dWMk1H5rzv8A5XLxMbLm+z5en+aISm4tIqJuIQudo/d48wcEDJ43jGSACTjJBDSpfeEASUHaGR8y&#10;q2eMD73Xg8ZBPbnEvmCNvLZiqh/3sOQWB+bKnJ7N0HcKfXiHDGOPLAsQQecptIDAEnsHbd1HXPUm&#10;h3tGKs7tIiPIpRsrJPUYMBhGWOVzj5vkJAbkY7jJ684zg9aiV1CZ3QvtlLpuUSiQgHLMOhyQBg8n&#10;acjG3Nn903miZUAZssArLtDB8r8oAwCEAK4IyODg4rgqgzEN7SSAOoXIQOXJY5PYE5weQoOARVws&#10;ou3TbzMrPn5egpij2hsyskQ3p+9Ek7ABQquxyd33tx468etNdYt4Kb9kcn7sBhE0mdxHy8gMACec&#10;9e+CKmdi8amOJ5EEygMAGyN65U++AxOfQjuKaIzhnjZ2lBQIyjeQVdcsR1z8q5J7D3JqbR0lJG65&#10;VaXVjpUCPsi+dt7YycAfMQOPvfNgEH6dakVyqhScvLIQm3l+QDwQeSWLc+mPWoo2C5eRid0hVNse&#10;0EDaGIOO5Kk85OW9M1IiBQ65cRlNpbaWV84ByueVAZvlJBxn5hkmiLnGV09brUmcpyleH9dieFGZ&#10;pJY/3kqx7UV5gA2cqeeAB19xuGScZq4G2fu2xIHXzIw0ijHcA9x36n+tVVAIRyJ8AImFQgEYwcnj&#10;GGKcnjaV5AHMoh2sF3nLfvS0Y8lS+zBxznPK8g9c8cVUeVL95uyOStaMorV/qXogsJbNwof7gZ1L&#10;CQ85wCMYOc4JDfLnPYWVLYDKFmYlmCb8eYwUjC45AyCM4wPxFVg7GUENIqRhi4Vc7iVKKuMZ+UlG&#10;zxnHXmrKsWjmjRQEAbawYtLuKseF2/Tjnp07Uk7NM1UacuaG7X3dL3/AsFLeQysWz5YEeGAizznu&#10;M/gOCHPPo8fM7FWJQSkvu/5ZgksFb8hyc9ee1QptQjzl+UjeGBLKoO4dxyc4zjrnuOS4LKsoy2xD&#10;kbtuH6bducHJwfwBHSknJKy3t1+4zv7SSg+tiUOpZgkapHgAxbtwTGCOOhyGBJ4656DAc5IBGBI0&#10;Y6IdqkA5OCfcn8xTTEsaM4JJjxwqEAkLs+6eAMBcEcHcx9CWhShkWJmWXygCGYSOCMhTjH698dsc&#10;KKjJXWqLTsr33f3bCSKBIUfa24sQyglAFxwD3GCPUc9KjMe1zG37xGGV+fnkn8DwTz6DFSO2XCxq&#10;GUsBGzRg7QCW9e2R09Op7NYtEFKl3AUKilQRIeflA4wT056UQS5/ZvqiGot8k5Nq+676DH3kebmM&#10;SL0RAHlYdtw9OOg9PrTM+WckHJJKGRuwJUlj1yTuH4deeHlHcHYF3AFPlXDHcxyvXPOCOvUcVBlJ&#10;JQSMgIsUpkJJK4dwpXOQGJl6cZz3GRUbRhew3yU5NNaaNf15jWRN25sOwVmQAHaQThcnthcHaD1P&#10;Qjmo/Mj80JkMsbgDzHVTDhVzk5wSCDx1+Y/3cGxNt80rI2zMXyRg70wv3se+WHIz296jDArFuYKZ&#10;EBLOgY/eZVKleM5AX6ZHOeaTioXa8v1HGmoU48zGnasp3k7txjBUjeM4A4znDZBx24yAc1GCj7gS&#10;UDLg7RgZGTwO3bvzk46ZEksgfa25o1DZZwvzP7g9sHBJPtgHmkAdnc+WQYhsCSAblYAryhBxgMeh&#10;4LHPIOZjZwbWy/4BE1yzcrav79Oo4hGRMEASO5jCHCggbmcnPU4/SpAASSyhFdgFjxjOOfrknsc/&#10;dGOpFOaMYBWRkVotxiCgKvXceCcj7pGcHr0xxFITIxjG5ikmxmdNxXa4X174P4kHpxT1uoMlpSg2&#10;norfh/wBCylgF+SWHa48185DZAOD1HyketSfu3kxkAsd7pnYCQQSuBjPUn3JphdJCo+cOCSAymQn&#10;kEgnP+ycZIPzEknipVI3BmMQ2ksMbjs5PJXrgAD34wM8ZHKCT507lRgrcu/6iAxjBKgyMWVcybVU&#10;demeThT6kd+9OGHYee2PLcKduSQcdSMe4OOO/PFT7S2H2y7RICNqlWXPAGADg4xn6GmO+6R4nVcA&#10;ZAXG4ZBGVQ8YAII/GinJSnaJfLycsnp007CYjdpFeLIUBCVAKMSGxxnByNuTjHIHBHyrJ5rsMASj&#10;buPIDbsFeM9iOOvXml3LhQQ+7ZgNt3YOAASOB1/D6Y4SBJjsdlKttLHcpZmLIcYXHQHbyOOvSolC&#10;dvaJ+ViZTm5avR/LshrRrjaHHyMpJchd/DnOc+oTocAA+tQ+S+N/mYG4Ak43hfm4OOMZI6Z79c1P&#10;LskJ2kRsqArgsAcnBXGQCMdM56c1Gd5cRFt8aKMkcGQc9RnIPGDj2ranZe92CbWib0ehVWQY4MyZ&#10;5KqY2UEnJ5Jz1zRVghgfkcMuBhtmc8d8DFFS6uui/Mv6xWh7ijtp0MEIdobfkZJiAGFPzKTkgfdG&#10;SoX25z1DWKqkRdwy43+YMkhiSSBn26Y4HQDA4SX5QZBsZyGjSWRQOE6nnjA3jv8AxHBqKXyg0Yjc&#10;EIQBgDBUoQrgng85wVByGyOgzg0+Xmj3MpOK1h93bQA4YmR8ur5yjL/rDuQY4yQMb/TvgcA1Gkp8&#10;ljlpGTkjaAQAOWPOAcbARnqvGetOeTqIgqkttdMb2+9kKOACuAAx4OWA561ScRfIY9jCRd25kU5T&#10;IbOGwM8DnHcnik3Jzd9tCLpTUo9v6sRyGWOMFWc+RIpVMkqCoAIz3B2Akkk4xjpUJLBdysGi8wSF&#10;UKtuHylgWI4G4+mfnODxmptmHRh5RjbDN1doySrgjuAMsvQghsDpUa7zKzB5EV1GAAcoT8vf1wc8&#10;k/NnimpylUd9/wDhvxLbs1Zb/wDAIvNPmFlBV5IspDIwRuxwSzEgPgc884/CBpGdkUFBtdY9uDGx&#10;XfnLnI45zz0HrUpCuJFcsrg7lVZMNEVHVuOSdo444IPPQ1TIS4AbJkJYgjzOeSQT6jn5QMDgY4wL&#10;ty2m3ro/1/Izsoq9NscX2opKqiKcAAkSBSc4wQCc+o68mq7sN5D5KKWCsACBgAdR2wTz1pYwwRzk&#10;lVQk7slz8/Cjv1IPHQH8nZaQLGGQ/vVBnbGSNiHHPA4jcZIH3j7VovdfNFXRUeaUVpa339GQ48tJ&#10;WlGCuCQThsYL8ZxnIUjGcg5+lRCUKyPJiQFhGBHtyo24xjGcH5iOw4GehoYSMm6MEb1yONiEEYbd&#10;+A5yRjJqJ5XlYylyJHk8yQyY3luhBP1PX3PvUKKkk27FycZPl+10/rraxHIyhYfNWRpGkIYYG5Bh&#10;CNozjGfOwxA5B5PAWNyhw0mVKfJGoU7CDwWPpzjjr79zMqncA27cA7Kh+byz/EmTzgDI78kmqiOS&#10;xC5VIXzESAFjDOpXavYBS5xkYJxxtKmaXL8Ufh/r/gA4qEeWL2EmkO3CukjE4AUkbgql9uSAegxx&#10;/d4JBGYyZD54+RQSpAL+auVzkIQDnJKnHQbevq2QAE7f3AiBGASq4zj5cDjHv0APsKR5BHJxIIkc&#10;nIXIByWwfUEggD069aF7rtLfoZbvR6EUMOQnzCLK4Lkbd/zMvbjABH/6xUcwVAyEucfKOwAXIyeM&#10;++fUH1pxeSOIRyDDAcIVwd3UD8T14IwxPPWmuHVZN2Rvk2h0JaNxt6HrnBw3Tpt/uk1pFRWj2bLU&#10;YqF1vrf10FKuZiuS7Bw8ihWRHDYXPY9AWzjOD0qq29o2j6pMzFyU3BAoOVbjuAcdB64OCZkjCR4V&#10;5GL75sqB8o2nBye3XjHcCnNIFMjkAKSyuSCGOBkN0xhg5JI4P4Vm5pJxh0CUYQhpqmyEkzJPIzeZ&#10;Ijh+h3Oc7m7Y5PH0x7ikLuxVVQKz45Lkqilem48YyO3qOgpNyhWQxbkMjB1xskcLk5bB6nAHGMem&#10;Mmmqu2QbhF12NvG1PmXJJAHJ9d3YDAq48zlJy20t+pLSUfZdO/z6jYw28o6FkJ3oqsSu1nLqCRg5&#10;xwSMEEtzT8ptZUkcPtw5jIXAX+IDvghOD75FTOpOMSLulPGPmQKQcHnHI59OpoQJEUO1igG1tsRZ&#10;EBJDD1Pr0wM4NNxg2pL5oST5dXdbu/bb9RjKrhXKI+1dzqgVY5WDE/KAOPmY8HOBjHHNO3JGoTYS&#10;xB8wn5GRSzEcjkcEHOT0xUiK7LHHtALQHyiEYpEGRHxuzg4yg2g5O09O0m5PM2oVAQ+Wr+Y0hVcb&#10;QcjAOMq3I5xjGOuSk5e7Lpr/AF95Sim7w0Vv+APJHyRuAqGTEigEZxkZxjAAVxgdjGDgEDFWW2ja&#10;NpnWNrm3UsCoIK7lBVQeDnp3/iz2wbzjPRiwSMHCJnY28DuenOMj16ZNQrGMryN6n5d4AclSOMBQ&#10;eORjsCcHPNaU3tLsVHnbcdLK58u/tSzSn4UXtjukgj1e/sdMOxlUMskyB85PGBj8z6c/kTpvh6XP&#10;j/W7aeRLfw9MLYIQWWUSymFAzfQZHrz6V+wX7UUcjfDq0njDeXa+JdOuSFOY1C3KHvwMYU98hSO1&#10;fkNqQ1XTJ/GGkxqp0q41UXmojo2UmZYh0z96Rh75ye1fqPAM3DA16VNpScv/AJC/4NnwPG9OjCph&#10;pVNYwV7eb57fionn9oI7RXurhC8tyS+WYgLxxx9MZrHviL8K3JeMgsSuDg9DUd9eNJJKoO1AzBMd&#10;B0/+t+VV7RkVo5SWbYNjDcQGJH0r9Xgub9499LI/H5SUW4dL79ejNFEWG2kDNgunlcYGARg/+zVq&#10;WWkRwW/265wtopyi7f3kxAzxn+f0qF7GF5bZ7tmhtY18zyY3w9yfvbFPboB9D9Kku5rm6nhFy6i3&#10;SAOIlyI4l6CNR+HI65NDlfTq39y8hqMX7r6K/wA3/SNGOa5mRSFc3F2fs+nxKuRGuMFsdAADjt1N&#10;bGnaZp8U8EAZXu1QPd3UnMdsFO58erbR1weoFU5LgWFq0rRAX1xAIlRTg2MWMKoUfxnqT2z61PZR&#10;i006OMZNxfgyOxO0rGGyFznvg1hObjC0XZrr/Xbr3Oyn7ObSkrt/lZbfkizrWoEeZO5AkkC20Mat&#10;t2xxgqiDHYDknvk+tSeFPMt76yvTskupp/Lh3gKqKThic4xuyRn61z4gS9vC84ZooP4VbMcaqOSS&#10;R9fzrXsZPtF5GwHkxQ7Sm0/OuwnaoX1JweO5/CiMfZ0td3+C0/MzvJSfK9F+L2S+RpKhtBMgVFaQ&#10;sAix5YAEDcfQDoPqKZOx8pLi4+dUHlrGxLmRjzwO4HBZvce1N1BmV7qa5lIjKeZO4BzEN/yxDPRj&#10;xxzj8KxPtk86tcuCWEXladbiPr8x249uWJ9T+dZKCvFrXa/9dzpqS1d+q/pmvbY1i/OniYT308Q8&#10;uRwFtbZhjk55A28joAAoAHbprG2+3XllpsJYQQygWsTr1bKg3Dp3ZgMgEDbnHBBFcxbZ0bydNji8&#10;3XNTVZb+cPhraM4cRKegJ4LHnHA4wwr374Q6dpWq61Hqt5b/ADQSzX81orhlazsYmnlC8KMyyrBb&#10;jnrITjrRJpLmt7iu2/QKcbRaS96TsvR9zcv7G2ttUtfD4u7P7H4SsYdX8RPbuXlvdQuGjEVlCe5D&#10;eSp4AKxE4POXX9wtgCJZGjvr6MzPEi5nt41XIMncKc7QCMnceO5vQoNPt9S1nUIrdZvtx1rV4Ybe&#10;SKK5uJzkpGxX5Qu6ZV2jC7iRnaAea0LS5fEp1rWr93eERebeGNBbiRVGUt43f5UDDyYlLHAXcT6j&#10;znJSbdXZJtv11f8Al6Hqrlj+7jqr2Xor2/V+rN7V7ptK8KzWfmQwzXtut9PvXyXhWZmFlbDHzFiG&#10;8985ARRnqVFn4RjTtKtbzxPrAEtvYxPc6TBNukXVbxtyQM0Y4ZRlzhsjg+2fObyRtW1W28P2tyup&#10;3N3M9xd3pDfYoGZgZJ3JGWwuVXoCoPqc9xpz5ljmkhEVpOSNOSWMvHJDbI8LXTdsIokcY48xkAG3&#10;IESUlTlKTtzfel6/gvvNKc1OtGg9VHp0b8/uOq0+2udU1fU/FGqXPmeINTuf7SO3bJJbRfLBEyRn&#10;jeoYhAPu7sgDJJo6hKt0z6mpimmlkjiskjcSJHDEQkQLf3UGfqwyD1JsaIbnxDZa7bRvc2JvTixu&#10;hhXtY4wGM0zfeXYm5gBg7nU5+XnlNQ1O1geSe1RjbWxS3sbUu2JxEiYwRySvAY5wXY4yOa86Ufgj&#10;azVrLy/XsetCFSnJqTve93fqkifXtSg0lYpW5vLlMLbCFSkECvuhjkXPDEhZXAHUoCTszVHTPtMV&#10;ldX1y80mra5OLbT0iYqpiU73J6fKzFBjGGCnPQZwLVf7RvpLi/DvtBe8dpMqiHbiNGz95sBfx6YB&#10;Feq6DoreJLN9b1aSXTvDPhjTvJeYRtuu5pZZGjsrRM/M20sTjA/eE53CnKmqd3PS+77Le3roelCq&#10;0oNvVW0trJr/ACuQ6fpw8mLVmSI6JYtstbuaMvHcO+N0+zuTIQi5GXcBRkcHI1XVvtt15ytcZmLK&#10;i3PzSmMZP7w5xvbdkkFjkgZIAFa/iHxY16i2scX2XSLNEXTtMijwUIhWMJuUbSVDOCwwAHKgnOXx&#10;4hHEESdF8/yM3AViY7JOZEgRCcg4O5icnkcknI8bES9reK+HX8f6+R9Fg1KNFS05rX7dv8ylDK4t&#10;382VDBDJvSMchyMKFI6nqefTPTir1nFAkLDaHku2MWHAIRcgjap7nB9cDpz0pW1sb5JbqJ4bfTrX&#10;5kkkyxnkPRQB/EQM+wHOBV+HUU0+DHlI8xl2qW4EQJKqEUYxtDMMn279eadNwp8rf+fzPSjXb5eZ&#10;a66mra6oYJ4bO2kjtXmyl1cOcMAMLwSA3RicAdKpG5iSQ20MjSN5rFZ1j2wsBk9M5HYZ+nFZ988V&#10;0zTqhiBbE3z7p2Y84456Dn2HripopFW3cqVTacKwRvOmyQMf7oyFbn+DuTiuea59UrJL56fkekny&#10;2k5XdjSbVrieCHZOYmgDK4UYYAsep9zg55zx9KuxXNzEJZLGH7RLhfN8xgqBTtYtkjuMkDvXPI0t&#10;tHGsD+SsseWJAJxnHC9B0A+gz6AaWnpczPGGklb7UM4lZgo2/dQ8duAAOg9KxlBXckzopVUoxUHb&#10;mX3NW/4J1el3jS4K/u72ZhG8UyZLYC7PL2nJ4YMPXPTtXW27uyRpPJulUbkAYgu38IXByAD0PGfz&#10;FeXwmY3JdYrZSszB2CqpcsBguTnPXH/AcdMV6JDbXSCNnaMAQK+0/POQw3YKYBH3s4PqcgVxYmne&#10;Lmt0epRlGFNc0r2+/wDrUfeJdzvG8QBaIMbpiN3mZICnnIBAB6cnPfikiuzC8FvbwsHlIVk8obiD&#10;yuFB/iyvNaHk3M8CQbokgaJS0sbkyttGM7QO/wAxx2+lY0dncWUzNHKVjTMiOiiREwfX055+hria&#10;bUubZP8Ar09D1qUubldR+Xz6HaQ61YQW4ju7YSXU/wC6Zi7xCMkBSy44BByADngVvTy6bfQrDIkz&#10;LHAyWxiQJuJBGQzDk5UDkYA3cZ4rzqGCXUEkfY0k0QaPy2wqO45y2ORjaMdO9eiWmmmw0gvdGMSS&#10;RjbKvMi/KMAjHHGck9wQOhrgqQlF803Za/jsej7RSUIKzbv99xdGtxb2s0jyLHdOQscc7b5UCsyt&#10;lsEAqeQDgYHbABrw3Xnq6lWSPOXUuXjGCecckE9OeeelYk17baepW2LSfKZWcgqZG5ZkzjGCW3cd&#10;x9awv7ZuLiY5kZWmO2RjyoAGCo4zgYNTyO/orI6ItzlKVupp6g93aXcP2KIoVkBWUYdRlwHGMjGF&#10;3/N3x04ro9F1SV2Xy50WJt87u7KI3Zt23DegySGGep4xXFyXyyxXKyttDSDy3L/MzjcAQwO7BGRj&#10;j7o9KqQpqkki2qNEFZHVpzKqDbhy+3dgA/eIxznAAyRjaFNSVtnr+Ni41paRl0v+Fj3HS9XSZ0aR&#10;RepggLIvlhXdlGD1zwT19RWPd2V5pd80kQW4t7pljmb5mRBgnHT5uZSD174HJrD0PU1sLPydku6e&#10;43zTNljuxhgoVjgfKD8w+mRydyfWxBBIluDIo+eQTAKhOflCk+wJz1x19K45U1TajHVP8Trw9Waf&#10;PCOjvu9LdzXF0bGcsBdPuRQg8oHLZC78HgAemOPoOOgs2WSZpYpCF3iGBGclznG1TwTgbi3BPRua&#10;53SNUeWKdlSK/edBECU3EYwdq49wAfbJ4rbiubhSwASGWGMOzEfK2TnaePx5x3rOUeZXaukevh2u&#10;bljp0OqtpbTTb23iknaOVJAs07ttiO87QAQeCQRyf161295dTRPts7dtQtXuGaS6dfOmCgbl3Dsm&#10;M9OB75avDpJWOoFJXkaadkuIY4lCeawIOAeuMAc5yNwHHFdfD4mtIbeaG6nMPlQiKB0OX3jG7cuR&#10;nr054HTiuCs1K0X+B7dCLnFypK70OsSSSyuUcSwvM9sPIit5mAiJKyusm9QdylSDgY5B34JU93az&#10;wzxQi9luoZfNMs7RL5qbQI+VUDJJ3tntgADGSa8WXVLXU59ttDPczTJGIPKQ3Kr8wDruXgEDB7g+&#10;vIr3Dwf8M/FXiWO3v57ryLe9mESDcwuIiBtbAC9Bt4zk8AdsjmlTk2o0l9+nXzN1iaFCPNWnZW9X&#10;ft9x08Ov6RLPZ6fFLcWt5bacWkcxuzzygsIoy5bq+cHACoF3fMeD3+mvr+oqttBb3Oy8O9mkkIRA&#10;XR3ZU67iVUZGABx6EdV4R+FGi+HdfF5ctdXmo2tpHIjFzNcLMuxsDH3XGCcLgg4HtXQ+JtfPhmZf&#10;sNmhSWA29rcPzlpMmRWwpwAjDcpP8QGRnB8/MKdClFzrtyflt/Wx2UMX7XERpYSGjV7vudZ4G+C0&#10;2tx6XqOq6nfQ3W8s1vZXatbyZ3kGQYDcclmU9NuBkgH6e0bwV4W0vEZtLcwiL52uFL3ZIMkcRIJ4&#10;DMpJHOAg5+YE+A+A/GM1zZ6RaO0Md0unh7lbVfLQySFiWUj5ixLkDPPKjGAK9K0l7rxFqqafY3Rv&#10;XnUS2c8kxEEYG4htzDI6Mfn5Hp0NTSxMZ00qELNu33efmYzw1epXbxtV8q/C/Q9b1Tw5b3Fk9ral&#10;LMwKk0ewCWFSxDDCjkceWNoBz6AgYj8JRwXL6faiRridZG+1SpD5X2OUg7AndhgJkjA54B2jOnp8&#10;tlb2Ef8AaH25dTEQe5kuLlbmG4YMzOY/QlDGVXPUEAHcK6OxuLCzmsns4EWOVg13csR+7UAsx2jv&#10;2z/tdDjFRiJQilOWk1a/9eRdBzo3w6i2rvr5W/4J9QWugeI7/wCFep6PpdxpVpcatq1ibsXMoTVL&#10;23illcwx7mCtA8kUMj53FWihOQSK8buvCGu+GpUJgtJ7W5eWW2jtpVu7lxbBxcKIkYjaqpI2/ptQ&#10;ngKSOw8PeKLvxDGE/tez082V1JLZx3MO4XPkqCY02soUuI0CkkKuxcbQCa7GKYX8s+sWV9aWOrWg&#10;K2Ltbecss237NIsTNuKs8c0z5PykdRzXRHE08co866WTT1svy1djyY062Bc6bs7ttq2l3a35HlE7&#10;HVtFv7izYQ6haxu4hM22a/ZCGaMBjydpcbTyeMLnr8hx3+s6F4w1nTHVrVdO1a6t/KmDz+RFvLRh&#10;uByVWMZCjO7pX1l4q1zxJ4X1HVNSvbO4Nhqjf2hLeW9vmybaB5hmZAEUg7xjKMwDEbM5Hzv4h12P&#10;xT401LxFez2z6pr16+oXcMKqtusjKzudqqMEKo646cA8Z4cVhaU4wc5NVE/TQ+syKtiMMq1SMVKj&#10;KP3PT9Gz6P8AAuoCW+sbhZLdpPsmH8vaxUzRKSmCOMBgcYAyvfFdG+qSQWH22xinkuV1Mo0huN7x&#10;IXGQF55QOAxPGWXGMYrwnw5cmz+2afaahLciFgba5jLwReXhmM4LBSAVxt3AHDAAZIFelaLqJGg3&#10;QkSW5jttUWe51PzFBgFwJC+Eb+J2HBBA/dHI6UpP2ajFbWb/AC/yMpQvXc4q6ul8v6Z9C6Vezar4&#10;d1K50W3tIrm0EUF1ZLPnUZPNuUDNGoyu6NJUJzxsQkZIxWndajaXmkDTRearbX4uYJ7e8hv0TSbW&#10;NvOE6SxMQSRI0RUjIGTnqCPKPA/ibTrGeOKS8u7y0SMTPbRRfNhM8bwuBu24LSNx1NXDrHhmDX/E&#10;P2S71C70PUkP2SO7mBu7J2i5cEZVxFKzFcKNyKgKh8k9KdOrSU5duVp+n/AM4JxrSg4v3bSjb1Ss&#10;3+P4F3w/r+qaVLphkumgtVnW6e8DFGkkZjJKZVHq4zgkk9cZr7i+H3jPVvEs3hNbGG5+339kw02K&#10;5kt7mBsRz3DqFfcoWdioy2d21fXj87NU1zR9Yi067Nu0F/ZSzG9ltGS3j1NJHzCkQCgK6qGVuCDh&#10;T2wPQvhl8QNS0S80uHybDVYLR1hTT9XtRdaRc56wSJ3XaFBUccj8eTB4hYLGJuTdGXLs/wCtT085&#10;wUM1y5zUUq8Iysmla9mte9+u2mh9q6drl5Z3OrXwuI7SOMzwES3AWM3CYeWJwuF3McfwgKQ3AA46&#10;DRtd1y7uLzXm1iwbVL/Uo7vUFn1MRC5Ry0aFY2yzIrMfkA43sxwOngviOPUG0pLnT/CkmnW2tai0&#10;sGox2ksem28heSR4omUNGgG/aEJJCxnB656D4azywXEUmtWNvqKKsiCCS3P2uFo4nTfDKw2If3ZY&#10;kZLc/KAVrq56tDGxpNNQaunqtXr+vTpc+ZqUsLWwU8RFRc/hasm7K1479bdXuk+h9efDq/1oT+Ib&#10;i3FxqcMNpNbz2elNbotxbyXISSSBZWU9QhVE+dhvUAV7dYa/PoF/BYnVrnU9L1nyrUQXMf2eUpIw&#10;t54pbaNvkdDvXJJPAbrXyX4d1uw0Z7abTlvrdn1GW6spbudYTavJIJHhinwA64ZACSCAcE9c/Rl7&#10;pdprGi3eu6RJc6jcaOq62fsdsEurxBE/mxeVsz5uRuRUOWCng44+oyitXdHkwr/fU/es29Vu7LS9&#10;77a9Ntj8h4ty6h9f9tjYqNCr7vwrR+6lzPVJ82zut2rNJSXf3fg2+0nxBca54fm0xPD2oWU2lrYa&#10;hLJBpEDSJIm2YlNyrjbJvO7a0Z67sV+HA8QWg1vxDbSXaRtBrF5p8R3mV1SCWRB6lhhRyTyWJz2r&#10;9pLDxRo2r6JqGhXdlrNnNf2E1vaSW0wm1KSGUrNHbS+ahDJkRjeVD9SM5LV+B/jLTJNM8YeJdJm1&#10;CXUGstcmfUb4yqHvV8wZlJ7sy/vO3UjvkePxxVw9dYOeDS5W58y1spPlurW02PpfCWli6c8yw+b3&#10;9oo0oxbSvKMXO0m02m9bN/0vY7zxnYw2CX1xqE+yytDDAjM74ChQrDJIG8Jk5xuPHcCuyufG2s6z&#10;p+m3F1erf2+iab9g057geY9rbuzSmBQOkbMJCOAoYknnJr42utb0mWS4tLSa5fSpNbD20d9NHdXR&#10;gi2YVjjGchzwM4fBJK5b2fwf44t9PuhcrpkOrWNpHskhu7EXNlPCv3xeRFgRHJkxnZyu8Y6ZPzFP&#10;EqdR4d1LJ6Nr77s/UMRg4UIqtGneabtey+S7N3aZ9DaR4thun077PZD7XaRD7RdwzPPFdRz7TGjR&#10;k7VKbW5A53NnINe6aV8QdN05pLHUhc6faygR3BlgEMJwELG3TOd+C+3cfLGFyMHbXx54E8R6Vahl&#10;lijgtppTLYlm85NxcqFXOMACR1GcgYxtztK/Rd/qHhHxLpsLahZanda7YF5bHWGvS1tdRPGxeG4g&#10;3KhAO1Q4+cPna33AvoZXVnLmqQrLnst72drafNHjZnSourGhiKMnTbaunqtbp69n810R7lomrQ3l&#10;9qWmaRrV3rel63dR3sRubfbcTRLO8SLciPpInmFiUIADNzzge1aHrujahZan4c8qx1mRIWW60fX9&#10;YEGpXtojYkW1lmZpDNDhWj2k/dwTyK+FbISaLe6baf2rby2hvTNHbxmSNkDYKsGC5C5bBLYwwYhT&#10;tyfe72wmv7HTvEdv4siM+hLJLfeGLrSpbfV0G5pjc2VwWb7XGSQGVUVlJY5f7p+ryfMcXThOfIrx&#10;3V/s9Urvpdu2t9dD4vibh/A1FSU6rUZtcsuWWk0kouXIlvyqPNeFnZ81+VHI/F3U4tF1HUJI9H1Z&#10;NPsrZrq8hjtm1udLcRNNHMrxRkRlWi5cHaoWQsDggfDel31w1xHM9xa3MWpXTfa2kEsbRmTgEKmT&#10;lQCdw3EejZFfrjN4ssNRtX1dvDWsavBF4dfwvLI1kb20cPBcIkYLJnyfn3K6Nx5bdQePwTv/ABBP&#10;4P8AFOp+FLi4u2m0HWZdKQSODclYHbDykgZOFUNjI3E8cceRxXToYWWHxmFlzRm5dNtYvTvdafI+&#10;i4Cr4nM8PicBWpck6UYXvLmb+JPq2mvdd29brsff0V3Bp+o6Xp9ncz6zo1xGBFI6MIkSVlIVF6rI&#10;Wx1YlyQykgjP0p8MfEen2eki32QXVlqVzHp80135bTBw4QSxoenzli3A6DOQxB/PHTPiHNcPbw2t&#10;0Y47WMXoiVxF5FwNpLFFAxkQwnOcLs/GvoTwB4g0/W7m1cIbaS6uCrC3yYpnzh2csxC5BPK7QAQc&#10;cZriweZuGLU6Wje34XXp5G+aZU8Tl7oYpPlVrvro7pvbXrfyPsrxGyNqEWtaXq11dX2iTx6Z4hto&#10;rRLnT7FRIIrC9tpoxgxkR7WWZhlpVGVxyxfEgtm1HS9UvYr6CJ7e6sjYWn2K0guUfE0MkWGLqEZ1&#10;JDoMuzKF6HjdZ8YR/ZmtYru4e0jt4rSeK2kWxmgbIffGxDAFwpw3PzEMQQNh8x1/xBZWtiDBJosM&#10;8l4GtbeVZLrUtXEswJa4nZFD7GMhBkYNgYAxgj28VmUXUnXwb9612u9lZ2Xpq+71PisuyCdelToY&#10;yPu3tF6XSumtbXSTuktlF2baV37xq8nhq5tZdZ1V5PFV20i2gtGtpjMqSImxFmYuT5bDawEZGI1O&#10;4bhjhdXvtIgsReQaHqCNaypc2z3l0TAECsWjdFKbiCVB3AA/MCueKr6DrfiySeBtFs9XsLy5maHR&#10;b6O4TSYb2Zl2MqX0pSEbiSdrPuAA3DtVn/hX2t6jeix1/wAWaX4f1S4+0C7sptBuvEzRXEUpjKGc&#10;vDFL5g3SBo2YADkhmBocMVjYKtCHKpaNtJK7Sad5O7b/AOD3LoRwmV13Sx1dtRV1GLnKVle65KaU&#10;VFWte2rdn0vwGneKTDfNcWV6UhmI82ITN5RDhxIGX7p+9tI9D7V0HiDxJpKILrUdWstPhZHkS1il&#10;jtbacu4DDDNwFLcMM4xg9DXWWvwK0/wfdWGreKI7jxj4Ru9Mkni1HS7h/B1hNOy4FvIUlluUyhYg&#10;NtBZMBsZr1+S90Dwv4Xe2+Hej6f4S1W9+zsmp3kST28MS3SObkzfZ98pCoAQI5fMXJYM2S0YTJK1&#10;GlOnmmIULO/KtW77NP4bPpr6hmXFOX1K1GtkWGlW5rR57qMU72cZaOonG2vuNq9lrt8jX/im21f+&#10;z4Ev9MuY4XeVYTei8ijDBmLDZk5LYwSACQDkYOOCufEen2WqXcWrSabbokYniinnjAmXzNiooJBC&#10;gfIflHOwAckj678RarY22gXV94o0/wAM+PJpblXvLTxH4P0xv4WaKQSx20UrqrySFERwQJXz1IOp&#10;YfEaBNKgufC1joXw/gsrSRbzTfDXhe20r+20DqojJZN6FFLyhlJJ2nGS+R0xyrK/ap4jFT5kk0lF&#10;P8btaJbXvubQ4gzmFJSwmXxcW3G/tGop77ez59W9+W2qd7Xa+DfDvxAsbzWIotC0/UPFF3HciOz0&#10;/QtMu/EbyIWAYiC2WQsr/KuSuD2PINbsug/EltU1A3Pwz8e6Wl7I+qWUd/4Zu9ODQebMNzxlFaJV&#10;EMhIkVcgHGeK+mNA8a3EF2NBHinxBpvhrUNVj1KGLS5o9ElshtQ+Wl8sbTxhGK5VgQuAcdAOqudV&#10;8IWt5Mum2/iLXHt995Z6LJ4gvtTktLtY2ae6ebaxn+Vkky7Ly8h2Bc454ZHk9fCqNbETbT6WVvRJ&#10;Suui/I9HFcR51hMfy0sDHkcbprmlomt23TUXu2tVb7V7X+Z/Bvw1+MXi11XTfA2ox6fe3iC2v9c1&#10;Cw0eB0WNpIZESScSsm1pGJjjYjJ68V9GaJ8FtP06KT/hYXxj8NaI8Fuwn0Pw/JDPq0LYIkijlmaQ&#10;SuCuAkNuWY9hwpng8R+INdjuNQj1XRdHiu7g3t9pl9fstxqMyPuFwtmImRHCt/rRs3FCpYhSK9L8&#10;HRaJY3MWordrdXcavEGikZXgm+zzTGRYAQqxOjxYLfMrxvu252p6eS5bktGvB0qHMrfFVle68oq2&#10;vr/wT5jibiLiitQqurXVFLaFCF53S15qk+aNuicY366v3Vn6L8K/hrbwPqP/AAlVv4u0F7/7DDce&#10;JpZgtpKBExhube1W1ySVmAik+RvlLAkce36dDpOhxSaR4d8PaHZyWunRx340PTSsJMqxkwm0iELs&#10;Njrh5CX3Sn5fmaqOgX9lf2UGs6bHpt1LrV2fNnKpBqsd07Za2eUxhXUqo3BSCm7eVZRz0Fnp8Z1J&#10;JoFjgtrWye+dfKW0spJpLl3kiDbsSDdBuBbkKgPRxX3+BhRhG2DUYxdn7qto/PXT8tvT8aznMMXi&#10;6so5rWqTcLpKpL7S01SUVfeN2kpX5rK1peevq9vFH/ZV7Drfh3QLhREPt+luXaaeR2W7N05LzDzI&#10;02tJLvPnAMrYBp//AAmN7eQBdGl0iXVS1i+qWLSC3swrj94iqpYO3yyeY2QEG/cNxUDO1fTbF7KW&#10;10XxNcWt5qs6SahLeXsUulXpDmWDYzy5hk3qg3AqJGfPUhTTsPDtppN9e3thqbXHivSbCSVdOeNJ&#10;IDLLCrsA0ZeN4XABYOq7i5AcMuV5b4tYjkjJOm93dX6u0dd0tlbq15ntU8PlM8P7Sr/E3jFxlZu8&#10;VzT926jKVlKTk7JRbad4PB1LV7zwxb6jFrVtptxpF1cRRi50yKXURHLIF8qU5UbY5H+TLqdwI6cm&#10;s6HxHNoniqy8K6ovhqF7fSV1zRNVg1iW5lurWWJ0uEvWbCb3IaTEf+rzEFYs2Vi1a48J+JtM1G1O&#10;v79W1O5httZXRrn7bcRSRrJN5txZgssAjkWMBAA2JZSC52gY/gvR7VPEFpeHT7i+ewE+mXesWMMc&#10;d5K0I27LpcON7AsjEZQLjJG1mbgca0MVCMJpwbTT3tq7xa+5ra1nqfYUcLgv7PrVsbCSqKMrxs4q&#10;UuSKjNNu26lGS1cote7F3R7vLHbzwwapFNpKWq2LpA9rqJjlleBpZStujMZCG85xwxOXHHQ1Xiu4&#10;LcJf3A1y4W5lCtpmi3MpvnEZjEAkdZFyIzPIWJk5wAAWLE+Iv/bPhzWpbLUPB/iGCTS7n+0NIub+&#10;RLr+1bKWaSORhNEnlgxGWEsu3I3ZKKCK9FudY8i7XVjp0Nit3ajQLJNQ/wBO0q/YhmKOsZBRFgjj&#10;VyFdsQn5STXrrGOaca8eSovJ/N7Lzt3T9D5uvksqSj7Kp7SnNPlkpR11uo6Sk3o03Jaxaeis2tzx&#10;foth4o1PSo77SZr/AFCeKCK4Atrua9jwqiMGW2IaIFRLKXVgFVSW5rgdZ+Dur2ds+peG9avreFJm&#10;iht7i9kuDpm1CRi42ecIz1YkykHOQSQlegxa34gtPtCX+j2Mmpw6dCZ10bXLcRwRbsWwgllbGFKy&#10;H50eT5EOOBnmW8SS+c5vLXRlSG7Sa81XVb641GKFv9WYj5eABiZTvjx84BIO0BvJxNLLcU5PFUry&#10;d7tppr/t63S2uth5ViOIMFGFLAVV7KCS5eaNSLvrpHm0VmlGyb23u0uItbvxZ4cvYf7dgW4mlAKH&#10;U1a5sNUkjBMLI8bgSYHOQykbRwea24NZh1aOTVL25US/ZGvIVcqgu92cMnJwAzllyMjZuzmvSfEm&#10;j+HfGdjczT3lpJFNJdXNulrqS253KgcShSGkztj4GF+/8xxxXzJq3hfUPApvFvhdLpywJcG5uLSY&#10;vYxzAyRo6oGZiwyMgfeLZGFLV8/mFHFZcubCv2mH13d2nbRvv1PpcnrZdxDFqqlRx2i5FG11ezUd&#10;d9k1a+yV3ZL0KSW4K6O9xaRW2m3E0k6PZ3zvqCWqTlZpJ5FBZVAZ1Vm5dgwAPyg9dNfaNJqMraVH&#10;c29vIxNusq+Y8jgMpEpO5QkcagcHDO5OSTz82+G9Zu7+G5ksJbW2tw32fynjaw+2wOWkcyMchm3A&#10;E7icERgAcY9g03Vv7QtINN0a3huG02OWS8kawDed5pXJZCCvyYfDAkYY91wPOwWNU4cyV3K3Ztta&#10;O1rWXX0PQzrIauDmozfw8ydm1FKTvead9fhju7tu1unpf2qK90u4nZ445zam7tpGyk91I5AA9FVQ&#10;cA4AACgDjFce+17tFP2chEEUqSHy45VGSAW7cben93HTNVbqOS1igiWWSWd41kYCEIiBwJFHmMcn&#10;PmYLcDag45NVJJYlLarDJ9ohsiGmiyknk/L5JjJIOWbc5zzgL2JyfQr4nmlFT0lGzf5s8HCYFUlJ&#10;05XjK/LpteyS+b289uiMfV7PezGN2jhjx5bNJ8kfCkDBO7BOcfTjAxVOxmS1vLmJ0nKzRJeERtsc&#10;oXHnAdtz/IgyNo3EkEcV0erNbfZEV2CguzlsZUggeWQPpgg4GcDkCuPNwsjW80RDOrBHYElOQ4b8&#10;nx9cd8142Lp06VTnj8UtT6XBuWIwvJNO235a37uxoarapd3n2f5bW3ukBZ0keP7IZEygaUDftUk5&#10;I5PWvnT4v+G0eG4uTdWsqwZZrTT94ijVAHG8sNpOVAYZLZXBA4x9QKyyohuHSXBQNMwWRsqyrgAj&#10;qQm0bhyAOtefeIvC6anbXsd6Yz5paGPdE/msZFDFnJHOMggrnkdScgcdpJtw1v12sb4Oqreyqyso&#10;q1t7vvt8j8vPEB0/WLfzdKtpvPtwk1/dOiwXUoU7cqFJQFQMjAUqWTAB4X4p/aE8Cv8AE2/t7nUL&#10;86brmkW7nw94skiTT9WvJRJkQ312uDO4EjASyFjtVFL4UEffusQL4P8AGKWk9jBdaZqBaT7N9pYy&#10;MGy5Y5JO8byAAAoVVBH3ieH+N/gHw5e+E4NX0WGafUTJdRa1aNDE+kSQeQphWKLIlgnjYyfvlzE4&#10;ljxtbivbylyqRcZvbdW32PH4gpQpVIV2movZ9mfANiZvid4AufAvi67eDx14ekk1bSru4uJZbi6W&#10;3WSMSuzAFmEUjSyOpG+LdhyY1DfR/wCySyaF4T/ao+DPinUg+sW/gnQ/H0AKlI0Xw54r0F7+7tM4&#10;GbrS9an8zaBuihZcFCRXyPa6br2leKtEksdUjTW9EtPt+jas5a+a9slkZUt73D7onibfBKmRtEkc&#10;oGyQbvsj4ejRdR+Nng/W5ornRrj4ofCLx18Ib9WAms9QOoeGr+KO2ulLbvOtpzCmxlG5YIMMSuT9&#10;FSdSjKM7K6el+zVmvxPlca414VKcHpKzdtNYtSTXl7up6f8AHvWdQ8J/sQ/tR3Gl6zqcHjL4V/Ej&#10;wF8ZNLv7B1tb22tbLVYNIS5t5k2sp3Xzqj5A3NnPJNfmZ4D8NeEPG/7Y+o+E9DgubTwN8d/GV/8A&#10;D/xB4LsL77ZN4ei+IdjHYw3sDOP3lo7a7Zz+c254WKswPAH1P8f/ABL4l0n4EfHzw9qaWurz/EP4&#10;B6Vba9bXl0NOeFbfVNFvglrCVzcziWF4jGCowtxICvlba/DLQ/iFrej/ABY8M+JvD/irUtB1u7+G&#10;3hW40XUNPvXs7mwns/D9po1veW7o25XW50W0kEidTGDycV9HhK8pYekprWm1/wClNrX0Z8LiMLT+&#10;u1IKVlUvZru4JP8A9J+8+3fhhpcn/CrvhKfEmjSWfiXWP2l0+B/xfsWgum1Sxu5ra/8AAviONREu&#10;1IoJ/sl3ciTY7stvIisIJHX0TxHdH4aeKtD+GFle3M3iP4g+DNN1j4r+N9N1Kz1LSvFOv+DBJ4VT&#10;TtOuYGfNnHeWX9pSlW2z3FxasN6wwzHiP2wk8YfDT4m/tu/AbR/FmrnTtV+L0PxW+Ht7NLbW/iLx&#10;TYeIfAtv4x+0X9xbpGJbqSw8UXplnQZlaKQOWJbPzD418SW9j8Nvhl460g3+my+D/FMWleGXkvzO&#10;qw+JfD+i6mZtp52+Z4f1qQDICtcqOQgFdeLk6E54VqzV/mk9vmrHLgVDEQp4pu6nbTpqrfK0j4v/&#10;AGptK8VeAvjdqGoeLvD0mh6N8WvDmj/Fbw1Gru1jqulalbC0S6idj83myafPvydyyJJkKRXgur6V&#10;J4T1iz1/w9exxW0zRF5YgbdJkmAcRnPAb5x8pGeCK+yP2v8AxFB47+AHwK8TtcSXOu/DDxb4n+FN&#10;3M8RkmXRb+f+2tDDs2ZNlvLFq6KmcL9vHYg18jeF0j8QeBtbkjUXSaRbwNq1i7K8k8MrJCZol5yY&#10;Z9n3DnDgjpVYhXpQxFDVSSun3W4YR6zw+JXvQk7Pyb0/BpHrmmeJGHh9LpilzbGwTQPE8BfzrTUr&#10;GaZG065dDk+ZbtK8DPxtCJyMKK7Wx0W00C18SaFfm4gs9c0uPX/Bt5co0NndQhglyhORuKuvzZYh&#10;ghzkEV494Ajg0z7HNqjHU/DlxNJFrWjxSFLsaf8AJ54Tsr+XIroecPHuwdpFe1eGr+8uNWk0aaOy&#10;1tvhlqDaxpKatcAWmoaXMFa3fzCcMr21xAGXkBgW2nGR5s3ezt11+Z3SpqDlBO1l97/4G/zZ856K&#10;dXfUNU0eHT737Snh29jvZkkaWTUlhjmuRKygkBV8tGYntESQK4DxDpl5p+j22oKknzrHbzLtMaKc&#10;/KvXptJIxk4FfUvhzX7fw74r0rxPpsctxMdYtfD+pWNvbefczW2pWl1Z3cMbPjDBBKOV5LAsw5J+&#10;eviBdataWE+hyOscdz4tti0LlQ8K29uVR/LA43IZEOAM5B74qacIykktmDlKtG8u1vnf/gn2t+zl&#10;qc48L2JicRKZjAkLMSoeL96zAnB+ZWABPHyHrtOPsVYvtsPnwOLa8ER8/Eg8x+oLKSMZ9gMjBx6j&#10;4m+AkU6eG4nEkSQxXaXNqiDe8brH5YYqRn5kZVHZlIHpj7NtXmZIZoZhGxt2ZZBzESpIIIx0BQ4x&#10;12+9fn+YW+sTl9m7PtsMkqajUe6SXkNaDy3ZZVYSmRlQO53qrcZ24OAQMn6ge9Z+Jl8sjBZiFdSN&#10;0ihWA6cZBGRg57dK6eYWt5bi4Z/JuIuJIgGAmHoG2naTg9RgY/CsJlMMa5Ub3ADtsYPhQeUUHvkH&#10;HQ59a4otTkoz7WNHGMY+50W/XoysYlBdpFLCNmKLJ1ZScgsCMHptyMdSeDyKyxKpd2ky5YhARhsF&#10;QMjn68D+gq9Ip8sQplIxIqL+8DsOwDFuODzVTy38plDBSZUBJXC/MGCsO55GDg/xDpms1C9215Gc&#10;Zxkl7TRLT8CqMYy3VBvVlyRgBARz/tEqQP7vbmmw/uzOZWCRxo+5YgUXLIQFYDgcE5B7HqKmARVY&#10;SF0LRhIerhXXIOD1JUqx47jpRJGg/wBX8x3BimMBQpBOBgdMDOM9xhs0+blXw6fqOKjJLnei/Eqs&#10;pG0P5rlZQkmT+92nO1gd2AckLycck84zT2BjOVDOzv5oZ1kkABZ2yMgDB2o3zAAmX8KkljMe6SWR&#10;yHLSSAxlyh3FiuRnGSSOnoMYxiuGCx4QsIwfJCBQDt+YOCeDg8DggjB606SdnZmbpypy1+/vsRoo&#10;UMpjLZQuFVMg88gjr2GRzx1952WQEkEtuLAN5YYOVBZieBnhTjGM4xzgUxlkkZmV/KdgZJUKqwQl&#10;8KcYxnIfnncT6inxmVYVQAsoUKFZSzMSGU/MODgAgjPG764G5cthJNTsr+X9eg3y3XahQI6btoH3&#10;mxuXgnjIIPIz/WnQsrAqCcLlGyGLODkEZOeACPy47GpEQJIXkXdC6qmdoeNMyRk8kHHQdP7xwSM0&#10;kSrlGDZkUAlxhcMFwSMc9sDHT2AJD95pW+77i1GSkub0LCIRIECng4IOERdwGOQOD+OOBwOTU8JG&#10;6MqzYJ3iMRljgleRkZ5yzevzcYxUUakykrje6CMHyh0IXcA3B5ZQTn1PXpU6ojuXHllVcHC4JkyH&#10;5x0x82QD/CenYCV1yvdfkbSblJa6bL8CyjJHvThkjjeRwD5ZJIJBB6E4yVCnBLJnPKmxGxDFNoAj&#10;xuPBSI7gqgHnkAKuQf4W68YrRGVQSZFcouGZj86kkFs8ZJYktknOSasgGbcWcAeX5bovD7goAKqR&#10;g5znj+7yDQ7cyvqYxU3NLo/07lhIcbwI+WYh5JV8sEbo1JyeuCw6e+SACadHEAqN5jOzIY4nySWB&#10;IYsCTn7oJwPT04DYhI7LImSGTBjbB2g87QOwGfcnj0p37wkkRhI4VJjhCliMYDMx6Z46dx26mqfv&#10;S9zd6jXMot2v2/C3/BLKIIdqrG67oy5PsRgYHGeAPy/OuqvHPuwrhUAzvGXO3jOSMdF9M+56zOQ6&#10;qmQSrBg6kKdu3dkjqev4HjimBmaJCX3q/wB1lTEn3jy2ec8k571nS54QvH0HG6j7Sm9N/wDhysUK&#10;KxRlCpNhWfPy9AC2euCWz/s+hxhI1WKZR87RxnzSzH5IymBkgY656Yz8p46VNvZSybtqI25yASTk&#10;cZA9yeTTAAjfMFVwVWZ2O085ZgT7huv+FXF8qb8hezU6cbt3Q4s5KHyiJJFVWiQnzVyQ2GA4Y8Mf&#10;XJ/CoyodJJCSWYbmXkAZGAc9iAWz3BJ6EVLGjecwkChGYqV2AYBzlmAB7HOevGeSDi6kAaC5d7yB&#10;ZEBMMDrI08jNngEJj1zuKjg4zTjJqVn/AFsNylGN5Rv+ZjyeYE8oRs3BMbMwRY8kHOMYxwBj6elQ&#10;SAlFKOUdyCpK/vFQDABz2B2cf7J45xWgIPnVwwkBYblIDDkFuePfj6elV5Id5ZdiETNgAJlod+8t&#10;g9RkK5zz170l7s+b+thTUeVqfUqD5X6N5ap/qwxjcEAnCkH6ds/Lj1FShRGkJ2qWKZcKvU4bZgY7&#10;Zzj6jJ61YkXMi7pELGQ+W5JCo2CSTgZGcE84IJwcHim75WikUhBjaF+cOJGXahbGBhm2nPGCEPA+&#10;VaqyUIpaf1YjkdJxqP4rakY+V1RWkSQKEDr8+TuZvlzx+OO+cVG7OrPIHYbQEIUkfMSRknGDnI5x&#10;njGOcVYWZ1hX5CAECru4fptAbP4gfTtSC1KyMpkiZdgACEwx4OeTnJwMquc4yoIFNNfDJ6q/9foC&#10;5ZKSWz/yIlwsZLMp5wAU8sqW9AB3wccckdKRFbGfK+VcoqR5Uj53LdTzkliamEZEWJCrK5G1cgAK&#10;QeAepJJHfPHbOKTaGZUj3K6/eQbVG4AlixPRRkenPHQ4rNSk016foUvaOKvpsSbHkRnUFHzt37sq&#10;p4yB0PByD0/DuMoDI28AFwC7OcLx6AH369+45ojcgwgFthQSuJFVPL4DbCT8xOCTggY2dwaHBfcW&#10;VMx8ESNtBAAK8AY/PBGPpVRtdP8AroOUYqSknda/oTrGSFT5lZpN7kKcNnnqR39PftTiX8zhthTm&#10;MFumeQ3J9+v61ExfaBvL+WgLkZRidvfI9xyc54/B5XZA23B5AVsfO27A5AHHYE++c9guWM4vW2v4&#10;hy+2do62IW2pFkllCuqngghQTxgjgdsnHGM1CgZRIJZMjchVVcoyHCkNjHq3HPGDVlkVonVWMm1d&#10;0ny7scAdf+B4994qoU3RgkhSZMB5C29SAOBj1+X34q6PvX5npsZyfLLmetv+AQMYUJV0BZflJErK&#10;OOMAAdPT29etFRSyX6viK1dkKq4LqxYblBIPHYkj8KK05LOysTaT1uZQZJFAnVNqtlnRiixtnHCd&#10;AT5YI+gHJIqJgC8floUjKqfnQbgMEE8cZBBwc8g9BmmqHR3yxYKnlzKvDzI5KkYxn+JVx6EkEYOW&#10;vJiJNhSKYbZGaZhsLbshfTHI+XHtjiuBuVrQ2e4owg6ipy6/1+IxpjGQuV37vOEcfyMW+VdwA5ON&#10;qjdyflHbkQSsoLtgoqSEDAJjjCttYDPXPA5z94Hng1KGaLdjychBGxVSGIABJ7djnIA+9UYlDKyI&#10;IwVYPjdty8fGRgdcGP8AI8mtEoqPvav+vyNYxpxvC19fuIS6hTu3qiAA4zjpxjIznnA7YY5FRPIT&#10;EGCsyCUyMSmIm2n+/wBOgBwpPQDHpM0vQr+7BgQq3Rl2YjGzgAH5R6nIY9euezFwQrFo1O0FXB8z&#10;ABAPQjPcEds5ByKFF6zvs/0MbNU1G+uruRyKBOx2KHjGWUqSw4JJ54P3h0xjYMZycNlQ4Y/LJCEe&#10;RwwCqVYMue/ILfdH+BpZSkgeXIDY2gBtiqoJIUk8ZJXp1YkYJGKrqzEgqwCrNnY2eeV/4E2ckgHI&#10;wOciqlGTqKK7b9NRSjP4Xro9RWw2/wA1SsoUyBxGFAAZjgsABwQwwOgXpUEsJwsqs74YkSPhB97J&#10;46d+O3QUs1yyhMEErtZSoOCXZyF6Z+86jI9OOKikZ1WRUUqpn2BHwGxkuMYBy2ZDkLk8E9KcHJO9&#10;ynok3dvv0I2Z1JijeQ7vlQhyqtkEbQMdsEkA9sYHOYWywdXBQkF1JJcKT8oUAdOo4/HuTVlZmZGU&#10;fu4xJt+/8p2jAz74wMnknJPeqblzgBmciNyWIGG+70XPYkEA9gwHTJbUpK8t0RNSilUs7Xsv1+Q+&#10;V0ZUbLbCxXcHABGAQRgcDBOMcDAHpULMroxXglhbjPLElSzHjB6RkgnoeO+SSu+zYoSJd3nySJw4&#10;KrtIYjBIPXr2XGOcs4ZJYiwiYqrqAS7bg2AoPsDnHoKLL2fLFb/kVK3O35A0bJGNmArbVU4AVV52&#10;8nk9CMY5/CmSHcrIywlAd7S4UtnIwRkHBDDd9T15GEYIEGGCHIlPIQlsBQQfcZH4+xFV9+xfmQZO&#10;G+f5jGWBIGPXkEk/T0NRyyjK/wAi5KLitf8AggoPzgPGI+GEjT4UkELjB69vl59fXAETeSpYvGpQ&#10;gMHR8bsN5fVTny+QMkY68kG5Soc/u5GAZ0X5XdSDzgem3BPU8U1mCq4VSuAFcs2IymGDEgjORlQO&#10;p549C7NPlb1MoyUFzPYlIYsVKg7ywYKm5c9eg4PJ4A4GAR2qKMbd7SA7jIsjmTplQDtJz1I3cY7g&#10;VYZm3LJhncq5keUBkkVzhuO4+YkcjjHPQU0lFCmQ7o403l3fYxIyfXORuB5x39qmlGK3Rs4QjbX3&#10;kt+nT9LjVCfuyCknyn59wLEg/MeASOo4PoTmmKqncskZ/djhSRH1ABbJx0wckEcE8AdZTtjLqFZH&#10;XcGcrsIJZVG4YIHOAc4GPrxOCrsJATuSPK8kb+QXwo4HVueeMKcDGKV1HmRm5xqJRas732M8ljHl&#10;tqEYiZMEKSBhiB+Ax374BOKtoVMKxrGZhjiNFDStg7DlSOnXg4yB75oiX50TdGiIGaKRnEjOVRd/&#10;48A4HAOegp8Sg4Rg4VgHyqnfgEYPYc545z6EZBrVtRSUt1bbzLpxu1C233aCQwPE0sYTbmZi6oA6&#10;rufazM46Lnkk8DOc0RCPzBJI2dw2OFJCKMHk45pDGMRvKDuUnIVSQWJPQ5J4BUZPYjPqbBCMluR8&#10;xdwnmTMMlSAUwBjj7w75xn3Ob0nd7al3inPlWidyJmKjaUIUoVCr8plYHd8wJHcDk88DqABT+Y3j&#10;QfNKSW2CPLErsBcnHckKc8/KQfeZ8KjHysgNlJSWkWMZ4wAfQFDnI/edO9HlSPjdhHYmNVRthAI4&#10;5PAAYhsn1NSo3V0TfmvKHT7rf1ueOfHXw7JrXww8W20JZ5rfSDf2karnDxsk5wcclSu4D/YHOBx+&#10;JniHVYNc8ZatcaWJkh1a48wWp+UmVmDEAHrhiR6Ee1f0CaxYxX2lajbSNuS4snj/AHgz8jxuGUjH&#10;HGADkZ3cYxz+HnjvQYYtKuNT0uzNtq/gPxLdWeoJEnlyXFq1zI8FygA6dVPYHBz81ff8BYqMMRXp&#10;TWmlvK+l/vSPkeNcFWq4OlWoJXTd/OyTt93N6ny9rtrNp+qXFldQtBcwzFJo3Ty2Vs9x2PtVdIWk&#10;u7a2U8Lh2IGAehOam1fVLnXtavdW1GSS4u724e4nmlOZpXY5LM3qcDmpdNjEd2JZJG81udiLkqBj&#10;j61+2U/aRoxdX4ktfU/EK6putNUPhvoWtQKWt0JDIJJnjEcSAkCJfX6npj6Vs6XaxyxfarhcJBLm&#10;FZCrCRsdWHcKeffj6VytuDc3skhDMzvkFuoJbitvULtoY0to9yRlfuHnavPJHvn+dTNv2cYfadi4&#10;cvtpVb6Lp9yVya6dbm8hi3s8RfzXdG3bgBkk/wCe9alxeMEEkKDL4ghVgPkTIAA+uMfhWBZoySMx&#10;GVK4RsHL8c4Ofp+RrotHtF1G+Fwd32Gxi8+6VT8uAc7AcHk4I/GolBSer91X/Q0Upc3tYddEvu/r&#10;/hh1wDaWyxsFjmvEDFVUFgi87cD++euP7v1ro9Lawso3u7mN2a2h3zjyz5UUhG2NOo543beeg64z&#10;VLTrR9SvrjXrtvs9haEiNkRcyvwFSNMcgAEE8AYGSM1W1WSGctLGfs1sj/3y/nuMhpTnkliD14GA&#10;OMYrOTslBPX8ttDWnHmUm1pH8bbtFS9u5dfmS3gUpYWb+dPjA5zkuzdy20nr39ABUlkU/e6i+TbW&#10;amK2ikf/AF8mcArgfdXqQPReapRkTxxWFmGgW5cnazYRlI+aRz64GSfQe9T31xEEjiRQttCgt7SJ&#10;B8rbQA8re7nknvxVOCgrR/rz/HQXLzNVZ9N/wt+Oo/RLO41C7lkDF57qQWySSHhTMDuYsM4AVXJP&#10;tX054JsrbStE1jVo5THZzzx+HbSRSN5tbQb55Gbk5luPMOAeiY5woHkfgfw9d3g061gAW71RmfZu&#10;AIhLspBI6BivVuy4x0r1Dx/qUXha0tfCto7i10aGNLv5hG1zOPnO4dSfMdnIOeYyOMVy4yq401Rp&#10;7vS3kt/8vmdmDourJVpPRau/4fj+RynjDxfe6pew2GlXFxaWNiwMoEzpJeOpAUy4OM/NtA7YGK19&#10;c1U2Pg/RdP8AMma61AtfatL5zCaZFYLtHBKgsrIpPJPmHkDAwvAmjxXMl/4m1YN/Y2kIb27kZQBN&#10;NNujtYkHGSTucLlc7Bz0rNt7ptS1M6hfDzvKu0S1tM5ikkJBjhXjlF3DPBz83rXNOnBQWGl5OT/Q&#10;6qVSc5yqxstbR+7V/Lv39D0rwNpKWmnX0lzLLba7q9ltieBwZLQ3JRETdzs8mB5ZmJ53JGuPvFZ9&#10;fvBYwWenko0j2McdtAgK/ZbKIs0MKAYC+dIwdjyWCAkncQTSld5/ts7+Wb1pxaETEfaljEhupVB+&#10;8N6iJT0DSn2rirrUZ/EHiQXCyqNkvlxyecI1OxiCd2doUnjOcYjz3NYzlKsuV/8ADW2X6nThlGn7&#10;0vi/N6aneQ67fabo8GlwS+VJqSrDfELhwGkV87ueu1MlR92Na4u8mQY3ExIkW4ADfLbxD/VKTwDI&#10;+SWxjksccgGYJd3M0l9LtWK2DJbpvyJieN/rjoB3PbtWr4N8LXfjC9kCSAWFoP7RuLpwI0dyx8lR&#10;xyXILjnG1SSRg1hSg6krVH1u32PSnOCso3/zb3On+HfgvV/H2rWfhrSRFY2QZtV8Sa7c7obHS7WJ&#10;U3yXEqjKpGm/A6s0mAM4rsPiT4z0lfs3h3w1AkPhrw3bHTdIiVBFNq0hkPnX0zfeaSUKGySdqkDH&#10;TPaeL9d0P4a+Ao/AehRRwah4hht9Uv5bcONRvFXLKbtyAwVzGjohOAmPlHmMT8lTXD3tzK80rGO3&#10;+TAGcc5IUY6k9/qa4KzlVrypQ/hx/wDJn39Fske3g5U4pV67957L+Vfo3vftY6qy1L7ZM2o3SRyJ&#10;aophibi3aRSqxJjptGASB128nJOdywWXUoL26meSO1WVTeXchLPt3AFVJPLOTgZ69PXPLQ2rXctl&#10;ptiZCZJlEkMY+UuSBsGDyQMLg9GY13Gs31jo9tBptuqyW1o/mIpI/wBMm2tHJO7Z5jjKsqZGG3Mw&#10;44rjnFRXNBa9vzZ6+HqTrRir6X1/RfgMlv3eQPNDHY2dpAy6XpyRgFARtWWUHjLkhjxlj6Y4xLeG&#10;4Z5ZZpjISzKCzbNjDBwTjt6L2xjpVPe9xM15cyCWWaXIBBO8EZDHseSfy/GtUSuPNaIyRbQ0LHgx&#10;rv4KkYIzg8/XuK4ZzkoXlv8A1173O/DxfvK94q5dS5ja8EZBe3jkExKxbS+cZz3ySAcejDjIxWir&#10;s0zyrGqoQsirI4RvLGXCnj0J4GDz+Ncw7SvLFbJNJIq/MyBjtkIHBJHYDcB6YI71qWLeaywqqosE&#10;hlR2fahwowrEnjO3j3I7AY55qLSktP63O6jN3ULff2e5Pb2j3E17OyyNaafCZb4xjDJl2VFPGDuO&#10;APxA6V01peHVnuRdm3tJIo9sQtk8lY+G2LGo46Zye5JJznIxv7U0+wtZYXF80V4Ua6ijlG+VkyV8&#10;zI6ck49QCeRTIruzngd7SCWBinCT3n2yfzBne3QEA9QDnGSMtwah3a91NNf1c76MZNuMkk7vX+vv&#10;NeK3f7Qlq8iMJOQoI2nkAEt2Ocd8dK6/TXO27xKHiiiLrIVJIVnKOc9c9R9Vb3rhYUMMiPJcC0ku&#10;cF7mTLyiPaeFUcAtwRng9+tattcRxGV4X2ruYtDgqG64wc9uBjk/15a8GrJas9DDTlFc6Telz0S7&#10;1TTbJYpILm9a4lt41uIp9PWzt7Qjew8p/Nd3DBo2LFY8H+Egbmo2V/NdurxNEkcMx+dzhHBJYYx7&#10;nk4OcdK5pwdRjigiUGW5Yl1kG2ddu3ODnGMZPqdx9hXU2elqIIFRt8ciqm2OQpljjPPYZ6/zFeU4&#10;WcpSXyPZp16UYxpwWr1flc67QLuCFkUR+eSHeTLZkjy3yqwPP8WOeOAOQK6C/uLZg8d0H/fMVdGb&#10;dknJwVxn/wCsTXM6ZA4u40ka3SScRvE23c4TIIx+BJBweG981p6hBb/2tAm9I1VJGZ5ZRuk28oAo&#10;7nJGDx1rmqU17VK+n/APUhaNNezi3bqc/ZQJJqt5/aLx2+m20TvEBEGcuuNigjOFIY5Ix2zWC9hN&#10;LLc3UcO0oxaMxxhIiOCGPp64HHzD0Nd6mmLdNJK0Sg7t+N2VK7mxj36+nX0rbttNs4tNu7ieTzpX&#10;m2W6NIAjo+Rv9zgDI46jmjnSl7xUMRytygnr+Hl+p5Vc2NxF9gZGeQ3bPcGRFAhVVKqu3PB6sMj0&#10;5JrRciGFbV0d7pwpZgm2ORcqOvOeQMg98HtW/e2MV7NFaW67Vt4xbxI67FiCKPunp0yeuM5qO40+&#10;K0jt5HhUSOnySSTEsxXCZVux6gAcZA45JpOr7l5f1cpczdravUWCUyztFDbloTHiRUyDG3Az6ZJ5&#10;69fardpojXFpcPduF2ttRg+51Af5M9zuPBz2BHfmpHJdWoLGGOMSY3op2tAQFYhu/IZTk8Yb2ND+&#10;IbVYPJkdpGWcuUU4jgYH5MuOhJHQcf0TcXPlS1X9aHRL6y3FRdlfp/XW52GkSWNlMYFcgyL9nZyA&#10;iIcK2AT6eoPcCpJtUnlaaG1KCQOY2QEvKTnAK9vmAI59TXDaZ/bOoarHf6fG8PlkPHcM4Cw7mIyc&#10;jkYIxjrk9jXq3hfwxbh5JDLLi0kV7nzMEuTsXLdQAGkVc5z831rlxFJwivaz3Wq6nt4epGHurWe3&#10;zLOieHdX1u4s4I7GQTEhLZhESpOehI68DOOP8e+s/hnYrczvrFsb6OGeaI+bcNHBbkBV3eWpG4b5&#10;OjEg4GBkGtHRPEaadLIqsFAnjjj8hjE9ugHlvIueTnDMfcD2FSy+KtQVZ443maVICLWWWMMsRl5e&#10;VCeQ4OGJXv8ATA43JJKUIa2/r/hz1Kf1t1OVy5V22/H1PY/h7pnhfSsWVxawIHndrecDadhVdvGP&#10;vkLzjrt9iK+l5NUh0rStmkWsVqfsMpNwF863TEbY4wArcoFXIwTjsQPzx0XU9VivBGZpS0Evmb1l&#10;3JKPmJ4znB3EeoGc19DSeN9SOiWdg0MkgknMTxgFYXmhG2Nkzx8jOwJXGfMGScAV5OKqV7NSbV+x&#10;3rL6E3CrGXM3uemnxLM0LXkNzqX2vz/s5gSUlHh+bd8pOAcbVyQeHPJBIqrqd2t9Z3PmMz3Kwx5j&#10;bbJNE29CQCpMYbHU84AZThhgeRz3Oo3GqW7Dyo4Y1SMITvjXAKEle4cfXnBz69pFKYr+30y+fMdt&#10;AVgkt5gwJ3eYNrjg5ZiB7kH1Fc8sLVklz76Kz6afqe7H2FCFOdJ66vTfyR2nhPUZ7eCO+LRweWUt&#10;wZZERlWQjl8cZ2iTAwTg8sCDn33wt4gjsM31tctJYXhKWsYCpGNsacfdHBOxuckFzzxmvjnTLa7O&#10;p3MMR3QQOYRGheIPtYheQM4C7+vUng4Ne5201zaW+my2sUaRkwiZZxxbq4AdkzjhtgPHJEw24BwO&#10;NRqUYcsV/n6nZU9hJvmad3r+h9NWHiF5rFLq6V0/0lfIiUlTb56ZJ++MZORyNg+XkV3ck7z2FuEu&#10;Wspi7IZ0m34Ygh0dNueAfU42twOK8Pt/Ex/sywsJ7xltR88FgZyE3ODuIj4VScnO0YOeldHaa+l7&#10;Yh7WQLLCNjoql3JAyAAORwvbH3uTjNRzU5tweqe6OTkm5RnFWtLR7+h754bu38GapLp16keoSRqn&#10;nxXZfM6nImiCrldmVb5hz+7OCOles6N4ua21E21oILCCWaS9sY5l+0FzD/x7hhwCF+UEgEDc3yg8&#10;V8UW3i25S+Fw0cgKooAMxg+XdllKnrkswUAg5+pNeiWPieRpLWTzHkezUyxi4uGE0Jcxh2Rgwwdq&#10;wja2RkZx0xyP91NOHupPRfP+vuOmvhVKPNXs5Navuz7bv4vB3i6C80LVolE+tWK2C3MN69jbaa5i&#10;SNrl2JOQZXYFAVG2Q5XjJ/M7xfPP4K8ZXuhXb2kj6VNJpl0La/W9gYxkBSswUBgQ24nAClyuDjJ+&#10;qLXxMptCywxOswDTSmTLuQcgMAxwoYjqedqtwCBXhn7T2kTamfBXjKLS5tDl1rw7ew6xqFnp0FrZ&#10;eIVs794pbnzCpQzx5+zSFdp/c7m3OXLehiHLGYNSS9+D3tunY83Jq31HGvDVZP2VVNekkv1s19xT&#10;8J+KYb5ru9mvJHtzbhJlYbo41jUpkbs8KAoUHjjoM1oP4vnRLSO0upJLe6viHDbhcQrliu5c45UA&#10;8DnH1r548IxPuvWSSdrgyOshfHmbdqCLcBhAAByAoAIOMA8e0adeWlxZQ2rOpmiOwgqvDsSAqj73&#10;fB543DgYNZUaXPRXtVvt96PeqYzD4evJ01e1vlp/Wp6/4a8b+ItLupo9NnbN7b/Yv3MgYeTOAsiu&#10;e4IPK+9exanqH2a0sS9uLia+hWF2tiJ5MMiq7lRnbuLEbSQRgH3Px9Za9d2d7shtwY8FVSOUNL8z&#10;hMhevOSAeT8pxyAD6j4Y+Idta3lne/aFje3nza3KzeXJAFw6jc2D8pjDAnnPpxSp1Y0VKlWi9dn8&#10;9/zKm44mXtqKWi2W708uzPoa51rQbCzi8rSbCZvPaaWcLJeG1Kb1XA5A27fnHUsMDB4bL0zx6tpq&#10;2m3UkImijlMSs0Qt44WBDjaOpzuHysOAo+gxHvE1W1SS1uLe5QW4ZkS5Cs8Zk8pl8wDLNt2HYBnG&#10;QCM1v2OiaHqkMumasl0HumFzbX9rOLktKsgBnkDZO7ycKqgryBwxzmcRQWIqKFOpaWlu34GNLE0c&#10;MrVYN3unvdd9+tj6k8OfF8C2nt2uma3hkRZrQszRuRjYFBwuBwSTgKGx1NeieF/EFrrviLTorK4l&#10;tLO9mtrkRwzvAsZklljuImZcsFj+Rg5YMB79Pzhkvf8AhG9X1nwxb3k89kLh7fTdSuJDYXGpwF0a&#10;GZoycxl8DKhicsOa+ovhlrlxHDY6l5qkRRJhVlCy4WReVJIzglD8nTjIHWsYYqtGUYYlOUYNO3o9&#10;fwJzDKMNTwzxGF05lp80mvmfeXh/ULXdeeBfFfh+C8hS8uG0y8u5n07WtMaMnZdxDYGZHQqArEIS&#10;GPO0Y9q8L6vJ4S1xNJv7bVdO822j1W0lvYpY5XVkYQ3UDAgSRkglNhweclSSa+bbj41v4kudEfxJ&#10;dQajqGj2YtYNRuSsup/ZyXAiJb/XBnVhl/TAOABXu2g/ELQfEfhZ9K8S6gFOlW4i8OalAAk0KSL9&#10;xjs82QBkVSu4dcAgEE/R4bG4KrOdTC1rShrBuy0S1hJ/ek9bfM/L85y/MnhU8Zhm41NKsYylKzei&#10;qU016OUbK929Wve+gYl0yPUdI1HxVYRSS3M7WFtqul/ZzFcWiwthWtkUFGVZGADMf90sMj8Z/wBs&#10;z4XzfDrVrj4kaNNcXHgjxbrOo2upRNbOj6TeLdzFIBMdyurQlQGJVjj5ohkZ/Vrwx4ogNvd+H7rS&#10;xc6XeyLPbT2/iZ9KjjkCL5crybkJWMhiElYKSWPzZU18Kf8ABRH+w4/htHp9i+uQaXdWU2tJbale&#10;zXskOoKQ0pUFihdiI8yKfmWQA8IBXo5usJmOQ1a905Rs1p7ylpf3rK6dvx1PneDP7Ryji6jhJqSp&#10;z912a5HT1atFSlySu9tEnH3bXsfihpvjGG+8QXEUF5JElvuiitgdsceFYswxgg8dPXvxX0p4c1Kx&#10;8RWlyt1fXEHkBdqaZL5bSjAyDklcD58hg3O4EHt+Zlrqs9vqlvqCBnbdlkSRQ7KwXcWJPDHcMZHB&#10;JHsfvX4a+OtK0+C0vbqztQskcdjIJJVdpnmQKV4Pru+7/ebk5Br86wVNU4yeI663t37+nY/o3OqE&#10;oQUqCu0tFfqv0Z9X+CNFnmgMls1ndwWioGs9Qu1shNGzBGMR5JK5JwMnjJAANddaeKrezulS2kvI&#10;tHeXzoIZ7z7Q8UQLFUacBRJwF+dUQH5SMdK3Pg+mgXujXF5bGSC8s0mubO7tLjyCjk4EeeQBtaRM&#10;Eg/N1wMV0mseG4J9atf7A02Vbuz/ANbp3iC7jhY7PLRYh8sZGGMQWPgkHGRgV7dHAR+p06+Fau30&#10;+X+T06nw8MwhPG1KOJi3a++ltv6v0+Z2Fnd6M9lJ4i0+1vL6xijt4r194KaWhjZZNyIpMqMWR/tG&#10;VCbTu37ty/Vngq5/tLw7b3l5fS3FlHHJZQJZaN9v1PTPlO9zvjMbg5z5ZPzhW2jglfmTRrrxB4G1&#10;a+il02TQzfXUoutPW4mtLS6t7hcTWZU7RJEQxwASCp4BAyfq/wCHEtlJpkk9osemEHzrSKGKC9t+&#10;cho8TrId5yhVoyuA2eD19rKZRjieSq7Ss1JNWT63tdfc/I+W4lqVHl7qwV43Ti077q1tnb1V7q91&#10;34XxJbeIPBtpqeo6Re6hc+Gi0Zlea2XR7/TC6iWOSbTmcyxBwrNHLt2HfgEgNj8Ovi5rUEXxo8R3&#10;FpMUtbq7XVZPtLNMwedfMlBcgZw28naMc8cDn+kn4hpFLoz6Xqtv4G/sqHTJorLWm1XU2u76NokV&#10;E8tWRFZ8REs++JZSrMm1QH/lW/aMttT8KfGDxLp0ZkZbO832sgmR2nt2DmM9eV4YAjOevQ1xccYb&#10;6nChChK9JyXX4Xb8n6nseEGYrOK2Jni42q8lru3vxuld2+0rXezV9ke5+GfGBTUJ72K5uCLy32zs&#10;rPcku7ptQAj5CVEh3DkYI5zg/W/w98X3GhQ2yJJIlxe32Y2ly3mDIUR4xjcDyR29sivzW0DWTBZ2&#10;F1AkULSfvLn7QwQRjOMgAc59TnqO3A+ovh94wuJNRgiiuLYyxob20M+5hHsClMBT8pBAbOcfKScj&#10;IPztJwaipvXpbzeuh+j5lgIV6bcVot13tt+Z+mXhKK48RPdWr6nY6esUrXmoXt/MsDtvUY8phnfy&#10;gyv8IDsSBjd79pdxpmhW9xpeoeEI9FstR0cWlxNfwfam1SJDvWYyspYxs8DMGTBVDjbnl/iDwv4o&#10;u/7Ns9UmEfn+XGbo2xW1/eF9u7OeApAyCedmTngD6n0TxhH4iudP+3NLqD2tgY5rmVkeIJ5MhMbI&#10;coSoUKrH+H0xX0GCxVKglSpxtN9d7p6WfbS+x+U5xl9aq0560lf3U2mpK1mrOzd1e7TtpZbnsPh6&#10;dLq2uNG027+2afPaNf6VZXLm80udgVdVZsFRMrIVEw27g3K7eF5vxTLpWj3NrrmnanKL67vRDqWi&#10;X9rKlrbiVM+dZ3TSMsin5BsUA89c5zjeFZL1vtqvJFHFBGY7WG0uSv2VeN4bKhdrAtgITnd19al9&#10;rRstRhtdRtbPV7ea5O6zvt6KsaHbLGsiMskZYE/OhDcDnB573jZ1cNGjXVk3a76aqzSXb8uh8/Ty&#10;2VLMZzoycktXFWTndWkm2rO+jvo7r4rOx0KeIbTUIbi2+3yWOeTPZgSvdyRKfKQplVOTldzN0P1z&#10;zt940eDR4LC9c362s7RhpZBKUJdV8rrkICS2OBlm9SaybjV47/7TZWltbp5Mfn2MiWga9h+Ys2Z3&#10;y5UL2YkAEknjnB1CG+hGtyXMcTGYLDcWTSvJG7LIXeMypkBchSRkllz1wa5qkq04XpSbjs3b529F&#10;bT1Pcw2AwVOaWIglqpKN1ddLppJ6p662VrI15/FdsfsFpaqoMaRxwMMqY1hZyox3AwR8xz8756A1&#10;2fh6+8I6hcouoaZqF7qWsH7DqzpqRFhcR7C6NDbRRZhbdECZEbIyyhgGOfjSXW7v/hLxaXbiwsLN&#10;EEltaIwLiSQb9rswDcJtB7fMOM5PvNjdeHja2L6FNdxaxa24N697djyndLjejRp3JjO1kJJ3Qggl&#10;mOMsuzWpGpL2ko6OyUra7aJW3/S6PSzbJsL7CFGmpXkm+aDatdXTbTV1t/29Z27eiX+l+EdEA1vw&#10;7p7roojH2rS9W1Ca61e1VNrNiQKECFlkTdjf86kkgA1INZ0/VL0XunW2pS2lvbSW81t4duIxqBgM&#10;TI4RjED5fltJvZlbh23ZBbBo2veE1m+zahFdaZe24UJczxSyM6yTBJIZgDzEyk5XBbjqM4qSNZbO&#10;4ElpELuRJnHh9tOYWl1e253MGMbkHK+YQu8AbEjHVcj2o1KdaKrQnFaptJJWtt6X7bHzri4Rlh60&#10;ZuUU1GU5Ozi13u02la7vzWu3scDqfizRrZrS7u76/gDsljNFZug12zgDMGLxYVJJSgiDAhVbcpYK&#10;cV0Ph7xFpUtnLpVhr8lnrcVm7W99dDzbXWWyJIo1XZmFl8whjhvnXHCkGvPPGGhQW8l1c3Nhd29z&#10;q0sd3cpqMyXtvdur798LBN8bsqru3EHCcEE4PhjTy6Q93FfSzCXS7s3SXBlLefCpEiuW4LLjGD3J&#10;HUdfGx+KxOEq86Saabe69dVt/XQ+pwmAy/M8MqcZOL0ts1pto1ZpbWfTXSSuv018L+Kr6Gxuwb3b&#10;rd/Eo1q3kQJbXDJGY/tFvcBQ4Z4/vlPv7jlgQ2fT73xHp17pmnsYontUdJZFEMf2i1kZApkGNrOQ&#10;wL8kH97g5r85Y/iXdM+g3djf27RMd2pW4QMbhG2iJY3HTJyT1HQYz09ti+IFrYIn9sTxWUV/b/ar&#10;fzJ/K2BSA2cnAxn2UY5x39LB8UVrez1UGktdrPVP79/PU/Ns74B58THFUornu3aKs1aytbTaK93d&#10;paXa0PUrq98RSrrVv4VtIL+6ls2mls7mGC7E4XBb/XHywDs2hjlgTxiuDHii1h822sF1Xwp4hck6&#10;hILiOKK2ZpFy0aqhlUA5Y7iS7Sk9OG8tuviHoxke4i1E3SxyyRS3mmpNd2brK21EFwgMZdDE+QrF&#10;vlORzivOz40s7rVNXk8mGJ7e1EMuozPJLLLkPsTarFVI+dg3B/efN2A6J5zZQhCWrfV3W3TTR+d9&#10;T6TLuGYQpzlXinFJO6Vm2tPfu2praycdPvt67pnjuz0zXdWltfDul6XqEekLaajqGjaWfKvlWWHd&#10;cakqMjytKiiJ5d6qPNUH5thq74l143+oGHS9Un1WwkYmSR0/4R+4skeC3a3Sa4iQQZVhJGkhZyUX&#10;5sHNfH1l47W71W7n1K6j0e41AHy/Nm8qMkFRuCsCMlQWGDj5Tgc1N4t8R6nY2Fzq00qy6ZYMrpqF&#10;jcIxd3OwCcrkoBywD7SSoA4PPJDN8XiMO6dR3V35Na3/ABXkfTPh7BU8fTrwXLK3LrqndJbvXRp2&#10;s0l2PqLT/GHi17ux0DU9Wnt9NtreTVtMvp76a7S2EIiCSRygko4bhlU8ALgZzt9o0b4jRfZ7KG7X&#10;QL+ZJJbr7Ze6lHPYXTiEqPKgjcQnbG0gyckhwqjNfnN4O8X3EV7Y6i2qXbbnlUrb3qvDBuUpuc7s&#10;qvRTt55HGDmvZR4x1iK9t55dJaB7mwF9ZTXmkpeRagqqWjKBl2sS7Rg4zkc4IQA1g85ryqRdOUtN&#10;Gm+ay0OXPeFcDiJKjKMErNqy5Ped77b36rW+jtfU+jNEvF16+uhOdN8KzNq0ktrqM1oxe4RsKVRI&#10;lLFOWIVSpHmA4POe/vbjxVqy65YsdNvvDegK63VlEH02wv7m4GBJFGB5ruWJkYMVVd/QEHHxt4c8&#10;eRay9pcT3lrbvdSJPaantkkkQK+FiQhzhcHcGAJyoGBkGvbW1PWNNt59bsJ/EYubKQRx20sDXVpa&#10;xJloWZgCu3G1drNtw6fKvJr1sHmFKMXCSbT3s7N+q2a626nz+b8Pzp4qDg4pqygpRvGMrxu4y+JN&#10;q6vd8rd0uj9Y0y0ktLMX+qy3baLHALZ7m2vFtL6a5ALTR25ZDgxsI1Y4OMngZGbWlXh8V29rZ3q3&#10;qW00qxwWd1aM8Zt7b9/NK27Bdgkr7c5AMgywGA3lC+LNY1kx6tJBFrNxdROj20iEw2oYFpppQhAX&#10;G4E47D0Kg9nZeMjPazNJqMVikr29tZ63HdqX020KFZ2lSMlo2HloI1GW2pyASorXB18I5e0jeNPo&#10;n9r1/K2tr6s+fxuT4+EXVlFOtdWcX8DTsrRs23d3bSi5JNRXaxcfD7S9R15YfD0I0SzLmzkiVvMs&#10;TKpY5cfeBLbVByBwzMWOah0G31uw1C7st+laRFYRSxzXF3fsovCUfATarEuTIy8EAI3YZYrpfxGu&#10;buYWL3ljc297N9svbdY2e9vE3SCOU3GcHGWJHV/M5Iwa2IrZfFMtxYW0UjXWn2s+p3JuNgsNNDvH&#10;HGEfIZty7OuCT2wSRNVYOu3LBxaq3e2l9nbTZL8737mdapm+HpywmdW9iopc0rya/vNytzNvTW6+&#10;Fp390qLd3V5fx3MsqukMqWdqm7eLhEHIQdkUFSD3LHGfmIj1QKTplusUSWrL5s8gHyNuLyHcM/ey&#10;wGOhxzmsu7luEiFvbRyCayhEqyIwUTfJlwTz8rMQP9wjuciQ3klx5Uk0axSKczrImIwGGCQpzwB+&#10;Py4rwnVmm4STvK263elzaOHcZQqwsopWSXpo7fO/kxJmS5mk08W5ltY4/OXy1YKzMpT7wPowPJ5P&#10;OOBiGOwFijrFuEUjGVWaRcht/IZeTjA74BLHrV631GWP7RPNFI5aUTyXAwCu9SZCACAdwYbsjsPp&#10;UksxudJF7BbRBbuI7lEAiZkYZXe64Yk5znJ6D6U6sYThe96lm9UX7SvTtTt7jaT1um97+vr6dhov&#10;He3MIVm2MLhMZYsdq4UADk8NzngtW3eb5mvDFFtWOO3lXKK0UOWaOQ8jGR5seGHI2tjrXPWU0bC5&#10;iVSs0cKOVUKxJdNrYJAIUc9MdQOmTWzNJFHaJFvlMR06OCTlkM25AxJbrgcAcDhBxnJPIpzinK91&#10;Y5MRT5asYRj1/Plf9evqfDnx+8KWOnyWuqxyLJdWtuTIFhZ4iVygVSFGTgLzjjBHOOfKPEPhyTVN&#10;Et7r4SalqHivULrTPM1bwxqBgsPEMc0atLdRafC0rRzo21kRFw8yOUaE72B+s/jVo1xeeG5bi3ts&#10;3Ntau84QCV0VgclcnO7I3ZBB9cjNfEOiWMFppkg1DTri6htVeyWKGRUntWckIW3kcBUJ+ZtwEbFR&#10;nIPTluKqUMQ3KPutfk+n6ndmGCjisCqil7yvpp17rytofnZ8SfEdrrfj2+13T7S9/tzQZ5tS1Oy/&#10;sdtKTWI4gDdO1mEQpJ5ck0NxbgDYkjE4BDDufhL4huJ9d8Pa34fs4TFF4stoEudThecaLbX8N5ZS&#10;Tkn5hLDdTWMYcgEqQR8ua4vxXrb6n47vPD+u6i2l6pZ6ov8AwgvxAuVzqujThSsEOoSbd9zaXGVg&#10;kR2Z0RoyjAJsaP4beLW0DxPfWviLwvcNF4h0i80ODQLa4aa10rXnubUQ3NuyfPJHuGUzsc+ceSUL&#10;H7GFaOIpxn5/Ndbf8E+Er4WWGr8ko30+9af010PT/wBuXVI/7I8PX220e81LwNc+GvE8kdn5WmxX&#10;Vjq2paltjiC5jC22s6erIvREwMLxX80ni7WLXw3r/wALp7R1l0nU/hVbW1vJ9lYPYNB4j8TJJDEz&#10;EKdoZCCp+WORFzlTX9Onxd8GT+MPgdc+Lb+3guft3xH1YSTrL9oaCLUvhVp+pWUBKE7BLJZK207s&#10;eQ46/KP5fvH97psyWXgSe4Fvq/hTw5DrWk3D+a76nZX2q6jq8kIXn7sV7DKMAKQhI3MPm+jw8Kl/&#10;ayd4zS9Folf8NfU+ExteksQ8NFe9Btrz1bt9zP02/b0+L1iPGH7Cf7RNhdXbWnib9j74U3fj62YC&#10;3/4SC58NP4l8G6/e4JJmEtrDBZGYjBWzQba8M+M+kReHLQeBdPWC/wBK0fwraeLYdY8xkhjtLa48&#10;VafZtFu5xNDqNs+QeA45O/5fK/2h7XSr79jb9hbWp9ck1zxNpsfxP+B3iqyW+N3baTDp2seHvEnh&#10;dFhGBEJItZ1qYovB3u5Gc11PirX18f8Aw28K64sUlnJZ/sx6ppniC6juSfPvdE8SadFbTMw+9iyv&#10;rLKjkYBJwK9XG1JOrF1JJuUU7+aSX3vqcWFpxp0J0oJ2jUlb0cnJL0Wln5nA/E7w5pl/+zV8YL63&#10;kuJbqw+I/h7W4mkMPlW1vd6PcPcbIUO8hZIb5PMVSnyw7irOgPx18C9KbUdRvbTzT5lnpl417Zxs&#10;WN/HEdtxsRSNxj2rOM4wFPXt94eAF07WvDXxu8H6tAbuxufhXp/ja0iKvNFNPpFze2dxGCAdoWLU&#10;nYMSASMHOefz/wDCet3Xw5+JuleJrQ+dbaXqq6hLFIxSO9hZGguo2VTkpNDK4YDqJG9KijJywtNJ&#10;av8Az/MVemqWLrP0+Tdlb8Df8GXccV9f+RDLetaNLp01vMg/0hQwROM54xJ06hlwRivcWivYfCPh&#10;nxsIpRJ4e+0+D9Z04n7HNeWId3tZ5SMFiv8ApdpuB3KYsfxLXjOsaTdeAviDfWTr9ltNVtYtb8Px&#10;rPHNbXtjqskUtmwcjay+Xcrk8FTE6kAqVr6n8AN/b+r614LvUa5srnwVqkUNlO7R2qXcNrLqMkIb&#10;plp03hRlWZjk+vPiaUqc3R7uy6WWlvuOmjXdfDqcteVfN27+q0PnLSdDvT8UdM8M2N9cppOseL9O&#10;i0W8LNJk3GZLa6KZPIeVlZcnazNg+vt/xm8DWeoWXw48faVp/wDad3peoS+HfH2m3MZVTqlqzPG8&#10;ifeCSxqvBySIn5G4V5taWXiD4efEXSJ9VgbU4fDMWi+N7cwBbn+3tPimt72OSB0wpVw7SblIwrOQ&#10;QDk/Vv7MfhrV/imfi3Fco97e61bjxLp9zcFRN9sgMk0ExLfIX2yXCHHJ3KeSAK83EVvq/wDC3tr8&#10;+34HtYLDRxME47R95fJrT7r/AHeRifD+yt9FutJ021t5saroVmq28QLIrkQyMGJzljtYA4I5JHbH&#10;03axokVxHHukUfLGzOAinsFGOMnkd856815h4X0lrW50e6dVS8tYXtplBBlUo5RmYliRnciYGAAq&#10;47k+sW67vMHlsGMiruJCAbguDxz8ox6H5cdOK/O8VU56vP2Wv4bn0LjCHwXs9vl/n0FEZZcxq6sr&#10;hCDgGbKk5/XOTz+GKbLEEO3ezKcMxLBSSD91W5GB3wDnjpirDAfP8pDncsn7zbGwIAVQO2dpBHTk&#10;dKr+Y0ZI2Fsr5g+ZgSGcj8V9vY81lKFRyV/N/kTGcG1JLdWM6bbt3OBGQQYSuCckjv16knvyOnem&#10;SxhkJdpELoEConXeo+UnJx8vXknOc96tTM4PzAE72EaAlQu5eM4PzY+8eP5VBJjKRgHch3K4cnfy&#10;VLA8HoTyvYdOgpqD9nFt2asyIU01rpf5+n3FUMJUcHBKq+6VFzwSMHpgHCqTgZBBAOCcxqrHkhpF&#10;aRpIvLUByTs4QgDoFGVIxluvPNiSHcC7KrA4YkkosSncQc5HUbRnr82R3IhkGzLDMkgIfepOw4wG&#10;PoBuLDH8JHQcVS2SX9XKUnGSi43I1kclJJCJC3Ey5BBYgfNngc4J5x1GeBmoCoVwQrne27zx0cHk&#10;LjAx06kE9OcmrLSBIy0QwyuZZZBgKmQB8zHAIOOi5xu744jAdjJGDxI2xWjVUDfKQCQCeTkDHT1q&#10;YxUdR2i4++7/AJ+hChmAc+WXAf5UERLZIyuO4PzZxnkJ7ZpJwcYIAgDBWVFCgNjBPHUnaSepJzz1&#10;BnaMhi5RHdMJGVLsqoQCSD14+Y88ZxyeaXZuRWIGMhSS/wB4gBRlSevTJ7bs8HNVCS6oc42a5H1G&#10;HCRjeC8qkhiSWCNl+pxyThDnptx74nQsIkEQziUs6tHzHkOA34EgZP8AePNQpLtO9RGdjlGWIlgd&#10;wDDcT16Be+Pzq1nglQqJuBG/O0lSW3Nz0OFJGRULVcu2xk53i43/AOHJFZX3YdnImX59wAYqW3Z5&#10;PAYAHr9004oirGEOI1hClTgMOCpwTye+GPYDOMkAV41jCNlmjVVj2sSVQhQoxn7uAADge5wBUoKE&#10;bRsBRdqs5w7nPGPXvg8A4PNOOiSQoyfLafky0QyoMrzksW6KSGx1x3GDT1DK0WYlA27GQAYyWG0k&#10;jrkkDnPJUetRBDK08ToMBAASmyJ8qVGP4sZUEn/a4NTgMhclF2EgsUk5YEgkNjjruOffmptZtyVt&#10;vmauMmuZevm/67lkqpiM+0uw5KoTtfBJGB6dQOc8fiY2WRkViAGcsA2whQdueeP61Mu93IGFOcAr&#10;ztAIO38tpA9aizIH2ybkkZShQhjGhPykZ+pbpVRXJK/XT/Iic5uMWlb+tx67yRhnXGSyoQ7ICCcA&#10;8E/dAzj0z60ozFGdqB5GK5KExoDu3Y5GMbdwz3BHehlwy+Woww2FQwbkEBQB75ODnkjr3qNmLyFZ&#10;IpEZOUdgxLZX7wGc9GKjPTrVqXuyXV6mlKXv+8tXt26D8SyI+eGSQ/MP3ZKrgjGD1IG3HcsTgZ4a&#10;HRWcqA6ibqo8wjZkEAHtkHkH0OTTzIitljg7MMGAGNo5PJxgHJ57+lRcKSNq4cYVlJYkrnggnGDn&#10;36d+KUU02v6f9XJlNwjySlr6fgTBlJCsZEGThgjc84G5fY84PpTArMXLRhBHuUEHcSMjoT0HHfnC&#10;57UEFlVQgDD7m5ioIDE4z2z94cd+aaWwyqqkBEz9/wAtehyc57Zx7+nNSqfMve7jTbinLo/6+RGI&#10;gNh4Ab58gMy8Hj16DB9DkYqInJCruRmBJkd8MoGMKO5A+bP0zipn3SMrlArFgGKkJnAC+oPQYH+T&#10;RklTvYg5zEQOMjjkZHUE4zkZqvemlFL5GbeiqJXf+ViOSFCwjZQ6O+/a+HP3CCe38XU55CjgcYMR&#10;tEyBw0anYGQEugIK7dwPG0rjjp6U1QVAkRt53/MM4J7ZOevUce3X1dh1DK0eSWAiAY5ACgg7jy2c&#10;4J9RznjEt7O+lthOUpW5viegwK+7zD/DDuDnLZB2jBGMjqPyNPmTcy5JBV/LI2BwxPAO704/TqKB&#10;sLKrpGzBApUkruyx3Env1VfwpxlQqQGKtsYHzOWfPGSM98E9RkA/SneSkuZatf1f7wpxUG0+pExe&#10;JyXYEKMgBsFTjjp6hmPPemMruB5ZdECiUgsof5+DzgkgYHbA4pHSb5i8YLhgiZbMarjOOvXjGae2&#10;XBZfkjyPMKsRIm3Bz6dTwRzRyymtWNKo4p6t7/5io4Uyu6B12hSqkBC20DJY+gI55OG6UxCJNu1F&#10;I2+RIGPmMynkAgHjr0PTnilAXmNHQKWYSEchdu4dc8djkjoKnyUc7YyjKCsaJ+7duCM5JP8As/pS&#10;s9lv/SKlBOS10/DoKuwnYowPLAkkXhsgEjA6cZOT1qfO3czKkg3hlIOBnYOeenf06H3qPOGYqEG7&#10;AxkhugHPXngHH604ttGJNyoxYqrqM8F9wIPIJ9MZ4PTGDcYTfwsSi4fvKfwpb/cV1VJIg4DArDuj&#10;Lr5QXeqsuM9sD6dRjOKajSmNQ5AkxvdvvjHU546AEZOPXpTxEzRAcyFgoY4KIQRsJH4MB+OM80TN&#10;Fhn3Iw2+VGIyDwACAfz/ACx+DWj5d5CnK1nLdr/IEhLjdshG4kgSAM4GTjJxz9aKjjlMSBDb+YRk&#10;l/MVckkngHnAzjn0oqXGpfS/3h7WmnblX9WORkkBeQRooxn5V4wpbHcHoSffJGexMMjKQ+Vk2K+x&#10;lZtzEZCKM8cYVV+gx7U4tv2uXSWQvvd2+d5GLEEZ6HIYHJ6FQfcVzmNJSJQZAhLKrYG9VZgR9Se2&#10;Oo64qVu1YiLjJ+0XTf8Ar1FO2NmHluZdxkUE7SgbAZM5yB2JxwM0zcG3AvvETERwlOg25bgHJ6r1&#10;67OtVpcuHaAlA0YjfcDjBwCd3qSCTznPcUx0VYi+3fnDzNgLwCGIGDkAbCOMYHTsaFSSldLV2Fzr&#10;4+lwlZnVVAMe2PJGwqwUZy3v8uSTz0prOFMoUHYSHCMwkGNxXOR1ywwOSOnrTUaKNnJJ3EK4YFgk&#10;gU8hec4PzjknOPpUDmJVlVJVAf7/AJjIpTnBy+e55Hoc+hpyu58it5/MbnTaVVPW/wChEfvyIu5t&#10;q7nkwjOwZl4AHqWHy4429+tRsyhSHKmKKJIl2NvZVVVQAnPVVVyME9xzgUoDCOTH7txkt5ineqsx&#10;fJI5HLMPb8gKzbPKcq7PlgsQYDgEvySP4eUwO/POeaaV372pMeZpTe7v/X3DGlUHJdAx3KG4bKrz&#10;8wA6Dd35AIpXwGWRZAssiBZCgG4qGwN3HTJb17/Skn6ElZZHmAHXer4PQDPAC7BnOCdxPB4ib70h&#10;3lcyFwQSpDD7x69Scdf7o98uUZW5l3QN8jWltPyGSvuLLLkynA8sN8rDcAMZI5wNoJGAVGD3piIq&#10;Ltjy6kEqzMCSAD19ue/930zT2BSSJhtA2CSR2AdZvvgKR77Tkrg4CkgZGYm2NGoJYN5QG4ybix2g&#10;c7cc8BuRk7s855ck1BW+Y6lSz9p22/AjlZVmdxygQOqAqSitlhvbueCP+Anrg5QxxoS024uWDKib&#10;i0PY5AHGMg+ufypzD7vmBflAjQYC7iRzxjHzZzj04qEeWHZBgE/IJGk6N3PPcgd/73qKlcylyrsC&#10;i3a/X/gDXDSKWVkUh8thDJnZyP4eAvzFsdmGR8vLVG0goTGEk8lpAApI+8pwMkEiQN6ZdupBxLJj&#10;EirkhgHELbNse4qn94jAGTx3yMcnEEYjKhGGRuKiNl6BNpUgk45yflPHyHOQaUVyvmsXGKhdX113&#10;+QiFE2ggBiVJkIyRkA7W4ABHf14xjgmYmN/NXcTsHlqzqqtE25csSeSMIVyD/ETzyagdSkbOXAcE&#10;KxVD0J6KDnpwCcgnBIABKiUyBFVZFBR8+Zl8nauQT644VsjGDnjBobUmmlZmUGnzp9Hq+nyHFU3u&#10;2ECqdrMegwN2SR1+8enQqcgVKUQ7mZ9rEOwY7WgZCFbruIJIIJ6HkDgjBZvDMXCyP5kmFwyl927p&#10;gEndkKM/7ROKiJZjIjb0U42gsC20kHk98AhfqV7nBUUnFyLi17NX1S/qzJBHHuYLG+E3MUByp2ox&#10;wVJ9sZAzkjIGTQoEbeWFkztC5BwuQVJcgHBPA4ODyPcUrIiyMWJeQluF5IHH8RwRjJyOgxgcGpQo&#10;CeY2I1Yl1IG3PIGMHockk/hwAKJe7HQu6qL3t1/SGxpMDFy0bwypM4xiSMgrwDzz8oAxwM/UFuCi&#10;OgORGoYMxG4Fznbgn+ErgHGRk+tSqrbXBmCBjhyz7crx90njjIzjmmxoXB4Gdnzpn92FfBBOCCch&#10;s89moTTmv67PUysk1Thut+3QkcIFUxw8DIkVxlsFQQwPTIztP/suQBbVmJwQrEopyrt5gbpySTnO&#10;4kYxjjmoSm4YBBQszMVIVcNyMYGcnDZI55OeckukjMSmNirqXLBkJO4kDIyCRw2QORnPsaS5m1F/&#10;0i1zwipS0GptEg3HeuCRtXCjCkqxUfLkttOO3bHeyoYQs+xJC2QS2Cm0HdgZ55Jc46cn1IqRIQQq&#10;KTw2N6xNH5Rxzg+oxnPTn60ro6FRiMBo/wB2ZJA7OpAIKqeR27A8dQcUNy0trvf9CFFqF0tP8xv2&#10;dJY2TekcbgbJJD1QggHGQTgqeO+4fj+cf7Qnwwi8JQeNvGtvcWdoo0u4juNKvNoTV4LzauxOOJIZ&#10;QZVB5+XHUYr9J1t1SJA2BGoCx87HTae+PXg5yOSeOmfhv9t5zeeB4NJijWVozLrc80e3KxQ5h4IJ&#10;+87tkAn7qjPFetkFaoszp06W0pJP0b1/AxzKnSq5dOdVXteS8mlp+Nj8SJWEUhkUfM25lYkfJzjp&#10;7Zrb00Qra20qnNypd3YtliMbRn9TVO/h37JFUoGj2Z6F8EA5B/lV2wsfK3pujYtEXZd2VRduc4/z&#10;zX9KzknQtN/0j+bXF+2sl5/fYksrMJC99MAiAEJ/dJzwQO/p+NZ0zvJc7xjcM8k5yR908fjWvqMr&#10;NBbWynKLGZHEZHyjqP5Vl2ORIJD8yopmOV+VQozz+gpK8qnPLpp+RPJGyg17zs2y5OzQolvGAXcD&#10;LDGWYj5sD8BXdWlk1rbWvhxCq3Um261TawEhwRtiJ9Bkk1xejPE19NqdynmQ2n72FZPnEkhP7tOf&#10;fPWutsJWhgv9UuGaSe5JElxKcOCclip6/h6/SoqOUIqLjvr/AJL79S6coympJ6J2X3JN/p95s65r&#10;McaWem2qRSG2jNtbxpn7OucmRlUe54z3BzmuDvZnvryHTFIXJ/0iUDJVRycDkcYNSJdHN1dsm0Kn&#10;kQtkMkWQCFAz2Gcn1NWPC9i149zqVw3kRhSoncYXapy31JwQO5/OlSgqac5621frpY6Z1/aQiqb3&#10;91Ly6l1YnBjSOJjfXx8mKFTlYIBndznjJG3J9/Xi5p9rE99Fuia/kgk2PHEAbePDBVQN0ZiTyTwP&#10;RgMVHDMdQuTNbwyeZdI1rZRkB5ZQinBIxg+nTq1dbJJa6Ba22kWCrPrbjOq3CtuW2ZyNsSDsygnJ&#10;yc7iOnXKU3FJP4nsvz/ruXTjGbcW1yLffa/59j2n4dXNppuoX1+TC15Z20l/f3hjzDZR28HmMqDu&#10;EVFG3oST65rx/V21LxVrCWsge41DWtRa8lU5XdJIxckZPC/MxOeme1elyLb6J4RulCqs2rwRaEUD&#10;DdJEU+0ahISDkmSVtgb+5Gvpiszw+ZtFtNQ8dzxhdS1OUWXhtT+6aFMlZrhSTuIUfIpxwI3O4EYr&#10;hkoRrOpNaQSXz7fkejrGgqVKz5387dW/TUTxnqEGi6VZ+CtMuEkttLnE13JEuP7X1NkAZ17ssC7E&#10;TOeSCAOazLHQroJaWkUkYvJUZFG/McUvls1xM75+VI1YAtzgg8DFcppTzaxqc2uOC1hpEgS2WUFT&#10;cTyn5JBnuGwxzycV2sRvYvs9gso/tfxKy+XAzhXtrV5HQB/7puGJzjovfBolzK0X8Undv16f10CD&#10;pNqMX7sU/uVrv7/xJdfvpNN0O5lWXdYSRvoXhuRj5c/kRyK89yUx1aTfyf4mPXaad8N9Atp7DWte&#10;vLWCe20zT99us6iRlkmf7PGyKTyy7ncEZA8sZ4ODxXiaeTV9TfTYbkyWWnSR6RpyoxliCR5Mjjk8&#10;OzPKc93PPr7XDaWfhvwTptoBayX/AIh1YxFp4FnWNLOJQQGIIVALs7uoYMcj5Q1YyuqEpR3lovn1&#10;f33NXZ1KdOa2XXsun4FfT/Dt14jhhRJrfT9Oupdq3U0vkveQREiYxJ94xjIBk+6NjcnJA9q8KX2k&#10;6Boc2reQ0fhTS7dL/wAhY47W+u40UraQxsMZEodV34LbXkOCBtHztp2qz+ItduNK0+RDZTxRwXmo&#10;BvKk1KOLACKf4IIwCI4hgMxDEBmAXpPHmsXUVlH4e3q1vBM0LrDhUvZ4yI5UGCSUiI8vk8lXwBmu&#10;atTlSpKN9Jf8DU9XByp16zm47f1ZdjjNS8T6n4q1O/1/W83d5d3DSiX/AFZDHKIsajOERQFVTnAV&#10;R2rM3xrJHbwESMgEs0uMqpxyARg+2ec+taVmnlWwYeVNcPIIZpZF/cwHaPM29RhQw+Y9/pmstJkm&#10;nktLZS+65+zeaEJLFG+Zs+nIxjt71hKKj+5p7dv6/E9enWVpVJbb/wBfI9I8Kx2Wj6NqXia6Mbys&#10;W0vTGZQ0izSJulKKQfnCcKwB2ls4Jrk5ZE1K9uJ7ucY3ESIB+7VQThB9MsBnP3z7103xClTStU03&#10;wLDIBF4I02O01GWIeWbvUZkSe8lkJPzSI0hgyMY8joDmuG+S3spAACLuVMHALDLcKeSckjP09K4p&#10;U/aNzg9Fovw1+e56WFbhGM1pzavyT6fJWOlgljuJcxxKPsqrsEh8uNQuBggDkn1HOTVq0kub5DCG&#10;EzrmTC4jWQp0yR0XgZx7Yrl4bybM9uiBUyFLMTtkwQMqPoBj8fXFbdnPPbRzKimNZhulkJ29GAxk&#10;njOWJAH8VcE4aWtf/hz16U4RV467vyJUlZJihKq8h/eurb1AUcLgd/m9T0q99tFoojmUbYWVlU8I&#10;4I3FsZ9wPbI+lVY/s87yBZScMMLGOmfvAOOp4PPatVNMnltn1DUHjtbRUV7Rbhv9Iv2bAXyosFih&#10;wd0hwvA5JKio9yrZS2S/4J20pznyrqv6/Uzrt7i8WBipSNz5ibE8stjrkEdw36mrlldR2UqTOnnE&#10;/eiHJJ43Zxg884C8U9DGFLy3CNtXzIY4hlFORgE8cdPwAyOaqXE9yRIIcR+WPKDxQhnZWPI9f4Rz&#10;05rCSUZ6uy6fM64z5kpTWz28tDdt70391uLKmyUgA4XyxnC4GDwCcdehHPWta30phIwiU/abfLBS&#10;dse3rkj8s84yK4i0jMbpIGffcyBhH82FA65OQATgYAzxj8O2jvRKnmQuyyFVhePncM9Fwe2MHnrX&#10;LWhODuvT8D1aFRK076O+3Y6/SV8u/s5ZPMN1LCY0WOL7Q0xchAobOBkqeeTkD613yM8FtKk1rAyt&#10;LGW+zssgijwsgXcpO1uu8cEFSpwdwryC2D2t0GjlISQGTfGc+Sd2cRgfcyPQfxV3qXZurRYoMqJ4&#10;/JABVGYKQxGRnPKg++FzivPxSg4uUFuehg9asZyemlzo7W4OpzLcB1jMKyKJ5SVhhVRy7YJOFAzx&#10;1AwAeKzn33F7NcNeGWEzLAkZiw86jdllJPGevT+WKdp9tHDLczIwCQw+XLEGKAZXjb2Y4yC3Xrnn&#10;FL5VvYxWE4WSczzs5jcFBKN23kYxydwyQepycYrg9lCUlOWt0j36NeSlyQ0X+SR0cc8Km1hu55Y7&#10;cb5ohAgnchQFw3KheASO+QPXI5ifWrtmlsluHeCW4DiFULMq5Jw2OFxgDcD9PQeoJo51+8sHtbO2&#10;svNs3uY4ZpysMEUZb5pDlmC4O7c2SwPQ9DyFrplnNqN3iOMK9yfLl8yXemCeUAPJ56nHDDjPTm9h&#10;CDbl5/0zovZSjGPRP0Ma21s2hnNxE6yhjGQy4BXH3iB0yeO/Q9q1b/U5NThsoopHjFtz5KEfu9pY&#10;A7wM8bs8dT64BpNf0jToLiQW5eL7u/zAVwCNxUA9QDkdcjHTuci103UDIi2UsRMoMhk52bcKQADz&#10;nplh/tDkfeOSKnZav8jalP2UXLZsNWvr2OaQWn2iSS4jMflodrZYBWZlYjqOx5xxSeHPDyoq392J&#10;pQCWliwQMAgsWPc/KQCehB64rWlsxY2/2m6LF7hxGPK+SaQ/NjtwCRjHP3s9q147SS6ZTDKkUTRF&#10;XQkRcjONy4BPJ7jsK1pzcY8jd59/yCDqS996R/E7fSbxLC3aS3aCIwxsVd1STLFR5ZYHrknofXpW&#10;7Y3cdxaTzQTPHcQMylZMfOqjIwcZxlUAPTBPbkeP3M1tawi1tmvHljhkN958QVN3mYTYwPIMe0/N&#10;90kjnqcy61rUdOuX+xGcx24aWYk+ZbpGwZQXbhVA3Bge5UZwK5a9Os0uqf6WPewVGnNqa0cXv8z3&#10;i2N3JJDdXE0cRBVpfJQYI3M5xngjIPy4yAc8ZFdLDN/aAMVlFzDKzJJLJtkdBjjPqMrz7e9eHaL4&#10;vvjHC0ypNPMTDKknyxBsqAyksBk/NyxwB+Y9L0/XXW/810SMyRhcBg6MSQSBjAyTz+Fc1am4xUkn&#10;Z9PyPSqTqQbuk30t8jbF6I7x/L2pLDILdR5gQqAyheCuOgA9Pl6enWaLrDHWori8tlnEMSlZMMYZ&#10;nEgIBIYNt+RsgEHBHI615/f6jKIJruOG2YyGSS5lVypZsljg8cDcQBwePWq+lau8koLOwSNfNkiS&#10;Py3xuywVAcKpO4DGAvbpx5k6HvRstF/wDrwddS0jZRenyPpqe4tBZWM0E/nb4SsrNAsTxyK7fKCG&#10;O4cD5jt+bIx/EUsL+GS6iYNJ9rRgRIw4TsSx7jk/iK8f8P3xlvGjubtGt8LLdTxQ+UxVmBk2KcDc&#10;M4AzjOe3NbEWt3MFzFveKUxwof8AR23gEEBkYjHzFlJwc8EetRWhUV5xl1X4HZhsSo1XSi/d0182&#10;fRdprF1Hcu91HbyLDuk84r/r9rKu0SAjCjbjAIHoBXTeHfEcuo6siGQJGJQrny0WEKNoG7GQx++S&#10;RyQM89K8j0bUoNQt5RNdwQSPCwSIRGaRG3KCOu3ID5+bgL6kgV2fh6W0sZRczzQlY7QwsFm3NEAg&#10;CsF6HLsMKOhznPGeSUZ1KsZqWjtp/W+x0KvT9nUU1722h6t4gubiPUbEx3KeR5jwyb48s/AIdg3G&#10;wDcBt4Yqeo6d7ompSsBFZybZDMkha1AWJE8xc+VnI3bRgbuuAe2B4rD4mt9UWS8tTDczB0hK71UO&#10;qkt0JyTuyR1AA57V0+l642jS/vNywridQ4yAcKGj44xkswBwccda4LKFX6xFadfU9ilN+xjRduaO&#10;n6nrGrWuoT38m55YGmhWRpFlBWXaqBd/PzcIASc9PmHNa1nr9usU6am8UWwbJriViCrY3FnJbLZY&#10;K2Ce49BXFx+Loro6hdSu8SfZVd41QhInDHg8dNgyoHOSfmAyQ7QtQ0rVLfVbeVPtiy2xaQDarR5A&#10;wCxxjaMDP3uBgAHNLkVStaOjd35W/r8zllWquk1XXuppafK56do/jVYLpYbJmuLGKUhZJHGM8gZP&#10;p0JPtjGOlf4h+KrbVbOGxknEtqYZSLIPlbbeoVsDoMhUJPfGSa8Mn1yDSLK4hjhNsBjzJLbmKKPv&#10;tUZYknaQc/LtIw24Y5LVNfkintLt7iWSVZ1WOUymWAFc7FDHKEfeJI446ngnWg40KCjLW71/yKqY&#10;eiqqqR6LTu79X8zR0DUnsrrU1huPPmQOHXcc7MGTaF9VUD3PAAruo9UWC6spo5ABcxKq+ZMY2DMV&#10;IHBHUHPX+HpXzZr2vXNnqi3NgywrcMlvdRvM0fkyIxRmB6En26jB71o/8JOb8adZthGtJ8xzbi3I&#10;yobzD0ABcnrncw7mriuZOir2ja3ruTi3HnWKb0a1PrOW9WBpre9S5tLu5to57KQARsxlZJFLhuSj&#10;IWIxglpVIOBhuqs9HZofMSSO8DRLcyRxyqzyMGOA3XIyG+YDgg5yMV8hQ+Nv7SnOniYXWqB/Ntnm&#10;LSGRkfeXLE4wAoy3HynnGcV7H4J8cLYhruSTzjEyxoCxBkLAqVYH0LEfh2wK41VqKTVSN47eiRVO&#10;pUo0o+zdpdu+33H1X4SvG8kW81zJFJErP5DSkAcY556jCkn2HoK9E8JXt3rzpY20wWWyVoRO75hO&#10;zopYsMZ24LZONpOCQQfnHw/qC6hdSXUkwiklkdoXUBxEGjIBAGMjDjIPQEnGea9E8P3r6XvnF48s&#10;8kkkkdk37iMMrCP7gbk43EMeeW6DOVTpJSjVqq0VpbyW39eZtOvCUZtS95pW02Z7BpdkdVa/bU44&#10;BeWUs0f2kPERGwJtwvmqcFN/l7WzjgYPzYr2z4SWNsj6dZ6pcada2jForiXVndNNCO/zmdUDNhUK&#10;D5ADgLznkfLOjavp9yl9DKzC8kuluEAn2wQ7Su9Wj77tp54O4Aktg19F+G77w/f6RHDObjS9TjXy&#10;ZdVsLv7WksBOxXlgk+VSpZVVlYfdA2ZGSpNzlGvCzaXXrrqn6WFjK1T2Twyb5ZdumlrpfM9bsvCm&#10;ueGPHt3BrWhSQaNLrD3GgyeF9Xe60GxilZLyJLS5YyTiJFuVwHxKoYDIIyfpfSp9DitLYanbaxaX&#10;MREEp/1UNqWi8xPNUgP+8UgKuAw37udvHzzBN/wi1xp/9kTajb29rbxKYYbosJzkBjkYAG48xOCA&#10;QSNxA2+56X8QdQkGoaXZw3VkmtQW1rqjWm57LUvJZZ4zOzEj5WjDhf4STxjOXSjh6FapBxa5norJ&#10;rXX8/uR42Mr4vEUqTum1FK93F6NJt7621t1ejetz6Q0GG1FoLjwk2oXNuRC93b6hqNgsyuF2yCF3&#10;2rIUZZcqyZUMMlyDn5S/bUj1DxD8IvFW3UjYT6Hp8s3lXATzlTypJXUMgKMMxRo204HmnnIOPdtE&#10;IjsbO/GoeRcwzAXdrFZkqMyMVmLiQAAgp8qx8evavk39uPXdXk+FviG606A6bHLpMjxXNyPKSeIj&#10;ynaEnBb+LCLkbQScgZr2Ju+AqqUNOW7S2238vQ+RwtGf9v4dxnopq0mve0a3b+LTr2P55b+9ls9R&#10;tL63kEMOVELKfm+4oc8EhtxB689fcV7JoXj1WhtrBYbO1ezeOVvM2h0kWIO2H5wWPJUHghQScCvl&#10;m/1y0iggtXuHRolXcrlXEbNHggEHIwcjr6Yz0rrPC32Jbo3NzPIr3G2OQJlY5C5TacYPGB34wTye&#10;K+ajTlLD3pvdao/dpulUq81a91e3d/0j9l/gD4kvb7T3iubpYImxAZg+UiiUr/Eu4qOByOcOenNf&#10;W/g+51G/1KW6urq61NBbblvT8t6UWIIBhyvKBVG3AOCRgnAP5bfBPxjHozNapJHve3Qxma4CRkKS&#10;xbHAACoVwSRg+pAH6H/Cj4npJdabbtdXlhL5Qc3USxxzJuyWZBux8218Dg/Opxya68DiadNU6NW+&#10;lvS+35HwubYOvCrWr4dJpq/y/pH0HJra6pGLW6u47eJrU2xuZUhcBkR8NIJA3zbWCqBtYk/KwJ3V&#10;23gBdckFtpGn3lrJa3VwI7dNQneySTdEznbgsEJUAtjnMYUgHNZ8GmeErrUrMpfX02p3MBkuy1qt&#10;zDeGTCLkswwy4cfKSAYUIPJrW0fw21rc3E8dxqk7pqq2ivdJNZz2lyrhv9IiZXdWYqRluc969f6l&#10;OdWFb4mrrRvybR4Dq0XhZ07ckmrrmWl72Tt1+8+l9I8TXltpL2dzpq3iWUsiXFtarFe21unG7fbO&#10;PLLEMCS4XYWbGTkn8Jf+ClfgrTY9Xh+KugCNbKO4TT71bPbCu13jjRZAmQRHujA7Dk9zX7aaH4S8&#10;Y6zaQ6Bp9lodnqF40ksN1q3iZbqWfy1LSKxQSvt4JIIU8DKjAx8Rftc/D3X/ABP4RvvCnizTLVDd&#10;wSGO5sE87T1nHl/dfavzJtTlwMHGK9HMcHjMZk0qGIg+RfC2tpKz9drbrqeDwXjcryniuOJoVI89&#10;7zjGW9OTs3a7WvvbNNWfW5+B/hbxlvtpZPsltezvGjRx3s8gxuY8qI2A3EEHndjnjOCPfPAeoXc0&#10;tv5sAXfOrLbmI7SOeu4A4BxjgfhzXxBdHUfBWuT6NfKqTaPcvbzzFf3kigttfJwdoAH/AH1nGcV9&#10;Q/CLXItVe+1Ge8vIbqw8sQaeqDeqzFihmk3DG7YSAFbPlvkqAM/n9KMvaqUl8J/RGaUXRjPE4a3s&#10;5Ws93rt/mfqB4K1q4e3NveGN5YUE95aMwKohOQqKT8zKHXAI6t3Ga+idD1GebTYbmw32kphaNREg&#10;hfbulUjAxnowHTIUdsGviDwte3yxR3sJd72VftE7qd80rZUsHGQSQMEEk5IxjtX1X4K1m7SGxaSw&#10;ee1mi2XEksqwBA+RlMZ5IIPAHLD0r1KVa14VV7v+dv6Z+X5nBK1Sm05X/rTz6H0n4E1281GSZGiF&#10;tI0gii2NsSZkMbBgDypUhzgHnjAztzqa9Y2UWu6fJd31xbR6i0Ut5cNiVIT5hEixLyqMI1yCeNzn&#10;rnFeVaRLeaLLAn2maKKKQzSXasEMwOHKFs5DA5Ge2Oprv9Y1LTda0k2MskyLYz7UunDhYv3pK5k6&#10;MdxwcHBB5Jya9LCygofV6/xWum9VpbT9D5nExcMR9apO0JaO2+1v8rIbaaxp2iauLa4uFnV5jPp9&#10;4zm3uZJN6bZDIpUgFVbK8rlwR0BOV4x8W2ogeCSeUSPcBpQZWlYMT5g3tksSpVCQc85/HyrxTJNp&#10;F/aXGqSxz6fMwutOitjm6h2bok+bHJy28p3Bjzg9Od8W6oIoYTBcw21ysSMs8uXE4OJjIFOc/K3T&#10;HPHGSSZqOvF1Kafuqzt2vr+JpKnRnKliFd+fpb7vM4W21m2v9c1fU/tcYiGpm2aT5h5ZABjBA+bj&#10;BPUgEjntXQ2mvTjxHai0nWWCO3QXEKtiRWkUSeZ1zyGUjoQzHjkE/Iw1PxLe3OqXPhbS9Q12yjv5&#10;4XXTbFrwzSQSSgMyIjMABCfnAz8owSc16umv63oMk/8AwlGhrpMt3cRymG5mii1u3lmjgbCxKS5U&#10;AKhEgXaSvA3ivFoUak01OFtb3+//AIY+qxDhTaqRknpa19Vt0PtDUfGYv9LtYXYSyaa5ljm2ATfd&#10;J8lAvVepKkkbzyemPO/+Ftf2heyR24u0nsvKQedHNbLDvJKhN2SEJRjwTjbjvXz3rnjeTSYltb+W&#10;5066sjFJIsziGW4kmUuqxZIwVzgHGcbTzmvHdR+Ndho0N1Lq+j6nqInu/s+nP4e1y3W6lljO4Foj&#10;iUKAuWBXbhmOetd6dWfu1JNStr5pHlYdUKdKT5U1f7rtX+/c+6PG3xXmubG90W71Oc3MVqsq2UzG&#10;PTxLLEsiMsrAIG+4DswSUZSSRx47P4jTyYTq72wjux5NzMGCQIJA8iyyOTt2llCkZGCAOpr5Pv8A&#10;4k+KvGdnqNpJpFjYWN5tlX7VqS29ykTMx3XE+0kDAdQkIznfgOSir0vjXTtd1PQPBVvrx0Xw5aXO&#10;nzyNpFpoU2nS+MYvtLIl5Fqck7Nd4VZYgiR2ykW8a7XMTEdVOOIryc5bJaff1McPi8NhOSjGyUpO&#10;/fa916s9w8HfEmzuItU0Hw1avq09hqQjfUY3P9n6YrbGHnXZ+QH95hIkLSklDsCnePfIfBOsa7pV&#10;p4l8da1ea+kA8jRLzTleL4f6TcLveO2NhndLJI6Lhr2R24RlXpn8/dcsf+FcQ6dZWmpaadJuYob/&#10;AEDUdPv7VrbUY5VikVYIYdyecq4EluuJI3R9ygqwPt3w++N3ijwxqcOoaHc6ncmK1MGu6Fe6vbxW&#10;viOE43W9zb3im1uYyFwFuMsGZGV0bDV0YShGlXtio3S0XVfJbaGeeY721L63gZq7aaT80r3ava/p&#10;byPrzw9Z654y0OWz8PaTu8V6C8uoavoSzQ6bYy6c8iQSX1hI7hWjjJeVkVU8rDOT12fM/jrV5303&#10;xbdeF479fsrRx6lYw2xur50LbpGiU5Zl+VhvUZ6AkfKT6V4W8VabqP8AZWm6/wCLbTwBdR6lD4g0&#10;M+FtRXXrnw5dJvWWOe1inEUhYySR7Xu5DHkYZlQI3A/EPVLVNTtdSsVXSdSuVkECy6hFp+l+IGSF&#10;jdafdNGVEAuQo8pwwSHdschTlPRq4TD1aKbupJ6rr5O3S34nzeE4hr08ZKnUfu6WVttbtX6p20tt&#10;9x45rniOzl/sCS2tri9eK4SMWxA/tCz3RqGniXeS+FY5RjvADgIzYFW4fEM7me1uNduIrZLmSU3t&#10;jCwjWBmYFlwN7qACjJgEDIwORVPx9Bp/xHsr3Wfhnol5pHjjwxZSazqegS7Yh4j0mxMRv4ZbNir2&#10;2safsuTLFCdlzHG8i+WRsXA+HnxB8FfEObT/AApq+rv4X8YXkLHRvF8ln9s01LlOPsWvJkMltPgR&#10;RXw4XciyEcFPP9ly1Lxd27crtZaLZ/12Po453N4d1YJvk1lG92k7NSXdb+ffY9rstP019Li1k6ky&#10;6ZLZiOHXo9PnFk9vPOILfUrZNwMiNI6xSxE5iknVS3K4+ofBfxQ0/StEHw48R6RaXnh3VrEXUd/F&#10;NLGvhu4liaGHWrKXcji3kkaLMbAp5ysyhSX3aHwOg0XxD4d8S/CDxclvpF1NepZ3YuNJVrn4c6sm&#10;y3iukddyyafeoyi4nXGVnLSo372UfNMumS6H45i+APxFivfh18XtN1PUtQ8JDxTqkVno3i20nUxg&#10;6BrBcQXFnc/unjhl+RJpY1BDsYl6qeHlSSrYd8sn7su17r3X5Pz6ngyz7DZxVq4DHbw/eQs7NwSv&#10;zxas7xfxJPRbqz19GtdT0QXsuitBNLrGi3T6fNaaCvnXl7IGbFzpnOWYxmKT7Ow3ZV1RmLLGPTNK&#10;8XT+ENWFlda19s08QqINXsLhkeaPIUTFW+eOWJtoeCYBlYFWyrAt474eiufGlj4o8Ca9pcPhf4l/&#10;DS1hiE9xPNZXmo2t1K0PnSyNIY1W2nkileMArtlAygl80cz8O/ih4V8at4j+E3jXWYbfxxLPP4a0&#10;XWtZlQpqeoQSXEMtlqFxnIaRWkEd5liNse9goDrnzyp1E5O03tfo1o4v17nuQxkMTh6k1FzpwS9p&#10;FavllZ+0j3stbdLvR9PonVPiDrF5eXdss+mXUsi+dIkNwbNbqNh+7lW4jxIVkymN24gOAASARz+g&#10;/E7+1NRt4rLTZ9JvLC4muL/VtSvW1CyNxGxF1FNEVRoxG4kGXLBdp3LxXjur/Dfx1cWvijXPBGnz&#10;3viDwNdvd3ngrSombUobJfMWaeygy0k1vCyASFd8kRjLDckmK4C48d6j8R7ax1qK5j8P6zqhTR/G&#10;ugxRrpTapeR747fUxGwyJpI90c57SQKSV8zngxP1yk1OTd911T16N7NNbdj6fJv7KxVN0qcouKXL&#10;Lo4Nr3W4rdSjdJ6q/wB6/S3wjrq21zZeHG8G2F34r1HTo47a6h12PVNPukkCNFcRNbufOVlkkVNr&#10;quJHJUOcV6s+saxLMmjxpd3mm+H9IkimGm2s9/pk7BYzciZlT92I23kmT5Mqeow1fEnwq+Ib+FV0&#10;zwzLYPZf2cGl0/WZbuX+0reQqiB4nkyqAgbgI8IrO52gndX0Hd+JvEmnaVpUsWp6rZeF9RuhO+qa&#10;BeBbHWDvMXl3AUhsMVZSj7VICYJyRXu4HNaNXDShPm80klZaWT2vrq5PfT0Pic8yGqsapSjBuXwy&#10;nKTUpO95RTc+V8qtGC2bl2TXuGm6vZ36ywRLJaSvDEt/I0Aa5Ee8PgqwU8fJhTzkc44Ayta0iXSL&#10;q9aHU7PU9Mnm+zQXduTEDIeZIpIT88TA4ODuB3AK7YO3iLPxVdPbXMKRx3byMr3cryN5kpAcR5bL&#10;AtgYYfNg55Hfr3ktVjP2UvuuSJngSVTDCyrkwyBsljnp6+mcZupWp14qG8k99n10ts+z8z5Wpl2I&#10;y/FXWkJfZdpJ25deb4otfZ6W0te1nwmO+jns96x3Lv5DReXIFA+ZnKyH5FCiN878cHOTitSzazs7&#10;T7K8LGOKFQSHE0UeAQRkKAcHI4yM5wxGDXnV7q0lrcfZ45pbISK2bc+aBIuQz5IyBgoOXP0HJrf0&#10;d5JjCk5klRovlXhTIcKRxjnJ3HiuaVaDqJQj7z01/A0xeW1I0PaTbVN+8l19b7dPO2upd0+Yvql2&#10;YXhXz2FskTW7hHYHBA3SZK5H3eDnPPSrUFzIWtvtmxxLHhJI0PQEsMZJ4xtB479OlLrdkbLVkXLL&#10;PcxQ3Vo8DA7mmKTYLZAxiRPmznOR71YsNNLwW6PcOWtpdoac+ZGAVYswIPbYMlc8EccYrlrUp86o&#10;LdN37bo5KlXDzoxxN/dlGNu+3R9en4lfW9Ok1Wxu7eIaXHIsZhWO7vYrMTMQkY2zyssYweQ2UADP&#10;ltvI/OWKxbR/GmveGNWVYLOa9exnvN4ngZy6SOyMpw2wIxypxycGv0e1aAvDdGWMbYo1kG5iEO/d&#10;geuDsPb06E1+efxOjt/DnjKVVExhmuGljVZiiI/mMXYoM5ZhnkYPzEgnIxjiK0oTjKejXXy/4J35&#10;RB1KFSk3dNKytqvnfXft8z4a/au/Z68STX9lrFjb2t9Z69ENdk1PStZguE02NZC7LdbG3wTKq4+z&#10;SfvGMkWB82R4F8OvE0Xiz4m/Dqz07UxaWl18UNP8B+Jbi5vI3lnvdPmeR9QgY5cG8spmBEgJ3REj&#10;aSwP6ufFOymi8A6prcV9pdrcapYst5b3N5NbTXNlCru9nGArJI7ARYicqCVUhgUBr8cte+F3h3wz&#10;8YfCNx8Ore/0y18UeJdO8VSWetzuNV8D6tZapp92FtpUUGW0uLdblUeQZBJRgQyOv2uXOnNKpS02&#10;unr2/wAvxPhcwVaNb6vV1V2k1pb+v0P0Ts/Ccunfs++NPA+sF1l0nxb8Hda1fTLuaOSe0vNV0vxr&#10;4Z1OAhAMBQpgAIV/LjX+Lax/jG+PCyaF8cYLy0J8rwrrV18LroRqYorh9EEFqrSA5bE0Fyrjdnoe&#10;MhgP7fvHOh6d4H+Blx4+06+to9G8bftleEbHSdRtWK3uqWXh/wAWeNNQctNv3zeQl5Z7peNqFMtn&#10;Br+RH9pH4TCH9oD406drFnqFvpEN5Z/F6wkmtXju5beCWSDW2RCxDeWbjUFc9hpinOCtfeYKKWGj&#10;TnraDuu127fg0fmVaCnmVStN/b0v15YRT/VHJakttrnwl8X6RZ6kDp3hn4/WOuaPKWbdpth4h8Ma&#10;3oZXHTy0Nhp0Rbjc0q55xXo3hrS9Wn/Zi+L+qpqcSJ4f8ProNlYMd0bQavf+GUuY9g5DSSLZbjnl&#10;bYjghd3yb4HurHWPAvjKFdVmtTPodprdqA58vWJtL1Gyl8sqzAv+4uL2ZO6svAxkD7D+Dl1Befs4&#10;fEWC+jVZfEE10ICI1SWZdGTSNSZiD8pQJpkjsTg4x1+YVw1JVI8spa2v8+36HpRp/vJwinry/K1r&#10;nG/CPW5Zr3xtpdpMX/tf9lrx2giZdyzTWkJv7QdMEedbIrAHpM3TBFfH9zpMbjw9cTGSAb5Y7qZj&#10;5ikJINrjOMHy2xjgfL3yc+//AAE1Lz/FrWwLXtxpnwq8d21nErMgeG60LVJGCMOw/dN0HKnPAJrN&#10;8RWmnz/D+C+Wz3TwzJfQFodoe3uo4Ijtyo+VSC4OT/FnJ4rbDVZwjShLVK/9fiddfLac8PVryV2r&#10;P8Wcz8Tr0S6R4HuUuIL0eBbW38NWyzoGvL61lllkjl4OfKh8lmPOELqN3zivo74QXX9sePdD1ex0&#10;+W403Q9YfWYLhpgGlM9sm6Kddw8xdpSNk/2mBzuFea+FdKtzqPhDwOV02LUfGukwR31xrdtb3NhB&#10;Z63A2kmRjIrIkyI7yCUAPG4R0MbqrjpPBq33w88TeDLW8gvo3tfEkllrFxIgni0+Wyvp7GbyxtAV&#10;giHaGyW2n5vmAoxekFUXxfmeLg1zV5Un8LenqfVGueD4/iHe+DT8P9P03UdR8P8AhltMTSLa5gt4&#10;bzRv7Pa5m0sRL85ntGlCPFsZljMqMF2KB9m/ssfswaz4d8GeIPiHpUjXVjN4StrrSraxj87KzAPs&#10;YkAgqTsZgPl2AfxDd5r+yJ4QtNY/aIS207TL3SbzwpqOreIZZZna2mWd7Sy0+YS5wBDJKJpFBOVE&#10;hHqR/T3oX7OunfCvw74V1zw/aR6d4W8RaJpstxBZyCSz0W/vrSJzEkZyPKuhgKpG1XZlIywA+SzK&#10;ri8X7T6rFNx39Et/VH6/w9keWRwVGGNqck6ytDXrrePz6evmfzKfEn4djwX461+CKzkisNQujrto&#10;ssRSRUvwt6idBwPtB7dAMZXaa4EW7IzOWcfvt+Y0BMQYEYyT6E8jruNf1PfFn9lX4XfFyKS41LQr&#10;VL+ytYUs9V0tjaTzmNM7JNpwQAI0IYEDZ3PNfiz+0P8As6ar4B1yTQrPw69pIkRu/wDQGM9p5RIW&#10;Jg+CoJwSybj/AFrxq2FjKU6sfietjx8fl2Jy5KMnemtFJdFvZrdOx8CugAIBfLIryLKwZlwQSQMe&#10;uPzquIhtBjYxZzsEincecDOORjOemevrW9qFpLY3ckMjJJJFL5EiwMHCkH+8oKk5AGPUdOgrNCiG&#10;QiNwxOSg4w5HPy4P/wBbJry3OTjb+vM5JKELdYt7lEMoAZshUOxOrM+47ByCRzjacEjB9KrOpEU5&#10;kx8m1nUgoyg7ypHsMHIGQDj2qzIimXcS4DuVkVSSWKncCM9O2M8dTiq54bf5hdHTa7OwcHJGcg/p&#10;6jNRGLUrp6DUmrTg9F3+4rMFAKMhiHneSqk7AciSX5jjjLeYSR3b8DTHRiy4jClI3bliGDK2COn3&#10;mHHHOO2auzKvmN5hQjdhyX3oxBIOF6AEY4HTGO+KGH3lI+dXZVAXap6HKgDGOmccAmrVopt6WMZu&#10;Sk432KoiDEs8mQxB27cKpKnggddueP8AfPPqxFcRljIuOu5WP7vcAGIz3IAAOQR5eCOeH7meRQpZ&#10;tzjDK5kLEBvujkk5O3A6ECh/KAYMwJaMMynIdDyAxIxk9cYFKSnFvl7Gl4TvKNk0VpE+QomFTPmf&#10;IdzANzgLxjGFHP4djTghV0U4MJZQxjPzDpu+bPIw+cFuoH+9S7GwWQAg5Ks53eY2BnBz3DJwfVSA&#10;MnLmjIKB5kViojAchXCgDAIPykAAKNg4A7Y4qMklZPW/3kqUWnHe3Xtrt8xuzZLKjMXIX5kL4DYG&#10;FDEg/MAuMDoMcfdqxGzSPlmJkK4YD94VbqSM8HcTkHBHAqFgsSs0YMoOdoSUyIQucjI/3AMkH0yQ&#10;GNSBflZDuwhDAByedq4IHRiemDjr6ipjCaXv/wBMcFGTUWv+G/pkqJmQRszNj5lXAOMMCBtIywGQ&#10;Meh+pqyqmIMCGZtzRNtlCLjB+6cgYAPYjnr3qtCCJWuHZlaSQFQSAUzt2L74JIyPp2NSeXI8WSCG&#10;ZDnDlFQsu07QQemMZ46DnnJpXcr3slb9CHGnNOMeruvyLyQuT8okZTw7NIOVUOAoAwejEY64cg+l&#10;TrGEDk/6uY5MYJLOyg7dq+30JwOvWkRJcmRXRg5yzq2MAYAUAHsck46bqlU+bksyj94uxmGUYrg9&#10;O3Q89vapcrxTgtOv9di5WbV5b6fLclAUghlYOSuc5Ij5ZQOBjoo9OVOR6v3xyAF08t2bcCxI7bhj&#10;Pb+mKRljVtzHdv8AlJEgVWztzgdc4wOO/wCrBjYu9QSH2KwYYfaANoxngfLn0+XpkU1yt80uun5E&#10;q8k5LV7W+4k4Hmso2uFwykBgCQgX6D73PUfqIxuDYBbPl+aGyvmEF3X5ep4K55GT+Oas/KFwjeYX&#10;OS+Nx4z/ALXHQ8D2684aIoy4CjY0jAsxwFU4Pfp/Coz0xik5Qbs9Lf0jeUU4e6yv8mxgMpGwKbY8&#10;Rj5iDgAcAdBx6dOtQPsG6Nw75jy4Q8gNnAPc5BPT29qs7BKQNhCq4YMykHBI6KcYOD9PSolDsy5J&#10;4cMI925m3E9W9sH88VrKm7KPmc8Yy5XJrf8ApjgCocxlmLgIY1UM64xx6DkYwP5UEO5AXfGQAdqg&#10;HbjOSQQeDuOenH0GGt+6lCtjmQAA9yeBnOOmecdBTmZA25QDKhySSFVchgB74ycYzgZyBlTWailN&#10;NP8ArQaUIK70HsMD7wJRvmITIPXA7ew5+pBxUEyR5VioBLjeqyhi5IBODz6cYP4c5qYFgrRoP3U8&#10;YLEMNyk+/XkHHPHPQdaaY2V1kK5BJBcZjMfpuz29eh/HpXNZc32hSu1ZvXT7uhXOGk+ULD5cm1jg&#10;oH6KfqB1wOfrwKc0is7bgCuzgjjczA52Y/Ig4+8uM5NDMhjVyjNIuQpHIHBPXGSfcmlGQUdF3eUz&#10;CNC4Ckn50XPb5mJJPfnty4OLWu6Vvncv3VHka1/4YiZ9is+MOgGQ2GZcqDkccYGP++s89aayb1zL&#10;EVGwjL5BGwgdOOeRkdevbmkfgjcTFMo2Y3BRGF57BeAGAwcjIHfbhjAlBIcOwcqAHDO65AGAMZ+9&#10;nnt+VNRi02ROSrVLdNl/w47585kA8skYAJKNycbvXkZ47gZz3auQMsEKupJ/ecbsnjPTnaOPf14q&#10;Ro0BLyF8ZBYlgVUAEYxjHOF+YY6HjJzSr8m0pl3ZgYkYAsBnacEdO35jnNE5Nu0X/wAEVOVR1IwT&#10;tb8tBqb1KleXVlRpsbFYgDjHHLMB2xknGQOXuxBikK4YhjE/mcMd3OcYwD6EZoeRkW3/AHZKHCgB&#10;QdzHAwrfdPQEjn7nXpTixePCFmBk/cluFwcnbz0OMnn86zckne2j/P8Aqxa1dkNGGVlkdJPNGxht&#10;BQscqeOcg5OM+tPQuTl3JDcSSMxV3LZLEseOc8+uTnvTQY4htKD5m3ZYggjgEe3XHB45pmx02yIG&#10;KEheH3gkEnOM44zznnj6VpRcuZR+aIUbXp9Hf7iW3MUZhkLu4WUS4kGzkEMme4J2n3qvsjKkBsl2&#10;aQsPmVSq7cEcbQAg+XPcjuashGzJKXURksTGoBEfylcHjjqSOhzj0FQfIFkkWQCR1wA8WUh7ByMj&#10;OOuB1xStLmcvP7gbkpRio7IcEUABULLjhhPgN78mimNAGOSqpwAqqEcKAMAZLA9AOtFc7r007OX5&#10;jtTT0irf8McEAEkRo0VVDGQRgFIwAIxjH135I5AkXHvHJKsZCIqyIflIx8rbl2ggd84wCPmBUHOa&#10;VZvMYgH92SRF5g2mQ4bJ27cj5QowD1Oc1E29/NQyhCGaQkSMFcoHOFbkfNt2rxgl1JZVBatdFZ1N&#10;zCab0S9380RvtfbIU2lsDyzg4bnOdpwR8uRjJwDnGOGBgVjClQisJJcEFmDSvuAORyBwBwRx64qR&#10;Zm2qWjWJo2D73XIhyrZJODgbQ2fZj61EZQA5KhgCPMlUFkjwG2qO/Hzdjgv36lq6fL22+ZfIpSWv&#10;TX/gfcQqHhcZkG2VhHGrIrbsnDBc8DPTvjJNV5UCqSqMrqN+5WwX+YAZ/XHXGRT5It0iNlsxHcEc&#10;GLdnJBOQCOQOGGeMEVCzFkIScoUP/LSI7SzcnJx0yT0yCB24q3FRkprf/IindJ0WtrDTuLjdNwCU&#10;UqzFT8xAxkAYI5xjp1APAhkUclo2jJY7kKlGYEsAydDggK2RwQ/HWpCQoB/eBUDIitJvnJ+Xd83Q&#10;kkDoBgdscFJMhA2GZI84MZzkByBkHGM/L0HGRzkUotSk5LVF1E3SUpP08/P8CrNsVlUB1BchlGMf&#10;NucYGBgZJxjqAcDBILMHjfJuaRiwQnDZ5GMrgkFgoJ4wBwM8FwbLqEHLcAHngYzhu5H0HHY1EYVQ&#10;OyB1QSFUbzMMCcNjIHPWQgcfebjuRcyfvOz6etzVS51zyjfdfk2RMRjbIyFXAVW8voTuxhQcAgHI&#10;GMHgYqNzG75LCV3j8uIK2zaAMg5PY7wBznKt2wTKGdi0WxZd7nP9xyWHC4/hAB55zuX0xUQm2q7L&#10;IkcSK2AZOCrMBjIHOc7jnn5SMg4oal/D8/v6mKmoWqLbe1r6DsxIWDO0gLEuN3y5+bbjnI4Geex9&#10;sGA7mJQCXhGCjJ2k7eAe2R16mpiyucK64DbWU5TYNoOX4wcHIxzjB+tNkRljcAAM2d2GyuOmccED&#10;k8nI6DHWhKcbtvX/AIYp+/72yX9L8xgwSF2+WjYVTFKUkUiTdyCOg29R3cDqRmKRCgKkkFWZTgF+&#10;SuQ47Z5GGA9ec5qXdMJIFQ7m3hsryQOgYZ7529AO3cHKlhJGqHJy64LZ27WyT6D5do56kHpzUzdn&#10;GXcXs6e9S6ZHExRuRnHyM0cm8LgcYOcnjrgkggHGckNkbBbBSJdwEarnCZYBR1ycDBDHk7R1p5aQ&#10;iNCrQldzAFi6gjAUkgnbtwT3OAe4xTV8wwRK4w3lDkFAIsKSAxGTgkKoABwWH+0Rok1JKdhyadP2&#10;fR/oNkUKkiBjtYbY1jHyENkbQc8enY96mkR4lG9Sw81TE6oQxI3A8YAxwozycgZGOgA0aqokCbJ2&#10;kliJJLZCqc+5Cr9Mfm2NWZ5fnBBHnMBywI46j2Ug7v7oqXNONnuHIk0r/wDBvqTgDeh4bjJkBbco&#10;+XI5wc9AR6g1YUGVCGVoldmRJkypH7tdwPY4ZlxjJPmqTjkiG2bzS+Q+0b2maNgSygqAEBPUfNnn&#10;rjgc1PnBK7SzljGGKlUGwKoOAv3S7MB1zhsZ5qGpTlp0M/chG8r2/wA1Ybbq4eNJSJI9pZ18zYZP&#10;3YA/i7gN05GeD6PG1WBwC6YVJWXeScgg46HIIz9KnWPDphdkXmBpXSQAFSf4m6/LggZHf2IK4Hlq&#10;r5yzkH91v2Fh5fIySeNxyOox6E0Sd3YqPu2lN2X6dhiRhItqAAl8BmUrGBg4OO2cA4OO/U5FTCNS&#10;ysCUZh8oPyqCp2seemRkggH72e9SYR2ZyhGwmEHKsYzuxuBABySmAOeh45yHlFZ42DjzUiDsU5Zc&#10;kFcA9T94HHcZBwOSPKuXmWn/AAC+aFP35aye3YegDojgOrgI21AzMykbeRnI++p56Yb5eKnjjCuk&#10;siZVYCZFiVpASSi4UAdc8ccdPwbHEwSQ5J/ckDMoydoCD5WyOAOFX644q44ZoQCIynl5jdjiGLc3&#10;zMozjBHlgg9Qg7rxnv7q6u3yFTc481TdkQic+YWZ2SIjeiuQV6qHHI5BIxjnkntx8s/HXw3Jq1xr&#10;c0rQGKbwRPZWn2pv3PmpMZduWP8AEGcnryWOOOPrExB5xGzFERkiZpZAwKhl2njj5Rk5Gc4AwOc8&#10;D8S/CuieJvCmr6fqNrFPEdPc26ucNFIRIAwKncDuC4Ixk5ByCa6MNVlQqxq7Ly+77yZ0vrNN0o21&#10;a0/G1z+bi+tmkWZvLKKt7Iob7yJknpz/APrqpao6bkYjfJAVDDKDt17eldnqejDTbq601ZjORqEq&#10;OxfYqeW+1tynnjPfrzXPX8sXmSC3RfsllGIhIQBJM5GSSfT0r+l8NWVXDx9nqpJP5WX5n86YylOl&#10;ipxmrNSaa+bsvkYM98xVoYguTlGJUeZgHpmnux+yrbQqRJPmN2x8zjHI9u2KpWamSaSd1+VPnYDo&#10;WycH/wCv7Vv2zqGeTh3hQyMAcKDkYH5kd+1eg/hUV8zz481nKW3RE1va7I4LFMExgPMVOFeVuev+&#10;yAPoQan1vUVBTTrVn8mBVCgjIZwepx/vfmKZC72Nr9pfDSykhG3Ekk8sfYc9apaZayaprES5HkRM&#10;HnkdsKoJ6H8ePc1PNzzvLVK7NZe4k466JffYe9jNDYW0TMUE2XncsN6ljwo9Scfhn8uquLeWLSNL&#10;0ywVjNqhAt4IwTKy7vLOcd3ZW/KqFwjarr0dvCC1tBKLWEfxDnBdiPYjJ9K9Cm1HT9GkudSiSG7v&#10;DGNPsJAN0UaxDYTEOOCFLF8fOXPAxlsqlW1FOS1etu6Wy+/8ApU4wqyit4rr0d9X8tX6mbdSQ+CI&#10;VgiFrPr0tibUTcyjSVYfvGQA481sn5sHAJHesnQYZpplupWljea9S1hfZvWVmZTIT3OxSXPXOMVz&#10;N1PNeXM0zKbmaWQ4yTuZmJJ6nnOc/jXselaQtvNZ2EQaa60uCBdowVN5fymNQM8AgL34wmfWs03f&#10;2k177+7vp5fmdnLd8kH7lv6v6v8AI6vUbBtek0XSZ5/slna2b3mq3boQ1tDNKWcr0+cW0cKKOpYr&#10;kevP+LddTU7KFNOhEVvfFdP0KxQsWt7YALH9GYKCSME5PJya3PE8zS3d3pQaGNr5hNqM4fYkVsih&#10;QuOOCqhsMP4x9Kx/D9nbahrI1OBbc2mlj7NYxOrNGJH2gyHsAmcqB1IWuGmnUXNP4Vr97/pLyudc&#10;rRmlB3nol8l/TfobWn6fpvhyyV9UkddH8PRl7tIgD/bN/J92JWPHBXqM/LGSAa4e11e8N1qni29l&#10;C6jOjraLnLK8ihE2r2Cq5Vew7cg4l8Y38urX1r4bsbgS6bpLyOuwAK7/ACmaeQ9yxVQWP8KqAAAB&#10;XK61dNLJb29ls+zeYkdqkRLn5CVByTwNxkz379qKcPbP2t7OV/u6v5/kaNRoRdBapff5L8L+rL/h&#10;0xW8txdT8m2dUhgbIWeWQhfmPfG4HHsPw+mfGunyaT4D8GQyP5mp6n4avdVt2kHl/YYbvUZrdmiy&#10;B806233gD8lseQWK1896Fawzato+lTZS0tZjeahOr7iViG+YgkYyUQheRy698CvpH4sypeL4Jigb&#10;7Rc6j4QsYPKORLbEPcv5bAHH7oXABPAKqpwOlVWjL2UYwWspKPyRph6nLUvK2ibd+76P0X4nBeBt&#10;MTS/Dt9rUf2dGVFEUz4YGXzAIVwV+ZScysDxiHB+9mucsw19ONREkj29i7Lp3mE4ESEMHYgY3Mzl&#10;8gZ3AtnufQPEtr/ZukaL4ctle1VrQ389xgp5xKAs5JPARFYkerN9a4mW4lsTBYQLG0d1aRSpsclY&#10;IYohIEwefkRWJz3wPeuKc3KpLld7Oy+XU9DCt0sMud6y19L2KHiO4/srTbe0TKXN7bpcKDHseNZP&#10;mJA64JAwCM8dM5rovhPptmnijQr7VoPP03S3fWtRi3lDcQWcUl7PHkHjeIAgbsZRivM9av5rvUkm&#10;kUbmARQBgqqjGRnGTwenpXr3gJorbRvG+qyB0Ww8HPpkkqvh3bVJvKZYxgkt5KoAQeM/geecJRjK&#10;rL4rfoejCcZ2pSWjsvva1PO5ri61e9utW1KZpb/Vr+TUL+aRgXaW4keVlHfjce/HNOYZSWachAZt&#10;sCKQzghcAD8ADketV57xftJjgU7lUx2yDBjh6A5OOp5ye/PrUqyKscqjbuiG6MEjcxHXHOe/p09K&#10;5VLlaSWlvysezTldclTvr6bl2yt8lSwIBPzbwUwMkZx7ZXjPb2rftNPuNVuLaxs0kmkkkJRIlLl9&#10;vzEA9MAAZY4Ayc8DNVNA0W/1pJ5XkFtp8BFxfX90WW2gVjkbmAyRg4CLliRgAmtabXlgil0jQlZb&#10;Nz5WoXTJi/1oqV2iVlOEgBBKwKSuSGZnIUryyo9H/XY9SnNOKjT66X8vI2Ui0rwwzgvZ6xqqJved&#10;G3aRpThlwEJytxIuNpONgYNgPgNVTUrm51y4a7mmubqabc00jys2crncT12gA4GcLtwccA87MTL/&#10;AKReysVjwESMKFXaW+RAOOO598nrU8t9IUKW48i1UHbE42PKxxgk9/4hg88joBg8cqc5JT3svuO+&#10;muR+7/wdbE5kWGFkZ1ZlAYNHllHPzDPsMY/GobWdmUgtnoxQggHPUYH4Y+tUIY/OBTzWIGdoztZ/&#10;XPUY78en1qMXE0bZRifmIUY+bg7QQMY4x/KiMI81pau9/wAjojUftU5fCl+q/wCHOjmmhP2ZIyQr&#10;S5R5F3MDnOFGeB6A9eK2rO4SWKQ7wkuWZRH0GTkHHGOh/E1zeyQwjI2XEYMq+bIFkGFz07k89Rzz&#10;61YsGSa5KTCKGJdwcmTdJwfu8YyfTj9OnPO7vF+f6HZTkoyUotK3Q9GimjlvNNmuo7u6jwS62jKb&#10;h8bdp3HoM9SckA8A9K9Ks4LGWSP7HAIZIQoEWWaMHbl2O4ls/KM9uOijArySBrwSxTWsiW0UDKkk&#10;8bbgqsdvJz15xt7YzXrnhKSzDW0+oW005iuPtELTb4FbBxluAGB2nhT6DqCK8vFKMYc0uh7uFiqy&#10;Uqereh1cfh4S2+rNp0yyi3ZooHn+aa7POWwOFwApwck7sDJrjotF1qK2kkvZoy63H2GOybVIZ9TV&#10;YiuP9EV2kjT98MEqAcMOoIrsjcmGO/e2dLUSOJYtjkSbhlicdeCoA6H5Rnk1kTG3geJbG7kumuh9&#10;uvL2VGhkDyInVCzEMQSWGeCcA8CvMlNNKaWuh7slVcv3emt/wRde9aFVjhmiW58oIq5fec7lQOc4&#10;6KRjjhcVpaXIv2OO+iZZri3uPNnLRBXchmY4OcjC7dy49eMVz8fmrM0YiAYRkSzHI3ADrjvjBOcc&#10;5PXNXdP0+8mtXZfMktIR5k+1SFPmM7AZyMEKhBOSSR0FZuDcnynprlpwhKb+Xrtc1JNKl1y8glZH&#10;FpJdpbB2bajO4wcDIO08k9gMZ6gV65pPhKKGzuJ7i3h8u4Q2sE4RXSEDqu7nbg4568d+a43Q2WMW&#10;EdoUkWKJY41LeYwOMMc4GDzg49e3FejNf6lBp0lvP5cds0zfZ3FxthLBSEPIG7Dq4yDuyOma5pVX&#10;Tk+Vaa/kjZU3WSVRJeXU8v1vR3tZraBkkJSMzwsqsCUPybhntkg5xwSO/THs2ZoLnT/NaJJWzEBG&#10;FnRzjlpCN2AoP3ePmB6nA6zVoGvIZpFu5pL2K1ZZxA6iAAb8hWJ3EBQMDoeQQSRnzzTYr+2vyYiz&#10;W7XMKhhPsKgyR8BjkISBtB5AOcggYNU5ctO63Z0QptfD9n7t1r/Xc6PTrSCS3e0mgE81xcZW8ZHM&#10;fJw2SBzwFGfVW6YGWXnhqYzXUcNtCVWI6jcO7i3EkAABUI2AfnBO1ckgrgDGW6TTbG4ntridr2IQ&#10;SygRW0jKbi2ygPyj7wXBzu57itKTSJLq5tZbK5fVLu4EqPGctcW6hCcPg4ICqW44AUnJ7c0a84zT&#10;nu7/AJI9KhGFNKTlbe/rfr6nnMmj+fErhpLRvMxbQwoPLjTH3wzfjwMnDDjnFbVqU+y2aPIVu4Zp&#10;AGaNtkAjEe0hSwJY5zgDGV6noPSNF0t7Q3kvmRSS6Y52LfMjqkjMu0xxkYbaTwOuBgnHWOezW8kv&#10;TNaMkxQt5mAVuQckkknOSoYYHJJB78utUhNRm9zqq2hQvJ/d12/K5jXV8JLRoFVSXjiYlRtWRyDy&#10;P9kNu6ehrnbJ50ld5Zt1xjyWPmfLgbVVe5OcAcfhXVS2AvYFMccdvvh8yJlbcYd4JBkXIx06Ejkk&#10;cVyWpwPZzWsSic3Mj+flANqrzgbwckjBJO0dRxzgZcid1N63MqM4Rkqc1Z2dv+HOvN+dH0lpnMU0&#10;twVmWRTmS3KbhhWHIxkEgd1HOaXQvEccxe4UlZo4k3rMo2EgDJ2HhgPvEnjA6YzXDSTzOy2cUTB5&#10;5WHmSHZDESwJ+UjPUngjJ5xzxXa23ho27wAywWyraGSe4W4xGEUEyStJnDDaCNoyWGNoYms6tByl&#10;zf1odtOsotc639T1Xw14kMNysqRGZsjzIo5RITuAyGJBUZ2jIPQEcDOK7M+IWuNTJs5pbe+nhNu7&#10;wTGOQ+YrLJzkEhlYgng4P1rx+8tootCN1aSBAIhK0ZJWWVlxjBx05wcevtwmh3U0ko1A+dG7ndvE&#10;exHAdhhMjHGfzJFcE6a9oknqtT2MLThNOSd3tY+vvCen281zHGskVsLePMvlHYsoYnucjPHuOOnT&#10;PpVxYweUkZuUnZ0U3Fsr4ZtmTFlScdVUfQ9Oa8H8NawZNPsLawF5JfzIzzhYHDRs2FVBIBtbYAG3&#10;JjmRhltu6vcdD8HeI9SFlLGBeX08Uk7wS3Qt7a2yXWNJ3GSDwkhXurY3LyRywp4mcpJRv+H3DqKn&#10;TanUqcqv/T+86jRbKO7ku4LmWOe0YTL+4zHu3b8hiCDgbgOMe2K5LUbq88K2kNlaytNM6sHkRQFT&#10;czM/TIySzcHGMdiBjudF+HOuDy31C8isYFAEbWd0jkmVTKk0hUlgVzyq5wUOfm3AWdV8HXsWr29t&#10;etCVWWO3dZQWimBfJk5yPlA4A4OwE45pRw85QUKq5dvuLhjY0q3LKfNbVq2mm3qeK2HiQahNf6c1&#10;nHDcR6b5UbzMqdY3idzhj1ViCF5AkUc7RnhdbaeLUhbiO6mkiu0kBEZ8hGCl5ByMZUEEgjBzzwK+&#10;tIfhnYGRrqC5WLUHjLL5hSSCT92QY+uV3ZY/iOuAKr+LfhhpK6LaeJdPluxqtvdlLqzeAy2kqrhx&#10;KY1jZnA2MOGJCxMCPTsjgoexcXNe7rb5rQcs1pKupQg0pWT062/JnxBq2l6pq5ktxoN5cC8Vre1n&#10;S6igjguJZU23MgZizKgEwVPlJLqxJUbWw9P1DVYRPo0ji3Vf3Uc0o+ZlLBiwGfkJyOnTPXvX1XoX&#10;hdr+2kjiCTSPCds0jCC2I5DMXAJD9O5zwfWvO77wRNHquo3VrplvdXsVjIkFnc3MoinnYlYgjKvz&#10;kHhEcld0S7hg4J7CnKnGUF/mYVcZKNSdCW1k/TtY8aul1COaRlZZJTEkELRouQGRC3zAg8oAc8/M&#10;O5zXoHhHxHqNvczWU32Tynvh5dxLM0EcoBK7WDEBUfIyTg5Xgjvw0txeWGq3tqsayxWwQKYmMkEk&#10;mxRNt+Y/KDnaScHaCDg86t5rw0nT44PIs3gmvV1O5G3fJOyhUQvIDu8uNWchFIUl8sGKoV48RQpS&#10;i7qzV9F1NcPiq7k6c7csvysfYvhHxNBHfwW0V3HLNYyIZ7yCRjC0mEbEbZwwVjjKnHHBIwT7dqfi&#10;KzhksLmBVLgJC5QlVLPlCBkkcEgD/OfhPwX48sry4jmk+yW8VoqwxR21qlrA2A4VdiBctjnc25m2&#10;gEk/OPbH8Ypq9xpiWzPclIi00ds7NMWIKRqVHB7YCnqVU85VfOlSk17OL0b0KjUarxlbSN7nsFhf&#10;XS6rc31vOsL7ma5tckSTbcFgAeQc4HTnGDX0f4K1AyW0F4zywtIpaKaNn+0QuQVyvVQykEg/nkAY&#10;/P681HW1vpZoUvlg8rz5UDSNHOyRTzsZNowAdpTnPJHHU19P/Br4hT6ppdraQRCS4n3m3m4dAsoI&#10;kAXBPzc4JPyknBHWuSpR9nP2NVW5r2PpnS9rg1iaMlJL8FY/SfwHd6hqTWscmryWSpbul3Km6SeW&#10;32PuhjCtw0mSCT1BK4YkKfT/AAh4paKe8svP8iKe+a2t4JcrFMIXePzSTwCBuJPUbmGScmvlnTPF&#10;Emgm2itIje3M6sJmgu1iTSdrM6r5WcthCNxPVsg4HB+k/hnr/wDbdzHK6WEUUIKRxXKRR+eGVvNW&#10;SJhzk4C55ILdhVqUJ1aVFNxab173sfO1aVSVCeInG8Ht3X/Dn014W1HS71bW7m83TdWhmmuT4is7&#10;6W4cxcsY2sXPlllWOREcbdxkwzYUEfN37WDW3ir4bapa74WgXTRpgE9x5cSSOjLudWYqg2qxwuF+&#10;TIxjFfRug2em2OrW93pmqaVNbPKLv7DNbCCHSCCzfZmWXdG6jg7uVbI46rXhn7V17pPh/wADTBls&#10;1lW6ZDbB90dxMolXAQPywAPzDAwjete851FgpQnsk07d9En+p8gnBZlSnh4u7aavunfXfZdtbdrI&#10;/k9vJU0/VryyurmCCexuJhK9yo8t/IlljXAPGWKKAvckV1WjeNZLq8W4vrua9uLq5Nw91cTNc3Fw&#10;dg5dyT5hOGODnPAzjmvP/iZCmo+OPFI00h4zrMhWWMM6yGYK4VQM/KHfaNo4Dde9dp4N0PTJra0Q&#10;aazXFufIvHkuDPNMzq6JIkagBVy2VRt+GjQMzA4Pj0cJ7SnFvRdP6+R+y4nF0qLjiJpubtddr/5s&#10;+1vhX4vt1WLWZJ7dWt5I7cRQupuJJZWLM0aEj5YxHywBC8A4LLn76+GviZPEOo6WY5ZLP7LINzxj&#10;Im3LgFhkZyRnrjCn2x+Xvw00q9guLdCs2UkKRWshysmQwzjgkjIAznAQV9r/AA9uNV0e5so7iF44&#10;i8d20sZAKR5G0sM8Btw5A7j154K9CtCr70fcTV/Pr8rmcqGHxLlCNlNp28lY/T/R9fk0bxt9n8S2&#10;dxZSNZxz2TfZhFZ3qMjOjKyMSHdmy24BsuMt2H2V4R8eXdusREcE8epRuLiW6xd30Ukcki+YbpwJ&#10;i+MkEkMAeCMjPxx4M16zudNtdVvLQ3uoF45H8uFLi2wEKo3zMGDncANoIOWz7/ZGljQNatNN1DUb&#10;O70ywuwwvm0W7ghv4mfe7zRsImQMXkJZJQQxJ/vbj9HgZz5XToVOWWkl6O27/A/OOIqdCWFhDG4b&#10;mSTi7W3SuuVOzu3rvuj2eLWr99U0jxUDaRrHEQl/Pqcdzd3E0UTIYpYi/n4dRsXcmwE43GuX+Kl0&#10;PE9lHZQstvfyxotnm3ebTEUGdJ53j3Es8jSo0iKPm2qM8DHE3WmRzw3Ufhy31fUorP8A0m3SO1kv&#10;dQeN3WKNRGoLSviR9zKCdqtx1zZvotS0FtMk1yHT4ftNs0kNrq13Np9xEAQGby9vmIQD1cjgk4bD&#10;CvYji8XGE1UTVKWrk3dX2dvX/I/PqOS4CGLo4ilNe1inGELcs7K8kmnJ7J63st9Emz8EP2yP2W9c&#10;8Q+OtS1fwXb2LeJNM0+7v/EHh+wJj+2xQiFw1sCcN5wjkfaCSChwApUL8IeDPGGt2k+n2TwXGnWW&#10;gyC7XR7aAQS2zuFaa5mdsh5pPLiDO/y7UjVVVUAr+mP4neFdC1zxJpms6jpdte219f29hdx/ZfMu&#10;ZRNhWeHVUZHSRApYsn3i+5h8xr8u/wBqL9iW5tdV1Pxl8OcS6NrF7I+k6dFqVvFf6ukIjkaO6swS&#10;xcM6mEgkyGNiB0FeHmmUfWISxOB+JP3l1a3TsftHDnF1OEKOU537tNxtCT1Sl1j/AJdkcB8KviBc&#10;NcwtNLc3bXGZbgsTNMgbjY0inGQG7Nzk5BAFffng7xRpet2EejwRzPK0gSOa4RYZ4wAGBVVZlJ3A&#10;4ycj5c9a/LP4NzT+HWktdVinWMvFGojgMgVjtDIWzkkMwyT0w3NfoH4FFkmope25jtVMnnRXYb97&#10;bgYDF4lyGIBHIXjPfivCw1SKh7s9Xumun6bFcRYahGvKSWm8Wu6ta/3n3HokdokNrba1ZPcgRPdW&#10;zzFbnGOi4I25O4jg5yvbIrG1q4s9LiEEUIXIk+wajLtkRjG5G0yqCqhXhIJIXo33srXIab4wZbkT&#10;3t0kNnGj3FwZH+ddyF9ozgKAVB7gbc+tYPjfxJDJ4b8SajFdTtFpn9mWYEWRDLNqVw72wXH3gIbW&#10;9kY4wvkHccld3s061GvTdJ7/AI2Sv+h+eSpThXUqjdm1ftduy/NHj/xW8Wavc2FvY2mnTLFCv2v+&#10;0Ps8t8kwV2VpFIyIlUlI3fhQMEjJNeR6z481ZZJ7bVX0iLV9AtUs7XRru7Nrc6n/AKMlsWtnn2Qb&#10;Sm0Rgljlwy7SoI8y+LnjDUNM169dPEFusenxNeEWMobV5AixRLHH5ZIk24jTnI+XHy4BHio/am+L&#10;6aTpcPh7xf4ts2SMWGpSWc4M2pW1zc3NzH/ajsS0pge6mjDOS+zaCdqACXGld+0b6eex7cqeKjh4&#10;RoqPI3re637G/quv2ra29nBq1rZPf3jLd6PK5bUrUkny2WMcS7ThwYidxVuAeA7TPH2mRz3Ol2+t&#10;2lnZPL9s1nTLO4N3dahLAHWOXyVWS0jnOxIjgkxhSQGdQG8huv2lvHkupajc+LG8Jtp9rLcW+lKv&#10;gjRYvEHiC4ZJooJnvDZC7ZBKm/eswTZGMncyg+A6Z8Ytd128nFnoHwssdN060QzXNr8HNC02Xzg2&#10;0Frmz09FjjIb/WII2aWRMMQrK8QwtJy91tNeW50c2IlTftkuVaXT699V/Xc+79F+NUWqr460Ka6t&#10;7W71HwHLa+H5NStpNd0/TJdKvLTU1jR51nnjDQW97ETskYKzEbpGwvmVjq93ocd7Baar4M12x1SL&#10;7Tb+ILWxfTNRvZQEfYgu4hMYVM20yE9i2xc7T886D8Tbbw9ff2vfL4d8RyWZe+ktG06XxBpt042h&#10;o1umaFQylm4jdZRkk7QtdPcfErwn4/ULoHgez0nXtTIkl0u8uPEep6VfNEzAQ2zWF1PNBKysMv5L&#10;qpUfwkg7QhyKMJp3vpp89/U83FRcX7SmlyOzdmummx6fdeM/tN/bm08eeH7S9mDQTpbeJvsVwnDP&#10;5OYf3IEgB2x+ZvJbOwZ3Gxp+r+Jbt7SLRfGd9fFUNveaRFdW97JqRbdGotonWRJSS7BViViCd20H&#10;GPmbXItQ8LpCfEWneEdLSS4QxTa1Zy6zdW4kMgKpeGSG6EI242mNCpDEFNwJ9T8C/Gn4W6dbwRS2&#10;ng/xPrX9rLGthZNqnh3wrZxLIwNy1lOzXF6EGZPKkkjiZFZSkq8HWPs4zcpOzttr/VzlxtaNKjGr&#10;Qjzdtv627n0z4a+J194VtrFvD/7NOt+MLh7mXQfENrbaXrmu+C/GM9sgW4umsdTSe1muFO5zHYSQ&#10;GKaCOTyEaNCuh8RfAckj3vie11RvAHhi1nivrr4d6/GfH/i62jWO3eS1TToZ2ltpVZtytqsloBDH&#10;5zSM5WN/lW//AGpviP8AFGK4TU/G/jnxl4UijitbS207GnrodrFcSbtPdtltp0UWxiVRbN4AzyOY&#10;5Hdy3AeFPFGneGtYk1fwX8NrnwFLaXckmsX1nJJ4l8XzKD5pnW2gWLTIM5J8xYZiNzMQv3m6niI1&#10;YqLg3Zq19enZLqfN+znCUq7lGNS7vba29m5P8VsfWdh8etG02x1fTtf8O3HiHwnruo/Z9O8Fah4o&#10;sr/XZFhCeSZ3KRiBpURQb21mQRhHKyDCGvdtD8R+DrLwxoMXjy38ZeKvAura/sm8PTXEni648LCK&#10;SEpp9rrstz9vP2eG4hjaC4glivFmzIqOqiP4Z8G6JN8QNb8Qj4OQ694q8aXkI1Kfwlp/hq78Z+M7&#10;2+lCK82qtbWkssEihZGEEiquWACBs5++vhL+xn+3R8Up5v8AhJf2YNY0ex1S3ZbzxN8VPEml+A4b&#10;ieSXebxLCG8t9QjkRAY499jcQobiUhS7EJ20MtzGq3KlQkr63asvPex4GZZ1k2FjzVsTCPdc2uy/&#10;Lunc+ibDwF4H8TaL4d8ZfA/4hXOifFPT9dGveEtA8VabdPa+LdPNu7zaXqd9BEttBJJt22cssUcq&#10;mRI3DoQE+R/H9j4ZsPiZFqWhaaNP1y2l/tLxR4Kv7ZrHxDe20sSENaFlSNjGySRSI5KyiJlYoWVj&#10;9tN/wS3+KnhGw0PX/EH7Vvw1/ZttrG4Emr6LqEn/AAn2gHbcfaV+zy3FzpMce8F/NikMscjOWATL&#10;+Z6P4q+Hv/BPvUNU0SX4o/tKWnxV8Y6RKllBb/C/S7JzLdFBkxx2MN7NatJ975LxFPmEgoWweqvl&#10;LjDlxdWFPs7rtu1e9/8AhjwMHxThY1FPLXVrqzuowk7XsrcyjZp76ve+p86aR4o1v4mNB4y+Fuje&#10;IPD+t/Bi0hlu/GkltcaiNPgiubb7IusJE5c6eEMRkiCTSW5/eWwYLcR3XefFaAftf/DjwvoWo3Vv&#10;4R+PvwxtLrV/Cfh231dL3SvE1pctB9qGjFSElhuEiW5jmtxuXZC23axaP3HSPjZ+xp8NVun+EHwB&#10;+KXj3VdW0+3tdTu7bVIUlu7VWuY7ddUj1DUpGRcwz/I8W9158sjAr03wf+2N8Obl10Lwz4G8C/Ci&#10;VLe4f7HL4Pu9Y8QaK65kE39m2kNjcXVorGcXMlirPFvWVVlQ7qmGGy6nGMauI5nJW0Ts3e+rei6a&#10;3Klm+bwqfWcJg5QdN80XJpSjpr7qbk73eiSbTta+/wAR/s+X/wAT/jDcwW/jLwF8RoPG+gaHPof/&#10;AAncHw/1a20jxLZNbTW6+ffPDHDDewyBGjcu8c5iSJ0IKB+h139kn4x+PLXw98QLX4Lax4V8bW1x&#10;d2WpaJ4sl0nwFqmqRvbsLXULl5L3yxMsryDMLHAZg5kHlFPoHxj+1P8AtXR2d5PF/wAK5u9B8TQr&#10;d/Bb4o/DXULfxn8LPHKxqj3WmzXdyXudM1JElSbyb+O3wolUF2ilK/B3iT/goN8dzp2qW1944uNN&#10;8R+HxNd65At5PYWky25Vbq1jRCAuxzsMw3HC+Z5ZC7KyxLy7DNwqUqkm9Nba/d5LR3PRy3N+IsbX&#10;+uYGpRp8z1UXN2vdNWdrbu66PTSx9tfDr9ln9r3SrdNR1S88H6Lq9gzPoPjRfiYllqehRNvCxzQQ&#10;RTmUICkZO/5lVSDwVbo/iT+xD438f+JLfx/Bqfwh+GnivVoPK8faH4UTW7/wbrd+rKy6tYmS1jkt&#10;55FEqTW6KY22o4csSR+WOs/tO+IvHNnofimT4x/E23svGM3k3dvp/j/UJdM8NXKStBLBaLFNH5ca&#10;gQSyF1d9jI6YHyyefWHxO+IT6pDcHxV411l7JIVujqHiW9ks38srPHKC0jIFdeVyGydrVy1MbgIU&#10;VQpYXmg2naUr7fLtp+B9DhMv4kq4r+0ZZhGnWjde5Sto2rp3k1JXV9rX1SW7/Z7R/wBkD4h6dpv9&#10;nXXxV8Fme3vGjsLi38PavcWTRMijyL1HH70krGwCoHw5BOPmHuWgfs+a/oMSx22qeGI3kt3ivH0/&#10;TtU0q0vz5gVDLazxuGKncQ4I+8RkABR+J4+I+n60kt3EdRbU55muLjWBev8A2XpKqVLWxtg6/LI0&#10;shE21ii5VBHuBPrvhPxdr2mXljcSajcW1reQ7hcWusyvp9zlSVjLwOMMAsbqS27DBWCMGUYxzPLK&#10;DcVg0raXUtf62PdllfFOLw9nmt2r+66cdX8mvl6bdT9bG+EHjeyYz+H4NJ1ddo36dpGuW9lqGVJJ&#10;8iK5eJd7bsMN2TsXkliBiPa3vhiKWDxXoOp6JeRR/wBpXcepaRK05CMylQQdkiMWUGSMuoCHB54+&#10;SvDnxa8b6Hp8htvGvjKO6gP2g6bda62paXJAvmb8F15YFcqJ95G1gW+6K+vPD37Q3iF9Js7HxJPp&#10;/inSZJYv9C8S6NDfzyY2YkimgkiEZGCwOJMZ444HZQx2QYprnU6cu+jV/S17eZ4GKwXHGEX7v2WJ&#10;pX1SvTqWVtpNuL9GkvMyNUNrq0FvqMcSXUeqI1y9xcXckDWqtJIqGIqSpJMaHa5K4U4I+VTalvI7&#10;aRBbTXFpdsmyMWzK0duXxHkEt1AJAOOoyecGvZLa88Hatbyy6dp+jaW9xeM72PidmfQL2ZgvmrFq&#10;EDLcIx2qv76Nl52nON1YGqeHfDUCae1+LDSJftP9oyBNeg8SQXcyMreVaW8nl3gIPA3rtXeCWUDj&#10;XH4OLpe1o1Yt6a/Na+W73sZYbiSlKccHi8PUg1fR67/Ztf3tre4mn33L2vWb3NjYXgS3jkk0yzji&#10;e5JjVV2eW+zaCTtEJyAGOdnAzxUtLuVYpLdYy0e9PNuyf37Fym3dhgoGWYbQM5PJ44tazqUeoxrH&#10;DK0cUNukNoZ0QywRM0lxueMcISz7igPAKDPPM+leSseqW5kSb7dayWsxNuyi3QbJAY4yRJuBQfNk&#10;qF3ff3fLz1OStUbi7X699P8AP8DyKbqUsAlXjs7pa6K68t0tbdzE1C9AEdvLskCwNDIAGIYlU6AH&#10;PXa5HavhL9pGK2tXTUra3ZZZJFnJALyRYljLADPBCpKdxwQ2ODxn7b1aOBF80bw8Jke5ZgVLrIEY&#10;IFwBjI5I4OByeDXyL8eI0nsYbgv5Ztblg0O4tv2+a4XhiNqnAznPzivnsZKopuMnv+Wh9fkVGEbT&#10;inbr06/8MzzrxBpMnjf4calYRyh7jS7cSxOZWjuICq4eQN0x5krbiDnaK/Jvw34w1aH4z+H/AA/4&#10;tea6j0zWYrXTNdtZUa90pDeW5DCRgxMYMn+pwUJIwuPlr728E+OIc6np82oTGW8vJBvdg2YGLjbj&#10;gbhlAG4wQScdR+Uv7S/jvSvhD4417XLucXVpq3jK38WwQ2twIr60g0ydby0t7XLglru6jRnyERI7&#10;OPc37wivS4fxbqV3TitUvvtsZcR5XHBYadWq9Ha1+l99f67H6X/8FNfidp/hD4K/s7eJ/FjReBYx&#10;e/FPxneaVNciUaNeP450m00yCaEth5SLHU/LHzH/AEWXBJGa/mv+K3xctf2iPFfi/wCJFxpTwSWm&#10;pahfYsb9rltS8M63py6drFqfkjcNLP5srDOEed1U4XiT9qn9pv4+/ttfEHRZvihPNaaF4Ssru48C&#10;fDSyi8rwv4K0ydJdUu5LNMEz3V55fnz3c2555nDfu1aNF9D+CPwBk1P4a+OYtL07TdS8caloi2mh&#10;aaZZLjVdDjtmmtL2we22gedvuXnkZk+X7Jgc7wP1inUmq08XrGpKMYqL1S5Ypfe2mz8XwGFwrr0q&#10;WKadGNScm/KdRv1sk0n31Pzo+GnhKwk8f+G/BELhdP12IeHLLzHayWF76N9NDSOgLBIhPHKdo58s&#10;DBXIr6h8D6Tf2nwO8E+GrgnT7zxl4g8R+E90ax2t7FBHaHSbgMM5Vd00sDAHBwwwSor5t8VWSaD4&#10;m0nU9M1G3un8KeIykt9bfvLe+ezkVfNRjglD82CQCcg9eK+uPE/ir7T4x+F39mPb6dotjpOsePnM&#10;zhh9m1vxc9zEyjlWMiSl0OeQeQduW4qeKdTDu+s7/jdXPd4my2lhc4caKth5Wa9HG6++58//ALP2&#10;l6lovxNvLS3/ANI1aP4YeM728SVvLto7Ky8N6pNqAaXIKlokkxkjJTgg9YNZ0/WdasL200S1N3bS&#10;eB9M1a/KRrFDoUZhTzZJcfLGNqS7fV3QAEkE/Tnwy+G+o23xY1vxrbWkdt4fu/BHxS8OXmpzMVig&#10;lu9PvYLXeqqcCVLzBTqAFX5SCK8q8RMml/Bizu7ZG0aXxH4ZsPCdrJEfIv8AxMdMt5RfTzx97SDY&#10;0MZHymW5bcxCKF6qU6bjTxGraev4f8ExlGpHD1MJfSUE0/Xmf5JM8Q8P6gniK/g1dStjFZeGNUtr&#10;Y3s7t5Edjc2JtYA4GVdjICM4yXbGB81fYvxE8HJc2XwA8c+F40tdE+MvhkeNhb399DexSah4dkj0&#10;DxKRg4iX+0tOvbkRSgOU1EcupUj42+Hlu99p2r2ckMVzHY6ZcanCzKzW9vJLEAZOnLCOGR1VjjMY&#10;Psfoj4X6nqes/s83nhaT7Ddj4N+Lr74rWF3cSNDq8en6nFDo+q2kRBGYN4sbhvkJXygwIAIrolJV&#10;KcpRWjul6pXX37HzNChUo4jlgryhyv1TbTv6bn656Los/hbxb46+LOg6pZyG3vdIEVzFb7Vup9S0&#10;uV51UFjuhNzYTFtxORPz3z/SL8OvjtofijwL4d0W7lhvoNS0C0066tnUBEUQRR7c5OGjZMg8coDx&#10;k1/IZH8RdUX9mTwh4o86W2uNd8Q2enxIkweOWPTpb55xJgbt8S6pEo9sdhmvt79mL9qu509rDTNZ&#10;nQShQIZPPKFQFXAOTnOMDkdzX41xJn+NyPM1icOvcaXMf234d+GGG434KU61/bUZXgtE07aWfqum&#10;zR/Tho6/bYki3vLc2gb7bdNgtqS7iFuwAx+Zm3mReeQSK4b4qfDLTPHWk6po15axu81gVhvljGYy&#10;QG+/gnGV5AP932rxL4SfFxPFWm6eLS+jjuoGF5bTLMrCNmADZOfukAqc9uRg4I+sNE16PVrVPNWG&#10;G7jGLq0EqsIiuFAUgDKMR8p4zx+PuZZnOEzrBqvSfvaa369V/n9/e35XxNw7mnDmOq4fHU7xV1KL&#10;83v6Pp2enRX/AJdv2jfgHH8LfFWqaNMl9J5YVzefY5Y7K6MoYYhcgAr8xG4f3sHB4r5BvrZ97I8R&#10;Vo8llYYPPLDnvwcfUDFf1g/tHfCSLx54I1m5tLCC41ywhe80eNo0YTSLg+Ucg5BAOM5yevU1/M78&#10;TfCmvaRfzza5PHDfGeVI7G6jEUkOxzvjUBQoVDvGAeNhGO1PF0VGHtUrPd9tdj8wzDD/AFKqoRd6&#10;L1j1fS6fnH8jxEIrHexDNhlLj5SpGQRgDGOmMegqFwXDuokYxvjc2dxcKcbhkdsen3u3NX5QvllX&#10;AyWDLscDPViMe3A+vOelUAHZy0R2IrjDkjMfYHk5Od2MDJGM5rzOVNNowk7vmtd2KUqYMaMGEhwr&#10;tuIyCN3bkHPG5ecc+pDsBUcyEITg7yT1AGeABySVOOnX0OJdoQEFQsgUYYHMjA5GeTznsPfpnpVc&#10;sz7MgkgqrSfMmAQDlgeDjdg8845rXn50oNfcKqlF+51IGjaTBZ24PmKXbb93IXscA4UDjgA8Hg0O&#10;hKFBK42ggZwcADfv6fgDyMYPc5mViH+TAw4BYHdksNpIOcE/Ljnug4OBTQF+di8gBlWRXLA43OQp&#10;IzgkbcZYAnkgdDWUHNNKXS7/ABFClH2b5X73W5XeNS5YKd+N0ZwyDkEgDPc7ffpz2NK3yFvMEmVU&#10;lZGlZC4RicoAOM4JB9R34o8sIwbYoCDKxqwZ1ZQhjIy3GCB+PfpiRmZZUQGPeVIZGfazjeoGGyM5&#10;JUEH1FVeE2reQnGMZ2ivMiQK6yIxBVl8sSSnOFznJJ7/ADHtg7amVso8zIEYyZkiYEgZJYY7HGNv&#10;0/CoCWCBURjv+WZlwhPAORjjIUDk45yemDVhQD5gVvMITIQ7Qc4yOQDgjBB69vSiFo35mUko0nKK&#10;6foMZZCpEeFaNg8YlfAbkHBxkAAgY4P48CrwhdoohkuqkCMCMgoMjg446KcYz90AetQxEOZdxSOH&#10;hRkZQcncpPTkc7gBnIBBxk2Ik27UjDYAMiMkrYjYggE5x2b37ZGKTcl7j1ehjKNNTUo9rfl/VyxC&#10;zNlUAEaKfljG8kn05ycD+dWI0BMqN8p3hcFCSpUFSCfyGe2OnrEo8pG2lVIwkfzgjaFJySRwPlOA&#10;OSCAADxVoHCoFkjLY/ekZ4xzubr947vXqPSlJck7tK1rW+SNHNqom1p+ggRlUFSrOoAZmkPlqAec&#10;DPZcnIHPApzBo2w5RlMhwWbh1GGTI9MgYz/d6UsTllRdp3FyrbzuwB3HbqCep9etODkSkMNyIuBk&#10;gYGCBj6c/rTS5ZOcvKy/rqaPWnaTt2BsIN4/dsFOdvI5x1HrwfwJppkUM48sqpBKkEgnJHU9uSB2&#10;6jHWpDKrKFVS7SJlskErk8DpjP3e/GD71FIxEQLiMu+NqlxvQbiuSc9RjIHHTgVCTlUslZKxEkrc&#10;m8tbfqN++hVl2yMxVF3fMSAY1C5xgHc3Xjp0xURiXaVIZIlXydufK28FWzjpnpxxxxmpdu2VtoDH&#10;cxzjZlidw3Z4x8vGOm3geifMshKnap6+Zyc47Hvjk5+lXK95Pz3MdVB2dmloJ5kQTdIykyYwzsMc&#10;7Tg88ce2TkcejggYDG0ggYAHKk4B4xx68nJobY5HyhAu3YG6v1AI9eT0Gc8YPFMEib13NnbuPX5m&#10;4wvHoTtwfcZ45qo8zVo+t/0LnKclySd7Ik2J5ZAkDqEGFTlGwBgfTBByPTHaoNxDIAsaK4AdS2MD&#10;coz+ZQ+wOelSs8kcMoLoIPvIEbBIAypx9Cw59aaAsqiJVjYswY72+VmU44Pqu3bx0EeOxq0n8UVo&#10;OLpynpvcheOZ2xECjJggs5O5lOSSOw+Uc89SOKduVfLUhJmdV2h8s/ygAvz0wTgY9aWEybt5K795&#10;+RpgfdcN05/Ln6Us2BtlLFd77UVxgMTtxnA4+8oJ+vFZczV42LlDRyTv/lYrgEnLSqYWQqpI2RSj&#10;JIYeg5z3yMfjNsZJNqFUIVjlAN7ltoHvznkDpTWRcg7lPlZCqpK/dJP54HAx3FSusmI8OGy7hiZP&#10;uADI/rz3I9xm21JKfysYwi3BxS6ff/ViqF+XDld0gWRwSCUBJVRz6YIHuppzJlZFZXRgdiiMcsc4&#10;XJ74OTn0J9Kkcowfa5fYQBGnJBJ6kDr3+bB2gnOM05InEnmM5DOuFD43AAElcf0P+NTzXbdtRumm&#10;lCPl9z/yIljRWjUMAoPcHyRjAHQ/XjoOOlSA+W0olEfzk8F2wSTzjnA6jvj2pvmRq/mHcYpI12K2&#10;NiE5y3IyMbhkEZ4xgninB0K+YCDlQrowyMkBTz0ycZ44z0HTESk7py2NoQaunKzK6KskqhUztIUg&#10;ylABjBI9cBlbH0p/3pDGeI1VTvWTaS3zswVe+Aqk9PvdO5kkZUZEUF1XOwYwRg7cdeOcjr3BPUU1&#10;VV9rQ5SMMynMpffhiwOOgIyRnjjHtjZK7i1tb+riuoJzW/4/8MOTYImKKQC+whmJTvjgdcnHB74q&#10;EqcqqRrvYYU4yEwBjjPToMDuDnmpQVEZjeNisjlAS22VRgZ6YIOeeOw9eaY8rcFgm3aExHIOPmOc&#10;ZAO459uSOe9WnKMeTf8ApE3lF8zavZWJD5oPO+M9SinKr9KKgV2ZVItweMfMAWGOCDh8ZHQgcAg8&#10;0VyOm29/60GoJpPkPPUZ5BIZSNxQbsyZRQufvZI6ckknkZ7VCHGVfHmGPDOrDezEldozjA5HPJye&#10;1IyrGVYuZeQfL3ZwcDIHPHTB7Zz1qKfL7lHyhpgVIQssbbiQF5I+UlcAj0q+WT1RzxnK+vT8riFp&#10;PmARCSyojSEIGO4A7h3OxMccg4zjrUbNNGC4KYZz8iJ+7RBGmecYHJKg5Byv0p7l0XIMYULuKbOi&#10;7lUEnPHQn34yarnYwAWNWEUhBUja/pyevG09cdO3QkJS3tYned0/l26XHPKSsSskisWDuqunKqm7&#10;cOSSvygAkDkHHTmuXMjF5BuDMW8sJ5cUjls/LzgY4YnvjmlmlRidw8vBDN82AijP3eDjIzg9sg59&#10;KgkY+WDDIrn9yzeWUMeASQueM/KcDJyF75qo/Fqh1JxjJtPRvoO80nAdI8sQ3mEAHB444wDwB7FS&#10;OMcxsx2wqYwrFC8ZLDd1Gdo9DhiPQYGSeSNI7PMz5eReTufL4JLA4z67mxxzuJxyai3CNkcKzu0Y&#10;P3xI7k8BW6k8bsjg5wKtRtJ6eege0tH39lr6eXpf8xhZW3Hy1G3fGqJnaSVJU7RySDj65zzjaUln&#10;lAbfhFeTDjeGUHcxLA55DDbwM52U9popGVJIozGy/Nks2ed24+52MMkYIPrghmw+WXGJA4eNSAyL&#10;McZ3Dvk/MAP9vB9Qk2m4zT0Y5L3VC9o76edv0KhbBJO9WMgIwnmhQxwCxxgHJHPY49jSTEyRbZGT&#10;DbyybPLkTaQxxyMg5PGOw5HeV9x3b0VlaTeoijEYLAc/MCcjhOPdievETBhuKbHOwkhiSrlkUnHB&#10;4UuUzzyDgEbSScoq7l/X/DIUIR6K/wDw1x8nno6xphY8n5mJ2MSpXKk+3OQT0BHQGoeVkZdnlgYR&#10;VZegAVR7HGR78fjTy2CVIZEKDftUBx8+0j72WyAMD1zin+Ydo3AkAqz5UHdtU4xzkkbjyRzgdeTT&#10;cXK9lZNfil/mkJxUnzN72/pCHyc7vL8ttp2t1VwQ6MffuMeuaSV5WKOUlcSH7NGiqhQEkKuAMnIw&#10;M4weealkYcbBlGcSOokA8xVIJUnI75x678YzQzbNq7Azbs/e2gq42kjIHBKngjpxx3lK81f+thyl&#10;OUFCLut/687EMrJJEGiBkky87biQB97Cs2MgcKN2M4xwac0qDygIjJ+8fMoQbiAV2tt5I43ZUn+6&#10;KQquxgxUsOVXkAKvbceQMDGc9B2qXzdkbuGC/umhMcQZN5x/ESfUfQHBAFHLHRNXZXMnOTnpovkR&#10;k5+UAoXYPL8u0DI5X1yDnpnPv2miklUid4gVjXc/mKCTtw/T6AnBz1PWlRhtPyLE4OEwQrMNuRwc&#10;gAAYwOPlPGeKcjbfmKFEHdOPN+YgMMjgEbeg7+gyYtLa2nf+u4k5Kzkr2XbqLAwBUiJTt+XKkGRc&#10;e465x0PtVlNqs0iwESOT86lW8s9z7Y38AdNwII4qvEC0scpCq27loSZo41YASHBOCSBn2zV5YpCI&#10;iUJcMS6RsWwpVsE8dM7fy7U6jvZy3ej/AMylLmhdy+XXQFLRAtj58qWEkYVAFwN3POCOM8csw57y&#10;psCBmBC/Ku0YDDazhiO/3do4HbrwQUEYIClFdsHduGxmPIz37nofXuas7EyyqjygupdWhUqAxOTu&#10;J4IYgdcjvRzRUlfpYpRUlea2t+gJiMne37rcWBBDb2faQPoQT8w4AC9eTUjwx7yow0kknySPGMEn&#10;hS3XPGCce+MdKcEU7soAk7K7Z/1KNhcZXtncwAB69zjNWFJYxuxU7T+6fBPTB3L0ByQ3B5AHIwRl&#10;OzftHsi/dklF7pkBCp5vmn5mywjkGVjU4YdhnKsp+h44xWiCzRpuLsXXesj5d3UFT8zdW+7nLfMW&#10;Oc85qNECMVkLICilTk7XOOpxnBOCSOfzIInHmMsm5SxwJMRx8hmCnbyQQQWxzwMHGcYrNu7ut7/m&#10;Em4JKK1ev6kUjIsTkiMCPCgLhiWVQeDk7lJ43Dgbvpmq1s11mSZcQqSLdD8rRblbLZx94EgZ6DzA&#10;exqzbQLPsldGVX2GFBHtdgADnnkEk42jocjGSa0hGVUebhFSEbSrHazAtkDoe2R0PI561blJaL+v&#10;62ISlWd46H4GftYfD2XwB8TdcS0Vf7K8QXMmtaegXMluJWJkQnH8LHHbjHY18pSMGsZAwYOzEDAG&#10;9v4Tu/I/pX6qf8FDLCCzk8H3m0vdXIuImkAwCqCIBepztyOT6H6V+YUVm8stpH+6MCxmS4kONgGS&#10;evrz09q/euC8dPGZHRlPeN4tv+7t+CR+J8a4RYbPJSo7TSlZd5b/AI3Zi2VsPscrtuAUne+AS3YA&#10;e+atW6AfZ41GBcS/aJi65ZURTjd/s/zwKt3cawW5eFfLR5cQqed/PXH5in3MKW0AmLASfZdhA5Co&#10;OevqxbtX2Dk37666WPj4Qekeq6/18zI1W9S4uFEOVt4k2oDhQoHBx9SSfxrU8LWU89yqQqGKxNcz&#10;HhQzYKx7j6A4audltJWaNgVy7blBBzJnoAPz59jXo2gWsQ0q6FvNtZmVdSu0HJAZXMaH04C9smqf&#10;LRo/11/4cSn7evHlVtvw/wCGNTTrSPRYbi+MC3EcELyXMrnyzeSyfIkaEZIUMwLYySPSuHubx7wP&#10;NId+wDYB8qrz90YPAHpW9qd9NcWV253RLdSpbWsKn/UxKGOO3JwCT3PpXHksFljx8hYqAOOh55Fc&#10;l3KreS7WOpqnCKS3d7nZeEbQXd0ZSjiK2P2mSX+LAU456dhXuPgd0uFi1mZFjhspbvXHlaMLLMbS&#10;FhbJk90kYgY53Sgj5lrzXw/pktn4eto0KfaNWuWPT96sEI3E+oDAgEn0r1LSZFsvC/iDT/NEc81j&#10;BaBYgBHEbiTzGd8HOI1iLMqgn7gxng4YqUuWbp77f5/15HXhYxcY86bTadvLt89Wchpltd69qd1D&#10;bI8t1fO1zcvkFYUyNqt04C9c8cZzUj6tBopurDSIHNhpUTWkM1yq+ZqN0yANcOehC7mk6cnYPu9W&#10;Xeqf2VogNkZIpru3+y28UYIuLlnUjzGIPJAPA5A8wHnkjztb9obZbQMZZQxVJSC2WYlS+fTLEgdD&#10;gVmoOd1TdopWt3f/AAP1NpP2T95attry/wCH/Q0rBwnnu+03NzLsZ2PA3EAIWB9yTkjoPeorVIf7&#10;RkmT5orN2iiVM9iw4wOOAx+p96qxmMOimYP9iDSttcjLHt9cipbxzYaG7QxLHeb3nMn/AC0JldNp&#10;xjsAPzq2pRjZmPNLnTa0erfXudfpEEUa6k92NtxdataaPEBJ/pMGZvOldh1xtjxz2JHGc19LeILO&#10;1n1Xwzqsiof7P8JTWV0wYqGmEhjs2LH5T+6JJ28bUUHkEn5e8OCVrLw1JcMzeZeXuqPMSHaTy4wF&#10;5PBJKg/ia+qvEN7u+G/w00hbiS6vRZT3uoWt1sicNqnkQ2gQgByoSG7b5uQw4PGA8S/Y8sN3ey+6&#10;1/zN8G/rN+dKzTb9L3/RHE+OYbi21iJ7oG4stN8L29uEupAWU3H+kSPkc7m86DBJLfeXOCRXm99q&#10;Ml1GL0idIzapo0R+4kIRftFwwUdyTECeM7u1dZ8XrgLcWkReU3l1rDzXMayb7Z7eFITEiZH99nwR&#10;nhBnnOfOPE940Om21osaRGYS5RGVpGM0uc7hzxGiDBJ+9XnRSsp9eZpfP/hz1Jzg6qpbe6n+i/BX&#10;OUEk17dmUK58xxapEg37BjnYfwGeh+aveJjBYfDjxKthGsAuNVsIbgkqtxMBlmYj0DQqoCjFeO6T&#10;bNZT25Kq8Qk2EE4K7hkvu/IZ5616Xqr2V14W1mOGf91D4l0+3t4lys7wiG8eaVlz0DRxZGeTIopY&#10;lRqUuVaK/wCTR34SUHKMZb76+n9I8+tZFiiEvzSTXR27I0wUHP5ZPHSur0DR5b+6WGeWKztYAZdV&#10;vpELLaQgqSgUdWYgcdWJAyBnPP6Db3N5K11GkfmXG62smk/1cMaKxaVs9EiRCSx6EZOK2NTvoxZx&#10;adp0s40pWIMjkQvqMwA826dcBgTnaqtwq8DneW5akY05Jvf+kepTbqU1be9vPpf8ma/iHxF9tW30&#10;fSYm0/RLbBhtUY7JSCcTTH+KVlIJJzgsQvFY0KC32tuY4O912bWHGDuPT23H+lVbdEFvMQwEEDb0&#10;kddvBBPT8CaGm8zmEMUfLPLnhsHPTuDg8+3vXnyco3i38z1oKUrVKfpZd11/zNuO4UuFMReNiXLs&#10;NoTvgeh4H4kY5pxT7TieBXdlBztfEQI4z7AHv6+lZLlolRCcjIkZWzlcgZA9ea0Mxw7Y9rIAPNKl&#10;jv45wT9M8DsRXPZK0oo9ClKpUV3o72/4P9dxkysoDhwm4FG9Yzn5cjIGO/HHWqsMsiylXDMQSg3L&#10;hieuRjHqMH3qxOW3S4Max5G3aSc844zz606Nog8QBCsse0O4LMcA5AB6HFXDkT5nuaxTpzTWt/8A&#10;hjYtN1yxWNZWlRVaSVwJACoXI7dgf88VrLFbxx7oIFnYqpS5bKpbnkyAKpwfTLdgPlrIsYHEnmAm&#10;UEsAxyGBPTGB1+UH8OhroreaKO02JCpKo3mspOCpzkY+jfkBXNVaV9Nf+GN6Llzxvrra2/T+mbWk&#10;7rA2l4XiIe4jnaJ4VkVHUfKNuSDgkHkYPcc16TZa611cLM/79ZJR9pUk+aQcF2Oc9wdx6ZHQZAry&#10;1L9YZIrSNY2S4UI7Od0kWM4wPUlQMnjgeldnaReRFBGYmU3Dl1IbzJHBc9RnkknoOvfINeTjITrJ&#10;zeifQ+syuVOlbT3lt6P/AC1PS3uVvNUht4ojGrqEVEAXcWUBAB0Bzngce5PXTfRrayingggM7yuq&#10;rNEPMhgGEx8uMMdzkccDPAOcjlvD1nd3t7abnluo4OHmVWCR78quVAP3QSeQR0PWu/nnjsdQOkSp&#10;fWqhd1zAloyEEodiyLIy465P8QDE7T0rx3TdKmnfe6Pfu5yXK9l/kbWnQR399cxQ295eLIGZXVCt&#10;3IoJx1PIwMk5x19DVWW0ltDchI1ijRg8KlMSAAqWOM5OQSM9/wA62LPRNT0s2WqT2N7aWWoSu0U9&#10;xbmEX8QbYXhYkFlDLIrOPlDKyg5UqNl9PllbVZrqKztmQZtrZpA+xnRsBVBIOFLDBzg89QpHK41I&#10;Rc5P3f8Aht/U66MPe99p7fctBfDvheXUbixubOWxssPIzTarqCadYRrgMQHbqcA4CkklgADXZ3dl&#10;dappTzTB7mCHbsmiUtbRLHnDZAOBwGXPPtmo9HhkttFhuyizF42sWeWHasRbhVBB+bhlBUZ49M1s&#10;a1d3dpp8UMU0IieMq8Ns6p/AudxQqCDnJDZLEqeec8NSUaknGV16eu562ChOU+eNv+GS/V/geYRy&#10;xyapN9sCSNIy2sVucQRzAKqgzSgEAjpzuI2c8Bah/sPToPtP2aUXnmXgW4s4o7hbKyKAhY1mkw0x&#10;Bdwz4x8qkM2eNa1sbyKFGt9CF4ZGPmahK7AAYD5XcQT8vzZAPDZByK9b8G6VpF3apdajol7eW0c0&#10;kI0/RZVhv71ig2srOuxUDoFL4YgEkAnArCdaSTpJ9NWelWpqnH28V7vk/L+meby+GJDBElnZzXFx&#10;JcFYYLdGuZ2BCN8uOcAk889a2dB09rXUbWd0h0m7toRFbpcxsjI21lYEqHOcOynhsZxmvQvFgVnt&#10;o9J0pvDemt5cV3p0N1PdxO6IVMm+R2kYnY7sWwAXYBY12qMs6bbS2qXBv9OF3Exigt4VZpQ+2FvO&#10;lYjYq7ZlClmOPmGMrkYTbqPTV9/La9jWn7OUIusrxfze6t9xo/2Bc64s6PHFA8UTXLyRFYFk3MiK&#10;QmAXcs6Hj+EOx4BxnpY2kNhc2V3alTb71mkjURSxgHBUuOWAwAATwRkAZrpLbTNXjEN1Lqumm0jS&#10;Wzt7W0uP307OoDO4QiQhSUYbwMjAGNzbt7UtG0qB4bXzheXhuVlVJmVtwYMAGTJRR/EyMAN2OwOO&#10;qMU4Ju17/enb7zeHs9V8XW3noj5/ZoopZLdIZwZImbYpDuxPK5J9MjOMn5hwAc1x2s+HNYExkugj&#10;+WqskkTfa4AkiB1UleQRwDxkEMOCMV9mXmlWN1dTpBLoegzabELW6hv2S2tYVSTytrNtd5CoUs4h&#10;V2O4nJ+ZT8x+Kb9dIvV02xvYLuG4lc/bYCZQqsZIQpU8gtg8H2xjJJ3q1KNDkq25ro56dOdWp8Nr&#10;K/z3t8jyu0tNUe5twLcyYTy/Ijj3EkkgKPfdhefUdOo9x0nwnrutW0kMun3FpAto3mPcxbFU/LGs&#10;RZsDcWIwh5+9xjOOlbQ7W0i0aRPDi20l3AbmSTU5LmOe/JHmK7K2wBHVkI8vb8uDxyx7PwvofirX&#10;7u3h0bQ9Z128itpw9npGmyapLEB5xONquFDRqX3NjGXIIK7xFaShNLkbf6G8W50VO6i+jMfT/hqC&#10;j2ur6yYDawfY57G6d4XTGxTaHacKNrEFH2j5GVhzg+s2Pw6+1R3kfhD4ealf2ei2S6rqmuPBJeLY&#10;2cCSGZ/Ncrap5kpaQuAz4RVjAIYv13/CBJ4f0OxnvHuNQ8Y6xL52raJYRlfD3hWHbJsS+u+BLeOQ&#10;uY4spEmQXZ3CL33wz+EHiLxVDoqXvgvVPEkvie8kvdA0Dw1ZJeeJNZjtJrizJtZHVltkDwXamY4R&#10;RA7MQVG7ir1pucacFbvbv0u/K5cMTCMfbVKlktvl1tp23fQ8m8FXS3t9E5ieaTTo0tYIGORBDuZv&#10;3ZzhUDs8ijvvbuc19feFNUtLW0bdFcTNbqs0scZ2kR5yxZwcpuLKp+UZD9QTz534h8GwSa5fxaTD&#10;4F8GweHJX0u20nw34oj8V6RZxRt8vlz2zztdu38Uu+QyM5IPzDPeabJZaPptrLdyxkXEakt9naBm&#10;Rk37mUY+U4wM4z37geSp4iMZyc79n5HrVXhcRCEeXV2089OvXQ6rTAb24jeaIxRxASyiAfKBliR1&#10;yeNnJ4LLnAGFGv4svtEiitHhjWUWrvcXUhIWXaylVD4xtzuOQOfmHqDWPPqFndaY2r2SMsM2VY2k&#10;asZdsY24IXG4ZUkjlipJ5avnTxt4rEyalFHqcUu2VYpUFzulVEJBAAJJVdiDcfl+dcEngY1sTiIQ&#10;dZ7PYjDYaGMxKbVraPy1SsekjVLbVpLI2cxiuRfsUgHCyKTgEnOMD5unHAHavdjpEWo6Lpmk214b&#10;q8nhfbbyfLPEFiaSWSMBgChzITkABScnnj4c8IXkcNifFF+zHcBFaiF90SBVIjI6cAMcL0OScZ5r&#10;13QPHN7p0ml3S3e+XUGW0dcb2KZBZWbJKqDEMhSRuUcHbxdHE1eb2klva/p/m9DrzWjQjL2OGlbl&#10;btpu7fpsdBrfhzS9C1ifUoLSOy86OOB4YbmQxB02IXUMzbd5TdtTAJOQBkivOZWjvb3Wrm5Dub5y&#10;tpNMPlTdgy4J5OffnkkntXYfElNR1W1TU7XUEFzqDuJmlfybZyzYZ1UD0bcMZP8AukcchpcWpvpE&#10;b3Vi32jzRHvkZQI8BVYqSCSMknrjDLwMCumVSt7SKtpvp1PHcaVWimp3ne2uj0Z4H478IS2mpTSW&#10;k8YS9G6VmiQCNcKyryOrcDAz8oznkqvguoWc2m294l287oxNt5bx5QAEORg/LwGTH+9wRzX0z4uk&#10;udRvEiS7t5lsGH2qOJtxhKqsmCxABbny/LznKt0DCvM/GFpDJb6iusRTQ3FtYyixi8zZc3UyRnZu&#10;Ug4RW2qc84BwBkMepuEruKs3/TC86CjCpK/ddd9DyG61VNLe1FsWdLRC9+8dwqxXG5lQMTyG3bh0&#10;zkNz3z614V8bW+nX1o9vsjnVNwV5QkZCqzsS/bgHGOpIA5Oa+X1uTDNfwXjpcvdqIbO5MQeOFGB3&#10;MgOPm527hggbupOK9DlvdCuNRtmslfTdOsreO1a6nl2T3exf3s8mBx5jFjgk7Fwu4gbhniMDGpHl&#10;cve8jphjGn7F9Vv9353PtzT/AB5pN74e1DUFjWe4ewWFrKXD+Y5wygkgttfY2SM5Bx6Y9N+Ds4Oo&#10;Qx2S3mnvFE1w9rJA9ttLRbowYyAV38EY42lDwMiviqKGPSbGe6iupZIdTiMmlWMrB4FWRR5VzKgw&#10;xCbcxq2A7MHIKAK/vHw2+IreH7iS2uZGa+lX7Rfay7ZYdfvsSSZCULZycbwNxAXHkzsq0XVfMo7N&#10;nsYas6eFnTov4tl52SfyX43sfoz4U1Mf2pFdgNLeXc4ssSvIzpuYBiqcAZ6dDnAJ/hx9L+EJp7m6&#10;aPQrloxE7Q3c13H5UQceZ824EEY2AbRknJx61+f3hL4v6dql2lhpsVjezTTwzfbChATIZPkYn7p3&#10;5Oeuxc5r7e+G3iKEajCU+zxzWebssrIIp2eMK6qHwOQykMoZh5YPGM1zxVGriYw6X/q3odVSpXw9&#10;OTkvet8rW6r5n2x4eaf/AEE3V4Z5bZMztFFstmw8eyRSfn4G9sEDGQeuQOA+PNhaax4M1DWbp7aL&#10;TNLSVJ5PI82a6jZnYom7IQuu1d4BICuwUhWBpabq0t7p2o3EjySyyOJJ5rm9jtnVEcSLHbPwZC20&#10;KeCRk/Q+LfGv4hPF4P1DR7mcQ2d7AbSSSM5jhjOSH3Zydm1Wx3PU817GHqezoyvH3ZbL8n6dT4fF&#10;Ua9XGKdOVmpJflc/m/8AGF0//Cb+I72CNFB1ud90cG1ISj5WMEdCVY85xktg8V6V8OZL24u7SGyQ&#10;XslzdxQxW9kDdXdyzlSqRqhLeYTgKAM5I7mvEfGmplfGevR2szHTYdclaJLlo2JEe4swwB8zESYH&#10;U7j6ZO74d1ye2nsZLZvIS63yywKgXzT5pHIz8wwihyepHBwBXJT9oqEZrdWt8z9ZlBYhqnKy0Svv&#10;sj9PvAelNqcsMENnax6hadpv3EiBcKU4DHKkhc7TyRzzmvqnQvCv2W6iea88mdbBhLp95EIJXCvl&#10;2R8bW4kBOcYAGc8V8Q/A7x5Dp9zG+1EG1Ld8uGKBwysMZAw2WJyMjOORX6ueBfEHh250CKOC5i/t&#10;KaOW1FneWMF9av8ANBcBSJAcAszAlOVAI2lW4xhiMPiqboVp8sut+rPGxcMbl1aMqcXKL00/rY9h&#10;+G6WsmhvaS3klqGiSHT2A8qCZwS4SY5yNirkHk5A4GK+pvBetaxpGj2lqt5rUNrq4SCcwlora6ij&#10;BQ29wpIX59u7PX5TjI3V8++D/Ceg6rHfanpOp6XokktpNqKaBrVubCFbqJdscFgqIP8AXSOzDLKm&#10;WORgBh9T+H/DdsI7SzvNV1Swt76xDStdRRLFY3McZJhbG8PHnZtYspbeQSB07sNha1OrGcZJtaJp&#10;2ur6X7fofL5tjMNKnOniYuSb5nFxb1ST001a303t5nqGreI9S0SzltNKnvR4aaXzbBltJLezh3Fs&#10;xiZW3xOSd5jEu44VsMMNXEfN4jnlmv5rzUJZo90l/dXD3DFgojQmRiSTgAdefeutupx4e0gWUni7&#10;VdZt5ZhEs8TmW0RWZo/Og3yOqSfOxA2jaW4IK7q4HXr+K0jublL6+e2jmSdpZgI7yfAOCzK2FYDf&#10;jG7oeByR14+rJz5pydtPdvdLrpq9Ox8flFGCUpYaCU23apaScttWnGL5nu9dXvotPnP4n+O9L07Q&#10;LKGNs3VlqoltpvtJi3KGZZAE+6TtBGcZXkjgnOZ4E8UeH7jT9YTWJ0uW1K1+wTPf6HDrMltbM6kS&#10;W5kYRwzo7bkZOTsIJAJNfNv7RXiGHTtV0S202NniuLmSNnj+ZoiFZlkIHAUj5CT6LnqKzvDfiaYa&#10;WdMuZFgu9K3bpPJ/ezfMfkcA444APpnr1PyGBzTG0cxnLnvFJLyf9I/UcXkOExORwnKOs3d91rv9&#10;9vvM74qfC7wzp1+PEPhiO9N2+ozPq0OoSNEPFkPmBre6jtVysBjTd5vzkSMwKnOc9B4ai0efT1kt&#10;Z2TVpERTcNb+W0KMFDRt8+RgMx3dfn4HHOhp+uQ32napbtcRRSiXz7lJLwmXMm8qMMdp2YYKevOB&#10;nivNr+4h8PGfVDbqIr0pb6UsUrR3WqGIK11OT91Y4yYo8gfNJJgbhE4Xuqyp1ZfWqcVd7paWPHl7&#10;d0/qFZuUov3W+3b9fQ9NHiCzhsb+3R0ExiFvI0o+0ov7yMJJtz6gqAcEluc4NeV+LPFSR2twkl8F&#10;tZbkwtaxq5EXl+YuZpWYrwd/XBUAgHJIrnrLXLi/lu55kmjhhlEV5Hbw/aZLcltzukScOo5OVIG4&#10;KP4q8I+Nmptp1wLVo7+2h1bSYrtRLZXEDXImTcE8iRVIYqUD7l+QSsMnndNLm5W2vIyVGCrqhLRv&#10;V/h+J578TPFlxFFfQ2Vxb3BWUBNVsI4L6S28vZJGEkZTuXdzlQRnj5godvk7Ur3UL9ZtWnuLiK8j&#10;ga3Ny2qtALOJhEJ5EtlZYzJMCgGE2gQybXBXmDx7rcGipKZb1NNMEvlMLqMxXeBkPkHGAGVs/VcZ&#10;NfDXxD/aV0/w+kllpUZ1G6SJ4QseQOVKBmTPRcLgt1LHI9fQw1Cvi5JUYtt7mmLnhMDR9piKyjHz&#10;te1j6Xs9ZgN9dWuuW9xd+Hbhg6xi7+xseXJdZkYMHh3qqIQybSylQAoqlcfEzwZ8PNRt7zwl4hge&#10;5UyG21CTVZtC1i28wCMRRw205YuFDrIwZkcMPlHNflV4v+PvjPxFOyabPqcrj91MocjBbCqgVRtw&#10;B0XGB6GvTP2ef2X/ANsP9q3Uzpf7Of7P/wAQ/i/qr3Xk3uqeAfAdvNplgZNsbS3PiiZIdMtBGJQG&#10;Mt9CRyDkkCvtsv4LzPGU41VBr0T7dX0PzzNvEfIMslyVqq26tJW9Nb/I+/8A/hv3UNHki8OReMtM&#10;1TVIpBJpdxf/AAc8H+JLuIsxfJ1O/wBFmkLrl8LIWUFjwafZftueLbzU7eOfXtVtNU1GZ7G5FtHp&#10;fhKxngkbJhaLT7W0s4kYkKwuEVCQpIHWvv79m/8A4NZ/2yfG9mmr/tXftBfDT9mfwxOhlu9D8CNc&#10;fF74qWMS5OJ7kTWmi20jDAJM1/GgdiyPgCvrjUvgZ/wbdf8ABNGKSy+MvxQ1P9tL4xeH4EjuPCms&#10;eKZ/jhf3Uke/ckvhfQktfCsBYv8AM2qpvbbt8xsEV7VXg3D4WmnmGLUXvZO7uuyufAz8XaOY1nh8&#10;iy6eIklpyRsterdnp52Pxe8P6L4m8f8AiDUpPBvha11fxMLI3E1x4V8H3fiHWLpyQ6pfXGnRTxpK&#10;5MYDDaDkHaoBx99fAj/gn5+1b8XJbuXTP2Z/jx4fW4tWtLjxBr3j+TwR4eXz2gD3Vva6m1tcucJt&#10;cRIo2MdrAgA9T8X/APg6Z0r4daNN4D/YI/Yv+G3wY8GWdubXRtS+Ja2WmLZqu4I8HhDw6YrKLAK4&#10;U6i6r1ZW5Ufn9df8HGP7Y/jvVJZfjD4m8d3/AIUi0uTd4N+BPxAtfgRca9diICAXmux6TeXNtaGT&#10;5pUsY1nZNyrOhIkXheT5RD3KFKc3/M7RT19W/wAH9x6NPNOOM1py+sUqOGVrpOfPPbblirX7Xkte&#10;x+0UP/BFLwN4Zjg8V/ta/GnSPg54WaznDaf4WH234k+IVCNJcSRGP7RcO6iJuYVJRN7MGzxqeB/j&#10;1/wRR/Z6ln0j4G/A/wCJX7Tfjrw7bLp6eIfjbrep3drqsscbeW0TeL76JXYsADJZaVKoycEKOf5d&#10;v2g/+Cpfx0+OOla94e8IeFPCPwK8DeLbnd4y0zwl4j8TfEr4i+Po4pTNBD4j8beIr+91a7t0JEn2&#10;O2NpaPJGrvbu6RlPmXwP8e9a0+0ubLUYI4LSZQqtE7DTpSHYkPavmJDhiA8SjGB8veniKWLw0ZLB&#10;QjBbXS5m/m0vloY/6uYnMlCpnmKqVH/JF+zglpuottvo/fa7WP7XvF//AAWD/ahXwnaTfAb9l74c&#10;fCnwlqQKWH2Owv8A4uahlYWJWPT7BdLsUkUlMkx3B2AH5hgH4z+Kv7dP/BRTx/b2Fxqniv4k+H9M&#10;KI9/o93pF38I7G7MitHGtvBpkVn5iHbuMM7SB9rb2cZDfgT4H/ag1vw9dSyWM/iqFL3Nwt94J8dX&#10;3g3UrJWQjZaXsF7DcxfL8u0fIVHIzjPq3hH9pbULeabUNT8RfGPxA4uQ9rpWueOhr8qqJCYfPvZt&#10;s5YIwDOJGXl8I2cV4GIxGZycfrFaTtur2uno9FZedj2cLwnluE/3PC00+knHml6c0rvofo5/w0T4&#10;w0vX73UmsL7X/iEdMaHU7DxJ4Uk1lb5ZHLSW9za3MMczWrKxRoppCrNszyQtL4og+EfjTSLLV9e+&#10;D8Xwtkt7oTXOn+CYtV8P6fLLcSRK11BpsslyiSAOpNtYNCjsinacZPxZq/7R/ijxMI77w/p8ej6v&#10;BIGtLrXLPTPEVxbIWIMVreC1huBwFwZTM6sHCyJwo0fDfhPxz4oDXeseB49dFqPtt5JruqT2EUom&#10;w8QRCxkSP53ISJRkZ7GuGFCbqXw+u17q+3l/Wx6Typ06cate0ZeTd30t0P0r+HekvBO0vgD4r6D4&#10;smhjhkfwzqobSPEWUcMInjvY7eKdVkXiERy5Kg5K5r7D8O+JvC/h3TdS1fx74tsfDC6DaRSeKJ/C&#10;MV5411jR7ZwB9qg0SeC4ubWG1IuBJc2UsdsWnRf3TFC34bWfwz1WTU5bjSPCHhvRdQsVheylmtLr&#10;XWEinejxmScpCyB/lkVA2UXjOGr1KPxv+058L1t/+EL8fqNPtN2600+xWPVrInfE0Udy7vLEUKsp&#10;MUqDKsGU4AreNCrpJQVvLTscNbKp4iq4wq2fnb8Wj9PPEviH4k60PFes/DDwT8NfiV4XvTaeKrTX&#10;vgXaanafEvxNHBLbJbapr+ki/UwWwjYiUx2zAmAiR5Nzl/z2+L3izxfr1wniS102y1+90SZbpLqf&#10;XI9Fn8HtCIoprW+IilJiikEISC4VPldArghVPM2P7V2tQXBuPEfw+k8OeLtHSXWvD3ij4ca3qfw4&#10;8XaPqUUTZuFFhcQw3UUrBPtFvcODN85cyMxZfFvF37Y2s/GHV7nwz+0B4bsLzw9r16s//Cc+Bkfw&#10;D4r8JzrPJKNRmt7TFnqEwMjB2vIJZHWRsyZCFeqCw1SEJSVp637WW110MaOT5lh5OSScEtGvi1/9&#10;K262Oy+GXxQ0rWL3VdMstNgubM3E8+tadYR/2ZNBexHa9/a2kgQARSNKGtiNrRplNmQsf0P4R+Iq&#10;2Oo6ZoXxEXVodPvLdk0LxAtkCukqzIy29xalQrxsVbEi4kiwMbuUb4NufE/gbwV4gbw5qvif4jW3&#10;iPRHX7N/aHgXw9470zWIpYw8F7B4ht9Rsp5reaNw6gW7o6uimNMvJXtI+JvhTXNPsrrw6l54sslc&#10;rc6drNxJ4Y+xrGDGiD5p38xsbuSOIwdxIBrzcdQdKejt59P+CvmfVZZOco2krRas+6du/Q+3LjXL&#10;jwfPBrugtofiPRfNFxfXtjO7IsDMGEd1Edu3argAsA2I2VwG+99HeB9VsfEemDVvCdxdt51uJtU8&#10;NxWDxWdu7yjzGgUyYJRpMmJhwqBwSA2z4L+HfxB8PavH9q0LTp9J8Raayva+H9c1aW5uL7aRHIkS&#10;rLBbzKx2rslBUCQ5IJDV9H/CW/uNc1SyuNG1ax8Ba9BKmzw/rWlQaJ4XvWRwFWS6w1zBKDEw8u4R&#10;7Ylh88Ybnwny+0d1dPvp/T8j6mm6tGlzNWnHr3W+qW680fZHwx8ZFdSttJ1uwjltwFi8q3kktLkb&#10;QVJhbG3zMjJJQ7mX5hX13pup6HpwvP7B1JdQlFnHbR28FqbafR5mJMnnwyFXU/NnKK6jZklRzXxt&#10;P4f8QarqNjeXXhq70iRrp/M1vQ7V9b8K20xLJs8+B5vILlJXPmMA+4bAB8o9p8J+E/EsTQRJZPc6&#10;hbSLKt/bymIQoRtIcFwWBDg/dJ+XIwFYVGHw9SlJtRvBrRvdFzxeExDjWpy9nO2sd0z6p0fV9Wla&#10;KHVRaQJDbAWMRuipuomkZjcQopwyARH5ycfdJGcY9S0xUhh07U9ahu5LCGVZbqO1P2i40yIsrfaX&#10;kZgRCY/KEgz8m4MobBV/KPCMd7qam3iDvIzKt3fSqEIQO8bYjxt3YDAgAHIJLcDHuXhA2t1LaWBS&#10;OTTJ0aK9keTcjRsCxVwrZYFAPl6HzByTwPWw8b1E7XjLvr1/r5Hy+b4iHsJyirSjdvl0e2tuzf4s&#10;7fW9OaGDV9TjOjCy1OVru1e0vDeXMccMAaSJ41AWNgJFDJJjaAuDhWFZ2gX7C5a6uL2Kc6hZR3ie&#10;dA1xMzLCgkynn8bTGVAON452oWIHKWtzLbWuveGNRvppptCgt9S0mRt9xqV3pd7E9tZQIryKgEMq&#10;SwswV2UWyYB3bT598Rvi34G+BPw2tvG/jmeTTtItdQiSRrKKO+u7k3Fz9mtoHkZ0ZnLeYfm2IFjd&#10;iUyA3XVqwp1Y1paJJt+bvb822fK4fCzrYV4bm55NqCsunKmrXu9oxv53vbp6frV9byRXxgeKaR3B&#10;S1Dh57VWZVYEDDEKeATjOd3bafkD45vY2mkyvK0UFlarJqMjSusWwRqzSO75HRVJb0Kk5zkD5T8a&#10;f8FSvBX/AAh+seLNM8C2VnYaV4tsNLHh7xzrGoR+JfEFlKLp5tQ0a802CWzCWjQxPKl2YvMFygjM&#10;4EoT8/8A/gpd8fvjLZ2vwXjtte8Nn4b/AB7+F0PxY8Cv4H1SWWPUrUajPp11Y6k80KSvc2kkNp5i&#10;oWh/0uIrgl88ccuxeZNyopNcqlJ9lz8vrvbTs0z26eYYbIYRpY2MoylPlSfVqCnve2i67XvZt3ON&#10;+P37UugeBteurfw1cf21q7IIobTTo2REIBUM0gGwjKoGIz2ySSM/mY3hrxD8bfEF3448calqd/Pf&#10;an9gttHtN+oazr98ixMulaRZH5JJisqKz8hAQXbAVT6b4F/Zv8bfE6e01TXRe2K3spuJbVI3vNUu&#10;llMqxtcFvltx5kIC/aPvKzbEcRsB+pXg39njwl4G8Ka1fWFzbXOs+HdFigfxNJardfYpUNy1tp9g&#10;oKrGj3S2jTSxjzZwp3eYZC9evl+HwmAxCoUrOs9ZNb2W55ebf2lnlD+0MZeOGg0oRvu29L9167n5&#10;6eJPgSfgl4Ouvib440Oa98feK/Etl4Wi8M212buy+Heh3OhfarOyjZRme4aFLNWmYhEWBioIKuO4&#10;+DfxYvPCfxY8PR6UbY6d4+8L2/iy6aK2iS4MXiHw4pvpPtPl+aI1uBrcQQHAITO7OK+vf2kJra88&#10;HwXrWNvcQJ488SeLtRTTmJsptP0/U4tE00wbmJfFtbSupLEnzWG7BzX5t/Ck2fibQ/gInmWela1F&#10;DL8KZ/FNxcODoqW97qF5pss4w37uKW7gR2CnEcLBg2K+jo4qpPFSi27XTXbTbX57nxmOwUaWH92K&#10;Vnyv/t7y9VofLP7SXwEvfA3xY1uy0trmfSfFITV9PsbiMSWr/aUdpnikAU7W3RyImMKJvYVjfEDS&#10;9Q0PUNPiu45p9R8A+AdN8NPHLEdsUumRaZOyKhGMKl8xVGAwoPoBX7WfEb4VxfFD4I6d4ttNNtLv&#10;xt8FLyOHxl/Z1ytxc6ppL3CCzvxHgsywuJLaV842OGOMA1+aHxW8NPJ8TfiTF4lsobbS76e6nS/K&#10;edFEn9nokUsXDZVzbBsgbtueBjA7azjTrpW9ydmrf+TL7zOvUea5NHENt1KF4yvu0rcvorbfNH0L&#10;8Bta0zX/AA1rbXNtDFo/ijSNY8S6OGjAkspb69ntLpViLnc4jBCnjDE8Ywa/M340wX6X1mJLyEaV&#10;Z+ELXwvpGlxbfK0FF1C9RrY7VUM5WOaRptq7nfJBH3vtH4ETmdLjSLeS6sZfDnw88Q61ZWxhXa0I&#10;1DThIGdQScvNCMPnblSDtB2+S/FLwT/wkmoXupWGi+RDomr3Gi6xaxqGCuHaVFh3kE4VZyAc48xz&#10;05o5pYWtHmvyy/N9TpwUaOZ4Jxqq1Skkr/3VdK/3nz34f0LUvB3wg8Q+O4buznjLJbJGkguJ4HK3&#10;OyzkXBPnSpghGwNgyeGU1a+Fur2umfHTwpBqtnNH4a8W+CpfBHiS0kjEMN1B4l09rEzAj5RhriKR&#10;D1zFnnBFdLZ+ANd1j4Qato+j6FrvinXPEHxU0jRfCukeG7CfV9W1BbW0ubjVRBa26tLIwGBhVJ/c&#10;qcdQc/V/Amo22pXF0Yb+xOl39vpM813aSafPbNp8Nu8tpgncrRMqx44bcj8LjA6K2Iq0sPGpJW6/&#10;lrYjLctp4vMp06d2m1H8LX36s+rjokunfBzV/h1qUllJqvw91JfEjxxTlrizW8uIdCuoZYySEJax&#10;jmUY3bFyc71rgtG8S3OkXdo9rdSRC3b95OSSAQeuQc59MDovHbPrXii+udV8a+M/GEaQ3UXx0+Ft&#10;p4rMFvCLSzivJp002/jjiUbA0V1CZAqjg3iNgZAr5Es9Vl+USHyxE4DQvwXPQHB+p/MdOK/MeIcL&#10;HFuSklZ/8C34M/0G8D6ywOXwoOXve65eu0l8pRl95+4H7I/7R2qeZZ6VcaxGs6yKpEs2BIOhJOOc&#10;Ht+Wa/eDwB8QDqjaXd2+oRDUbZcxyT/8ecy4HyTDkEHA4AOOueCD/GH8PvHV54e1uxv7OQxvFOpI&#10;VtuVDcg49m+nyiv3q/Ze+Pb63baSJ3G0KsRSR9jyN824k5O7ovAwflPPXH5fhsTX4ZzFzhd0ZtO3&#10;RNWP03xQ8PsLxRlTzjCwj7SKd0ktbq1n3T2sz98dI1uDVLW6hvY4oLlBmS33eajcgbopMYKHkhh9&#10;Pevxd/4KB/B2Kx8U/wDCU2NhBNbXEEl1OVLxvGHl8xhsXIY5kZug4UjnPP6aeE/EUPiSxsoXnUW0&#10;ZSSHLlFDY6AjkHgj5Tzs6nFcn+0p4J/4SP4aarMHWaXTbU38ds5aV7tbYFiJcfMcJ0GeeemRj9kw&#10;eYxx2GVeLvFpf8C/oz/Ovivht4SNWjblqxblGNrpcu6T31je69Lt2ufy0axB9kuZImt/KzOdkQUk&#10;bWwueeSOF4YcZPvWDuJJQR7Vd1AUHerEeo688epNeo/EXeutzyTmOSZHfziiYVTuOzYMAAKvpgDa&#10;Pw80nTbuCIQ4yo3fIQR79R9w9OeCOa8+Talytb9T85puapupDp09bGeRFKCFwD5Zw68oCcnOev8A&#10;FjjHSkfBEgePeOWQAqowRxuIB4OBz0GDir8sa7VQACRowxPlLIDwdgPPA+ZTk85B4OCBCSdxDBVY&#10;wqsr4CsxGFy3Tknj69O1ZwnKpbkKbdP3Wv6ZUZtwC4VMSDkKXGMAYJ44zg4A555qMuoCsAQDGGHy&#10;bmY4IXA7HDyAZHA3HpmrAEZCkou0lYY+c42BnyM+oDA4xx3wDVcADDRgfKcFggzLuJ2gt14G3B9A&#10;O+Sdk+b3n0BStqlrbT1GTfIUkJcxkhY3VDIVbLFSOeQcjgdfw4f8rNnGUACjClX6jk56DIBB68Uk&#10;sQTYUDN1RVG4KPlAG09iuC3uARjFGw4KKq4kK8jAQbBwMccZZjj6ZJ7ZJSsrDSnzt/iRxpsDEM7F&#10;lCLtQtt4JPTnjjOD0HanE5fZl18xvKA3b/LDHnJxgk/LyvXnpyKa2PLaSRc5kGGY/MQGI6HjI7j/&#10;AGep4AliCI6GRjExiwCFDYIK/LyT1JwM5PAA9a195r3dH/wCVzyj7H+v63HAqNyNGGYMXTEZfzAC&#10;AO4GQPlwOeOasQhhuZFVsYRJI0BC/Ooyx7/wj/gQ4PBpzKoILKW3SNJ0OXxnCKe5wOD0PUetClJB&#10;tj42ozLExEbdAfqMfKOOmB3Jy43kr8vvWV7FtKFnu1/lYmSRSmzaxQkqpTll3ex7+3Y+1TplFRRt&#10;iy4hywDSDjjJPU4B+p96arKWYgIp3bmGQka7CXPIPCgZbsACT2qyu0OZdrFhGVZQqjk9cZPUdicd&#10;TUJOO61Zmqa9rZSHO4TdtjVjtYAqhdh83Az+HqOuPqu1Y8MI1Cy/dPRAM8DPHvg+1SkuBjLcguCs&#10;exiN38XvTSgYm3wqFi0o3ZKAHgcknJbBHOT93k0opwiot/13CUnJ8t9Lf8ORs3k4fYCrjmTAVQQQ&#10;yhucnPf15zx1JI1RgQG80hjtZRuX5flG8g+56Hv6GpgoUk4UxhgrYQuuQp5//VnPT3oeP96MNyVB&#10;ZG5CgDACnPTBHTjqe+K0UopNS3NZL3G171v+BcqIEdVIZ3AyVBORExwTxzywVQevQemQwBmyHOY2&#10;YxlA+GDDsWB4wM4xggDk56WTEd7ZkVT5gZMfvNvrj8SB6fmMsZM7w3yrkFmKgoSQQCQepG3g+gPX&#10;rUxblFpPToZQg07weifX7vwYrgOqvw2VBRyeWO7k4B6nkY6flUBUK3mszNk4V9oEqjvkjnvn0z6V&#10;OxAVSFDDkOM4MvPI9vw9DwaAoBAZC6kYCMCobgscsCCBgY4A4BPpURk4u76aj+GOu7W5Bvbykypy&#10;fnDcMX3HBC9MEEBuR2Pc5DVt2C70bcjuWG0FSFVVXn64A7dTwMAmUoWkWPPlrH8pXyxvPQspxxnP&#10;vzniowoAErIXUL5irEMYU/MN4z23AnPPPA7U1K2l/wDIpRpxS6uy/wCCMLOHBzI4ZApcxjOQQMk9&#10;MgZOMdj7ikEqSZWdlOFCKgXPIB+b8ckHt8v1yfK05V8rGVykuc4yc4AGT0HXpz61BmNlWRs/aI2/&#10;fAfMqbY13LjGeAi89TnA99fK3b7uxEHem9bW/EsgkurhfM4ByBubbhipz6AHgg9D70iOwLnDKr5V&#10;0YcuOGJ64H3T/nq8fMgMbrsxvOxi5LHaRtPTsPbgcU3zFWNy6AMzBMF9zgYwTn0wOBx0qUpJ3tqj&#10;Wc26ihHbv5MrK5ZWfaRlT5ZQ4lY5B6HqMAnrz9Or0lCIzSoTIynZIB5gTcwxt4GMgYPUDceeAafJ&#10;uKAcNGVELYJGQxBzgHnIJXHQ7qbjc7DO59nmEOSwmyAM8HjOD9ce9VFpu6+FmVRTkko/1syWOPi3&#10;Mf7uPzd0iDO6RcsXwOeoJIHHI7DmoiUDHKqNziPEcR6Y7gc5wDg8HpinRSAKMosiOzFjkEqCedpz&#10;/CBxz2x3p0g37EVVChQWwADLhc9sjBBHHqAM9cwviae1zR+zcE1ut/uSY2aVnVQdqMygCRcDbn7h&#10;K9e69O57UFfLJDuuxpDt3dgTnJPHTgZ9hihpUjxJ5bNIoUtJKMoDkueOoIJHB9evanM7MpZtjbuc&#10;MpDRqeMEfTPv+GQaptxXLYmo4yk1HolqIzRElmi3BEyjIRtRh09wSDwfVhnHBqMupLyIkZYoEUM2&#10;SpycqcehUZ+g69BPG0siIxVwS+xlZd+/jOQc4I7ZOOQfqY5VjQb8oqICBlQqLznAPQYBU9u/HHA7&#10;u0b6hKTcfNpdCVJJ412RW0roGJD/AGhULZJJJGOuSc0VD5jAnd5oYnJAjdcZ5xjn+f5dKKNtP66D&#10;5qq01+88tk3sMfLy+4jc2ZOBwMZ4GFHJP5kZa7bSI8sQp3xH7oABOQAe+3b6evTBpqsrLKfJXyxE&#10;rS5LSLxtKkknpkKfqeMYWlmI3birHAJhJAHAIxnA7hcjOCOnWktKfN8vusYQb9opry+d2vzIZMAu&#10;hwFMe1iGLAOx24BH+8D/AMAbnnArRswV2GWeaOTzH81whyUUBifUxh8Ln759CBJnywPN+bemQDgk&#10;42jJB4PKkEEdG7cVFuldRGXYODuCGIs0jNu3Ke5IMSAhj3/OUrq3QzjaUko/18w3R5YoUyCGYxgP&#10;I3AVD+AOBgtwASODVeXyy7yIxDrGRHkEkbOCxyeuOT+g44cwdC2RnY+Y9vzE4yGBbjg4fGc9OnGa&#10;h3M38SKPM2fKfMRzgZx+APpzuxzkHWUVH+vQtuPKoeX4iMpL72QhCuZQ53EIVAxxyOf4sDODjHSo&#10;35Ksj/vSQqBXDgYOQOnoF6YxtpwQEqgADq5CZYKhK5OQMZBwCD1/i9OYWGMbclnGN0brmMgEYOTy&#10;Twc/7Y9M1ST5bwMFKo1yyd42/wAtRXDKWWQlGKZ3qgZWBB4KnHXI9xn2FNeDIUhFWV3aFwNrPPjl&#10;EI74JbB4+8eetKoOZMYCyOAzRksu3d3zyMjAGeMY644WRDEZPmlX5jwp+7xnk9ev5j2rKm4xdk9z&#10;SUHOKhT8kyuMMkbBzlSC0olKyOpYtnB4PBA2nHI601t4LMOsRxNECsjuXyflI9eSWBzyemcVY2lQ&#10;0ag7ixYbz8gxkk89cBQeB0BHQkU9+RGVImUH/VjCncp53Y79Dj3Hak3Nbf1saWaSjF+8tvkVWwgZ&#10;st5gRuXUrHu24Gcg4O5kXHUbs+lBV0lyZCz8eWrJuLNlQM/TKnOOrZ6g09UcqI48KzuqRb282FN0&#10;ioDnngMy/N0GB6ClYsRlUVXYBoQQFAJ4+bB9/bPGRwDVwsrSZMmndJ6/8Ff8OVyjMWQZYpw2Mnd8&#10;w52/rx0257U4tI4G/wDckZXrtKtzn2GSwxx269RUqxYjDymRCBvGCHEufTvjgnOeoAA5LCbO8bpg&#10;cupWNWb7qjcF3Y4OMMSMjpzk80pSS99LRFWcfheg1EEgDFVO/ZlldpV25OMk8+vB7ds4FDK7Dedu&#10;3btEiuA+SFIU888MF4Ht9ZUWJCVQ8ZGH3+WuFDbh7Z6jPPA5IyKlVXBbAaRGBXbsZ9wG1jjgEDLE&#10;AjBJOe2KFP2jbjt/w2ot+W/oQ7Cz58tdgBj3tz/CrHBPTOOh9PbiZVVCsWFeMphXBEY5XrkgH72O&#10;TgYz9abFHJIihtyhJWUOcDdjGQAAB3AA7AcCrQjDshhYowxI3y4HyABiADyD5ig+5IxSVk0uprKU&#10;nGM4L+tf+AVwchljZlZZCqqZCsmAm4kDpnAOT7gVaiKvGMKqgMYyh+dvmX5x68bm2+4BxxikhjAh&#10;iUFz5kvJYZaMsTnk9PvHOAR9auJH5QaQ8iT5ExkEE5I3H14HT09Kpcqtd6v9LGUVTaSe1v8AIZHE&#10;WfBfaIiFj3NwpwDtAPOCeOc5x2HJmQqV5Kgur8cs+37pbJ6ty3fHHvSK0iqEQFiTvZRKF2DnHzYz&#10;nKqfxPB4BnESxqR5SlWO0SYDLsbHXv35B5zn1paKKlJFc1Sdoteb+TBEkCBxJlHDI7ABh17YGAFJ&#10;JGewPFSrGMq6ESmeMbzxuJycksOv3XA3dh2xU8kX72SUeWo27lAQEuuC24KDjA3gEDpk+hFWYgC2&#10;8MfJZkeSMARhACC5Q7QMlVYjrtx/FznNqXs1Bb7jbUpy+X/A/wAhoWN8u7eWqhgohLo3XAXJJPQ4&#10;57D61NGWKwoocERifcZg0YJjXjIOQNw5B5Axz0NKUkLsWO0O52ySDEePlVl3HOOpY+m/k8CpSrbF&#10;YlcJERsVgshxsOCeD0dsgjIwPSp2kknvsVJyvaPp52dg2KEG6QjC7mwwR1wGI3nvyF5PUHipfJDn&#10;kIrIoX5Bg/eUudxY9AWGO5QZPzcGEcIdrBlAkYnGBuxGrDnttAyOME+manJRpA75VzkbyquwU+YM&#10;kYyRycdP4ueKet2xpKMnCXl+NrHwD+3x4OTWPh/pWrRWytfaHfEl1OXkDhi5J5wMcgdMqOSck/jp&#10;cRm10/TbRjh7uUSNsc5EZJ4Pp3GTg+tfvv8AtTada3nwo1kzynzLZ43hjHykl2MbEn0HA9s5J4Nf&#10;gV4jkijvrwxk+RaxeXCAMDA46/rz/Sv17w7r1J4Gthb+7Gd/wX6s/MPEKCWKoYlK0nFx08n+mpHc&#10;G0m1GaLzTLZ27BIGXO0454+uf1rF1gGYrCCULt5jruxsReg/Tv7Vb05o7e0WZyHuJpcx5+ZYQTyf&#10;TPPHuK5/UryRrmdk3As3lq3cKvXH1z+lfpEI2qRjHW356H5hKo5U+aXXt2I2kKsJwxErr9nt8scq&#10;o4J/IYH1Nej2x+yeF9Ps4iqzX1xLdTuPvugIVM/985/4F+fnyW8kktqqAkiFUjAwdpYlic/ia7zW&#10;R9hv7C05U2mlQQlSNrHcFkJ/E45+lPEpOMI+f5a/nYvBy5azqW0S/OyMzVZilvaowB2ySspwAWGE&#10;jRT06YzwOpNUdLsWv7yytGx+8kAcqeQWOcH/ABqS/wD3rRZyFCmYbvlJAzz6HP8AhXT+C7YTXE90&#10;rIFtIwrSkZw0h+XBx2GRSjzRj7Xt/wAA2lFztHa/69T1DSIo77U7hI0AtbKDyExnyY4VYAk+mWZB&#10;mqyyJNprhD+6udQmvbq7ZmaV1Up17BVVSB/vHFasCNp3hO9uLdmF3ra7C0Y3qUj3yDngBPMCc98A&#10;9gDR1iFLDTbbS4ItkUGjfab6ac+TKH81IiNuecBJGJ7ll9DnzZuSdk+3+bPQUJQs7/FdryWy+ep5&#10;zrevpO/29YzGI1MGm27n/UoPkDEevy/kfpWFZSsYJdQfaRHAXHmdDJJnaBzztArJ1O4a+vGZMLEQ&#10;IoY4xt+RAACB/hnpWwd6x2dk+UitT9pu0LbVLMBtB9MAgY966owcKSX2pHKqk6lRzltFemqsSabE&#10;ZEtLNkCzajcvPcMSdpXgjIHP3dx/Kr+vkhQ8RLAxMCm/eygYAHoAAq+/FY2lzslxe3Uj7R5ogiwP&#10;lCsdrFTyBgY59a0NSUNDP5bHZHF5eOpKn29Kc4tyS6Lf+vSxcJqSd/i0/wCC/vZ6R4PtxqFl4LtU&#10;kQxLdXUFwH5DiSLzG5PTADHn27kV7XJeW+trFrMKzvNZ3ct/a2sSbitrZq8ixcDHyRsig8EiM9OM&#10;eSfCuyS60G8vklxcWETQWCMBKizXaNbylY+uRH1OD2r1v4eNpt/eaRp9xJAmn3fh+W1dn2v9m82y&#10;nsmOGPLgSI28kEEE1yYl3ruKei1+b1/Q9HAxksNFOy6X7q9vxucv8WbF4bvwpIv2cxX1rbzxvlpF&#10;MsttaPMAQMkhnOcjJKsfr5p4sgSPUbO1aF4wg6M/zEKMsc+nGBivVPiPDdL4K8Ha5euz3Onzw2ly&#10;m7z2RwXgI3k8jNovDbT8wGDivOPH08Vz4nT7LG9vCts0zW7DbIN4LjIPIzuXg9jWCi2oQitpP8Ej&#10;oilKpUnPpFfnYisVMMVk9wqkzzvIwI2gpEgC4PYEsvHqD6cadzObvRJ7aFCPtuoQRW9y37tYwi3H&#10;mjd6sxQ49PrWFeO0NnaSFdnk28qwuSDkyNG7fUjco7Y3H1rq9FiZvD9nPdIZLfRrufVp0kJxJ5og&#10;RQR048tQMf8APU/UYzS1lLZf5m9OaqU7JXk3pfysNumXRtNg0aHY2qanCWvH24+zWp8to7faBuDy&#10;MDI2ei7Rgc1yMsk8lz9lZMCEmKNd2I0IIySen8X/AOqpDqFzqGo3GoXBLs6yTNg9OXYjHoOB6Csx&#10;7gxAE7g8jF3ZvndVJ6H6/wAs9qwqRlKb51q/6SPawajCEJJ7P89zWMiv/o8TuYocRupB3THJ5Oeu&#10;emeKsR3hiURgxNIoKhlG0RjkcD/PasIXILKQxAYncFYsSTnv+NaPzRNDNIPlkk2h1TCkZyV98dz1&#10;5rlqU5Ttz7f5HsUqmjdLf8rm3BbOyGQtmZ1Ly5bkAKuMj1+Ykj3FWUAWJoiE3McBl+Z+wGe3YYps&#10;c7uqKqCNcANjAbBB4B6HoP8AOakgcGQ4X93wWb77H5upHXIGB6Z+tcT5pX7HtUUoJU1tdfknf70R&#10;Kcp5QKswyW3HlhyM8dMfN+FE0YZEYS5ZMbgFIQg4z/T9frT0UxO4UxgSMWCpgEZOMHpgYJP4Dimr&#10;JFJHtGC6ybMKMqvBzx68/wA+amCSmtRTcHe97X/r8rluwfIL7ZMq37sdGAByevp2Oe49K6izleeA&#10;tlZFZhEpeQ5JOSMdPcn3A9a5qxk8tS0imVpMxLCjZdF559vYCt+Cd0jW3EYVCd2FwWPYBh1J49eM&#10;moqwlGo5RFQqR5opbN2/L+l6HSWtra/amYyPMkJIUy5QyBQQBhQcHDDjnp1PU+3W9lZWtlpnmtbR&#10;LLaQ3LrKVE0omUFMDdtQEZYux6EcDNeD6bcizVXWPc8bkxrIfPjweSduADkBRznv1zXplhrE2oT2&#10;97erskuHXzA1pshVMEL5USbeFwuAOMJj1rx8R7SpPTVJ/mfV4KleHKtJLS3V6LX7rnb6LdzRzXS2&#10;MxgOwXTO0Zt7VA7qACTjO0biAf8Annx2z1ltJZ3IF5MXmbywwd13LMVAB3EknsD/AMC/GuPhM6xQ&#10;20rRmR1E6LKQZWfbtCl+pbbtXpkAAY4AHYKsGk6Kkl9CjTLbtttfNRPMJQ/6w/ewdzDeBwWU5yAa&#10;8etTunC9n0+dl+R7dGpCDp+y3e/5M7W01ibP9oXM2laozQJc7HP2lYNhASJ4XGF2rHgBcjayY7rV&#10;O51Z57ma6gFpItzMoYqSVwwYttUfKMEgDHbkYAzXOWF1ZPpi3sdvdQrKHt5pgQ0E5JEkcartyFjw&#10;pcE5IUcqSKrm/Nri4gISWW4+0xm7BZwPLK7ImX5fvMpJIyQTyOCOacFON3r2R7dKMvap09ZWtfoe&#10;16brF7DaWunFFhs7iIzBzB5jpHkqcMcE8hl3cdc9a1jfwpFcSxXF3b36RR/YJYX2CIpgsqk/MgDB&#10;zlduC2QfXjfDjatrt5PNdR6hdyQyi51K4naW5ln4dhG8pOc4LcA5HX5cCvRdRvU1WQyalu0uMxiN&#10;baz0+FAY4yViigVcBVAGCSeck/N0PnVo8knJ3u9j28NOKSbdraP1KrQy6qt7qOsxa9q2rTskhvY9&#10;QU24lZizGZijNIT+7O0EHAclvu7e68K2ssMLrhwTsT7KhdtyMdpwQAqkMrHk7sMMDB3U19ZivLOx&#10;tLXw9Y20doJjNqtvLJNeanIzq5W4HmeW2AeCEXKlQWIVQLWq3501Eu9IuFkeyEEQGlxzND5hjRnk&#10;eQqOEc7G6KZAdpIwDxySqe5a9ktTrlWqVKUacn7rf/AsdD4ptr2MR+Hr9Ejux5Nw4lkSRbX7UnmB&#10;ZWAAV1UISqnIxIpXcMKyDQ9O07VHtpnlnurpDBNckLJZSAbd6Q7TtKDYSGydxAI7CvLrvVL2Bv7T&#10;v7gTvNhmaU7nlILAbdxGDgKApHPQmu403XNS1KF9au0ig0uCeIN+4EIjwjJGiSlTjIBGO/8AwHFa&#10;UpVKS9pFaX+dtNPTU6aVD2lKMXLTp01dg8QxxaXP/ZENra6fcgm4+2I7PqDEk4DtkADIwAAcAg54&#10;20aTdx2lxHqJ1C2ge0WOyuDd2aXN/OZCHEdmZT9nQt57F5pQ2wgBQSzFe88JfDzxv8eL8aZ8Kfh9&#10;rPirxBpVu8OtXFnbvqdtpFrvaZLjUrtYzHYxKjqS05AIKsv3s10+laF4T+GWs2una98fYdL8dWrv&#10;Z6bq3w58M3XjO98MzqzTSx2ZkaCwiZI/3z3l1OjiNf3cTPtRilSrRqKpU+F35b9dtvvLdeEKbw1J&#10;3rR3S16dWtNfv7HT6b8IvF/iPRNQ1OXwrpXh99Qv/wCzP7Z+K3jfQvhB4K0XYqTE3+sazdWdsLhl&#10;YslqjNIyoxWEnCDxzXfh/wCCdM1O3udV8ceFPEOg6TqNra6wnwvvH8TT69LDGZRY6XdTRW8EyySH&#10;57oM0Kxxlw7tsVuD8V+Nx4yttZ1j4Z+CvFfjK7vJJbLVPHnjgXnxD+JtwI1j3XJnRWt7GFmDNiFG&#10;YK4Dztgk938H/BfjnxF4b/4SO4+F2pS+DdC12KLWPF+t3UXg/wAK3N28Mj29lPqd7LbWcQKrJLIF&#10;k83YRgLkMe96VFCNLazv6W1s+i1eu5zRpR+ryr4mvZ3soqyd3pvq77JLpv6ddqep6QNG8P8A/CP/&#10;AAzmsbnX7lY9IuPGniye4cxebJ5k8VlbLFDJAjgqzSSSIBDcEs5w69rJ4I1sQ2q/Ff4r3vgL4QDR&#10;Jtc0/S7p7nTvEXi9Fa4ht00nwnbA3ttHezxXEcV3qNvCRBDNM3CkDT0y21XwzqF/rF+3hbWPGOpW&#10;ls3h6+tdXj1zQtCa7WaON7OaJfs++GGOVUjhMsUSI8gkcsCOJ8Jw/ArWvE+q6F8UZ9YhuPE1wJT8&#10;YdW1Ix6dpGoi4SN57mySNneymA8qafc9xDCHkjDbfKdx5ZyjSrNOfS+3ltv89DijU9jSl7G6hGzf&#10;LZt97c3Zaaas7v4W6JPrlz4w8U2cWg+HPhv4QtPO1H4g6z4ckvF+z3TNBZWGnWs0kwa+lDHyoYHD&#10;ZUtLJtDPT/EnxNXxCl7punaufhv8Phanw26aXu1HX/F0MiyQiwdIChu5rspHHJGG+zDewP7tcN6b&#10;8RvhN8X/AA14l0/4dfEjTr6/13xJokV58Fvh18MrafWPgx45tLlYxaeJNO1+GD+zr+0eDy2UWKsY&#10;yziVbZIlS41fCH7MHjnTtIlHiTXvCPw/ttX1KXTB47jh0zxbruj2WxDbRaBps1wsoa5lPky6jd/Z&#10;0C+WqKrTbJOXE5ZiPaShNWpw016v+mtNup58eI8u51iedSlKyhZXSjpd+b31fyPEIrzwr4TMOi6T&#10;e+LPHXjKWUWd3pzWC6To+h+c3GLO1Ml0zlmYLNdXERYMpNpEwK16rqPgPxhpng6DUL7zrJje/ZUa&#10;6eI2z3AWY/Y4CXzcMgiPmPBuihK7ZJVfZG/ompfs0fH611VPCPwu+GvjQWTwqRrH/CRfD6x1G8LT&#10;xo19cWWmeIHvpi3mMBLI0SSPPIwhQMFTWu/2Pfjf4a0O78S/G6HxHqPiGwvf7L0XwUgs9S8Q2Vsg&#10;WKJdWFrd3ENguWtgtpJMZUHmiQQtHxKyOunKVOneNrLW1ttrd7HUuMsunOPNWSfa15Sem/RW8j5j&#10;HjTV9FCeGPO08/aY0eCNbt5LGFyZFPmsgbABQFigYkE4zgZ8p1/QLy38VXOh6hD/AMI74h+1Jd3W&#10;i6jqdvPpespcwedHNpmpOI4GilEqOiTOobJ2SuXRB7z4c+FvjnXfHelprnhjRPBHw8sNRufEHiXx&#10;J4r8XeGNJu5dOsMNN5T/AGxxAjxmOERB/KE9xFvkJEYX57+ID6/40vrzw5qmr6BrLX/i2fT/AIZ3&#10;Xh69fUdNstT1C9LwaJDdmLy57FjewgpDuS3UrL5n7xEuOOrgKkoxw7h1as+iVl66nt0eIMNCtOpC&#10;olZJya11d9eztu128zJ1DVtf0i80/TrjT5dP03T5Fe2t7yAxeTnMSb0wodVJIBXqxxu610WqeN9M&#10;uDiCe3t3jtxNE8bqjahIsQXK9vm8sEHjjqRzjxfx3J8Q/hd4h074Z2HxE8Ua5rpaK2utF0nUbiDR&#10;ZLmRxEsWmWilfkllLJAURTKipIGcSqR63+z58CPF/wAV/EWrajf3z+HfhB8PJotL+LvxEaxfUdM0&#10;a7Z1SPwl4cCYXWPEN5Mi21lpVu2550eSR4oIWlreGUVqsuSlH3e720td37HHiOKMDTprG4ypZ9El&#10;q77JLu29D2C28Utd+E9K0u8u2m+3tFc217cR+Tvi8x8umTkDKsnB7YOcmoR40sLlb/SDcNELbTpb&#10;b7UJ2RklYRh1RWBLMRtwR1ODgBa+fvjn8RbDUvizrWi6JYw+F7PRzbeGNE8JaXqv/CQR+C4bSJYI&#10;tFmv1/dXN1A6ut5NCBG9491tVOUXi7bxJe3SR3FxcWzJZSJJPbEO16m2X97GMfxEljjHOD368f1Z&#10;U6nPLVJ6eaO2liKLw8JTXLJrmfk5Poe8Jbm2ineSK80qG9k+12l62baOYMobzQ3VkzlyQcZPXqa4&#10;Hx0LjZdw3E1nOohaRJ53LCQKrSK3GDyFYh8kdADzzm+J5Dpl+2h+brE0STHyZryX7XZXUc4WW3kt&#10;v7vyupkjbOCTjOM1O1zp3ivwdf3N7rVhaan4JaRrf7Rdw20Os6aGYTRqGIMk8cwQxIqnzVu26YOO&#10;mGGaScn6elzyq2ZKc1WjtJ9uj2/4J8ratMzPFcxxWcN2JI7KfyZFkiLndH5wO4/e27sZwDkY6CvS&#10;tQtfDllr1/daHqEXiGwsLxn8PadG80MWIwzQrqXmxoWdQgLRJlXZXJlMYPmedyxtrF+2m6Y9pa2c&#10;+piQaheXCWdtEqRnZPJI5yqqAxPGcv8AKCcAaWoap4U8O6Bd6V4ZvbvWL3U5Fh1XxJd2back6wpI&#10;rxafAzGSGJnlb99LtlmjQAxwqXjPpLDKUGmv872/4OpxzxsnWi4NuX4W0/ysX4vFGpT3Pmahf75t&#10;Qn/05ywXyiWP+rRV4ChsYA/gGMEHPdeGdct4fNtZprqJ77c8SPMWiARSwd2OACwK++AM9q+ZLKWK&#10;XyGlmJ2FpHSWVfMK7sHG3BDBjuC85HbBrqtO1pFE8aSP5bXInt2YBcMrEKDn+8GZSRgHK8dDXn4n&#10;Laa+Fan0uBzRN8zdmtf6/wAj9CPBWv2xms2tyi+R5f2gBkD3BUKHQH+EEgH23Y7nP6IeDdUtra3t&#10;NZu5xMs0ssEipIEiWRFiZcDGcHzQBx/D09Pw08PeMfJkhtY7loJ1uTcnzpd0hIIXdw3T5VyM8Z71&#10;9u+FfjVfTadotpNewQwWUcaKWIxNISSHXHVj0DHJwB2Ax85XpPDtymvR9rH18K31qMI0nd7P01P2&#10;p8N+MP7W8MPBpypLNJclURGML5VScA9zhycfdORxwMfGP7Q3jyLT/DniG3vLkrdwWredbrIH8rbv&#10;4U+h3Lz0BBrAtPjfb6RoVpFpl1c+eYlmuLuALsjLxtO4XI/gCZJHQKB2NfInx88d6bL4c1mV9Ujv&#10;LvWLbd9k+0Pm5kLNGDtLZ4Bc4Hqmeprqpe0qUWutlq/wVjxFRUcWpyjaEpJpbu91v5Hwzqy293H9&#10;vhR2unnMjv1WQHqOnOcYz/tY4wSdDRp2ilMgmlWZlVACSZfmPQcEf3ePrwe/G6dczmS2iaX7QJHV&#10;RbBGbBZ26Z+8dqH8lGfTsYIY1uIbVIJbWSBRGXuJ1fzJCzGVlUIo24IABZiRzv5Cj0qlH/ZbNeX6&#10;H1uBrXxWrbTd199j66+GEN4bYyteRwB1zhpjCxO1iB3BwQOvXJ5HWv0u+D2tiK1061e5e3aBQzFc&#10;xyQHH3g/Izny+f8AZGMYzX5i/DVbieSGNdgTyQ6yMvlNJh9pwD0zwQOT1zgcn79+G3h/xJKoa3lj&#10;jhaJsTXE22NVXDEbl6YyOe3XnNfL4vDzVROmk+/Q+i5qU1KNeduq7an6xfDdrTXItNt7u+1B5LiZ&#10;beT7HcIkhUyAFvMweVYAgY6Kc5PJ+4rHR7XTp2l07xZZa7YyIoNnqOmTWur2edhZZJEDRSFQnzOC&#10;mAVARutfnv8AAW2vUtrGCaWGe8Ugxz2zrJGrEkHc6vwACxzyec4xzX6LJ4b1iPQ4NVn022ubXT4U&#10;W7eGZVEDMkxjkLZ3bcLIDIRgb8HPGfXyX21fDScKabjq3rdJLy303uflHF8aOExVOl7fli20o+7a&#10;TbVviW97JWcXd2udCtlHf2LPZQ2swE5SGJnzGcrwyRv0yATyNo3KMDgHkNe0GOxvbS4vE0u8MCNG&#10;sN/aLNFKxIkZvJGIyQwAB6DOMdRXY+G7PR5LeR2187ZYmna1srYX8lyQcIqyCQGMMuSZMEAL/EcV&#10;Lrx1WDUIJdLjk06G3tHjs2mna6NpvwI4lL5JDoz8s2QT3zke77OSoqdRXd1tq18v83/mfn9DFzo4&#10;+WEpyvH3viTj025mm3r/ACpq2+tkfjr+2T4d1PQTda/4Y0CwTTpwx1lGieW5sGmZyDasGICYwCmO&#10;CWPbB+SvC/ji6We0TVJ7iOa+Y+eyQgzyliJC5JwMFSTnBHOTiv2U+I3gSPxFa3kd88d7bajC4k09&#10;WZHGEOCysMAKp3b84JJx6V+L/wAWPhb4w8FaxqmqeGoIrywt5Dd31kJmzbneVBiwDkt5LccfcYZw&#10;MD4PMsvrUsZLE0o+6+l9nu38+x+3ZJm+GrYBZZiGk0vdk/ktX5dGdF4i8WpYTJJZXTzMYTcTtMTE&#10;85JZGKgZ4BUjHQZBAzmvHfEnxYvI4I4b2MOluDCb+VnXbb7Q6tHGWwqks/BG4EE9xnwvVvGFwL91&#10;vFuLC5idVdpWcASb5OdpGRjGcAEjGfpxt94hluRMFnRyyiU3FxL/AKNkhVQfN2I2YxggknnJAzw6&#10;cpX7nVXpYfDXc9WlufRMPji2tkjvdYK3KWduVsNJNykUV7cPtVWd+f3S/OGVfviQLuAYmvlTx58V&#10;1ubya61O+lF3dB1dpEMig7m2bxuU5wfl6gZUdABWDBrOrXt7bRGAz2tpFJYyoWEbzRPuMhEhOAeS&#10;wLHC4GSAAK/S39jv/giv8c/2sZ9O8e+Opbr4KfBu8kW6h8R+JNOF74q8RRpLn/iTaRIQXUqGAurz&#10;ZBuYFY7lQyn7PhzhHNOJKsaWDhanHeTdoxv59X2S18j8t4z8QuHuDsNOvmM/3sl7sVrJ+SX6tpeZ&#10;+AXxDfxR8UdbtfDPhDT9d126uZmsdI03RbKTUdU1qYSBRDZ2sO6aZ/njPlRozfvFwMYY/qt+yF/w&#10;bW/ti/H+TT/F3xtk0v8AZv8ABt9JDdT3Pj63bVPHmqWhI3x2Hh22lSW3ZlJCPqU1s6kEm3YbQf6T&#10;L/xR/wAEqv8Agiv4a1Cw8NaVpXiL44R6cDqkkdzb+O/jnq7hJ3iGqarKdmk2rmS42W6m2hVCRFbs&#10;qBR/OR+3T/wcRftTfHZdc8N/BfVpfgN4BnnktrWx8DXrL4q1G3DyKPtevFEutzL5bH7GLcKyuMyK&#10;cV+w4XD8LcLRWCV8Ti1a6jsn56pL0bb8j+bswz/j/j2+LwtsJgHtUqaSkv7qtKT/AO3Fb+8fsDpX&#10;/BNn/ghZ/wAEqtGg8R/tUeK/D/xs+JOmo2sJpfxiux4/1S5ubZhLHPpnw805HgVogYxFJc287ISX&#10;M4JZx8iftS/8HR+geCdKu/h1+wl+z14T8M6Lo0D6Zoni34m28aaNZxGPMcuneFNJkigjRGZsLNec&#10;nGYQAQ38fnxD+J/jT4ga3qmteJNcvNX1PXLn7Zqt1OfmuZclt8uMAkBjgkEgCvNo4p5Z4y8ahCuW&#10;EchZDgdBnjJAA49zxnAMVnmbYyLhKSo0ukYavTu2vySNMr4ByLD1I4jHc+KrPeVRtRT8oRd7f4pO&#10;/Y+7/wBp3/gpf+27+2Jc6iPjf+0D8RvFOhXEr3UfgbT9V/4RP4c2EbEl4k0TT0gtGQjCsblZnYAD&#10;fgYP556hPPOHdpy0cMWRGjeXEAAAAFGAMAdgOP03LyARyeVZ72jJOA7bS4zg5yc578/0rP8AsMqs&#10;zyybYGXe+cDHYA+vB5/zjwlGhCXt4/Fpq9X971P1XLsBJ4eOHpU1GnHaMUopa20UUloc5/Z8txOI&#10;52VNyxureepRdw3AEgnnGOM9eOtWLXT8IyGJztbhEAYON3PHUDgdfXtXa6P4fn1EMLWIPF5uROEz&#10;5TLk/e/Doc5AbpjNereGfBECGKS4iR5POU5fPlsOAxxjgHDDj3+owr49KXs4rX9T06OXwoJe3+K3&#10;ztp+h5lpnhiedbZUjSMTTASSXGSsa5GWIHPAfoATyvqCeosPBuZja3NxH5c53PtUvuVX3qFDDcDu&#10;I5wOuK9RngtNFvptJljP2gWIuwfleNfmCnnn1XgHjABFNMsUlp9rtxbRFJlkVpJUhlKSHG6NSdzZ&#10;AcdMda4n9craQ0TOp4nCU4u002nt8yTTPD2nWEJTyVZLeBpp0MfmzAJySVUc8A9BgD05NehaELCX&#10;R42F9bhTIY5LeAESqqAYfjop3OB3AXp0J8M1XxkbIR31jqlgq+eyyWwug0j4j2yq6YBVWLbg3IPI&#10;7cRaV4y0eSW+uF1qxsp0KSeUkrNEc7t2zYv3SfLGRwCwycZIzWU4iqpTnF2f9WPNqcS0FKMIVEpK&#10;X3K39fM+v/COtrbmfZZ21z9ljw5fC+adqDdyDuGCRyTg59a+yPhx+0d9kjGm6tZ2EUEcJtpYrqH7&#10;JeRZMXKOp+bHyHByuGJHU1+P9v4quJJr2+0nxHCoI328cKloo+Csik8kMWCkHB7cGvVtC+JFtdaM&#10;+lXbaYHbUhdLq5IfUrWQIE2lvvmGQAMVHRkABXnPDWyTEQi50W05af8ADqx6dLiLA1L0sSlPlf4e&#10;t9z9yvA/xq8LWEUsTXN/YahIwmtdQ04p5cKq+U3o/wB7bvPK/e3YOMivb4dEttX0u+8QaLDpPie1&#10;Fut1qt9p6RWOo23nyuwjubN+Zfmbc0sJkwJME4Ygfgf4c8ceIr2e2sIL63urm6kVrO/v9UTT7K1U&#10;FgBJMzBQrYxknOcZ55r6G+HHxw1zTJ1s4/EAtlmRVlt4bvzo2Z2GI3DAdwh+7uXd1NeJUo5jhFyp&#10;80duz23OuM8txWtNck9W29VuvuP0U8TeCPD+rXOoW1zpUVzJDCYZIbu2USscDPlk4IC/Lkg/Xoa+&#10;RfiF8Bf9ImvbOwKTGUM3lpgyKSZlyNwzjcEAAGOMknOfdPCvxjstZ0+JdbHlGUeWtyqlRFMFViH4&#10;JOCykjGSOmC2R6Jpvje31qS10Rr5bmW6ultdPNv++ZppcFYgByXyFIXnOM5zXjyx1alpUum/+Aej&#10;h6Enf2WqW/Z/8MfDkHw20zxNoTeCfFtppHhLxFPdS3/w68YzXxtm0iaJgjaNqqknytOu2nYJM+Xh&#10;lVJf9UXEvivg3xBq3wu+JGo+B/iBoN3pOt2989hrWk6ncxRabeKhEzpPKcqCgQTLcwvscCNlP8Tf&#10;pJ4w8IWmqvPHqtjdme+hbT3W5jCSJthwiOxBwFWMALgEnr1r4O+Ovgq+v4otF8aCU3VtYvB4W8VW&#10;1o4v0hAJhhuVyS1sv3FydwO7BOGU+thMdTxSjQqLTo76rY8ythqlCpKtTtZpc0f1Xn/w59P+Fna+&#10;jWewn07xP4akV4rDV7e4C61ZxkK62+pw4A81dkYE8aoswRWAyCq+2eAfFviCHU00f+0JbOZWEctj&#10;evJcWiByMlEYAsrhFGFAJwQckDH5efBzxH4l8GXcOkazIZbKWaOwTVYHVopPNdVUmTkMV3IxGNyl&#10;hjniv0V8NeMY7oy3Vjf3EdsLkNBNaym6t4ZCxVSSfmUMVRvmKkjuSOPFzKlOnUcZPbr3Xc+xyysq&#10;1Lmpe8rdd16/8Nqfo54C+J8niRLPwv4lg1Rbu3YQ/wBr+GTHDqNujAKguLcR/wCkQrtUIjOhXdhW&#10;yQD9qeHNF8U50+a/e18U6AZXigvYLqGW/RACQ88I3SQgrGNyyfd8zCs2S1flt4H+IeuOkkV3qt1r&#10;GnGRYJnu764kiZ3jbYq5ZQdyxnAbgbC2Dgg/cXwtkvLO4t9RtH1bR7jzY5PtdpO0V5HuCyIoYBSR&#10;5ZXJPaVcccVxUK85xUYptP8Ar5nFjaLw3M9Ib6bpv818j9BvD92kVlFY6fb6l9iB+1ajJ9oOZW+Z&#10;ZCfkZVX7+2IchWwTk/L6Xo1tDbywTB4vDqtCLi5bSYiLmQxvuUSNIHLsQFxjbjONvy7q89+G+mal&#10;rcD29rYXepTLtW5Qab86p98ASRDPBU792CWIzkDNey6z4E16wsBfT6BLYK6JFFcazPNDBcsQzRRw&#10;yBHty7KCApdCWHJ4Ar6zA5VjqlJ4mnHRK78j86zHPsro1/qtaaU5Oy11benW/wAtHseKfEHxVdW/&#10;xP8Ahn4kt7mRbLUdRf4YatcyIqRWdvrLlrOV2ADFhfW1qm7ggzcEbmI+U/8Agpf8MPHvxc/Y1+MX&#10;hL4a3Lr460mXRfGumx2NqdS1MLoes2uo3UdosYMhn8iCR18r58Ly3LK31J4ut9R8TeG9Y0t40thZ&#10;3kOpRQi18trGfTrhblJriQAvlZUXljtXbwckEZw+I3gK2aXw5a+LbX4jeNr6FYn8A/C63n+KPjDz&#10;Y4xI/nWOlibyDgzbhfSQx/IScYrGhhcVi6saVGm5Tu3bztY6lWw+Bouq6ipqNreSTUrt26a37H8Y&#10;y/F/Xvij8EbyXwLdXfjW906eGG51a/j/ALMutQt45DHeTNBId+VVBtLnJDKwGa+//gT+yX4J/aGn&#10;s/G2sm18K6X4JttNuNU0Lw5LH5zxavaWuqCwt4JUMFtBAIZSxUF5Z9ztvZia9c/ba/Zp8Lfs6DxJ&#10;8RR8Ofhz+x34T8ZWF34lh8JfFP4z6Bo/jz4sajLeSnd4f8FpfTajHc3ItpVWytbNI2ZJneTJ3H6S&#10;/wCCcfwn+I2jfBHxH4s+KHhuXwbqPxN8U2fi3wx4Zu0kXUdG8L6PZWcWnTXcbKGL300szLG6qRGr&#10;/KVdcduY4DHZFg3TnDkk5XSb96zW33HtYXOcn4yxOHxdFqpGEbSaXuuaaTt30f3eZ7z8Kvhdpfh3&#10;wJ4+0Dwh4c06K68MWVz41S1Mf2dDqEwi0bRxc6gVLbzPqdsBvYkCB2PH3uY0D4fL4a+ErWGu7Bfz&#10;Xs/jHWpLS4H2edYda0mztZEDKXUbtAv442bkgsQikuK/Rax8ON4e+F/jrVLVYIJ9Y8R+H9Luy6D7&#10;QkVguuaxPHjg5d4LBivJIUDuVr59+LHh5tP0eTSJ0it7i++Fei+GZrgTBbRbyVL/AMRXMsbYySr6&#10;ydoGfkyTziuWjSWGw9LFSfvOne77ynKy/wDAYmOOxSzLGV8HSSUFVSSXanSg2/8AwKpY/JSDxDDq&#10;dh4M8EeL9FgN3N4BvPDMuoXN+JNIGoyajZ3E9yqKPMaOKMTWzKzY3SyODuxj80fh3ok2leHfHvhu&#10;XTHdvBXjLT/HkdrENupiHaw1C2gYAZMkc1++zBIZE9AD+i92lhpviL4Xz+JpoPO36PrNzfRsI5Yr&#10;DVvEMljewSI4x8lxc2TfMF+Wcbt2efk/wdpu348ePtBsosRanpV157Qzpd2s8STyJCWkA24adlhV&#10;gfm81cEAtXo4KtUhUpTTvf8AC6V/u2PmM1wtGcK1NK1036tNtH0H8IvGLfD3VPEXhXVdTR9J8d/D&#10;SbVLaOATSXPie1nnVZkV8NgRSL9o5VQrQtu5wB5f+034KmNvqWsW2jRaf9t8NJpk+jG0eLXnWO7t&#10;Z7jUcfeW2WC6bbMgYIqlG5YPJ6bN4d0nVPgJYfEXQhDP8Rfg/wCJda8Iyb7gT3j28LQaulnMrMT5&#10;F3p8msqUBCiUqxzsYHstS8S+JPjl4J8LePrj+xNI8RfAr4DO32/UNQi0/wD4T3QltIbCHTrRGx5m&#10;qzYkVLc5e6lgaNQXZQ32Kw0K9Gmlq9HH8Lr/ACPzShjqmEr1HJpQl7tS/Z/C/kfl/ZaV4s8K3fjn&#10;QbSFLuHTPCnirS5P7Hs3ubrdcQ6dCAjP/rA0skZjVQwJMY6kleiT4j+IPDlst5bWdlqGleILOfxB&#10;pUDeFbLWvEmhl4o0kuGhurSSOa3SaOQOsg3jJLYBYV7R43sNJubzx1c26Wnhnxbf+GNQ064lsk87&#10;wJqdxtsLGe4tFA32Urqtlc7FDIGMjhUC4Od8EPh7dfEfw1rGmeIZLG18aeG5ifDOo388iW1/bmRZ&#10;Z0WcApGsjPFhmIVWmXcwya48RNSiora33PsfQZVGVFSlJ6aJ+ae7/I5+D47/ALSuvW/w3+A3hH4j&#10;XfhxviLrlq2uN8OYtO+Ex1mbWJlj0+PUbTSobEorf6Okpdli+Zh/fxzfgn4X6J4E+LXgw/tJaT4j&#10;uPgOvibVfCXjSPSdVWLxBoFxaz3Gj3GoRzQl8T2NyRc7X3i4hgbG5ZUevfvh/wDCqG8l+NFpqemx&#10;XV1Fof8AbOkJq8LafqGkyWDR3EkFtcxqzXU+wTIsZPAJbhgC3rvxr8J2rfB+HX9IsdLh0/xR4Vj0&#10;XxDYmCOXOp6S0cC6hGpBeKSWJrKQyKRvN46MxBkFeZisXONH21F/vFqr6pa9n0v99z9R4RyShUqS&#10;VdWjJqOmj99XTutmknZ9GkeN/tJfBef4MaBL4e1HW7TxUvgfxjp914U8RaLbJDaeOfBXirUbC80r&#10;WrOOPIET/wBkpvUNiG4d02xsgSvyVn1mOz1i/sriNZ47XUprU5JWdDHNJGRnOeMDHOeOgr7qj+LP&#10;xG1j4WRfBLxFd2N/4f8AB8OrW3wzkn0uJvEFnctG3ig2Jvv9bNA8+mWqRwSFkh+0Ps2ebJv/ADn1&#10;jxTpGtazcT3VslrdXty969/YnKF5W8xmaMZVgxJOVweWzuJ4+dzCrSxjU6SsmrW7PqvRaW8j+qfD&#10;LJsyyV18Hj5Kpyu6nHeUX8MrWVm7NyS2baVz1C0voo9ko2rKVUqykiTHYbgOeOhx9RkV9yfswfFC&#10;40zUxpJvBGHZWQN8mFJ3kD34zyepPGSK/OLTdUUkhLhJ1XhZFXbEACVBUc4zkfnXrXgvxBLoet2V&#10;7AWZre4M7MF8oMgZiM8egx9CPrX5/n2CjVw8+aN2ldeqP6y4cxFLF4V4KavGUev4M/rz/Z68ZJqN&#10;hYxfaMSJAJUzJkEgA4JA443HPHHftX3FqEd3qdm/nXEEkElj5CbImG4tkPkNg4BZgM9lHbGfxY/Y&#10;58btfxWTzS+cZQpiJYlwQBkk+n1r9pdKd9Y0KARSiNIVUuVB+cFSQpGOMjPH+z1711cF4+U8unhq&#10;nxx2Xktj+KfG3JKeT8Te2ikoSerava+/T+rv5fzb/tH/AAwuvBPjDxNYyedLbw+IbqOC6kmjkjvA&#10;krMZVZTtAIBUKDj+5kEZ+TZYmRwqA+USSAQWUcgDaPU/Nz7d6/T79vjwjcQfFWd4GlYXmmQ39rEX&#10;AhdpUzKdvLA7wAenJzg81+aN/BdRTNE+5OfKfAwEIJHbt0GfQ+1fYV3eSnGNk7fefxpjKDw1epRl&#10;K8oyaX3/AORjO5KowDebuII3ffXJ6DjJ4z+OKhkRcxuBG4bMYKOFIOTgZPpySD0x+VoxiRdylOIw&#10;yAsNyhfRh1HPvwemKrzL86p8rKSVKBsDAOdx74JPpz+Fc0Zc0o26W/PU5k05S7f8MVEBULIH+SSQ&#10;AsF6Edj/AHQcDPb5icU8B9gACKUcMzMSGIUHIHcjk+3NIwzMQJtuHGCp3soAwACR2OTweOOMcBJG&#10;VlfcwIL+WsG0K6lnCHl/fkd/atldxaXf9SbxVSMZLT/gDmRwAqvs+QI5YZEmOgzg4xlcjnnJqsoY&#10;xBVCRqkgTeQQm0jH4ANg+209O0xWVTJEGGXBEh4DcAEquBjPI6ep570ilFRRxGdvyx7sPnGWGSB1&#10;IAwPaqptc95PRP8AMbb9qpRdlb5EEaibDCdlYfNsDEDDZGF5BztDcdMn05qVRMgOAxYsNoDY5CsH&#10;AyOchSMe/XmnNM0jIWDSiQqrSsS24LuI569Tj0AAHHd4LF1ZmCBg0m9BvyVGTwD1IyAegJBIPebS&#10;UnbtewlJSd76rVkqHcUWRA7KASVwGJwASRjGMhsY9fY1JIrhoxuDLvwqud4RdyswPIwOD6DLE0wo&#10;UCsyYJjIQkDDgHDHHqTkEg8HHQg1JF5HkgYPnEAMrsEMuQWwqhR2QHGeMcegcdN/61NeVJKUXr+B&#10;MreWC0Z8wlCIgMO0nGfyOe+MZGTk4E6KWVgH8oxj/Wn52YlegI59Ovp3xTVTyxE6NmJFLBSmNoBx&#10;yfrxx+Yq2qSPGznKgMkjjqoAwG68DI+706jiqfMpNMLU/aqMfiW/rYfgnaysSmcMAp+UAnvkHA+v&#10;PelCBGzJ9QeQOOAW7HHUdfujFOAYDfGo/fNhgQQoOAOc47AdD/jQ6CKNicZGCwZgRyuSPxIIyPyr&#10;JqSbd9f6uS0tX31/zGBcb9kh2uFDDBBU/JuAB7kqcH+EEDnGSgiVjuy2WYANuwhHGQM54GTjJzz3&#10;PNWDuZeI1UjkSrJ8soypx9QccdPmHIxULqAHO9hGpZsNGAuQvGSOnA78ZI9RU6u0k9X+m4RV4ylE&#10;rshL5Xy3LLsGB5ZXJYYXueADkHnj604kBI1fjYdj5O0n5FAwepGc592Gc0H9y5Xcux1zvKeZnBbG&#10;MjHIPbHvnANSIBIyxBVyC27CESkjaVx9eDx2B9Ti4tRSfUxjVdNtW6v9PwKpEhQBDG0kb+WyuSCB&#10;kZXH5gEcYxwaR87mjwciRtoyFAx2Bx7kD16c1OqqQWARwcAlF8wDDFhknpjgZ68ep4ikUM3mEowk&#10;PJVgCVAYbgcdflAz2yfahWvyh7SSaUt/y8hXfgx7VjUsHy3YFSMr3B+Q5x6L7VA7xkPGFJBBeRWU&#10;r1JU7iRj5vmzjPfuDVmSORPLROW3bOFYu2SV59vr/eHSqvmiZFjiwwkUICo3Kcngg/h0FCi2owSN&#10;JT5mmlrt95FtK53SY24BXcwMZLhVTrzuDZ9+nUCnFWUI+1FZ384SFQSCeDyMdicD1GOM5qZSYgGU&#10;bkKkEABkHzHnAz3H5A9zimyIikbmDBXDYwZA2SQBx15AOPYdc82pNe9L5E35pK72IVbDMwKlVjyZ&#10;FbcPlcbs544PqByaIQcFWXcJc4bzAyBWycluMcknnPWp/uNldriVflJAypz93PfnJz6D2FREli8Z&#10;2xhWPlqnyrjb3xgE5549K0lKzumPnamtdNv8hFCGPO5TEAEA+8xAUHPsRkdQDzT1iMR3M24PGMb2&#10;2RgZyMqeOeBiogfujdncu0L9wvkDC88Y4yfqKlckl/MTjnBA2JkFl4/U88dKxhCztHYIzco3qb2G&#10;RhlcqIkRZBnzM7gMs+VLEnsFwOxyc8jaqYUZVvmO4sznfyoKZ2kcHDYHHH1JzMEQBSwWOU/JiNsL&#10;jJPAHf5+c56D0qOSNQC4K7nG7cuH3FggwD/wEfL0z9aWsW21u16epElH2blFe9a+pAVj3MZWZXkX&#10;ChgAUJAIz+OD0p7kYPlklSSrEEZycHcOx78DBO7momwqFAv34gJWABfoFYjHP3R7EfqZWRDtTyQF&#10;CurEJ8p3ZJIPfp74rWV577+QkvcUou78vxETcmArK42hGXLKrtjJ7g+n5fjSfOpUttZdoC/vt29C&#10;WOc47lgO3QjHApMxqJWXcF2KA2SCSAoOMHIIwT65OevVkvEcTMCBKnzKW5BO45PGRncAfp2rWKhy&#10;py/4cJP3eSHr+lhJBIGI3XnQfcmUL0HTJzRTwJ2+YNMN3zfJGhUk9SD79aKxUaySSlp/wxsoPqnf&#10;19Dyp24kHG5Gc7XbK5O3B4GDk5Pfr9SYJGfEjKQwjYESBQHb5wOCTxkc55PXjnAklP7wuhaTjY64&#10;HyZycgZ/2j9Dk1ECymFXYnys9FPcpjJxjOFJ74zxjrWTaSUnt/wEcFRyVv603Igu0KCclFVXdBtL&#10;7sDcAec85wORg8dKY0k7STEhCQdy7I8ELvfZjIIyAMfhnvT2OwhgqkBPNaNiDsO/sRjjGOh6j84G&#10;jfIO9sKhkZy21yAccgDkEA8DvnmtfdaWnRfeGkV+7d3r93n5iI4cx5ZlIQ/MMNg5UEKMkAYB+XHc&#10;9OMtZHjI+ZSjk48wHzlYdM8cg7QKjkHlSj5VI2jHkoQHdiq5BPqxx05yec5pxdFiAMwKFMeWqlVd&#10;c8DBGRjOMMABgA5PBG4uV9l3N4t8rg7NrX5W1/AY0hdcK8QD5O4RkSbQCpHTJA2554BI6EkljAk7&#10;UiYRnGU4nySSSqjpyOhHQ9zmmxb1kZcbAflDKweQjIIIHPPzKDkfw9MHlsrGV0VCIx5OGO4MAOH5&#10;ByeFB6c9RTTtfl2FeVmo25n/AJ/5D1kaMqgyAigEpGSZSNpwPYg4JGD14GKjj2FXCgK6liVJZPLy&#10;D26AA7SCQTluPQuBVsRkt6MV2kbicb+v/oXvSswyxViXKbXJTG0gBSu7oe3Q59cZ5EtFGHXX7xOb&#10;kkr66XFhfy5wWYOCwykRGCuecHkfMB06dOvOQZ2+cW+VySSv3UK89zwMnt3bOeaIlUFnKsitg+Zs&#10;EzKpLZwAPUHjg/nTGVxIpbBYKQQGyB1PJGQeRtyvGFpU7tWHSclD2VgEZEgd2XIjAjLESZDyqpJT&#10;jABjkGTydhHelKbd5LRe4QCT5jjG3oCeRx/Spo8lW4KlZFjLMm99x+UsBxkDC5z/AH15qNTlV8x/&#10;lVVaUurAx5VS2PfBJH09cipipKbjJbWVhbScW/db3IowS6jehQ43xOwIkYYAY4Jxg8ZBwQRknOBN&#10;OMrGYy4CyBi4yZVAIK4I4BBzhux5qT94GXJRUZi+WClc5Ug7jyMYyMnHA6UAJsxJuyVYIF5XBC7h&#10;6gkoT/3yMAGtJ8rS59i6Wq5Z76ocI0UI2VIYcFhwCo3qvU/KoPI9x1zilQbzGNyswBKhE8x+Bhjg&#10;nOBjrz3z60qoFZo89VBQiPChcp69wI92eeOKsC1JkjJVGVQHLN959pyfbsBxyM9OuZ0T5HtaxFSE&#10;oxSjt38/6YFPMZGIRzjIj2YRwvA3EdRngjJ4Y9SaeqbjGEcGHIiVcKrjKgcc85JLA4zyACMAhVAU&#10;NJtCk7SBk7cAggHnGOCfU57Yq2qgy+a4ACH5ZFGw8cfKRjOCPf7w9iMpu0XKWxpP3Ya7/wBaAITk&#10;KrMxVuAhJJ2LnJAGcAAHp0FEeTu2oCuA6HH70nkEbscYBccZ+uKljDLEYyrb1QBhGvyjHTjOcYHv&#10;joR6yhI1bcjOpjYMQ2FxxlsnBzwCOnUjg8iptCKc3vb+vmVJ8yjUWi0v8hiM7ogmVFAnV2U8h+CS&#10;AfbhsD8OOk4ibg7QykCSWJzvKbVAYhevbp3z+FOXCh5AUEgjWT935iByV2ZOeM5cnA4wfWrQhSPa&#10;rLuV12pkbskkcKc5GCMA88Nz1q3JNJt2C+jd9f60IvLWP52YE4CbthBB+VmB6jIDKcdtwyRkVZRT&#10;8ivkjayFUOxowcjqT2/izzjPc8tUBXQnoyGJpfL3tKm1+T9C5bjjJ6ckVbijdpEAKpG7szMWZlAc&#10;l2bjnJ3biffvmpU4pe8v60FUkknGpona7Xy/yEUSMxIdPNEZUsFBcFgVfkgEZBJ7jnknBp+Nymbg&#10;b2EcgY7V3EnHXOSeM9/mznBpVRZJWUocLJ5eJGHlrw24bjx8oDAHPNKFxtVQDHu6DAK9CAeTnvyO&#10;7Z4qE0rQtr+gRlFyvDp1+ZLGJiUBVAqnnG1H6YOD1J7D16etWd3zNMUHKbY+cLHgqRg+oUMDjBOP&#10;TNNWMqVcfeceWk2wFYiuQOoz1G7ryG7dar3ltK0ZKTtHPAN6FF+ThmIyAAOdzAHr83HAGHyWXKzS&#10;C3cnr/wx4r+0Tod9rfw11ePTbJr2S1cXUlvhlkuERlIVQcAqxDZz6sOwA/n68Y2kiatqUc1qbV5L&#10;ny2tJV2SQg5YqV9QMCv6Wb4SzQXNjqNl5ttNuSaWFfNULgnDd8gKSeCOe2RX4ZftYeHvD+h/FzWY&#10;tJdbi0VBdTIu5BFKzH93yBnaAp44G4V+h+HuYPDZhPL2rwkrrumrXv8AgfD8d4KeKy6GPjo4WTXr&#10;2+bufJl8hidYIlZYUYsQex3dP/11y0+2XzZDlmMuFUE7uPb8e1dtdEeejTFQTH5gXBcKWyCCenHJ&#10;GfSuReNzOqdQJT8qnJIHYevav2mnzPlb6n4zU95OC0srfga9ghgEDOcFQAnfDNxyPpg/jXR+IZxc&#10;ajJfkgkgW+CDsyBt9Ow/lXL3XnLNbR4xH5sbsg5CjuT6/wD1q6a7aHziOHiEbMF/h3knb15rOq1L&#10;kl11/Qui1TTglfRXOca5RpMSHcDiFXCjG0dRnvXouhrZnRra2tN4n1TUmkbA2ukECooPOAQzFxjn&#10;Pl9q8rlKGcRFclJSoI6DPYn8/wAq9jsrN9L0l51tog406G2t5GOx4GuHLlh2JC7vxYHPSoqytRbf&#10;W1h02601Tp6pb/1/Wx3f2i20/SZbpXjls7W1E8HmAnPlB2RtuMEFogoAIA3ZPTjjvFt23naXaXRJ&#10;mm8KWzX8nm+aXaeNrgknoGDS4x2zS6/5ieGdNjhIBuLwWjbZCXKoytgjGMc9eeT7Vz3xDuhHfxhc&#10;MJLS3RPnKsqRx4wOvfk//rrgipOonJXu3+C/4P4HqtydFuTsuVP01Vl+H4nIacDczT3rRYFvwqk7&#10;gQv8J/ICo5Lh2lmad2aS9uPtE5yWBQkHb7Y/pSyypaWcUUWEN4GnlYDaUUnpg+vP5VlgyEwkAM+d&#10;pYsSGU5Hr6c16Siqmt9tF+p5k6iUd9X93ka7XEcbQwyqBFeSMxYDKxnHH6nPNbQVZ0Me8FXt/vrw&#10;rkLnDd+D29awtShMkEG0bZLUZZgeOcc4/EVf0mRp5baEMTKbhduH5wTggfnn8azmoqN47lx5oy23&#10;/wAk2ei+BtVl0UaJPZqWWz1VpbxJQCssN3H5GXXP91iQT0yCMEZr0vwB5tprmh28+wwzy3mnW6jL&#10;MsgUyRbyACcsfT+HsK8T0S7ii8Q39k4drKaQCBh9/bCw24PY7c/n1rv9C1l7bV4Z4J/MXSNeh1GK&#10;RwUnjy4XcSAcrhhkfX045asrS5mt/wBbI9KjK9NUm9rLTv3Pozxza2mv/CPxJBaysG0qNNcgtSoj&#10;NvMTA1winPA+0wSgD+7NycgZ+dPHymXxHpmtxnzE1vRLa4lfAbzJpIUWXHJ/iB6dweAa+kLDVY57&#10;m/tICIo9etr21ktZAXhcTRRuFYkYAWcJIPTzGPYZ8F12zmn8D2TOiG88G66dJmKKPNlXzHuF3g8/&#10;dnGCOoj/ANkk+bTqtVFGotmv8m/yPTqJ1YOUd0n+d1+K+44rUWkm026lZN0NlPDBux8yBkPA6YDe&#10;Wev9yuqNzBa+D9AtRA8cuu3N1JeTzZEbwri2tSM8nbNHcElc/cwfSuTubyS3bxBZkJ5OoaXBeJEZ&#10;MBQjmZQrHrhWcDuQ7Y6itrx+32W38M2AmDrZ+G7HfGzHZbPNG1+Y9vGOb1i2ByzMcnNb1U3TSmrK&#10;TS+7/gozoVYVJJQ6X/TX8Tn7ZBa2U8t5jdFbGCdQQHLNKI9v5jBx05PQVjO0jtukKF5TyxJwgGRy&#10;PYHgegrX1yUtBaJFGUS/sYNUJyVIZhk57ZDbjx7D3rKtwWOMPINgR5sZUBugIIx2zWMoRhK63PXw&#10;1V0oqH3fM2dJhijEc8xVkiUbYg5WWY9sHHt1rV1ISSyieSQhUwqrFxbworEhQvtu9+/esSPy49hk&#10;/eOvEaKWRVB4GfXH8h3rTfLr5nDDAKjBILbSMdu3U/7VcVa/Oqjejue9hKKalCSvLR37d/u0LHn3&#10;AVmfeSE+QxjYCD6VcEwVVuFDAyqI3Kjk9c/h29fbFVbaRGj+fACAp83oGB5B7cVPbPCd0RZxlfMA&#10;xuY9eew56VwytGT5fn9x7UOaVN66FVLwyXTxyKCoBARmO7JHIx2/TrW7bxqIXkKyNkKf3mI8cEdc&#10;jnp6c5rJ+yRLKwU7HDGIsq7Wwwxz69f84rpLVBKphchAsZI25QseAOPXryPU/jF43V/62M4Rna0X&#10;5f1+pWskXG85aX7RjC8MSTj9c9/fpWrM7QSQuZVgkV/LZAPMcbvXB4Ix3zVOCNIss8Y3MfkKj94P&#10;c88DjmleCeZnnPKAjbvbb8uc4/DGeAenpQ4815dCKc5Jxgte/wB/Q6i2uYjDtudrCRNilWI35574&#10;6kEnHXP1z22kXjxsN7CUiQeVDu+UALnBwOOAPc5xmuLsJbdZY99s07LhvL34Rjt5Axg4A2+n1610&#10;ek3f+m7oESJ1Ug7fnj4BxkEk8Dn8favLxUWqiae+vyPqMHU5ILld5aev9aHofmGMW11FDIrxIxeT&#10;zlBkIABIyfvEsDheP1rqb3V49SsbcTLPO0MbtcE3ClrstgnchU4+715zg47588hv7poruDeWM0b2&#10;ySgDGCdzgZBIyV25AHDEd8Vet0uIYIwZH+zYCu77io4G/nB2khTg+x64NeRXpvWpFba/kfSQXLRS&#10;la7en4f8FfM9P0ebSlks47C41E2HltJLPfRrZyRtsZ5nQIxAjAXqSGwpyBwRr6s2gG6tUzcJp9lA&#10;HXzpI47m5MaDlnC4UOxPOOAcAdz5/Fc20NjLbTvM8+7K34uhFAsZUsUFt5QdpMlRvMgG3IMW7DCd&#10;9UtNLg89tT0iC9ULJFN/Z66lrcbbwRHDK++OPcFDsVVSF/jLMqVyNxcnKLtFeXVnqQ91RlC7fb+u&#10;jOl0nWL2fyLxY3WzkmP2e5dmiWTYAzYbox5Qng43DpuOfVIfEltcC2JkQy3QafUZLiBIY7cI3ypD&#10;IeFLBWXcem4YBNeAaTrsc2obfstsyzIVU3DSulpCQzNLsBG0RBhyxxucZB5z3aa7uRLaW7js9KXE&#10;8S26BI70AlwsmFJ3E8gZyCCMjBxySw/PFpbP/Janp0sQqk1GbS2b/pH0x4WS/wDEa6dp+jaLZ/ZT&#10;fooF3M032lw24+dcOdiRhVaRtoRUAdmOMmi28L+MZvEy+DdB0pNS1HUL1TCNGv4NVtLtyWBK3cTG&#10;BlG0uWWQoiqTuIBNeI6V4tWK3g0Wz1K/sdNuEF1qMcEIuZUYkMSys6q7AIjBchFK4ycFj6X/AMJd&#10;4NiltVm0vxT4ovNOtlOmbdZbQdKEakm4N5BbRvO6srlCY7mEKATu5Fcq9hGcaKWl9X934HXOlWpr&#10;ng9LXS6a+p7N4n8I+EvDOjuuofEDwMmo2E4h1HSNPuE8c+JdQl8yVJGSWzf7BawpJC0YimuhPJmN&#10;jEFZWrN8J32hy2l9f3Gnat4t8MaBe2ei6Do3kR2Ed88qXEkYaLzWjJC20ks0hLOEYncwd685mP8A&#10;bNvPqOr6do2g6LepNfaJ4Y8LWaabFdpAF+a51W4aS7jtkEiB7iSWR5Ay7SWKOnsPhTVtS8V22m6n&#10;/wAIdp1zZW0zQeEfD3hjQpIfBMF/5UMY+zWUjM8pgiSWWe6vZWVZJTxEAAOuEOX4fi8lov66FyxH&#10;sKCg3e/d6bXsrfie1JpXxV8aTWMfjP4mP4B+E9pMP7E+HHhrxppuraPp6SCWdpLXw7pklvpURDPK&#10;3nTgMokh82UkIRyGv6l8O9LuG8K/BjwhfXOs3kgtr74meOfjTqc2rwSoEiS30rS7aay05FaRWmEz&#10;Wlw+wsvmMgAHhviS51/XNcsNM1q6eVdYuXv/AAx4G8KTx3k/iOUubc32p3q7IhE2H2yqr/KoSCKO&#10;MKY/aPDvw9+E/gyV/FXxZ1LU/Evhnw3Aum/8K38HeJ10PxP411KQyi8Gpau29NKtWkKQuqLJdfZY&#10;GO2JpPMGdOPNWXtElG2+7eq2e5nVxFOhT55yc5PRRitL6Wv38m9Dw/xN8Q/in9i1S6f4s/Er4kaX&#10;pV2mh3WtWl/rmp/DbRWud7C0kv7yRbfzSwjHkw22G2Iyv5e0ya8nhzxrr2oeBZ/F1vNDo+oafc+K&#10;La+1+7ivLi8h+1/6bqmpXBLyRSszxAWrHdFuiRI98rl63xS8X/Ev4nHwCNQtfDHgL4cWuo/2J8D/&#10;AIPeECLHwn4LsVmnebULS02tK5kJuJrjVNQeW+v5Y5ZWlaNIY4PXPAmreG774WeLvBXi/UNVj8Ha&#10;74jW88G+KLnSLnUBo2qxrJbQyxFCWS0tbKXy7pNz7p9ZEitJJbYXWvRg+dSvsrXfa1vv/A56+dKK&#10;hUVuaTaaS2u7aPS7S6rR62OiujrWteFNB1G+S30e6+JGkXUXgGQOIj4c8L2VxLYahrsjEq6vfXFr&#10;dWFqzBpGj025+ZVjSotIn1fw/rWpWvgtbXTNXsx/ZFrrd5o1n4kubHR9MZDq1zPBcxS2Qe9Ia2jg&#10;nDoYzdvOrs4CeXw+BpbLxLoEHjjxZPBLqNlbRjSfCdvH4juY/DWngWsTW8s81vBBZzLHdSCUByy3&#10;KIYwXcV9LeGfib4R8OWV5dXPgK10XVfiDqN1qyW3xQ0uL4l6tpsWXTTc6YwgszdXDXCARi3cW/mM&#10;VMjhpCoYWnCN5KzfzfTf01frc8DG501BRpe8t30iv+GX9an3b+xn8b9B1b4Wy23xV+Evgv4kfBay&#10;1aXxDqd3aXA8IeFvCmsXLPAv9hajM8GladrtxHbzCO18MbWuJSWnikC/uPWPiV8I/Bn7QPxP1DQf&#10;2XvjL8CPjXd+HpBLpX7GXxn8ba3+zxF4R/s0LBfKIPDzwR+MdQjdroJqH9oAQSGKP7LJ9mZK+DvE&#10;Xir4mL/Z/wATfjLe6fZ6pozT6F4Lllsv7f074fIwaG9i8NWAzBLqJDi2R7CMRWpuiFTcAq+VeLPi&#10;uvwmEMdtpGs+PvibrENp/Zcniy+0+x0HwPLcTeVbvPpNpbvE32WMSrb6fM8sn2hN9zMWR7cdP152&#10;hTlHmitUnve2mvT5po+RWAdTESxmCqOFWV1p8Gr6p6/NOLfc/Tmb9h/4EeIdYmPxnsfiP+zD4n1N&#10;YbHxNY+EP2m/A3jHQtbvYWWKHUNV0bW00bxM0MLblW3t5LoFUZmfciyVq/EH9jj4leAfBEul/Cf4&#10;3eGY/g/4T1CLWpviF4L8f6n4F1TRbGaJTLeT30WlgXUkxihihsprmSFWkmZnQB2P5reGf27fjfoH&#10;w5tvh341+LVr4/8AAPhr7Rotxpfxl+Hvhn4s6fE7rFKkttPNZw30Elm6FUt9NuIQijJkZ5o4F6Sz&#10;/wCCsusaPa350jQdc8Ba9Cq6FL42+GfjS88E+JZUm/ef6NpcTy2ls3lrFvQAqhlC+Wc1y1swUlFR&#10;oJpb2Wt+11o9+yKjgM1ozlUjiHLflvL3bbXtJXT0e10tLI/QO8/Za8IX02peNvjD+0HqPxT0bUYk&#10;0/QdP+F/wUtPjNq9zpdkp+zWsmsTTWOWSRvNnZYWaaRXJdcqF+aNH/ZG8C+PfHem+Mfh5rPx41Ob&#10;SZX0vQ1+J/7N1t8AvBXgnFrbiC7sjNrrPIkc1yxDghftB3KHdTtzPCP/AAV98W6P4auFu/i1qWr+&#10;IQPsNt4l+M/gY+KfEeoJbxqLqL/SbMRysjOhS6cvG4AUFmDxr8W/FP8Ab8+J/wARLu4i1X4uR+K7&#10;GS8E11ot8/h/QhblXE28vBDYpAjOIyTIHZdvyszEKdKlaMuWEaTlNq+yVter7iwuHzWE37etyxaX&#10;W6a20Vl+a9D9UNC/4J1fCj4aQv4o+NHxO8Oaj8RvHN3DoreLNSeL4J/2tYEssmmw6pqUq3dvH9nu&#10;DbXL6VZyX0qWkca3tvBJMW5f9qXxT8RH+G/g74T/ALLniv8AZ3+G/hDwtot1oNh4s1f4peGfhDYf&#10;DqyaMQatZ+DdPWRhp1xNGWtrjXhJf+IblBN/p1oJIi34e+Iv2pJtVvb/AFDxx8UfiA9wskZi0zwJ&#10;e2/isvlTmO81zUby0lLoAAFgMifeUgDBPimueK7zxHPqF94F8H+Lta0vX7mCCXVfGqy+NvGzsygm&#10;GKa2gNskJbY7QQeYf3SbnbBFaWx9aiqUbQpu2mvTVJ9/M1p4SnHF/WMTVlUqJXjdJpN6O19tD6c8&#10;e/B25+A3gv8AtdPA3jO9js7NdP0v4q6h4HuLD4KSSnyJIr/SdRieUXghIlSNJxapG1spYXAkCxfE&#10;2k+MLtrN5dK1VLq2uUEi30DLcwPEXixuYblUg7iSM8hfx9H+EjftM+GvEVvc/B/x78T/AIaeLdTm&#10;eyt7Lwr4p1LwVe3MZR8tMkMqxNAItzS+dH5YTcZDtzj1r4o/HzRtSubvQ/ip4T+Cnx78R/ZUtb7x&#10;zb+EYfAnjW+vYP8Aj51A6r4YGmm6kLSvFB9viuw8aq8gJA3lSgnHmxC959rWSVuh9Dh8zxVOajSk&#10;pLd33+fR+Wx5XN8Q7/UdEs9YmvGa/wDCoGlX0Fw7NcfZo4ybKdUGOAU8skEY3R4HPPM2XjC2QK6s&#10;I4JQkc1n5qC5EcpRHaFu5xIwIPOC3UE1manr3whvLx7jw1qnjrwNLPbSWt94Z8d2kHxC8PX6so3I&#10;+pWMdpdrGX8xsPau43J8xwc+R+IdZgi1KQW11YXKLN5tq+lLPFZwKCAnktcBZ2IABJkAbOTwDgKO&#10;Gip7XizseLlONpOyf5+Xkd7cTNBe3D+fK+mx3aIjyssMmzcYySMkKwHbJGR1xgl+u6josmk2k9tq&#10;cUt9aaaIUcQ+Wt9dCdi8s2GOAInGCucsijAB3DyLVtfubky/a9Re9kuVV5zNEoO4qzOWx1+ZsZxn&#10;jOeRXP3GoTbGWJpHi2gRB3wrs3OQOufkwDxnGK3hh5STcVo2l/XmKeIbcE57L08z1i18RQGLzJSF&#10;blo3Vik0hVTnAPQHdnn68HpHbeKbky3MdvObYNbPFI68LKpyvl5wBggN3wdy7iMgjjIrC4gkgtrs&#10;+RPqsX2mztHkXdChypM6kgoXYBVQlWII45rOae70ya5NxDJA1vayDyJ/3YbeqxoApA6bi2cY6dOz&#10;ng5SaW61+81p5rGLaktdl5o9j0fUNRmmzCqXDBNyQiPfcIAo3YY46BvurkZPQZNet6X46vtHmto7&#10;lSgtijRC4/d/Z8hDnYRjgAdMj5cdOvxw3iR40jSKdkkTB84SkSruUZXj0yQeuQpqaTxPqusXTxrO&#10;8qYI83lvMA6kn1xjoOTXmYrK/apLlt0/I+jy/PeScaTn/n00P0Xu/jhrOt6eLLQ4kvGsZES5SOXy&#10;EhkdJPLOeQynbksCCuDx1zzOvW99epYz6tqZvNSmk8mCy5RYPu/cA4PC9wTxjvXj3w+vodNWOaJb&#10;ckRfNDOglT95AUcnPUhnLDnqOp5r1DWNYtp9Q0l7RA72fMpafzfMAd9gAwoUgMCeoOOFFcEcFTw8&#10;24az8/U+gw+NxGLmqW0F1X6v1H/ZLiwv/JhtoFKS+SzeYpjPzhwSTnjkdOQATlccenabprXrQQzb&#10;JBtwpmJQox2ligBxu+UDHfaMjgVylgseq6pYyy3ckTTRRG4VgrYcZzs2nIAG0kHB+XtmvY7TSkW+&#10;NzZ3qzT2UaW7tMhaKTy/lJVc4UE84OexJY5Y41akVHmv1a/A+twb5Iw6Nq/5W1PQfDd5DAYbW1t8&#10;TwLGjxwM0rxYO7eo3cbgE4x0XjBHP6L/AAhubh9LikeR44wFEgdGxMpym1kHz4+YAjIxnPODXyB8&#10;OZ59Xvlur5hLcWmmrZWkkQ2taeWqQRlHUA5RSGUsePLUAYwa+sPA2qXXh25hsmikS3aBkE/2dgGR&#10;lYuhc5Ayo2heM7OASSa+exMIyqOs22utlttY+ohXVSisNUilNa776H6D/B3UzaW9sbaWC1ij3AcM&#10;k5k3jAhH3fmXk9cbep4r9avhxquv6hp2m6df61bWtuYY0gt9TVGtLsptMcDlVYOGJDBZQwy+D1r8&#10;dfBt4ls2jy2thdPbopG2QL5qPnLqdoxjkDpxsUZyK+6vCnjCa1ttJuzcIILmDZFb3MK3Mlp5AEY3&#10;AHDMpGMlc/JkCoyjHf2ViPaK/RbtK3mfDcZZHPPsGowUVO8nFyipNNdr3t3Pvme0vtXeOCMXmlRP&#10;FGtu2jmO1AXZy8lqLYeXhmxw2doBwSwC+Y/8IvqesNPE8t6kliqSTw3M7f6RKxlwI92EUFQ4GSMk&#10;NzzgdvoureKrrTre5ur2IukyPDdmFoVOz5CwaKI5IGznJJ68kgVNNc606zTNaCSC5gj0wXASOCOM&#10;RyKNqkneSu8MXC5yW4wCB+j1KuGxajOpTld6tPt02vbXqfzxhK2NyypUoUXTVmkrPqnrule6vppq&#10;tLHgnivQRFb3UtmsrulvG0ixorrcBlwRGRyeo9Dx3r88/il4Snnk1KaPSXhWUlZJLgeVZgbckuyk&#10;kE5yMD1xyOP1mtdGvINRNtqX2dnWZdKMlxvI0oJuKsmDhgoV8DpiIgDOK+Y/ib4etbrT7q3aOO7t&#10;hOVlAi5mztGVDDgBgRnHoSAQa+RzfASjFYj4d9Pn1+8/SuH84VaTwzfO4qLUujT/AOG0/DTU/nO+&#10;KXhNLG91C8urO3aOC5WKf5xGhA+bLLg+33Tjkc18sWuia74j1+30fRbSe/mv5hY21jp1sZHkkkmK&#10;JCiorO7u32cKF3HdtABxX6lftJeCjDd3ltbWpt5LtBGqMCohKsgLgdcEE/TcDyFr9FP+CdX7Knwr&#10;/Zf+HE/7an7Ssthot1p+iSeKPBo8RQFYfAemSr5FtqjQ7S8uo6l5uyyhVWdY5gI1aWYYrhzJIZti&#10;1UxEuXDw1nLaytey83b5bm/F/Gi4cyaVahD2mJqe7Tpq7cpPbRdm+mr0S1aOl/YQ/wCCXXws/Zl8&#10;Hx/tOfto3Ph1PEugWg8T2Phbxde27+BfhaiKWa91QtmO61Fty5RjJHbFQkYaV5mf4D/4KSf8F7/E&#10;WsSav8Lf2R7q+8D+EIS2max8SpozYeMvEUakqy6eu0nT7diu0Srm5eMuV+z5Rj8r/wDBUT/gpR8V&#10;f2oJ7q28OvqPhL4N6BrbaZoXhq3uAbSR54He2m1UEBJ9QeGO4k27njtwxSIFleaT+dXxjfPd3RlS&#10;7keKUYm3tucOS5b1yuQFye59wK/RcbxNLGYeGUZFH2OCirJq6lPbrpZP731fQ/Fcr4KqrGvijjN/&#10;WMxqPm5Ja06XZW1UpLS32Y9LvUzviX8SPEvjXUL2+1nWL7UJby5lvr65vruS8kmZiC8skjktJI5J&#10;LvIS7sSzMzEtXgV/qYMyPtDq8ZWNHJxg4+YjPcYGev48jb129gLT2kOY4SBJNM64JZmJHzejA9PU&#10;+vB4pbZLponW4G5r17aS08t/Oii2o/n7yCmG3MoHUMuecjGWGpUqNONklY+kqKtiZ+9q21b5dCpJ&#10;DIt2JiIyZx8pGHGTkAY/Dr0/OtGx02eVLUGCXypJP3gA2u4GMhc8Djv2NdTpenLNcKm07ID5oZIB&#10;JIAMqMFu/J9s4r0i20m/0+2sZcWMp1KB7mNIblbp7QRSOhW4QEmNmyuBJgsqggYIJ58TjmnywXz/&#10;AK9T6TK8qbapyVrvr3/yPIb3QVEJj8gSXDkESISivknIBz9Mnp711Xhj4fTXMJub4MQJPltWXfsV&#10;erEnjGMDHPIPbmvX9N0GxR4rnULYxFLhhAGTll3nDAdDgDJHqOa0Ne1Ow0iFoIz9ljkgk3bGO1kB&#10;Zk3jqcsBnHpmvLeMr1lyRW7PpKlGngIau3X/AC/I5lY49HkdLmdLqO5w86PLvB3KfLkZ8g5xj5hy&#10;Cp5445fWvHWl6La3TT28tvfWs5iuoLQsgSeJsLGSTnYduCOcrgH0Obrksl1a6lqjxz75NLWztI0j&#10;xK8ik7HLEfKCQS3cq2MZxj5+SC7vZzNeiW4lDsGhztCg/OcE9SSM5IOOPQAfR5VlcKsueu9Fb1u9&#10;dT8y4j4mq4OrKlQinJ/cvQ6jxZ8Uta1d7aaweOwkWylsY/s37u5MMsflTRO+c4lRirDodxz1Irw7&#10;xF421l5jZx3UkBICXW07pRtJAU8+59MbjXp+o6GhsRetNFbTh2WNLiVhI0Qj3sU+XaRuAXk7syqB&#10;wSR816zbzpf3KqCrNKVQjOCM5/nn8j3r7nK8Dhm1FR0Wx+K59nOaVoSr1qrfM9Una3luXW1y6lLs&#10;bmWeaObeTPkhx2G3OOuODxXeeHtSW+hVpEQXEU26XgKXGem38e3THWvLVkkWJBvLNnLneGGVJ6cZ&#10;A4Fem/DTTrLVNXibWdSvtLsppWS4v7HR11meEhW2lYDLCG3OUUjzFwCW5xtr2MVQpU6HtXG3/APm&#10;8BjK9TFRgpPU+lNN0hPGuo+Bk1jx1p3gTTLvULTRNU8aaj4f1LxBpfgqzudQjhutVvLDSreXUr2K&#10;yiknunt7GGe7mWAQwxyO0aVynjK3s/D3i7xV4Z8N+J7Tx7omk+K9V0bQPiBY+HdS8JWXjKwtNRuo&#10;NN1qHSdRRb+yW/tIrW9Wyv40urYXnkTossUldr4d0O7udFkhlgRxHCIpApKKu3cRhuMkZOR34yOB&#10;XGalot/p0iOoj2nPkFrdpI4n3YIdwP7vXj8SK8mEKMqPsuSLs736+nofSSxVenWlOFWSlZXXT1t3&#10;Pdvhvpt7qWjwvG8ks8csiPOybHnVggUOOny7Rg+7Y6mu+fwp4lF4bu3njU2kTXLwtFs3IhwSZM5z&#10;0UBQSck4ABI9q/ZL8Ff8JToEE91axLi4kilaT5FlRWC4U5BIx7dApJzzX3e/7N51mUG2so4IFg86&#10;WXK75wDtygIPXjnqD07V8DnEFTxE1SSflb7j9c4cxFStgYPESav1v2sfmlpXj3xTpEYhvFMdvE22&#10;BGlxFJwuVOASCMKc9QVr3nwV8T4pXE4MmkarEomW3ZzMoXIIl3KCDlmXO0HHbJwK9O8b/s1ajZ+d&#10;LJZSLFBEZEmNoyo52lcdMD73oOTxjHPyFf8AhTXfCni2z061ilv4bmUI5t/kYJtWKVt/K4+djyeq&#10;ZGOg+VrYWjXpT9rHXq/uufpeVzxdSSqYGXNHt8v6/E/SLwr8aTe28EeqTwJqEMSlJJBui1HmPyop&#10;CF2mQB87+AwVjncQW1fHOnad4+0FlRLae9aMTKrOYXhdAXQNgjkZxzgHOOQcV8Y6X4Z+IFvbWsk1&#10;rcW9tBf+TBeS8RTsT8sqORuGcIQzHB3HkMrV7/4buPFGnW/2zWY0miaZIBeNEU1BGOxlWcZO5SyK&#10;wOAVIJbBGF+TxGBlgqixNB6M+ihUp4uPs66Smu3fQ+VtX0jxR4B1CS+sJJY/sok86G3BtH+d1XfD&#10;j5mP3enHygnGTXqPw7+J90QwebT5JJbcW8Vza6dbaY0iBuGkjjiAlZleUMXIbAQbmCqo938SaNZ+&#10;IbC3lNoqyCEKp8vaZi4aVZDnkfeUk9MYwOePifxPoWp/DTxFdeIre2jj8N3MkisI3QxIwTeVRSd/&#10;IycgbeSN2RTV8dScG3e2nmLLa6wNblaXvXuu1tj96f8Agnr8MD8f/iqvhWaZPDOmaN4WuPiP4o8S&#10;RIt+llpljc28Uiw2pIja5lmvIkUcKquzMQq7W/oZ8LeHv2OPhfa6RN4p8RQ+HtZ1mZtP8O3njSe1&#10;8S+I/HMsc0CGHT9BRHku23PFlLGyYpkbpWLKq/yhf8E/v2tdc+AnxBsfil4es9H8QaQuhS+FPFXh&#10;7xLdsuk6vpeoGI3FmxXLCZmhhkjCgnfCNy7N5Hl37dnhj4pfts/tYax8bvhNqPjb4J+GvFXgnQvB&#10;Xh7wV4S1248Sy+Co9ItZI5/LvwltIyXdxPc3BjgWM77l90hY7z7/AA3m2By6nCjFQVdSd1OLaa73&#10;S0+9anxvHnDOeZ7m825VI4H2cWpU5Rup3ScbN3bd73s42VtHv/ZH8T/j1oXwrtbnUPGGqaP4F8BW&#10;t75OneIfiZ4w8Ofsu+CpEPzr5kfiHUYb2Fo/uGJbKSUhcj7wx+Xfxh/4LGfALT5dR0HQP2rfAvxE&#10;1FJDajwZ+zP8PPGH7Z/i/V3EqPst9RuF0jwrbbfLUpPcXEgXC7YZFyK/Cr4Ef8EkvBdrqVpf/EOS&#10;51rVZbhDqHin4j27QfaMsgmW10e3kJck7vnubwKCPnBxg/u58DP2If2bvClnDZ2HhCHxcr7RFp/i&#10;KOHT/ClvEqFiq6FZCK1+fCny7n7QfljUE/dPvV+KcvlVlChBNu/V21XRJL5HzlHgelhMPTni5TlJ&#10;Ja8kI63Wr5vaK/dpK717JfI0n7c3xK+PWuTaN8Jv2NfjJ8ebyadZn1D9qD4m/wBm6NYhznM3wz8C&#10;RR6WttlcsNR1GV22jc0IZlP258H9H/4KNfETw5p0erfEP4O/sg/DOSWZJfh3+zh4Bs/BdzBtkcCA&#10;WdpLLcAI0koXzdTiySWdZdxQ/oh4N8FaD4d062srCxtdF0FoJLa30rSdNh0XSLcQMsbtDbRIsLNu&#10;ljUlQCwjHIwKZ4Psn0228SQwlIktfEk1rEroXjKSy53Y6cL5YJORlRj1rhedZk1zU5cl76Q9zTe/&#10;u2b26s9NYDKndOhGo42s6idWzvyvl53KMXftFJa6bHyj4U/4J8fs1+D/ABrH8Y/E/hq5+NfxnUG4&#10;b4s/Ghx4z8R6XIZGkP2G1l3W1sQxG2TbJMFCAzEgmvpm5sIbm8u5EjicTIIrudI1WSeMlmUMnIA+&#10;cHZ0BJGetd3qvmW9pNZKgLbW855GLIu0KcDHUkLJk5HL9flzXm+lRvpdrdE3s80m2aJTdMC7klmV&#10;m2gcA8AD07ZBr5jM61SpW5Zy01/rz9T6DKYS+rSqRleS0j6P02WmiWnWxd1SfZ4JNtHFEPL8aS6p&#10;Bayy75bq6XRorOzikJOxRHLqHntk42xoMEkk/OH7XelHTpvEtxY3Jgs/Dl5Lbxu0i7rddNsLbSUH&#10;oD5diTjHPmHp2+n7LTIp4fDdm7ySTxeII7tpZXacvJM6Ark4H3yQq/dXsPT5/wD2prWXxTD8RbCK&#10;IPFqnii+0uGSJCrXsVzqrWgTjhS6Sud7YwpY9gBnicVUqZTOnUd03FJekZP7rs1yzDx/t6nKD6VZ&#10;Sv5zppP7l8/kfhv+0va3HhXx34U1XQdVjMOoaZD4X0u2nCXNlcSXVvprCOVZ8KCsqPLvc7VePhsD&#10;J+G/iJ4nbwR8cLjxPoMc2nI88yHT7140kjtBsuAD5WVdRLDIIih2s+0AgHdX3j+3P4WurPQSFEcb&#10;aJrOnrAgT7QYGDTWzc8EbjcYBwM7iRnGB+dPju41HUrDw3OdGjWTQdPvGuIBEZby6tp4A80oZdxa&#10;KP7MWVQoZS0uQGLKO3Kq06tNRkuphneG5IKq0na/3Ox7dffH/wANfCvxn43+Hiaci+BPj5pGmeNd&#10;O1+SZIrfRr9wyIVcZMbhL3U7O6TgMkgxhhuT75/ZU8Aw/Fv4P6hffD23ttR8S/C+1j1H4v8Aw6nu&#10;/wC0zr8+lx3NxpHiGxhG+ZILyG5EMsQJgiuvKbMSTbq/KZfCOlfELwD4P02zD3/jnQ9S1rQ08HW9&#10;g019Jp6bdYS9gndvJlkmjvJtkMbBUjtJWdwGyPZP2Vvix41+AXxp0H4o/ArVdX0Xxb4a0O4tbbQP&#10;EmpQ3MnivRpZi9jDLAkccU7xQJJZ3UWP3ylZYBCcCH77BV40ZJ1XeNlp1to216PW3X5n41nWFlLn&#10;VBWnun0drpX667Xtpv0Pq79p34VeDtG8ZfEKLw//AMI/Z/Dj9oDwZpX7Tfwda0tUtbDwjNf7tL8Q&#10;aHCIzuFva3dtc7Yxn/RHtlAwnPy3NpN78NfF/wAO/GPhmMHw1rujS+G3uLS48zStZ8i72XNncqSd&#10;sgjdLiKUgSHzWyP3YZvr1PGPg/40+D7XxD4e02fw5e/D3xzd6xpHhC6gkurXS/DviK3ng1bQEVky&#10;JLG6iWWB2KlUhXagZ8pkaNoNrfaH41+GniRRp2k3M9vrngPxLYypDc+FNSa5IuWm4YS2kwAMkQUt&#10;+5+Tk5rgzjFx+sy1tGaunbqrb+Td+x9fwpg6mJy+nUjG9alJKUd7wfVd2lbbsew6b4H03xJoHijx&#10;qrvd6DqXgSa5hnsdQih1Dw/eXggtYdiYIkLi4y8RK42SbjwCvzlrmtm0+GWoeENU0x7q4tvEUOra&#10;fds6G2jhS3u7O8hZCDuEwuY2BHAMSHnt9ueCvD+uaKBpN7YaPceHfEEIttSt/Dlm9p4dvbyEqYb6&#10;2GRtOQ7eW/OcqQy5zxPxA8CaMlhczSWen6oFaewUupgkt2ZmVcpgMTHuU5UMDsHUV8pi8U6lRNys&#10;kn877n9A8L0aFCpKjXp35uTRaW5dvR9+6PwQ8d61NoWv2N2knmyeHLoat4furlXnsXmMYj8qWLcD&#10;5bBwDghgE6gZr8+PFME1lqFxA6CGaJvJmMIVrcnA2BSD93bnGPSv1q/aE+GsekzTxpBn7PGdkhAV&#10;pEyecdCRhRjP54zX5KePAbPUZoUYo6Od2QfmzjgH1G089OOteVhXP6zKle/9f8A/qPIY4ZYNYqg9&#10;eVJ+eun5si0DVTCoiMgwducvtZBnB4Gc9O/sa9a0HVWNxAwkUZPyxhhlyDggHOc9Tj2zXzjpMskk&#10;+CGKrhi/3VBHTIz6k+9eveGZX+1xRGViTcLtCqSGPUcj8+enHOaebUIyouT26r5H6bwljX9ZUIeX&#10;yP6K/wBhPWDFp+j+ddJI4iRDFKdjMCBkdMnJAzxX9Cnw/vBJoEcsEjSzThIEiOBvIJBx9cADGc7v&#10;av5v/wBiHTDHZ+HpwWlC20chVBsLMoUliPUgEnqP6f0LeDLn7Po9nEscSyXFuNpCsPJDgsCoJPUN&#10;z6Zr5rhOhy4iq1s+vqz8J+kJRpYvHpw+Ny12tpv8uv8ASPzg/wCCilld22t+E9UbUobe3vNFu7cR&#10;RANfsY5gwVOrKuG3FsjGcdTX4/Xzs0zu2HyfnXcQ69CCMn3PTnH4V+8H7eml+HYfCtjresWUE9zY&#10;6TPbwTiUfatjCGQRRnOMyMDn+6EGcYOfwbvWjluxIFREE4RY1H3cMSR2JG3I9e2Vzmvta0YxhG7/&#10;AOBa2p/BWfuUM5rrpdNP1SZkShPMJVsl1BKsoGwAA5IPB5DdB/EOwqByUYyuUGY1jZFbaVwSwByO&#10;+5h3HvxU4iJdmiVjtzvjLYMnGO5xn5QBnjioWU+ZIHRHZWHzo3yORle/PvgjvWLXs0m/L8XfU8eT&#10;g3JwWuhFIwl3Ekybn8zYrFBkBmI65IJLZHXv6U0uytGAFVmJn+RQjOFwMZxnn1xk5Y96bJLbrM7K&#10;VL7QjbcHdzkdR7Ek+i/UUjKd0fmM67FZd4GCu0AYwBxyTju3vitVbkTqbWZMpPm9pZWEVWlSPEmZ&#10;lTkCRSxACBlB6FjgdsFmHXOKdGZGAZwCC2fNjGDGBtO0DA9fXkr1xUckUQ8ptmREpMTsgMcK7Aow&#10;e2OckY4POeMOOCFAb5gWIy+FORnnJwMY7n+VRHlcuVLS/wDkUoy5kmHyo3yqxUqHLBPkCkAkqMck&#10;gZwcdR6gFYvkDBNrxSZAdtshBZ1AfAPvjJ45x2qFgIlDRsCQNx/hAXIA464IUg9Rn0walYZcEkBU&#10;O4sCQiDIcdPpjjvTSqc7a/rQySUXb08vL9CbcgQMEjWUAIqsokBI3HBx1wAMj3/OyoGGLeYEBEeI&#10;x8qngDgHA5+vJx9K8YicgAEtuwhJ3BzlgeAc8ZJ9OR1FTwyERWzvtRpFVyoO5WOAcEY9cYz/APqf&#10;Ipe9t/V9C1Uto3p/X+ZaXCgrsUhgxKsTgZ4GOc4BIwOenORmrXLh1OCRtaNlOC+A+SefccYBGeQT&#10;wKg8xQpCqCWZMFeOAQoznI6Kc849PS2NoEjBmRGiYKUBZlJXjeMEdQPXoc+6/iuy0YTpRSU27K6W&#10;g6PG7d+8Yr8oYpsMhJDHHY8dx3J9KNrKXjfeFxiVC3zZ7HPYk4+oqUvGzeYqiJ1BXhjLGMu2NpJz&#10;gKVAJJ6dckkO2kfKEVH2fu1JCggDOc5Ppxnn86mpFx+Da2oJKUUk/wCv6Q05YDcQYVcck8+pBx15&#10;A/75pZmLqMk7SCdvDMR0GFznAwB+XocL8iSsgaMZYOgDbSRtO5fcA4JIxRsJCspj+UgfOcyJtPy4&#10;9upxn0wTTcdU5epopK7lT+G//DleUSIpAz93K8ZYsQBjr6k/TIpobiVUO4eY/LfePPXkDv0HHXoO&#10;RTpFRjI7OykSMwRv7pODx14H4HjGOpc6g7xtyqOUVgpQttOSwPT+PqPU8d6T5IPmns/z6GMotyuv&#10;Rd9LEJLEKWCl0XkFApLKyowGfqTn0U9c0Zb5FZdjOCANm0EDIx9B8v8AQd6e1svzPtQupX52y2/n&#10;OCTk7uWxyev4UwrIZZSW8wLkLvcEdRwT755JPvWrUXdN6/8ADCndc0uu4wv5aumFOAuEmOQo5BCY&#10;B45Y89SB0AqMOQp2s24Axzvt3byDtBJ59AOODjvyS9lwwAwoIyrO+NpJ4APsPw56VFIknmIw2hQu&#10;088MDtYHHJ6lh65HTGMzdpLmd7Im0t9r7EhKhEZ9+/bsZnXaApGBhieSST16fLyc8QTKzBchihcu&#10;20gLkDB3ex68dz+FSsxLNDsZgMjcCXKBQc4x2wDz/SmOryK24GEMuzgHjA6Hrg8k88cVUPctLqbc&#10;rSUFr377q/oBwPMG9T8u0Bdsy9c5GcncOOBwMAYGDUeG248wxqSEKMd/zEADGeck9+mT1FPXAZAy&#10;DYFZTjBmc42huB3PQHGcHoCCQlBviyI18vylVjvKtlgWJUdNgQADnOSDzwpOVrra4pwg42W6f6jJ&#10;FbeSfuq48sNy4zng+vygenQdM4DnThCqYOc/I4IUeoyPXAG4fX3dIq7vk59FcYZgVGNvTkKFB/3c&#10;4xxUAdVLuvVVEfln5iMZAODz6j1/KhvdRvfc541FGbjfQuMyoVVihHl8DYp3NyW3Zz7DHTk9agBP&#10;G5QFMf3T8pXHX3HU/UGmeYcoSqpnaN4ZmYqRnIwQM4AIPfnigKGjUu+7ZkIpyQRyuOxPbnpwe2aI&#10;Q1aldtmznOpG9uz/ACQpV2d1RmLSOFRTnO35QMHHfZyBjv34qNgSzKisjBmMUeQVJwoX5VPU7U6c&#10;gflTzIxd03CLC5aXbvdd2R056dfQZ7VG8YDOVd3jI2lmz5RDAAZGOnXrnOR6A04tO1xUklL3t9wZ&#10;CFVcxoxBHlsBtGM7QT75HI546U1cOE2o0JK4WSTA2rnIyOnG49/x708KmRHvZztJ3MPuBRjP47gP&#10;xqF9khVZcR5XKosnCdVIJz0PSrcru99f8xNSbTS13+WmonmQn78kqsPlZY8MikcYBz7UUoeXBx5Z&#10;GSQzoWZuTzneOvXp3oqLRvZy/AhzTdzydnZyGO6OQMXDbPL+dm6KgwB+Xbrxy1EdFwMFZGyi7cgY&#10;IYjf9QB9D70RbSQ0qlnI8xgASBtLEcYB5JJB6ngegDfMBDBiEJPRhgHgswHPbb6k5CjB+YiU4q8U&#10;9Pw3MF7rbtfy7eQ4cqULhTKu1SE2JJjqWAHHAxnnJbPPOYnbAVGA3guItxIXjBPBGCPmPA6FuOQC&#10;AzL5ccZaTdC+0PJJ5YJXfjAxjAyxzjsPQ0kkojiKSlUTJZgmEZiNxGe4Yg4wex64xhyaitP6ZouW&#10;yjDfv6b/AKkczhsOVdsRmZ42BQ5+5kjH8uAVHPQmsQkO/cE2xjaHkIKksWD8AZ6DBB4wRzxzYLFX&#10;Xe+4MglB2liAykgrnr8rA/y65qFtruwC5KpgpxuQfxN7DnHPbvTlTagr+Q4StUT306lVgIwRudgP&#10;lQXCh2U4KgAdu3H1GR0pSoVWAI6KVzESOMsc/QnpkZ3HnGQFjVjjGSrAq24j5QHIGR3BwcY/u880&#10;hEbyRhyJIGcZBBWNyo6MeMk4YcEYz3oSjGXLff8AAy9p7qqRWv8AXUTYGbOCB8yAAZUsNw4wOoIc&#10;YHcY4qWQHazgneQFYLkyso2ldp+oBznjC846PjVnO4tsG9iWY/vVYE89OdwGcjI5HfpCAEdHZg0Z&#10;+R4ivyKSRzkDccjk8n7owOc0SlpaPTX/AIYlUlBKafuoeA7FVIZkHzqjZ8ssoJXPudxBHHEn1prG&#10;QsCg+XO85O3OPugDGOmcnPbpg09meUM6sVjKqpB3FBwBtBPPUkH2GTwaedihgRsI52u5VBgEEYxx&#10;y2PqMewcU4pSS0ZvUUZNOEtO/TXt3IS8hfMcPCqwAIxyd56Z54YAnH8IBxjm1sVE/wBUCeQ0bKrI&#10;+R0BPIBVQeueozUall4IVnV9jYkDRPlQQfUAEHv2PHep1kLAK3JcGRvl+dT1J6dwpx15HbHJK/O2&#10;np+L1FLlikpf1sMTcJESRciaTBIcbhkNksQMkDpjnr75qxsAhSUL0bNwhchQMoRnHGOST16E9KRX&#10;XklncFDGUJBlJA4AbHB3KpIGDgEZwTT3hjKiQEBTMyygHJfGFz2wMAcDP1xg1nUTjNOWxryRUtdb&#10;/gO/ejYyiQtysj4Ab5snYeewP6etSQwjCNvRGA3gM21jjGCefUAHnnHqacrNuSUt8nyYVOjEsRgk&#10;424G0Y6ne2MYqRSpLA5HmACJVGeivnOffB55G0HPXNTuqastyIJOW+iez6dhhO5iB80rBUHlnKnd&#10;lj3JJU5XH0I5ziyE2M29CVjkXaV+aPhQHbuD8xY++B93PDAA20AAIy5T5SCAR1IPzYIO7kccGrCK&#10;PLlJCuZAWYrvVI9zFsDHQKQOOmGUDjOIdSMtX2G3Ko49Xv8AcSxQPI0Y3584LGAuJGQMzKSUII5G&#10;cEkdAeQaWNYSBJk+XKoa3dSWZw6hi57DAB+XqcDAycU1AFOI1ZmjO8MBucKxI5YcZyV/M+1SptCy&#10;D+KMbVO/AbHQvnIJ4POCfvckEAW3zpQt/W5fNGcVDrq9e2lyb5CysSSiyhkjUYII+YHnPUrjn0Ge&#10;1WIEkG0OPOmCqspOFJIRFLAfw5Klj23O3TpTEjBjiYEmRogZmfKABmyjnnkkZYk/7JzlsmyqSKXk&#10;iiBVG8zIXJVd4C4J+bHIHJxkjrWDSjL2ad/+GJSTimv+HBUGxkdmSMYMbNlt2TljnIIOVQ5AbIzk&#10;DgmUBWj24JDK+YwOVxwM+mAwOMdiB0NOjRgils+WjZMTKfLJxgsO+Oo69jU7feUplkEoYKwTPGwB&#10;e3UKeT13HmiU/eSdrfqa1ItRs9b9O2zGEDfwzByETGBtY8fe7YC4HToMn1qVV3AgxhMksQqfO5yQ&#10;STnHU7snJ4PPJy9UDguGUlSCGPEhyDyD2z8w59frU7gn94CF35GHBDlTgAkjPoeCMfMeuBTd+a/d&#10;fmTyvk5YvXf5WIgAmcD5XIIVwEAGc5I6g89M9T78zIXPk8NJIIFdipMa8g/MQccE7SGPAA6c5DGK&#10;MoyF+ULtXeUA3YZieew28jnIIPAxT1iUZkKkYXy3YcFeApAG4cEBeR03HAFEU5O9tepk04r3dm9y&#10;rqt1HZ2U9wFBdHzboSxBckBdgIIyGKjgZ+XPGCa/CP8Aarv7RPFerQww/wDEzl1aX7feMcNJI4DF&#10;Fz12jjOTwOpr96r2G1kXfcxl1hZZ3OGdY8DDSbOpwOccnAAyOp/Ab9qiyF741udZCCCGTWri0khZ&#10;hG0bJtl3bfZHQE9ya+v4L5XnkVJ2Vv10PB4tnUWTTgldt7ei3PkLVrifzWBJ3RRqBtbIJHrz/nNQ&#10;WsbSO1zhmRYzknIG9v8ADbmrGoiGeKKaMorSOEdcEOMHk/iafcJ9jtoLcMEV/n4GGHJyf6V+90pN&#10;07rTW39fI/BsVCTk3F6WW39fIy2u1/tJOpjAVNp5IBHp+VatzO5UxqHDu5GDw2AQOv8AwI1g2EXm&#10;3yuD5iB8sV+9wen510UweWUQHLGMbG4zknuT6dKmcbcsVroOHNdyXl+VjLsoEuL1f9ZgzgMASwcg&#10;gZ/n0r1rWb6S2llsjGQoggnUBQ3kMVCouPZUU/8AAq4bwzpcZ1aLcwMZvE+WNNx4YM2B/e4OPTAr&#10;W1G/k1XXNZuGYAys8qnYAhG8oMY6DA4HalVUJzjCWy/4BphY1Kam2dZezQ3EOmWcauBZ2H2m7JTI&#10;Mk0u6PGMjoM8f3sVxHiyGWfXktWkTzVDNK0bAgKApOCPQIenvVrX9RxqlgkPmLG0dpIygbC4jgWM&#10;AnJznaTz3PSk8RbFjv8AUZQqTTxxxWvzb3AZVLlvQnBH51yQThJVEurS9WdN37N0fJa91ozkbuX7&#10;QJp1ZVVZhFEu3dlFUYz/AFqpHMyEREBiF+8R6jkZ9TzUN2jC0tHQk5jLOqc4YsRu/EURzK8YyxDI&#10;wOSOjDOR+Vd6Tin1scsVGdmtG0n+RtRXpnEhOFcAHaoAUqRjB+mBVixkeynnuDhTbw7oSV35d1AU&#10;5/rWTBKFfzRtdshXRxt3rnBUf4+9a8jqltCg2+e03ng/eHl4GwZ/FsiokopteVjWFR8nvPVPf5l/&#10;TL9Fure4lVQRGgcLkEMpVTx+Z/DivTrKCPTPEdiJLjbaa3BE/wBoDARSxTr8rbx/dJyMds456+Tx&#10;QJIhnR0VlUOAMgS5wMfkc/lXs2srp17pnhCWAPavL4ejaSVLk3UkNzbT3FvOXDcrv8qNgoxtUjsR&#10;XPWS2tre3omjanJxlan1W/nf/K56JZ6munanb295tHkXcbzOG81o0Aa3uNoztIP7uQY/55DBAJq5&#10;4gjdZPE4MbTxapYJqsUcZV4lmtf3rmPbwfkM6gHH3AcYritUbdp9leRussnkoZ5CmDvDlHG4eqeU&#10;2AeNxHYmu7jvrO50m0nt5pYVWzFgbmX5mlLR+Uu/HfCiJj6O3HOK8icLap3ez/A+gpypyl7m1lK3&#10;zv8A8P6ngF8sFzNZhRuMJhs2ZyDvgEjYYD/ZD9OwUDoOLPji4k1PxBHE0YYS3KL5w/d7o4o44Yzj&#10;sAkSDjjCjngVNrUH9jahPaRnzZLLkKYx8g6MGHtwMmn61E8lxJqMEW5YUETsgDiImPfuZByBtxyB&#10;jnp67qbm4yk9Fd/N2MEmnKKVtvuMG7vlvrItGrhluGjiQYbZC5VlVmPYbcc9PxNQRyYDRqDIF2ny&#10;yvyTOo6+2MgD61n2LE2jysMl8qyquAQGypH4tWjYRjm5fKmMDy2cYUlsHIHTPH6VnVd+bmXmelhb&#10;zcfe1W1/mzZjjdJAZMLLIhddpz5YyQAV7cZwOxq68zBBER8xcAEDBOM9fqVAz+lYySNuLozJuYBm&#10;xulmOc8+g7/551IJI+VIyg+VSyknHfoM9ya86u7WTWmh9LhZ1FNvZttfeXgjtlwdsjDc4I8xT35+&#10;g9KejGKWMkLhl8sNtwQCM5HpzUsQeEcsnztlAOo6d/piq08ZBX7oVl6Z3KDyCM5z3H5VxNpyt/Xo&#10;e3ytUnrq9fmXi5xvKkGPBYEqp3EYOD+IH51pWspcrJKpVVUhGx82ONpA7dDiufuWk8lCjASKwaXI&#10;G2TryT/nrWrp8nyKHfczS4MhBZhgY64x68+1LlTUmtDCErTioarfy/pMu+ZvcKPMBRty5y0nJyB0&#10;xjBx681dDpDnzJQzsN6qqn5c88+4x+XbrmhcqYAroRuEu5HGWLAEH8fz7U8yBoneRSGEhT7gPXp3&#10;6dAKlJcyt/Wwm0qjlBWas/x2O00uNXWFt+1nfCqxBJzn6AAAjknjPPt2enwXdoqSW+2BGkDPJI0a&#10;XVwzEbAik7jk5HyjqRnoK8/026njSCBgAHTcCoBcZVh1+jA4/wB30rsbK5mXPmBnZuYnb97Ivo25&#10;hjIIz6Hr7VwYhKTcPRXPewfvSvdJ7+j0Oy0tZlSS7+yzXFvCpP2q9AtbbPyqxZnK427lJDdCwJG0&#10;irl7fz27xMbqOVLdSrPpTq1vGylmyWB2nByS3Pc5rEs2a4huQ0hBnmYPul+RVG1xyQScYTB6/IQc&#10;11dj4jSzt2jtrW0jMTobW7METyKyHcszAphmBPVj8vTJwK8nE1Gvca0X9f8AAPpaUouHKrX6X7+b&#10;M6a+uRp8d20Mc6XyeXbXE0bA3OCS0iuCNwALA84PvWdcwzXwl+zznz4ol8uCKx+WJCNrE4G7OWAH&#10;GTng8Vt6hPNqpV725v7y6LgpcXN0928y8skcZkbCICecH+I4XPWaLTbKOBrFtZtpheqsS6TZykX0&#10;0pACKx2hXw7KPLTcSUYbQdrHjjBufl/w1jvjWtFczs1v6Pp96RH4YZo9MnsYbua2uNciM2oPaMDc&#10;SRQM8UVtOwOUhwJ5nznflMj5a9S0vTbyRbTwVoegadq/iXW7mOSW/u4kuZtPhUMqW1q0reRAW3GS&#10;adwCgUKHRPML+fW3hu40xop7u70tRKqssNnrdjdyKgw+HWGd3JygO0r8mMMykkVqu9/qzm28O2mq&#10;X80vmfaIrlBBZ7QWUyzeWWAXa03zMxUcA5JNauDnNQgtbfh2HQk5e89ls33ut+50Gu6b4Z8NWFno&#10;Fn4hfWPGf9ptHr39jLJqOhxphCFF4pEUgiZmjEcCPvIkZ5lCxLJ6Bd6jpejWkWmwPY6vq9lLEq2N&#10;xY+csspXMs17KDs8qEukcViiEzuJpJ38tBHJ5DN4cvbW9sdHlvtKtL21tnS+lslaDTrRyWILsPmm&#10;EW7Jb+9EpHRTUVnOkktvaaBBdm20uUGXXLyE2lpE7eYqzyrgneEWcqMsxICqoO5m5pYd8+rV79F2&#10;PaniIzoJu7ikr3fW6/Psj2c3Wo+LNUfRVkm365qml+ELLS48FryVrqOad2IXg5UOcKTGhQcgFm+w&#10;7vSm8FLeeGm8Q6gdNFn/AGN4Z8K2FzLo6X+mwSGa51fUbjLS2sd8C2AVeV4rlykSeaJk8V/Z+8R6&#10;N8KPEf8Awll/p6a5J4S0TUPEjnULdll1G8Szc6Vptsikv+9nkt5bibcrmJFiEgLqafraeJI11vX/&#10;ABBqNrNq/jyCeLxDquoKZ9X0yx3rJdReWpSOKW72TRKhDN9ntyAqI6lsanJGEVTXr28v1PJeKq1a&#10;3LN2irWX82zv5JJL1ul1N2Hx74X8MXGu6r4Z1uXUvEPim0ZNV+IWmae2nBw1s1tYaP4bt5P3ltaw&#10;eXHGkxCtIbVF2iPIb1rw58LZfB3gPwZ4i8Y2H9sa34y01tM+AvwZ0+9+265qUczP9p8R6pId3k2T&#10;OmEuJf3l7Ja3EkX+jW0k6+c/s+2Pwl0bUR4i8f6l/wAJH4oW2lvfCPwz12yb7PrFwmxPMuZI42WL&#10;TrNHQNvdDcCOYKEQTtVT4xftKTarrWu2/glIx4h151g8XfEHW7OHX9XvLVcxtFYzSoY4oZVijVLW&#10;BFhgt4rWFA4T92+XkpqEVzVHb/t3ul8+v6nHPEYjEVp0qPuwi7tt/E/zsr/PZWOc8QeJrH/hILyW&#10;xRPFUOleHrzwfp2oadarb6bf61et9k1CHTQ5IeC3tFMcU2fMcqpwFZWHU+M/I+IfjXQfA4v5LTwF&#10;8PtG3+JTp9ybq2lS0t3utTijC4RCbhvs/BaSa4dF+ckisSO/03wvqGi6SLm31HVtA0Wa+1DTYYY7&#10;HSvDs11GkkzROES1hvWQrb70XZbiIgAyN+5xj8R9K8D2Hl/D99Z0u2htFzd6DqXn6r471K2JktrS&#10;1ZgWNrbu00hnjBLvJ5jAt5UYIzjzQclzOPTu9bX+evnoedicT7WV4PlduVdLJ7v1f6s+jdB+J+ne&#10;J9XudAv7HTvF9x4n1Ua7rPh63aWx0b4XwRiCPSNOttUlLR2S2ccFoCgUrNMgZoX8sY978J6v8H/D&#10;ESW/wy1XxT8TfiXc3ki6v4k8YXEZtLKXfIdujWVyn+nupKxxPHHaQLsQMr+W0dfFVr8a/GN7pkEt&#10;r8MvBUWpw6gGtNAk8OWXiPxBqmqu4lHliKETzXgMgklnclodyF15VT9LWGiftU2/hvTfEmpeD/D/&#10;AMKfC+sy4ufjp+1Na2vwi+ELSIS8g0vT7gi81CCH5iLfTLa8kl8uMbFZlSoxKxlWXu3jDa67/wBf&#10;medRlh6b5K80/K+nfXvpt6HZXniCbUJdcsfivJ8TPCCpD/ZNz8RvDeiwzeKdNaExqdL0CF7mNLGx&#10;t8pHI1miRQJuMfzKzx/Kmta54I0zT9QtNCQeLxe6ymltrOq6urWmlLFHNBaC6S2SAQQqksuISXIU&#10;yEiVg7HpPijqPiq3htvC/hrwl4n/AGnfH93HIjfFCx/Zzn8K/BK3cglB4Yso4ZNR1CNgYm+26zJp&#10;wbz1UWi7SzUfC37AH/BSP41pYS+CP2LfjFqE97GtlZa0vwts/g14T05AvlZm1DWpdOimjG0bzZpI&#10;CQ2WBG1po5PmVacXD4VvfS/nftqOtnGUYWnKpUrRi+11dfL8f0PmfUDYyxwamfG9jO1u8ostMtbJ&#10;JtOumHnpGymKVk2KxilEKpgmQ7mwmxvGNe/sTSYlXVr+bWXE5vTcWOnGKR7pmdy25CwO5oguJXUY&#10;YA8ZFftNZf8ABAL9u260eyn+KfxH/ZB/Z+0W3tPO1nxd4++LM0yaYkobz0s7DS9OSzd41WP99NfD&#10;JLEFiBLXDan/AMExf+CU3wLS4tf2kv8AguV8O7nxDFOV13w1+ztpOkazc2gcnbbs6T61eM4UqebR&#10;CN5UnB3V7NHK+RpSqwT10jq+nRHk1OJaFRqlRhUqLe6i7P57dz8JvE3j+fe0OnXd9CREEe0uHbUI&#10;thA2xRxKNqhN5ACr1JOScV5/rHi248NRxyapObTVLtBHa2q2wiulRiTukjIDR5wSBIASXzjmv3M1&#10;zXf+Dbn4NW15DF4r/bm/a2v93l3Bi1PxB4Ptr6VVTLxvFH4eg2HHIWVSSx6rhR5TqX7dn/BCTwPc&#10;SX3wp/4I/wDiTx9qMqyyNd/HH4qX9/p7zsj7PMtb7XNdb5WKOXyA29gYjgMfbw+AwkKSbU5ekbN/&#10;e0cdfNcxnJezpKPT35pWem+9j8YofjENKuYbma+t4JZ3KwQa1FZTWhAJy5huMwn5mzmRSAQST0ru&#10;vCXxC8W/Frxpo/g3wPcf8JL4u8S6kun6ToehXEMcU077gvyRbYYoY0Du8hCxRojOxVVJH6dwf8Fo&#10;vgH4QjNr8IP+CSX7FngQw3AltbvW9P0LxNeQsqssRWWPwnayrj0Mp+71B+eq3jT/AIL4ftNS6Rp2&#10;n+Afhf8As3eAFlsnOr22gfDS9h0zT3ZtqQWqDUY/MCxxoWeVfmMrDywBXXUw1BKMVhZeV3G34Nv8&#10;jgo5pm8pW9rTX4v8jwPxHpvir4e6JN8LfgtpnxD+J3iLWrP7F8Xfi54Y8A6/deHNbmkCSTeGvB7r&#10;bAtpED5FzqWxZNTkQMQlssEVeO23wA/aZu3WXTv2ffjneGUELJB8LdbbCkhgR5kAZuh5I7GvbNe/&#10;4LRft6+JbGG5i+J/g/S7y5uJfto0z4aWMzWqhkEaxteG5Cq3zZUErgAFa8xb/gqF+25rF01xcftA&#10;69pkhkBY6P4T8NaK4ZDwUePTQxAyCAScEZGMnPKsuk5OpOj+P4bbdjuhneJjBUadZJ+j182dbp37&#10;Fv7aupKk1n+yz8a5SyNn7R4WXTpvvD/lncSxsQNyLkgfMwB+8oO8f2EP23ZfLkk/Zb+KsccwG0z2&#10;+mWwjyueS94uDhlwD1z9RXC2/wDwUF/bM1GWbzf2o/jET91La18QwafAilixEPkQRlPmLH5CuCSV&#10;wea0Yf25f2vIvs95p/7UPx2tri3CRTWEXxQ1a3sZUwiK7os+HkJ2ZDKcgEkkZB46kIUY+9h1/wCB&#10;PZ99DZ5pmlSC5cRHf+W7Vn/wD0S1/wCCcP8AwUL1If8AEr/Yr+P2uIxGI/D+i6Zr00hYAqBHBfu2&#10;cdMjIwOK5DxH+wl+3p4Sjnk8UfsKftkeHbSyjMtxdz/s4eKdTsbdVyzMbizs5k4A5y3HHqMs0P8A&#10;4KL/ALe3hq6+0aP+2N+0fp8q75GeH4p39yUyRnaJWcLuJ5wMNkZBwMe9eHv+C2//AAVb8PGCWx/b&#10;v+NUiwsIootdtfDHiaLHXD/btImdyTnLOxPOAQAAHGVGVqUqFl3Un/lb+txyxGfRcZU8TTas9HFp&#10;/gmfnX4rsNe+H17Hb/EPRfE/gC73FzZeP/DmoeBr6VgSRmK/hhbqG9cndjpWRc6zNfSTi2vFura5&#10;uPMFwJftUbI2WQl+QRhlPoc5zyK/aXSP+DhT/gpiQ1l8RfiL8JPjvodypSbQPjL+z/4Y1awnidgH&#10;jL6dBYko4UBvl57Z5A8Y1z9vb9nD43eJZdS/aO/4J2fs+6quqlv7U1H9ny7uPgV4gg35Uy2DWyZi&#10;bJ3DM5H94SAYqX7Ju3JKOq3s/wAvvOzB47Nm1LFqm3H+Wb6+sUflZPchpd9uQgVR5rMdmfm+9ngA&#10;dsZPI7ZFa+hteLPEbdwXkfDOrCMgkZyCcDrnrxxX6l6x+zL/AME5vj9p8uq/sqftcePvgD8TnVWH&#10;7Ov7dPhmzt/C2rTEeYbPw98TtFja0GCwSL+14i8m0GSSIsqD89vih8IPiR8FPGL+F/iR4bufDkiT&#10;tPZajDJHq3h/xDbk4S60zUrdmtrqFxhlaGRiAQWCE4GFWNN/uoNS/T5HsYDMVUrcypyhJPaSt5aP&#10;r5NHpXg557i4+xzXEcabUDyRuHBztx8wyOQVx9OK9JiguWnEUcYnubV/9YV3Fgw2/dzx346+44r5&#10;98La7DaXJiVzsJLPJbjcxBUHgHAz8oGCQPevd/CniiKO9F3dLCNsQgjQkMskhVAWbcOm4s2MYwMG&#10;vn8TDlfJKOnc/VMrxdaaXs97LT8/vPUPDEby6rDbu0yOsqSFX+Z415OFznkMc8DlsZ7mvqewsdIg&#10;vbWSyvJJ4dRgjknhlZJEicoN75H3VyU2g5POc84r5g0l/MvRfpGxdZTaxGBiWk3fKu3kEHKgjJ5y&#10;DyBivoPw5o0s0Mdzci7sPIZPLleEzRx56FhjnLEZxyenfFfL4tSvy0tpNfLv+Z93gq3PTjzNxaSV&#10;vXt8z3zQZ10DVF/s2/eZXQTPAVEcMe0DowHI4LHPXcAOhNfY3gDxvF4v0hdDmvb1IIJhewCMLJbN&#10;LCVEYMecfMm0FuCA38WMV+f1lpt3Hby+IW1WG6trZQVtLpzazSRBiGTjdksRIWG4YL8HjNe//DHW&#10;rTRbiS2tjJNE95F9lMaNLcsz4byVK53ZxtIJySAPUH5nMPrVJtwWkuivsz6nD06FajC8rzjbW9n0&#10;/wCB6n6g/Die4TUrGaeCe6tI4w7Rq8koO5TGQhjA5+cDA+mWORX274dl16do7nR/BnirU9Jlt1t5&#10;jF4bv9ahsDIRsDkITEXcOQHZWIQ/MQCa+XfgFp3xfe2VtP8ACVxpH2uz8qZ9VZLCaFOWJUAGXayk&#10;k8dznkkD7q8GeGPixFIix+MdPsVu5kdorDWNRR9QRmKib5Y0QqNhyxOewBzxpgsuxmJhFVqVRbvZ&#10;J36av8j5nO82VCcnCrSvGy1batfW/Ls97P57H0B8NLrV5LeOw1/UtR8OwPbiWdr2ARG1fK7T9nfk&#10;sBIy4Azz0IBr1bTLa3vJ5dG0rxVb6hb6bL5wnuQsUly7sWLMzyY3MS2TsXnAwQQR4VpXwd8bPdtF&#10;L4x0LXb+S/QW6pDLbSzFl2uoLyl2ZSu1nKY9jnNepWnhj4laadN0i8tJFsZrhY1eEhrJXkdA3mui&#10;k4+UZZjhQCcDnP3OAhmWHhGlVwspRXu8yd36Np2XfqfhvEKyjFYmeIwWPpKctXC0YpO1+ZKUeeTt&#10;dW5opa9d9fxPoVlK8d1c6sboGNLuUWw3iyRQAxcswVpBljtJHzMRuHbw/U9OSdbiGTLeYjQBpJMx&#10;qc4kYAc4KtgZ9Op616rrem3dna3kepX6NcKJYDaw3EeGkgkAaNwSSBtZiCAu4Rgjk5PiWqaq4Uje&#10;jBojIHYeWwfcww2OOwPHGGHHauTMqs23GvT5W/O76f18z0eFKOInQ5adbnitE7WVvKyX/Bt3ueD+&#10;DvgPpPxp+Pfhbw94is/tfhnSIZPFfjOzb94NRsLEp/ojjrtvLl7aBkOCYppe45+Bf+CwX7S2rfE7&#10;4i33wT8HXQh+G3wd1YQavb6fIq6P4o8UQ25guXcLgNb6PHcQ2MKcKl3HfN8xSPZ+rng/4jx/Bj4d&#10;ftM/HaKCG7vvAvw4nutGjuUzDf6hbQTtp1htxn/S7++0qILgEuE6c4/nN+OuhzeD/BNxcazO+pa7&#10;FHKNd1a5LSz6vfzO9xfXszAndJcXElzM7KcMzk8ZJO+KqPB5BhsHh3Zzk5z7vW0flp+D8zmpYWrj&#10;ONcTj8R70cPGNKlF7KclzTl5NLlXzT6Jn4o/EHXrqfW7m3uUklitpnEjSZMcxDqZCBu4yA3K4JIH&#10;AGAPmXxdq7tcSjTIvIt3YxupdpYrfy0HALksS2AxzxnoAOK9v+IZu/td21vsdmmNwZpBIDc7tweQ&#10;KckAnOACQOnSvni80bW7mWYQpPPEsySSxxkmLJDcbejMAZBuI455xk17GVU0qcbr+tx5lz1K7dR2&#10;T77LY851XVRIht2gJXflplBLsTtycDgZOO2BWho9qs7ERxsrPL86FRkEncF3DoAAeo/U1tQ+Gri4&#10;e3uGNmts032Z7gTLMskhRisSgHgkgd88HpivVfC/giCKWJjDKSCWcgERnkHPtnI4Ppmu3HYl4Ony&#10;1N3sVleDpYibrUppxTu7O9tPwuM8LeGpbp4gI/KeQhQ7ZCDJxj05wenYe9esWOnWeg2kf2qSAm4Z&#10;gIJkMjgHgkcEgAsxP4Yzgiq2tazpHw/hJuLuziufs0U0Mksvl3ELSGPCouMl1Bfgejdhx87eJPib&#10;BqWrakbS7murKSXy7CWf92YoAWKNLjKhmBHyBsDsTyR5VDCV8VHnje2/+SR9HUzDDYa0W7eXVnr3&#10;irxZbQxRSWsgSNTIjYDEkKzDI3c/3gB0AGe5zzGi2ja3Kt/qLHYEDRxSDc+dxZW5HH3eM+1YNrLF&#10;epFLraLDdNIYtLgaQRyrGhBkMsR5x8xxwCWcdNuD6poOnwSxttbO/aFkjG0MDgAg98bh16Be9d7h&#10;HDxcFv38zzMRWnXdpRfL/wAAfa+FrfUJzNcxSR6e8ojjIVY/MUkK5QevOc847jnA+UPGOjf8I34g&#10;vLOR1WCQLJI8bmRI3cLuRHIDHbkDoO/HJr9M4dag1HwzaeGo9PsIU0uea5iu7S2MV64mWNGjkkzt&#10;ZQY1I+XOWOTjAHzh8TfhtDqME91DCHuom8opwIJshjvLZ7bSc89R6c+xk+Ni6jhJ2i7ffoj4HiHK&#10;XiMKsUoaw6b6efyOJsvDfg7xj8Br6VEmbxh4I8aLc3c0aYe50fV7S2hi84rxiG8swh7j+0cnjJHy&#10;/wCK/hhHqr28tgTFctCFVYYC4wWGFbptI5yTzweK+ovg/wCLNO+GvjES+J9Km13wfrGnzeGvG3hm&#10;3lW3u9d06dB9pjhY8JcRlY5reY/cljQ8APn1e+0PwF4d8RXC+EvF1r408J35lvNH1S801tL12OCQ&#10;OYYtQ0+QkxXSFkjmCM8WfmR2Vlr6yOIrU3GpTlotLfgflGIwlOFKdOrTvKXvJ9tdn934s/OJ/gH4&#10;t0+4msdY02ewliihuJIbiF7a7hSeMTQs8bKCokQq6kjkHI4INeq+D/hjPYJHb/ZpRH5QleVYgDCA&#10;wJk45x2ySOvPv9jaHolhZare6iDFcW13ZRyPHcEuQSzB1UY7lwvHQqO/SP8AcGY29np8FoSrrsgd&#10;pI/tIfcu0k7gCN5PAHA4Ixnrr5jOcVC/X/I8vCZfGE24bJ/h5Gfa/Dy7tvD8Yt3ttjWyrNHdSR2y&#10;SMzhnZMsCzgkYVT82c7cA7cx/hrYaxqWi2Ws2etS6be6pFaXt34a8o6ta4bDJBG5McjncvyyAZ5+&#10;6CCeykSSzsJrme8uQ5lEktjLIJLcDG9ixZ8rwU2oisP3hPygYP07+yt8OtQ8XeKrLxXqMFxaaTYa&#10;gbxBOjRrIyt5Yc8AhuOCuMbiQdwGMFJ0qc5cyXX/AIB6uFwGIxmKp0qcW7v+rn31+zN+zfovg/Qb&#10;jRTZ6lBDYwyJA+pwb9aADsJPOMRCCTYNrFSF3KxHBFfdWheC7JNLC20EdssEGGvLlfKjaNTukkfO&#10;NucHk/KMcg4rV8CeGvGGsCws/APw68Tatp0sBju/EyaLOPBelsu1ZW1DVnUWduqbyzebMGwFJAFf&#10;SLeKPhZ8KWt7fwrFp3xu+IVkLdx4q1+znsPg54VvEYLEdB0ExR3GuSxsCzXeoulossUUkUUuGjX4&#10;nE041q0sTjKvJSXfeXZRW7t/w5+x4TAY1UqWX5fRdSo9lHaKWjc5bR+er6Js8T1H4D+G9J8Dj4lf&#10;FfRdd0/4c3LyxeEdEadfCHj/AONd+sMci6d4ehnheSKwja4jmvdYlh8pYVbyjI7rt+M9B/Zs0z4g&#10;eKX1Sbwlo+lROy6PoHhzw7pcEZtoJb27urWwhCL593KrXssRuJt88xRTI7PX6E2HhTxv8a/iDNq9&#10;3dweN/HfitZ7rWvFHjXXYdG0jToLW3SWebUr5ImENpbxQpm2tIQBsREjVmr1v4dfCO0U3ljrjeDv&#10;FOqeN4mW1Oka5dahrosoknVUsbG0MS2MErFCsjx5Bij8x49jBeHExdZU4UY+zw+u+rm9NXp1urLV&#10;Lz3PrcvrU8hoVaVWqqmNdm+XRQWvuxV9bWleTs5W2Ssl8kar+yjpHgg/YPHUOjtYR2bx618P9RDj&#10;XLONJYoWtpxHHII7mTzlKIxVgtuzb0yyj5pj+Bng2z8KX1rqFqstxfedd6BC862+oX4N1Lbxm8uX&#10;BDlPJZEj27f3Rwwwd36BfHT4Tan4HuNI8D6JqEupXNhdR6dd6zLeXcM4cQRqsUcEweLywAZFlGZJ&#10;d43OfvDvI/A17onw8tbTxPYpeLrFtLJbtLB5cnmRfKgVWBZhmVWH7xt3zZxuGfi8zqSqY+phaceW&#10;FNb7rX8ztwXPDLaeOrS5p1np0dlre3Rdj+YnxP4pufBviXXtB1TT9Xt7HS7+Ww0m7uoXe0vTCfLd&#10;IZ1+V442O0BTkBO64I5nxFpNv460cRx2f2h7tNolkHmSDcuWZx/CAwJDH+4SCea+3/2o/gVLoviS&#10;71fUre/sdL1W6jv3eBWmt2Vi0cjT5QsqFXkU7PvFcjPOfi3QItW0WCVtJd5bWK78mC1uo/MlYK0g&#10;JMpbAwOMEYYnjgYrht7Kzjpp+J79CrSxdNT03SutfvPn+z8MeK/hfqkjRRTXWlFmkeBZCXjIUlWU&#10;exCse5Axnpj7J+E/xmt9Sgj0/T9WnjuIpfMu7eS5kjlG4BSgO4YHH8GcYPHcYtxd394nl3Xhq6uZ&#10;1gO1VZUhiGPmO4/NIxbcMDkluT1rzDUfh7rSXEWs6V4YudFvAwBlRyZVjy28sythuApIUAkbcDrn&#10;GvgqeKi5R92b3Z9BluZyov2GKipRVvU/V74XeOL2+lhEdzKsswVPtcspMqCPft3buoy4GO3mHjiv&#10;1Q+DfjC8sTDs1S1KmMSRrKrCSfbtz0f7vychCDkHpX82vwh+I3jfRNSgg8Q6BqItIrlPs2oxShLe&#10;JWIVzLnAJX72B1AOecA/sF8HvE+kazPp+oLfLFcwQLiKKfaYjIAzB17cBT37Z7Z+elDFYGor9736&#10;ff3PYzDC4TMKHNSa5bbWVz9ldI8b3l8m1dQtGS6s1higt7drqeKFceZ9njZ9i4QkBY0CpjIA4I3/&#10;AA7rYtxrKuDIkmoRajLdEhZG2mYkBRgBVJXGOOB06n5X8KeJ7VYVcS2zNLGYHdJFe4IZQpCgkH7v&#10;Hb19K9+8C+FNZ8f3ulzWFvdXGlQ2U1xq7QwtcTTut26QJ8vynKLyMg7Vcg5+99Hl2JxONTjRTlU6&#10;Lrul8rJ/cfnWb4PK8DT567UKX2nttqvxSsb2ueKZdRuHtbRozNMQoL3AtkDsUyqs3G/oSDyAdxwC&#10;M5Q0rVvK2XcCNJcSg2kMU32hIo12qGJACncVAGB82NxI/i9xn0m00gQW0NgVtpo+XmiCWs6r82FP&#10;VSOBtOSD3JzWRc6V9sjuYYTGJIVYmN2EZCfeK7sjGMn8D2PFb18A41pU6kuabXT77Hk4TPsPSpxj&#10;haahT7vV9rvtruvy1OY0K21WPXfDkU1nJtl1i1LSgLNlftCbinpjCgnIPyscADJ8+8QQLLrLG8hk&#10;MlzqN5qUomnWL95vYhShIZdjzowPfyyORXtHhi7hGpWtrfBhJDceYiBnEQMbbT94HOAQeQSQefSs&#10;nXNFjEMsd1tjVyUFyzNcPb7DwQMAZyi5yCMZGDjNckqDnhYwUtpX16aRNcJmioZrKNena8Uk1fW7&#10;lqtbu2mi7aH4x/t7eDbF/DPjG7NiqEaKmswyBmWONrWZZXPmdcFYmGc4GRz6fhFDrU2n28Q1G7H2&#10;Oy06+stN1YIRdae15FJFskXcRIgGG8zjYWOF4y39Wf7S3hGy8WfDjXNJubZmjGl31lPPGY2kCXME&#10;0Cnc2QQS24b8KC/JzwP5bfFHhC302w8WWyy6osy6fJ/ourxLHCoYMwli8tmDHKgh1ADjgha9HLZe&#10;yjdPqvvZ7GOpxrYOp3S+9f8ADHefAnwi/iCb4gX17ffbvD/w38PfDrxxfaeqOhvV1nxBbeF9Ru7W&#10;6UiRUWLUIi7A5CXTLgMCVwvj58Irnw9qN7d+D767stU8AeMdbsvDwlKyT+JNIsJo45YrcNhZJbKW&#10;W0uItq+Y1vcpsztXd2n7KN5dnwp+0XpX9k6M03if9izxXqcOvzzy2b6fZeFtd8M+I7po40iZXmP2&#10;G7WCNmCq10zMQg2P9NfGHRLDx34Z8Laq1zpdlc6bo2m+LPF0YgEE5jb7NoGoyxzsCzMyX1tc4RgH&#10;+yIWB2nH6RRo0JZfRlpzPmv6J2/r0PwjOHWoZnWjB+7Hk+V9dvVP7zyf9mr4hav43u7e/sY7K68Q&#10;+INDNr4i0uLUzpcmqTWZ/wBJ3RHCTXDR4lSN/lPkKRmUAn68tbHSVktdfe50/wA6509dD8Q6TMjX&#10;JS+8mVI5EQElSrwxuxxgCYZGSK/LLwRezfDrxM2oaFZvp+q6BrCx6zdea7Nq11AoSa5RNojRZInV&#10;ZVBYMfMZj8wFfqF4J8W3V/r+peCfEM8eqT+KraLxf4H8Ry20NxfapbO4e0tpZ1/1tzbx7VdSWYsi&#10;85ZhXzmcUVDDuVTXka89H39D7Lw/xbWaqhJpRrK0fKSs9H5q6sekfDu81yOEyQQNZ2kksdrrOjam&#10;waUB2xDNAsbfejYtznghhghcH6M8Q+BrPWNMF7Yw/wClJGJZrFZV+1Mdudy/3hhd2Rk4YcADceM8&#10;I2MmjeM9MvPD5iFtrmmu15pWoQGSx1Ug+bd2wYLuikQszo3AL5BOCCv13a2MF/o5ewiS0eNFU290&#10;ivdWpUOFHmqo+50wWb1BxjHyuDp0ueTk049vu2ffyP6BxONnCVOty8tSNk2uvTXunbc/C/8Aac8O&#10;xXtutw1tEgaCRAuwMpEe5QDx1ztOSOcduCP57PjfpS6fr1y4hRY3nZFeMfKCGYH/AMe3c9iPav63&#10;P2i/CulXWk6jPrVqrPCZFhv7WMySyKR+7DIcbgOey4KDlt3H8uv7TejFPEd2NhCW1xtjwhCoGJxk&#10;477WOPrUtxp5iuXqj9v4Hxs8Xg5xgmuVeqfp5nyHYDEjCJgyn5yd+SMDnj8PzNe0+ALdb3UrKNVE&#10;nm3CKc9QMgEHHchv5V4jZKY51TKgTnJPIAwzA9/9k19Z/AnQk1jxFpcRUOhukyojIcFWBGMdsjH1&#10;PvSzyqqeEk2+h+xcIN0cQ6k+lz94v2RvDlzBBo8sPmCJFQbY3KFMgMSO+Pu8g8V+5/g+G5khiWW5&#10;kBNoiBo5AhxgKyouOMgOPTBx9fy0/ZT0eG00eyiZV/eCNkG3LJsPUY9Tkc9h15xX6keGTLHCZwRu&#10;SPCRxgqqc5HI9j0+teLw8owopJb3b7n4l4sY6pjsbUWmjaV9Xuj46/4KI2emjwX4ffULoQvHNNHB&#10;BKh3y7zGMK3ttTJ54U9M5r8ML6Qkuq7tgcSRYz8gOD8uck8H8s8ev7Lf8FHJrzVNO8LOih7TSopp&#10;J5zETJLJNshEanGOrKBnA+QjPNfjJcgK0m9w5Zvuxru28E8tjqN3c4Oe+M19NV95R5V7q/HU/hji&#10;SUo5tiufWV0v/JUVXZ3ZQqsCEySqE7sgtu9hwc57+mRVVFDRmN0UkkuoI/1wPIG7pz93IyMj8rqJ&#10;tk2uHaSXbHGjpwwbgAYGT25A5z7c0wUlETRJuVlDh044IBHy9+Oc/TrWbdnrueJZQSlHdbr8xn3w&#10;6Hyy3mOjKYyojbfIMcEfxtgY7YHtUBeQtGDt2ElSiAqBgnb3wcZznpn35M52bzKxZkZy7nGVPQAH&#10;occ9O2D7moyil2ycK2ZUYE7SF3YPT5uRk9sFRngAinKQNKpFNLVO3/BK6sCqIrr5fmFOAHIweOhz&#10;wR0OOg75yoZmGdwDBgCG2xANgAdTgAnPXgZ/GpZMRsquCWchyNoAVi2ep4OB1A53FuOOYJWLSJ5e&#10;Vw4d3UgK4xznjPt3NaJQaStr5lNpWbl5f16Cq7AtKwVlKEBWRkZwWBUHt2Oen09Z8oDIDJE3zlD8&#10;52MVO3j67SeOOTVckqURk85cMSFVVycFQWOMDlixyOQWGafCyAorGPHzZUSrIcEs+4ZOOjAkgdQR&#10;0q5w0912v1OVObbu3ZP8SaE7nCNHuYDeVUjcEX5AxHXBO3nvke4q2p8yQBgWEhy7ISDtHGMkkA5P&#10;XuVBwOlQAbi8hdQwjGNzYjVeuCfU8deeePezH5gJkIVkKcDa2RnB65xxjj2bt2UXfZ20/wCHLhaH&#10;uy3e3bctJI8qru8obgxbsBjrtA7dvX3PWpk8xlOPnjbhsDdG4G9Bg+xH44b6ivHIzTlUBQRjewQl&#10;WcMBgg9cH1GRkjPUVZgJPzxkKjnKfNgbsDB6HIAJ/M8HpXNKSSab1/r8iqd6tPlb1X+f5bEyNwUX&#10;KYAQKVEaqdowce2cdKeXdPLJYKwLKmAcHAznjknqBjjkUgcKRtEaSFgBkDI4BLNzgE9tufvVIxA2&#10;s5AVOQFViidf4sA44PT19warl213BRkrq+qGGM5cEH92NpjPBJODuz6jaAecEDjIwacyhRt2/Kw+&#10;Y5IBAGV7DkD+VKjbnBCFRtJ/eNw+D83zemCD645xniowkkpZkZAG5C8sQEZR/XA9yfrVwulyqW3f&#10;z6Ci3FK2l7r56DX3OCEiCcbGD4JUZJ5PU5JHT29KRS0pX90FPmYJ2dFyVXB9Tgfn9aGOBGUwFkJx&#10;8+5gT1wMcY6c+lOxLvIGAEzkgkE4wMc9xyMD0qYu0Ixjq2Wp/wAivL+vzI1DbtwGEPIOcAsSAF6+&#10;3Qjv15pJejqQg4ZMNuDNyPmGOo6n1yOlBjmJwWJBcFgG25GM8cYGRgfWkBKOgkUMQnln+8BxklTx&#10;ngHGfpVxS0l1/rUm0vZ+/wD8PZFdiY5IlUMIwSCHXLBtylTkdhh+Ocl1xjHMMzLjeDnbIXkjGSmz&#10;5gBjrgbSM9PlPPNWpGbcXfO4x5AlyATg4z1wPftj2qOVTIRhSsjsBGFBfPJyPqT6c81U7OMZXHN8&#10;0FGO/wCVyvligkR+XPlkFCYtoyCc56YKgfUDPcPZWicGRgwWQbN3JYc8ZGMYwPehY2DBcsGOSAxw&#10;DkZLLk+nQdKilaRSduChKeYWAZgTnaPb7h57j86Sm+ZaXRVJKKm57/qLIS/mPwjPH/dDEYJAbHry&#10;Oh4x2qXfs3IVkwdqPI/IIIHO726dj14qOEyeZvVI1V4jl1UbmwVxkdf7x49QD1JoJMjlWkQAO3PK&#10;7MZIHJzwB+YpKEm7X0X/AABSbjdx3f4dv1+8SMFUYOWaJZQ6DZkRjAz/ABdQAenUAcd6RSBuklGA&#10;BlDjzCmOOG68ZYDqTke9PyzMqMYwj9UI+8w6kBR0wemOx69Kajnynd1HzR8xL/yz5xk4/E++/wBK&#10;izlLe39Ij93zJJWkt/PvoQlwWiBRfvllbbkBSDjnGOpAwT0z6VKFIOYtrlptgLjy92442jA6jPHH&#10;8IzTyQyw+UsZYhQGVVIjBXBY7sgZ5OMY68cVHIzPC6BF+W4UybgUIPK5ycDG6QZx6Dnjjdybs4u2&#10;2oSUlLn6aCCPgpJgKrbhFw2MZ5Pr1PXse1LIzW4mVk8yYbk4UBHYcgAdc98ex6ZpX/1oKFCzxFmy&#10;pGzhBnpx3Prx3xTXQEh1YMRIqOWO1TlscnGOjMRn1yc81Fm9X1K92d3ayS36vYjVJmJZyAA24YYs&#10;4wW9Ox+U4Ix+XMHmY+YhCvDEk8j58YI4JHB9+uD0w/eWRYn2RyDKquwlXViqnkjGM4Jz6fWoXZNp&#10;JZTCxCxttCMQS2CMc8MBxjHJxWiWyfoQ1GNpxeuyuDdcFWYj5dxXcTjjrj2opyTxhQGYZHykBSwG&#10;OMZwc/nRS9kr6sXsot3bX9WPLnjDnOXUBT949AqFmyOuNuTnpkZ7UxzHIEXLl4pdioBjjJfcgHT2&#10;wRzjpyKFXhVXAxuYgjJlI4GfTA9u9NMkRm8t2cKAFYCNZOPuu3c7gCSOCcgYHYZyUFJSi+q/FnKo&#10;u/ItG+g0qHV1QNjciKeCxC9Pb5ctgdcZPeqMioB8uPNY7XZlG9VyxC5z2LMcDnJPHWrkhyoMgMgK&#10;5bCmNjjcPlxz06HuQOgFRqFKgBVWVTs4CrxIhXJ6fKAep74PNEbe0t3CpZ2jJaq23rv6jfmV42Hk&#10;nGFgdARuO3BZ07NvyD65BzyCYHMeWKRqVYgyMpUtIA6nacdcjAHXgH0zUqtJIyn5vN8wSCIYkYHB&#10;IJPcAcHseuO1J5fmbFVyFDvKMnklj26enGOcj2q7/wDPzbU05ZON49H+H/DECysyEokbLKEkVDvQ&#10;AKANzD1IHI77uxppV1CrIOBMp4BMhBBZR1yRz1wTlB0HNSIWSSSNllRxM7AOh8zdkbNvORkLnBAw&#10;fTmnhWCbFG11IYDaXkOF6jtkdCBnpnvipa5JWf3/AJCaSpq/S1/vIokGxijLlWwA/LNxweOO5wR1&#10;z1PUvBGGAVCHdu5Ry4C8Dng4OB0+4fTFSq2zYehkU7I3Ygo5O0dDkfMOnGQBRChKOWXBdSxGAwdW&#10;Khcn+IEkN6DAPUZpyj9pbhTTklH1IBjy0UIqiR9pYyKEUluc5OM4I5PGSc+0qorAs2QYlCAs2QCw&#10;BUBTz/e5B5z0GTly7X8sSK0b7iyhod7AglAQx5wcbvwAxxmnNExRcDaoRjDL5ZAVlJUZzyehUkc5&#10;I5yCCruMdH/TKi04czd1pYYMBXjBQl/mUhevfGcd+Bz6CpkRAzEsoACI2CoKEgE5ycnjIzyOo7U9&#10;RHJNxgAk/OAGAA6BiGxwM8bcjBzyBUm4KCxEkmVUI6HEPXPK5yeADnjnPTuoxbkrO1kOnU1suou5&#10;PLQKvzgImRjIABAz7HcM4OP3Y4OBSskcqxkZSRcfMsqMGBVSAMMSPvYbjjHXIOHoS+QudiAt867S&#10;wOAQDyMgnr0y1SRJIxKkgFQY8AEE84Jyep+YYGM9/Srur3b+H9ToTTk3ve9vW/8Amhix4jYOjb5E&#10;UMuVZkCrywxjPXnqQF49DZVWZjOsUgyqO8akDABUv04GMkcddowBT40OVARmKg/uX4YEISeEyOgC&#10;5GemcDHEq+Y/yRx5V2UOUBYTbmX5ce/OMc521mm0rL+tjNc07xitv8/6uRptYN8xTysNuAIEuA6v&#10;wcDOQvBySABmramMlvLCxg/vWG7JbeV3Y5ySCzFiM9DjPdAgQOWUyK5abep27s4I69evtj2xUyxr&#10;mMvtlZNpb5sOP3g2j+8QN6ZwScBiA204zT5rx+zYU+aE02+tvS6EQRiRgQyMEcOFcbpAdvBK91I6&#10;n0NWYU2wxwkEkkgndnzenzHj0I7c46HGKIELDahCqZi277sjLhlAZSTlhuJHJwXHYZqaJAHRAoO4&#10;lIjtAkAXDHbnOMkDlcZwR6g6X5eZPoW4wklH+tbfroSRyriNkZJEEYKrHhEZSDkZ4HQ8Z4yac4KA&#10;qspyEIBfKO4AXO3np8w6+oIFOjiEOSrbgJFZDsGHIAOCOucY7DqOBmnrGcgMx2KoAURjGeBnoOO4&#10;x7YPesqSTlzPbUVSM4x0fa34BG/nAlY3LH5QGOCAQANp4HHPqfmq4GCylQoIdguMhzIA2F6cgDAG&#10;ecKMdBwyPkNGsWzKl9qx5Rs5BY47k7un93Oe9WgSCm0hivyF24yP6DIA78etDlH2lkv6/phTcpJS&#10;l0/qxCzbn2sqlduWcbfnYkMMdySMnjpn2qzGiwIiyL5nlRBy6tmRgMNwTk5wm3J9fao2jJ+UR78n&#10;eA+4YAOchjuwcMegAOVHIGKtqpSIuW25IDAqCPm4wAOeMj3wCaU27rle1rhOTd3DR7fIaE5ZMKwj&#10;VURn+dnBG0kE9QxTHp7DmrKhpS4IVtuQsasAjt1wpHBHbpz6YqIqQVychVIGYyVmL+XgE4yRgLjP&#10;QM2B1q4VPmOvLl8sAYhlgTuBGOBnIz+P4D5oaxdvPz6m0IqKV2308tHdlC7VBBcsg3f6M+SuGSQb&#10;AOeRhckLuzwCcV+HH7WZnjsLGO8gEc0uqahdLMyBZrh5LkmT5vpt4OMAKAB0r91bu0iu0nh3SiWa&#10;NomZT5kkgYHOD2xgc9zj8fxF/bijGna3a6OpaRrYy+XGcHy0kdcMSCclihPHAz719PwjNf23RTW7&#10;X4XZ4HElN1MnrVdkk/ytY/PmzsxJNYIrMEVFlcYADnG4/gSMe+aytakYXbiPaUUmHOTlu7H+XFdj&#10;pskksV3JNiA6fETwuGG3jjHfOK5C9kVl8whCNjSSAgBgzHgk9emPyr+gaUpXV1p/n/wD8DnRXLaT&#10;ve336EOkxLbyxSfLtZQz5cAKPQj1/qK0L+P/AImUxEqhZJWBKE8gH0+mDWHbsrSK3QnAZV4BI6Y9&#10;K050dDG5UruQP8pAABPU+uf61vzfvIuS6GdNqMXBaL+tTutAuYba9hWBFC2aSTySEnc5KE5z7YFY&#10;+lN9p1CciNlFySinGUC7iee/BJ4+lLoimB3AbY80XkmJht835SPywcY96LWULqkUAIW3gDFyhI8w&#10;4I5I7E9SPfFc8+dSfmbQcqdJKWtv1Fv9+oXkLtujVVZlUHCqis4XGPYKefWsrxRMoiik+6JiJFAc&#10;kYVFCsPY5JrT8z/SLOBX37pGjZkOW3Z+7n0xn8RXO+KkXdbmBpWtgwgQE8RkZ+XnsMcY7VELucI9&#10;L3/zY5VHCnKUu33GUtx5MkMYKyL9nSMKT93eN2cf8CqJ0cAXERzGxwUB4zkD/P0qpLJ5c80hU/Iw&#10;RTjOzagBxj6VBBevEcqxXpuTqp6DOPoTz7V6Lg2nyK7ZwxqNcvPr2/D/ADNmOVWbYcgk5JJxkE+n&#10;XPatTfuiSOTAKAbTnJYdMA/SsplimgWeFwy7/mUNh88H6Y46CrVsQ8C4OdjYbI5QjJIJ9DiuaTXO&#10;m9NdTphFylyS6m3Z5RRAd2AGQ5bgqeBj6Z9etekm7nvvAGk3kKmO58I+JLrSLq4RlQTW+owpcW42&#10;Z3HBs7kknI/e9ecDzDTLkSBkwTKG8mRxyFBI2t9Dj9a621aRLTV7SNmWZ7aPULaABTDLJbv8wYcf&#10;8spJsdcEniued4pxkuz+5r9DqoUdVNS91afed5oOtwS2T6bLJK8MwVTITlI1cdm44XLfTFdHpN+d&#10;Ga88NXkxNhdSGS1nY+Ww+ZRKAOcH93G4ByA8ZIGSa8U0q9MEsc0BAtrwYlQ4IBxyuOo7n6dq9Qu7&#10;j+0tMsr22jj+220o8yU/uDuG3BkHOdyjacnqOK46sY05J9Huejh6sm3ZrTZr5FzxzaSWiQa5IYpZ&#10;ld9H1XylP2S6ZGJSRScH96nzDKjHHXgnJjin1G0hn0ad0uLhUaG1Rc3ELKmNoH8SttwPcjiux1j7&#10;LqnhUahkm3vwbO6gUAzWk0CjyWbI4zmQZ44UYJzXlOi3MNtdCAOWKwFggJVWAY4OM/eAOOuOPeuV&#10;NQ5qT3TTPQqKT5Ky2a1t32H2ZiuJJLeeFLOZo9pkiTy4gRuCl4+xPoPTpSzW8mVWNo7m3RVDPbDM&#10;anAJ3DqCMYxgDPSr7XCzF49TSS4WOQxRXduwF3EBnYSTxIBkcNzjowwKmu9HvLCCfVNHnXUdPt0W&#10;W+u7MENYEgA/aIuqKdw+ZvlJP3vUlzKTktf6R6FCEYJLbqZbKwkZfNUSMRtVeowAO9X4DMyMoXDq&#10;wXzGGQO2R+BI/PrSWV7a3bRtfxrGoUpJdW0QEoJGQxXIDckHGRnJ5Hbo5dMaFDNb3EepWZYBby2+&#10;VsZG1pI8llPtyODhjjNcVWDbU5b9f0Po8HL2k9dzNgaUr5ToRIZMkuwBK9OlThBLtZgpfO4qucgZ&#10;Kr69Rj9asxRh85xvKsyFiCzAYHX04zjpwPUVHKPJnhZRgsoLFCdvGTj0HrXnSk3O63PTpJ8u+3/A&#10;1+4a7p5e11MmWLOqnBHQnJ9e3H581ZsnQu4+cfuxk4Kk8nHHbqO/NRqSQ4LLv3bfMKjcAR0B/HvS&#10;whZGLMXEit5YKnCnHf8AWnGWjT3Mv4aUYu7/AA8/nuaMqsY3QkHG3lQQhUAH6/jSW04hbY6+dtwN&#10;wk8xentxnvUkcRkiCAkb1Ds/BUcnC579CeDUtsFhBLBHSJ+YmwRIMcn68fpRsm307dghGV1Va0/y&#10;OmsLssq+VFHEu4usygFgAqjIz0xk8V0i3RuDGZkY7wFhGCzrtztwM8YPQYxgD6VzNlct8pWJQrZa&#10;NRCodOGGAOMcfpW5pRWSdXmulUyShZvtEh2JkDnOTj0z+lebUvzNv1X6H0WBcJ04yt719d76WudX&#10;pd1pVuJY72O8uf3e9YbS5jgTeCShkkKE7RnPlgEkhfmUZxqaHbDV7+1t5bsWdrPcrDc6jNE1ylpG&#10;zDfKY1O5yoyQgwSQBkda5GSBEWWaORRGh2lGG15nY4CqOvAbPuD36V0lheG1sRax4W4uUzKOqKq7&#10;iqbgerE8/gMgZFeVWpKV2/67H0FGCnTUZLd/keh6hb+GdBS4FprF5r88M7RW5trBbTT2AchZFleV&#10;pGRgufmijIzzxk159eaxqK3kf9mG2sGuoGtlisohFL5TbvMTzMbzvG7cMktkjpxVlrlDBDaWjlLV&#10;IS97cTvue52yLmMgDIX/AFWEySSpP8ORzl5q4RpdOstO+zyOn2dL/wA2Se6mJcFm5YiNOgCIqn1Y&#10;85inBS5X2Ru3blfV737rYvC1Fk4Zp0naKMyTw2qGGK3/AIR5kh9MKcKCMOBkHOPQ9G8Rx6fPpllY&#10;iS+kuJUuLW1XSyLKaQFnSRjJ87iORSACCm5CcNyK8704wS3EOkXs8Nv9ruI980uXZEXPmFVTLH+L&#10;jIJYgYNek6VpyRTX8kWlXN00cjR2VxdXBEFtbr5ccEMSjGCokjJLPjdIowMknfljCDb+Lp5+R0VJ&#10;Pm0W2/3mjDG+s3t1YtDe3UsBGo6tdafKqJHHIxJuNRunDOTIfLVI90YAZcquTh9tqmmQag8TR31/&#10;aWtsBZRWG1EFzLtK+WjNhljDSoN+3eRvJ9em1HSL/TvB0umQ+XZrqUy3Wl6TbOsl3qVxIitNfXrA&#10;g7EjMoG8BUV5PKUGRnPFaDYXEt99svy8ECSLNdxoPJhvGlO1LaMDDjfvbIXbtRHyeePPTin2irX/&#10;ADY51ZuEp2ur/h0PfvhXb+HLLxDPeXuoaxd2GkQNd+I5LiySKOSVLhWkht9s7xyf6tQJMlWYtgjY&#10;N3Ryanpuv3niD4gav9oOk3Rc2Iu5xbwAxxLHDaW1sPvN+7hQqNiJFGWYcsTkXF3pPhvRG+GOt2lx&#10;a3KJDrnirWdIslurw3kmZoNNf5gVt7SKWEOqZYzSyAiXYpPTadZefrtgNb8O+GvG/hm+gfRvD+ha&#10;3quq6MHk3iYQaPBYzRXj3QAIEUcdxu82UyQyHDDOFCWMqezpXb6JL79PwRxTxlKlS+s4rSL6t9P+&#10;DuXPC3xmvvAJ1bUbqzS1h1nTls00rT/CXh/xV4dtzHBKoa/sdVs7mO7Lmd4wJJMrHHPtdGKVW034&#10;haR4it7zxBfaV8AFTTtS+3W+q2vwZ1H4YeLLu5bZJ5T3WkpNZT5OY44NseGVCGVQN36Y/BD/AIIv&#10;ftqftUXMHiSz+BmqfDnwbqVyt1D4k+NniS7+DnhRLaVcxNYaO9tN4jnjAIYf6PZhkXAlTcCf0Kuv&#10;+CPX/BNL9iv7H4n/AOCjH7d934s1/RPJ1HRvgZ8L7pPhNo9ozIrfZrLRNPe/8V3ivsK+fFdW3mL/&#10;AKxQp2j3IZLi8PS9pjakaMP7z1t6L07o+FzHjfKJVvquBhKvV00ppvXRWufzf3U6+LdS0yDTE+H+&#10;j32oacWn8EWGi388l4sjs8aJa/Ypftl0wXawLYaVT5bPje33l8E/+CVf7cvx5lj8RfCv9kvxPp+h&#10;a1Ms+peMvjFZj9nzS5oJlWNI4BqEsWomBIxnOn2TkLIcEbVWvvTxH/wXf/4Jy/sP2useHf8Agmv/&#10;AME//CmlazHFLFc/FTx9oln8O9T1aUIALq4CG68R6mrHcpOo3NnIxBBYYNfkp8cf+C8v/BSz9qSP&#10;Uo9Z/aB1j4OeBpLs3Nr4U/Z40iP4Rs0eVbyW1mGWbXHO11Vj/aKp82fLDVPJk8Ie2ownWaW/wxb9&#10;dGzzZV+KcbNNxp4WEtEpvmnb/Cuaz6a8p+vOkf8ABFfQf2cDb/EP9v3/AIKJ/syfspaZa2ki6L4b&#10;+F0SWXizSreWNmmtNL8Q+ILq3a5nfIVlg0icSJGESMqBnzCf9qL/AINwv2V9VEHhTwd+0F/wUC8d&#10;xXIT+2vGOm31/wCFhKy+YGIvk0fSZY2aIKzQWVwoyQQRxX8ufjrx3Nq+sXXizxJdz6p4vv0aK+8U&#10;apey6t4imjkIw15q05lu5XfILPI78jJyeK8mvvHWlxK32GWW7nMDIbfTIl0mxkd2LFpplVZJQGI5&#10;LEkYy3atrYupSslGnHoopNrXq5J9Ott/QKeSYeU3LGYipWl1V/Zx+6Pvf+TaI/rg1r/gvt8aItNu&#10;9H/Ys/ZQ/Yr/AGZvCOnE29pceLviJ4dvdbtECR7FNlJc+GtOjnAyduy6VAq7ndsM/wCOv7Qv/BX/&#10;AP4KafFXVtd0/wCIX7dXiHwxomWSfwz8FvE+iaRaCLcRLHDN4dgVZY25ULcX7hQ3FfjJd6pq2pGN&#10;LmR3tQ4aO3GFt4h0LKq4yzYyzHljuJJJOYhA884SNSFPzPxgEAKCT9Du7jtxWscBGbviZOV77vTp&#10;rba56lHC4bC0ksJRjGelnZSaV+kpc0rf1udL8S/il4p+Jmpzan4s8ReJvGV7I5ebVPHOv3Xi/Wb1&#10;jg+ZLPdSSEschup5HU4BryuWM7D8pjEiYOxQmB0wuOPw9q6+O1SMqrwxOx/dKFPmZ7YPQDHrx368&#10;VWubRIy8bJtJKuDyjjA6EdewH4Gu6hDCYdKjRVv61KrU8Zin++qNtbauz27HGlSkK4Y71I2nO456&#10;gj/PrVSWE7mK7gx4GScNx154PT9TXTvZOsgY7CMEbVwXGDwfz/rRLp8YDRQySZVRsjdN7becnceP&#10;Tp616NLERTfZ3PHnls5RtbVdPSxy6MBHIJotpch2KsS6dMHPrUpkwZMlZUYZMhznjkE/zq9cWcsf&#10;m7GZ+QMA7u3Q/l+tV1CSLl0VDGuWDKDE5HOCOhwex4IyK2dSMk2/n9yPMqYedJ2j11FjiFvJHI4m&#10;ntGk3yRQOImdRglQ5BwSAcEg/Q4pUnt5SAzSLI0rRlJBhduRt5HcZ7A/hWpq2s3V/q2o6tPb2Vu+&#10;o3Ul5LZ6bplvo2l2zSH7ltawokMaAEYVFA6k5JJMEMVneTQSgLE6tiRwoxnPfnjJwa05+ZWs7Jbm&#10;S2V/ivt80Xra9uLV8QnfGwHm+ewDJjCkDk8ccfhW9ZeI5I0ZXlwjpudQNwODtJB6cHvjIxwaw7lG&#10;gUSR7WbJ3MBuV9uRhh3zioo5E2KowrHI2j5lU8Ajnpn0964KkY1Fy8q/zNKNWdGr7SD3v/wD06z1&#10;W3nSOSQRoVkG7tv5+b6+nOetWTHFMn+sQoCHjXeRkEYOB74J5PSvM7e48tcAuUJYlQN4OME7fT/6&#10;1a1rqCh/9YybVAIQclcABc/Tt7VyVMM7c0T2KGZU+eLkrSWj+7c78uyruA8oYAYqxwfXKn2zxU9v&#10;NLBPvjXc0YLSYUkt8vQjuOR+dc5Nd3DRxmMhxMp6qMsRnP4jBGT71oWWov8AN5hJRWRmwhAAGeD3&#10;7gE+9cns5cm234Hp0K/tKnLb3evmdp9rmACkxkjAlCMCpBJ4HHzdB+Z9K9r8J/E/XDoE/gLxLI3i&#10;nwFdEu3hnW7iS6tNIkZPlutNJJNpMDhhJDtz/EGBIPgVvIshbncsibjGcAPyAFx3++TzxgH1ArrN&#10;FIMrxSyH/VFVePjO5coCCffB/wDrV5WIjKLdWO61PoMG4XVNu/67WNG706HSr+SC1mkmtJZxLa3J&#10;b960R+7vGMbhkIxXH3c4AIFet6C73C2EcUyXruoPkhi4jfPQYOAOvXHU+ua4WSwk1e2a0QgXcpK2&#10;p2ck/MFAwM4YgDPGN4zwKd4T1P8As26mtbhZ1lXzLR4mOyS3mUbdrcg/KST1HIHPpwVrToKpLWVu&#10;h9rkOJnOu6SaUk/wPuX4aaXNLe2MF5eW1jKkYmKuWQiQfKqID3bcPvYwTx05/VLwT4J8EwaDbwXl&#10;1PPf3QXyMxq3lfckBZTwVLKdoyCPLBPYH8bPhdc3V/Lak3aRyI5/ePHu3rkyEN82TkfKpz6cdq/Q&#10;LwB4rvrR9HjuLx7sksGDyMN5OwpyW/hG/CkZ6HPIx8fisRPC1nUUVyrv+iP1zAZa8dCnF1Hor9ld&#10;H6C/CvQvCula7Hpeq6BYSJcSNKl9PpcFyZmkZndsODuUNIpAPTPQ8Y+w/Bi+GZ/FUuhy2tzpMEbR&#10;Rypa2SJFPGVLK6QrtR1YkHqBivhrT9XE76Fdzabrct6blZLKfT4vNh3BkkZQihnKsCAB0zwM19Pe&#10;H9Y1zUNX0vV7XRNatIfsDWtu0+nvaWs6SPLIIvPwQCGlmAdyc4IH3QB51XGVacoqzaTXTdPp8v1O&#10;uWV4epP2rlZuLV+b7S269bH6b/D3xTCmjCzl/suz1aGzn06VpJmE7zJIQ4RhGwOVjVQH4LOfeve/&#10;hj4pXUbG2sJo/ss2nOtnJLJbLK4PmF0jjmmXauCzEqGU/MCeOvxD4T8Ryvd2kVwbC1WC2Gm6taWQ&#10;dzM5LEzMwHmFZI1iJUDBMZwOa+sPhFrEt1YPZap4cfUIxd/ay1nJL9tLwxlSY4EQmQDJbhW4YZI4&#10;ruwmLrxxkIubtZp6elk7a/1qfJ8Q5TQp5VWlyJu6ejV1um1zNJ6dG/TU+t/D2lpJqOlatZ7bS7mn&#10;e0uZDbpcXtq7Q+bL/qtyjg4wH24Yn7qk1evLzWn0zxHaWETWcguV/sUWIm1BYLfcv2zz53ACuzKW&#10;LL8u4RrsYbq811STwTpFvaXKnSvDOtzXgu7T/hJNRm8J21wRAySGSa4kjXIJVtqAZLAEkAA+e6/8&#10;VNOsL+01fUviT4WTWrAOkVzo/wAWtMurGRGkEojktAVkfn+FhIoCj5sDC/be3lGg406Tlff2d2nd&#10;JPput7d7Xex+JLLPruLjXlUirJWVZRi04yclZOT5oN+7forqKd5Gd4s8XR2uuXgWSOKxjtZrmzN5&#10;Gn2iZipRZJHXjcTklwMBhx7eKjULjUG1CKJjst4opI1Ycyhm3bh6qy7enBwR0PHAfEH4ow+ILqGw&#10;8JXNh4q1e4kS1GmeEkm8Ua5du0oYRxWthFPMxJdSVVCcqM4wDXHeKbf42eGfh3421fUPhb468N6b&#10;/wAItdy6h8RfGNxpPwj8H+EFMEkUd/eal4ivLCOGOBnjclvmxFwjYUD4CeV8Q4/EznSwlR0o3bbX&#10;Krvpqz9toYnhzI8BSoYjGUoV5qKUXOLbS6r1vv1O9+PcVxp37MGreHLFZ5x8QP2h/A/hfV8RbLx7&#10;LTtYsPEd2oBG0710dVYEEdT0r4e8cfsy33xd03UtV8W+K9G8GeC7i6bTb7UNYt2nlaaRDcYtlbgu&#10;U+cKx+66tkKfn/NvSv8Agrbof7LHgTxb8EZ/id8B/jlq0vi638SWHioatr37R82i3dvDJa3ENq0f&#10;2PSbhJ0kmQeRqksXzOVb7rH5l8S/8FVv2mvifaWXh7wB8HPjH4wstP1DUNd0M+G/BkHgbRYLq9ht&#10;4JLsGOC/njR1gjVhJqCY+QI65Ar2p5fjK/sYqOqglaWiT3s35a/5nwc6VahjsWqNRJTquSn1lHli&#10;rpa2fupWdmfuDY/8EZP2RV8AeKfihrHxO+JPxT0/wvpp1fXPDPhe0t/C8llb20ImuZ3vpVVpo4lL&#10;SS/YyrIiHGdrE8l8E/Bn/BJHwX43gTxB8EvhfPZ+GrKXUD498af278fPGFvgpGbewsIxdWcE7klR&#10;I0OSQRvyAB+B+v8AxB/4KL+PmdvEI8B/DWwZkScfETx9Nrd7bxnGY4Le7l1IQKAx4hijw7seG3Gv&#10;Mrz4T/EXx8JdC+J37U/inxNFcebLb+CPhd4U1HxPpmkQrG7SpDc6teRWtvFEnBaC1Y7UDKQV596h&#10;jPqqj7SpCM0tlqnb8f60PGp8K43Gqoq86taMndP4eVNbXdk7Pa8dOtz+3XRviT+xV+0L4V1b4Z/B&#10;LwJc2ul23hy+1bWPAXiHRvBFto3iHTre3WCWeXQ9Q1eK7syBcW4S4ihiZDIN0bEEL/FT8TbbQvh7&#10;pZvtGtEaa6tUv9Mt3VzLDCx324lUqGEigqrlhkMo3fNuz1nw9/Yi+DXwzgb4gJoPiq7u7fSLpbnX&#10;/F/iZr038jIIpI47S0htIgJI5pA/necFUNyflB8A8XeM7vxh4o1SG8i/s7SYbOTTLFZWA22y4KAE&#10;t94qig7QM7BhQAAObNMRHN8TSafM4ayktE72skulrfM9jhThqGSSqwwspcsuX3ZNScWm+b3l8V76&#10;Kyttdnw543vtZ8UXs2o38c15ILgbH8hooh8wAURgkAA4BweSa4Nlu4pQ00ZSLeJVijUpEDn09x3P&#10;tX6Eabpfg1dPuNH1GLSLY3M8THUpNJTU7+0jTd5nkSMfk+WRSdgDHaBuAyG858d+A/CFhd31v4Rl&#10;k17SpLWOdL6/0yWw1C3YbXkjEbMcEEbM8lgOi5xXp4bF06dFRtovvPdxGVR9v7WV9X+X5Hi/hyMz&#10;fY5prhprqaVYVZ2ZmjZeFUN0A2p93/ZNe56d4hmsVtxEJFV+JFCeXGTkFtoyR1w2B2A6DAHnGh+C&#10;vEZkNsml3M1q8xktRJuVLR2dcOAD1IQDnP3e3b6j+G3wXh1a4tX1eSe6mkVgbaONiqKww2I9x7Zz&#10;nrnqKyx8oe7Z762+X/Djp0nUqybVun9fcVtM8UwxvHPdywxQjasZRgokHO8njb25HqRXptvpk/iK&#10;yujY3fg7yVikui+oePtC0eZ0VtpTy7q8jbcB/wAs1DOSrfIMMK+jPCHwO8ExwNE+iCV1UL5M1sGn&#10;nKjHMS7u5PAzjB7AmvX5v2efh9avawX2jW39p3X7w28CRzTWoJyY5WGdrgnlTz64yM8FPFYanabe&#10;vTpr3M6uWU60XTqPR2/I/H3x34G+2x+dZSWbO4DkaZfQXkiY4KyFCSmQQo3dSp67WFcDomseMvCu&#10;h634WSx87S/EGoadqesmbQ7ae7uJNMNyLMQ3jRG4hj3Xt0WjikVJTIpcOY4iv9A0P7J/wuurawud&#10;M+3NeG2jTVLG50qKO0trnM2UhnU/MqoLY/MN2ZH4AAL6Wm/sxeBYLq5ik0q1LwI5KfZkYMUaNQhO&#10;CC+CrcYxyM9z7dHPlTp+xm1K+v5HyOK4IwWJnKdGbjO2qfmz8BrLxH4ia8tZoNLu7iOFW3G20l7h&#10;MBjgkAHjLHn/AGj2Neg6PY/ELxzPNFpXhTXElvZ/MiNnojWFszH5fmlICgfIRgsMenIz/Qf8P/2V&#10;PB17dRTTx6Z4bs7i2h1O11AadJdy3ccrIBDbQxDc8m0uwQtGDsIaRDgV32nfBbw34RD6lNaPbeA4&#10;2kmbxFFoyj+14ILloJPsELyKXk+QnYM4KkZOMHueeRVLnSWq77bHFh/D7Lo1bVKj21t+n+R+Nnwq&#10;/Yk8VeJYJPFvjXxD4f063LJJd6PHNd674niMapJEslukSWq+c0vlqftO4GNiwXA3frN8LvB3w98H&#10;+HbPS9F8NanqfiOzOb/UPEmrINCRAFWNU0WC3R/MZnIcy3sqkuuI1PA9h8PeHPAOmaZpWuPFeXF/&#10;rU/2qxsmItdNGnq0Sid8KzHzPMYqynJVeFwpJ9o+I+keH/glfeILnwnd6Lq2uRaJZJ4U8Vfa52W/&#10;fUAlzLf29lOpi8hIxMI55EVjIyKrtsYDzq+d4zEUXOc4xirLRau68/JH1uW8O5FllRQpUZzqu7je&#10;9rqyd7dLu+v6Hl2k6JrVza2q3Os6s+h2mo+fp2h3esTyaJYTtglrbTHkNvE7HYd8cSszIpLMwJr7&#10;G8CfATQNJstU8deP4NW1HR7K9Gn3PhTw/pt3aa9qF/cWS31lHJq8sYs442jWTzHBcx+SVIGVNfK3&#10;hL4neGrC306+8P3za34m0q/TVbpb0pqE0lzDO9217dXMjGWdxNGFAdThMpzhdvqtn8f/AB1rqaum&#10;oeMvGGsT61eXGpO93411bwlKLq4iVZpIRZXIiIxuiVZY5ldPlcAMwbw4ZlluEqP2ycprbqlpvr8t&#10;D2cdDPMdQ9ll0VTpa81tG1p2XZPXRp2aPvDQPiV4P8H+G9Tk+HkcXhiy0fwynh+G715NJudQ1ae8&#10;JuL+aPy4JvnkZPK2eYsMdtDnmSQLXyz4v+PU0uoQ6TLo+kaL4fZoft1v4K0WPRVu1i4WORxK0hRi&#10;u75Cq5Jync+MXesab8RrSK71fT4dD1K1n+x3o09tQkMJhYR5RftTRlJjvkWIlvufwkua9K+F3wi1&#10;vVhpd9q1w91pRvXTS28po9UtwGRFeVcuCSWXO0lhgjr8x8bM8zzHN68KVKaVOyenr1XRem5llXD+&#10;W5RGWPzKN6je71k3bv1767Xdj0P4Y+HpvGHiyHxX4sXVtWeCVb7SrCJWnWMSuRZxsyElDuBeQHb8&#10;vT7wx7d45+yW8rW85W4SwtQunxSK0dvDNK3zqiM7kna8YLLjJC4QYZn6e1bTfCGn3Nho08tpZsED&#10;3emQF4CfJeIRszAMSAWBUZ4Y4Bry3Vtat9X1W1CwvBpWny5nuRbMkIcliPM4KhmGe/VQOMMR51T2&#10;dJKhTerd2/zf6mVWu8ViHXelNK0V27Hyz8c/gxe+NvDN7BGBKZ4/tAheQiG5YJti3A5XCbn5/hDN&#10;2yD+MfxC/ZI+Leh63e6notpbXunxgyXMFnIDCI4yy7FIbDMC6HPPy5654/qqtovCfilrTR9RT7HL&#10;FbLCjwsRvLNh5pXUlsBgTsUHg84HA5C98FeENO1KznzFcaWJZZVuCD9o1KOOVVSFowBsBUNuA+8T&#10;novE1VhpQU001ez9Tjy7E4vDVHRpxab1s1dP59z+YjwX4fuLO7trPWtGvprezCTamYZPIMcWSXVJ&#10;yrbOAw3bW2kklSBivWNF8L2GrrDEdOv79YQfN+yQ+VHMxQZ27uckjgLuwMZ9T/Q3Z/CT4X+Nbif7&#10;Rpely3IZ4Y5k0q1t5ZlPzMZZlG/gLghmb/V4HTitf/sjeArGM3Hhdo0uS8km3yEYOi5YjcvzAZzg&#10;HjCkH3VKg61Lnw8/dV9NPI9avnVKhVVHFQ5Ju2uqR+G+m/CK+mk0uC60LU3hsIjb2+m6lbTRR2UL&#10;SvMiqzqoAd5HdmX++xzknHuPw3+AcN1qq3UlzHpLz3Sm8ntEW3lj3nazxwgAZjC8/MCflAGc1+u1&#10;jpH9kWOnaDq/hSDWjo58izupoYzayRNlXgeZdsnlOG4J3MjAFTkVk+NvgvprXKeM9ChMEEKxzv4f&#10;RoWsVwuHO7/WOV4AUj7mOck1lWwfPBujLmas3F9utu4U88xNOtGnV9xS0Uk7pvSy3M74Z/sx/Cua&#10;7sHfxb4i8QGwgF1qWoXuu2Gg2GXGILU27SyxyO25Wwkoc5bIXANfTeh3mneA7rUdO8PRzaXoltHb&#10;SQaIusPfx3kge4UebPAV3o5ZpMcgbsc4zXzrb+Pk0WPTzDpumWItYkL/AGezit5VI+TYARgjcFGD&#10;kEg56ms3xt8QG0ubQbme4eAa74f/ALUNuIVEmDfXyxgnt/qsgJ2GCQDirefYfD4SpLDUlCUNW0rb&#10;2Xr111OGPDeZZvjY0cfWc6dTRJvqvfb00u0tHypro1u/pm48STapF9nbbJNHcrfO8KmQw7iFBkxy&#10;u0x8E9Sw6k5OdJqIga6BDyS3FuOUGWXBJdjx0/d9eQFU59/nix+JFlORBBdqZrhc3EbAGR9rEknt&#10;gELxXeweIWnjnu/tFuGez2RFXBCDLDnPIJO3r14HNfP0s5p4mteM7y38+x6VXhKtgFyunaD2Xndf&#10;hf8ABHq9stvPqltfrbS23n3AntUE5jto3UGJl9WyJG4JPzJGeNvMmryrLp0vnRrcRSgvGLcghfmL&#10;KSvoGUd+MdK47RdYguRp8chEhtpI7veQrBdpBJJOMZ6cDpXQ3V0hM9tbqv2c2pkmXcZZG5DA/wC9&#10;hxxwOgxxgevUxdOthFKD1ej9Wtb6bXPn6+Dq0MZGM07xtbySfe9+3z33PBPF1o+raD4n0+eAW9y9&#10;kxtZZQDaS4YYyzLtxleQ2CME4OK/m2+KujQeG/ibr+kahHFq9tJeTKPKcyW4tZS6wR7eoyCqqVO1&#10;SR1r+lLxDJNv1aFw/kyWztN50ZMWCeCjdtvln6ZORzx/O3+1xfQaB8WRONLt5LmzlaNrtndPtEfm&#10;yYjKAhcqHC7SCSBkMMkVGAxEOaMI/efbVqTcHL7MorRehxXwa0u28E+HvGs/2y1D2f7Jvxc8LXgN&#10;tuivF1/QksbaGLjKtNdeTEowApcZJJG3zPQ/F9v4o1X4TfC/UtWl02z8aWqeHDqERkeWGUXV5Yys&#10;0e/503vbiRTggOQGQFSNfwN8QbjT/C/x1tFgtrHVtY0OHw1Zi+hW4toob3WNJuZbZlYHaWitGcYJ&#10;yFPbgfK3iA/ZdL+GuraS5i1XQfF/iueGOaFpbkLJNbX9nIiD5trC2kK7WJHn9M1+j4Su8TgadGfx&#10;Rb/F3/E/Hs+wMIY3E1qWsZcuvW/K/wArnr8N5J4hl8Y6ZqS2Y8aaNr6zRzwRf2bbz3aQoIYni3YF&#10;tdIs0Lsd2Li1Oeu8+66Zr3iPTJPhdeaFfSXmhnXpbW0vQ4t7mykubMPe6bKX+ZJrYadGyuMOHZh/&#10;GDXxx8QNZudC+NWoX93o8k3h6K8Sw1a0SRo57+x1ppNbiErj5gYxdfu5Gxt8mLAzxXtPg7xboGnf&#10;2boOv6ve6x4X1Hx5H4m0rxHHbyS3KO9tFFDFcqrjb9ojKQPMCxVk3ZYDB1x0VUU4VNrW/wAjwMhr&#10;TwmKo4uN7KUX6d1b0/U/dPwBr13qWnaFF4mt5pBGA9n4pgs/MF/bEP8AvJ2QH/SBlVZk2bihPUkV&#10;9GXerXr2SCzEcc0yojpJlnlG7cskhAGHXLA54IY5wcY+S/gTrVojXGiac80UMEMU9jLJMhCwlC0M&#10;MjDCs4ikRSR3U5BycfVOoXEhsbQWhigkuG+x3fnKdsgBVtwAHqFPHPB65r81lha8MwnRm3y/n53P&#10;6xwc8PmWFoYqirXWt+j63/E+WP2irRU8MSrNl7iQkyzK5WFwFK7gD169+cDucCv5oP2rNLgtb7UZ&#10;FRWaWJn3SDBXPU56cYPft9M/01/tB+HPE9/4Vv7yK2kmsIFaKG4ClPMkwM7gR2DKcA55HrX83H7V&#10;/hbWNFgvp9R867M0JIdjllIycDnoAOe3JPpWTjXhmMZT2srPyP13w/lSjSm3UTkm9F99j8sQpS8+&#10;dlKBihw+1kPJz9ev5199fsiWyz60900SyLbIrrnhRkhsfkhH/Au/FfALlhcbmjJDNn503EDngHp6&#10;+2a/UD9jDw5Le2V1dwxIHmnBLO2xERAQcdckn0/vCuniNt4JPrf+kft3D0489WUfhUfwvY/f39mi&#10;/kZLZVhiM8jAOI48LwM88kY5JxxnJx3r9ONEcvZIDGFCsJioCk7VB2rnv6++0Z4yD+b37O9qunab&#10;YhI5iJZFRmVFZpAnzEFuTgkHOecZ5OeP0W8PzubdXfesAwXjxgSjHf8A75/QVx5DyQoKN2317H4D&#10;4kxjUxspwVrN/wBep8Dft6X9xZWWgWzWxmupbG4kt2kuSkNsjSAh/LBCk5OVL5wPSvxeuJiZ50cx&#10;ozyAjaoAG47vkOeny4z+HcZ/W7/goVqE93qehRWRkiSx0Nra6aVgsTFp2bb0GCAOnTg9eSfyKkjk&#10;MkkJI2M+JpCTuTHbIwe+TjDAjjBxX0Fdt01GOmi/R3P4ozys5Z7i5NXlzv7lZFUuWKvw6KCcEEMN&#10;pG4EH2IFQYlZVyAsjgMd42R5YBpDjORkBiAQDk+9W2BZW2cM0e58psJyBljj0OeR2znFQEo43SRs&#10;dm5kkUA5JTaO/oT+LHPqOWLcpJvVrc8uejUYaX/HqUi+1dkjE+XgoGXbtGGGQwHPXHqcfjSZWIRM&#10;J1LblRyoCmT+EE569Rz/ALOeKapYKx2MzqOfkXBHyjCknJJIUDnqQeOcsmQIAqlgJMY2BjnBzyME&#10;4+UnIyBj6Vo9KnNb0M4xtDmv2Vxis0iJwpO0qys5UJgA43Y9Bgeh29OcK7Kvz/e2blzjaBkkt06Y&#10;LgYzz8pxxwyQfPvyF2rl0ClSFGXO04yM4fnjlifQ01mXIUGRi8hCtHGxUs+8DAHY5GBjog5XABLT&#10;lbQT5FBxnrLp95ZWSQ4kYb3EYYIx4w6cjAGBnc546Ej0qRZQA/J3l/lkcZyeAVJ9QMnPUe/FUAC3&#10;mMGYqzjaxQLnGDjggcbjgDgdquwPEJS4y6hSr9ApILtyeoznOCei4GDk0NtaXEqkXq9I6P5jtx3k&#10;yJL8u12VUYy42q5AXGT93Ix2PuRVovJEy/u1UPlsK2UGWPyk468hvxxwQQGCQmYSuzrtVSsTjAYA&#10;52EZwcHHHru69pEVXjIZ9kIHy5JkAOSSSefUfe546mr0umlshSvN8iWmli0GUgblzuXYWLfezwBj&#10;pngDngVYjbIVnxtR8ggfdOOi89enUnpVUIXDMGYLtOQi7wc/3lzgj0z/AHeM4q0kW1R5eG/dkKSc&#10;byV25YHPvz71g2px5lqjWUXBWju9CVGHRQpVizj5eecEsOeoyc59R0xUjZ3IkjjYBgnmViePlz7k&#10;g9f1FQlZFLxnapCHAH7zI6k5A7kD8vwE8jbS5JYgk4LAkAHGM/TjjPHtWsUlZyIkmveT1/z/AMh0&#10;Ww7ozmPBZVDHzExgKSFBAAyw6HqoB4xTGHzSR7FC4HBUhpBkEfMCCfu4xyBj3FSHzB+62t8jBg/n&#10;EBRkfKSe+Rn609cO8shOzK79oAXJ6gZxjHQdx149c+SfM30/pCWvLJELhHRESPBO5GwcE4BJJPIG&#10;OD0zx7VAGcKX4YBkdxlWZs8kY4ySA3QensanlJIwFwWjysgPQ4IXv7lh9fQ4JskYohDxqSp+bjDd&#10;SfXvg+pGKcEvtaE1YKL510f5W/MY8zqd3dmGTgMMA8g/hxng4I/CNwzD52BcsU3gAYYfjnOCQPXi&#10;pk3HerKFB2ordQcnlsn279se1NDbdhQZjaPeN6gKTkDJJ64IP059KfvRdrm05XfM9E/6ZHJgss0s&#10;hkURqsalQSNuSWyPwA+lVY9wCl1IY9CjlixO44U+gUE4Pb6YFhwGVxIpjcqfk3ELwwzjjvuPXoO4&#10;A5iG4qrPHKVWJosMdkbKQGYYztJwAMkZyPfFXy+7Fp3fQmU1OTvt/Wv4CSAb33ZZ05DZAZe5JGOn&#10;bHGfyqNMtKvmDPbJOSME4BY9+V6+o471OIw6Fo9zKW2cfeZSeQ3sATkd6ieP927gyZIwNoLrkfxY&#10;+mRx6ipcrycJfIcWlaKV01ciBO9UDMOWdMyYXHJ28k46jv6YpxBcojBWUy7gOAis2cD36sAPT6US&#10;Fz5hi2gFVw2AJGO8r0HXhlJ64wTyKjQR798mXKESI8Y2udhz8x9Bk/TPFaR5318hynTTSlH+rIdI&#10;ZI33RjJjJBYjCSDkAjt+g7UyLEh+6Qd287/lcAkdfqVBI7A9BmnyozqEjEhPm7lZHKvuOWHXtjj0&#10;xgcjildQACWO3aI1GcyY5wfc8EZx3z3qpQvB6mScdZ+VvQkbcFk3AqGJG5MIFwMHnuMqPzFRlmUu&#10;qkvx8qgMN5bOd+Rg8449vxpwUEDB3um5gQqtgHORz0zmn+WokRCXAU4dfNJJHIODnoOv4Vmnyvk8&#10;vw2uPVJTitdv+CUkjV9p2ssO0liXYbyCCvPOQfnHGPvKc4GC5l2BxGAQ20OvTftGQc555UckYBA7&#10;4xKsf+jokQKFioWPmRY8qXIzwMYD49Qh9KRIl2bA43oSobbxg5OD+lNyV+S726f18iHCcW7PWNv6&#10;/ApeXIsTCQBwe4JBIPzYY5PA+ueKaWeMBWBjDklGWMybGRXkIHpkRH1yWNaK8RNIrB+hSRyEDdMk&#10;/iowB61A/mOsYcH5pMo7LhQ28qAQeckEA5/vH6VpGTlJ8uz7/mKKtFPrr+ZAJVIyqQYPI3wLvPuf&#10;c9TRTjDJk7Yg4yTu8tPmPc9PXNFHsIt3v+PoQ8TQvrE8gY5mQYRmTaoCkbn+Y5VflIPOzpk4I6/e&#10;pqKFAZhuk2FzsABXYgCnsccjnk4z15o4YgKkhKsApYfdU7mBx65zx+vApVTcYvmY5MaK55j2KFXb&#10;z3wMAZGeBWLilHkS1QnNpRbV+7/ruI4kIPlEHIJcoAhRck4PBCjPcDowHrUbFWWTG3KAbxt+Q7FX&#10;DZxnAxnqRgAjHQzTSuNpbeVI3+YWDbjuOGYn5s9sd8Y6Zaq7ptSRlV1kG5Qg4K+ny985JOegC8nv&#10;U4tJRb03DRyt6ij53U/MsSkMyNkrFlQSxPquX4H+NQqwTLMMboGYgYIdckIWIOQQd3B9ugNW95AY&#10;SFvMcqisJggAGIwck4CjaBk8YXOcZqJ8McsdjEAlmUKRnjOCBnHXBz/EM4wtDfMrPzZdKKhJNOye&#10;/W5HL5WCkbIr/d2FCXcHoCMcHjAyR8zLk8UqgxEBlVixwEaMowGcbumOh3d+2PUIqp8z5bcZvMaM&#10;LsxyHx3wMMSM8EH2p0cTKQCNjKigj5sPwAWJz1IHUZ6d6IJSXloRHnlTam3zf5iqm7blUIScFAuA&#10;74LZYDvzjgevajMquGCSEzSM3zSbjHnhRuXGMDIOOKeke3PlqFXcbVlWVFTK5wQRwOCOe5/AB6bQ&#10;uDI6KG+dWADMzFQQi4yM54x6c5HJfO1JwsW4aJy6EezyjhwAA4BcgJggk72J4AxjGeuOetSxAtlm&#10;yHhUyP8AKFjBDg5AIPYD6+napkDhxI7MS8igmM7wueRjjHzD04GcdKjWEkEou1wjA72LbTuyCuMH&#10;BHX/AHu1Ywk1F32f5ij7kFya/wDDoWNHZirIyHPzLgM2VyOgyM/M3ocZzjAFPjnG0ESJDGkhYu0g&#10;jQDlWI565PJJ5PfNSMQAik7kO5CUYYZjhsdDnOGP4/hVhANzvt2mWfhiACVLBxgDp26ep4FNRly3&#10;fYtRcUnF2fV+pEFl8sIAVBZei5BG4AHPOT8qkDHHHfgTKjR42v8AJk+ZhjjlSuM9N3OO3UnPYyAy&#10;tlpIiqR7d6O5eRwSWz1IPG1QQO3G7k0+NUVwQ7EgBCMgliqjAI69SeSeTQ20lJbsG4yk6FtL7gFA&#10;m/iUKwYgrkkZBHA5OOCcYBx0qztd4wqjczKXDZ+fkMpBO4H7vc/3hjmmorFjGwjdTuIAcoVA4BJI&#10;9m+uBgnPE8SbpHbEpVBh+PnTOPmAxngj6c0QlzKMPzKTlyeTQiMZmCxk7VlIKKN5JG0gEAEnGwk9&#10;yM09kjKsI0wZG8seWgZnCiQ9/wCLKryT2xzwBIjja3LZX5tiXBbcAJBtA77ii7sbT8xxwOLXyiRQ&#10;mQZMMdzhdhwoLZPUEuwA9wepwIglC0aau9rEQmleO7b/AE0/AhhIQLEg+7lCF+baQMKwOMfMdvvh&#10;SP4hUyowdiVC/vQuWIXzMD5ivdsYI/nUsYJR3dHUOpQAja2G2uvC98gkg8cYxnGXrGshKosCgDmS&#10;IBc4AQ7R3xnGB/ETnuDVSa5rdbf5FpRdHllqxYImBYNGQQ4Eg2B8lShx1x6fdPIBFTQqvC4JdVRi&#10;G+Yj7x9fVTnAxgD1pyk7mAZiYQqDcpxu24xnt8xwP506EnM3zSN++/dlkDbARH8oDfw4JbPXKng9&#10;BCjzRk29L2JTamuXRv8APQmIfc6yKOJMKuQAp+6vOcYG9vmPbfjqQZI2TADrvYKqoykgqGG5Qccg&#10;jP1BJ70yNfN2KA0burbWwSx2o0hH1wpz/u96m2JGpEWVdDgROSyMwBU42jOSec85wxzjmnFQlJ2/&#10;r+tTRq/wSJvJKlHRljlePEZjwcfMN2fl6NxkEcHJHs6O3Vhu5cuXjlVlDHjB49eMc8jpUoJOwt90&#10;sXUkEuAwzj654x0G4ccVYjO1pJInIJk3L5Z2hQFVWz78Y+iip5m25pb7M6U1bm+/r8ySWNdh3Fnc&#10;/OAF/eKAeCOx5Ge3FIo+cthjGoyw3AKMswAHfhgenB2nHAp8bO6lSuGUgH+FEG459846Z9SD2xIq&#10;KhaRiG3jLruDgDcB13HOAc/L78HnKg0puMiZJSWnw7khQ7mG4ABMq7YyyE8ZAJxkYyM8Y56c/mN+&#10;2l8O9Q1OPVPEi2UVxDb2CXEZEZMjfZNm7GPUsDjvjsBX6dYLKy8GNX8xmRsSEYAC9cAA9yOfavM/&#10;i14YPifwjrNovyTw6ZM8WQPJk/dfMhznqCV47v7cdmAx08HjYYmGjj+WhyVcNDF4SeGq/DJ/f0P5&#10;ob+e0FheTDyIBqN0QxjOVEYbdx7k4/KvM9SaJHaKI7tzg8ZOc9Bn0xXpHjfRLrSpmtruDykSV0jV&#10;AcuFlPQevFeXXxxNGVLAbwRjgk+n5V/TmXuFahCtB3Tt+h/N2YU62HqTpSWqb+9XuS25KtICuY4w&#10;SrAHk8AV2l5aw3OladdokeYw1vJg4ZsYIJ/MfrXKQuipOsq8GZfoAW+nfua3LKcywG0LEFIBKgUY&#10;IIGT+ftW0oycbvumc1J7wWvMrehcs5YV1Gz8wjL3UQKBigxwrc444J/OtFI/s+oXmE8zzGmAkzjy&#10;AowCP7wOc/jXGNK0moQooO8ShiN+CcYHP45rvb6J7eSdJ0ZFjxHEcgGUyqsuc+hDD8D1rLERcIRa&#10;63NYQTqNrpbT71+pymjyO1yzZ+aEGcBhwpwQOai1WWd7uztgC6JMYnj6pIGIOM+3P51PprpDKwKB&#10;mlEkeCdoUbSSc/mBWbfXWNZjXZuRyCq4/wBWwBO4f5/lRTd6sXFbL8SnKSg+fZ6fK5iahEBJcyxO&#10;DG0r4x1UA42/lWDNuR98a9RyQO3+cVqXvmxxsYnPzyuSFPygFjxg/jVCMCIrFNjY4zknA5FdaXLr&#10;H7jJ06bbffr0V2MivZLcowbCHIdcZ4Oa6G2vcsjKTuICsM/K46YPvjvWHLZ4wyDIcE4DZAHbH/16&#10;Yu+MEf7OAM4wev8An6UXhOztqQqdSCfY7K1mW3mO0bYrnCNkAlecgn6f1rrIHdJ7a5Vg6RymKcdx&#10;uBUnHXowIP8As159FcJLCAXImALlR1H0rr7C6MkaRljmaMZkY4cMucL+v6VzuM+TmfQ3TcZtN6DC&#10;Wt5kliZRaTuUdc7WidSRnHvyePU12mmat9kkFpMxIuSN2DlXDD73XHfH41w96yI8bPj7PKVjlHOV&#10;bhc/Xv8AjVmyLSReS8imazB8gqCFkjzyAfbGa56tOM4JS8jqpTVKfND+tj2jwbqzadr954YvJ0j0&#10;jxKY9KkvLmTEFus3yxXDdcbHYEn0Bz0rjtYsJ/D/AIgeK4CsbK9aCWaPBRl8wglTzlSPmGODxiql&#10;q0F9BHA8mLlFJgmA2gYwcMfXOMe+a9Avby18W6FDNfZt9asbZdPupo1y92LZQkTSDqSIxGme4jHF&#10;ebUtTlzNXto/NPr8j14v29Oydru8V59UcgiyGC8gaRTKHzFIAcEcglT3yOKZourapot3a6lpN7Pp&#10;t5ak4ntnMchDE5Vh0IYLgqRtIyCMGqZneFYEKlPkJkL8u2CAvPTBOD/+upI2FwFuEBJfCOOip1Ib&#10;B9xj2rOT5E5XPXwzpTcKXV7nr9xJ4F8eWsbW1jY/D7xvbWqrcwWbTDwb4ydAN0yo7uNNuHGRshP2&#10;RjjEcHU8rD/aOlXDWgSSCa2ctIrAsoxnv0IIH5j2rkrSVUOUPzcKpAy6kk4b/PrXZ2OoSzp9mvgJ&#10;IY02QSyNmW1UsW+UjkjJOVPHpiuHET53d7n0WAoUlJpN6/gh8F5HO7zRRKj+bteMr8gyTnaTz+FT&#10;XgSQBoz5ZG1iVUAAqRkjue+PX0qJrFYX8xHkBj+aPaQ8UyjjAPUenfnj6WfNjl2NExEYBVQ6hXB4&#10;Bz2zgNxjr3rzL01L2kdz2oU7JpPy/LUzFgRZAEG0LFtHGS+cgHH4URysrJg5m3EMiLtxjg5/Gp1B&#10;81nXc4OV67WT0P1pGEsjCTlflLKzHG7knH6e/U1rGaqS5Uc06Spz5Y9X/ka1ozrGrZXLMA6n58HH&#10;U+mParjFARiNWdkBxt2oxB5yevrxj8ay4p1iDoIw44Uo4+ZgeD19s596142iSPMhUEr5jHJBUE8r&#10;/wDq6Zrmu4vm7s6YRtC83oaay/6KN6AKOWMYG0kgDaOh4KjH1PNadnEqW4coXlk2p85OSpIwAOcH&#10;35rLQFrWQefapDI3yoZMyrgKQcAdTz9a3NGieaSKK1kEkoibzHkKRRRqFGZDIxCqAOcnGD7E55K0&#10;XrJ6XPUwM3RmpQXTfz/4Y2bWJ1FtbJDIVlmJ3OCwdnI2kNzzjA9PcVdZh9vurdUYIszxJNJG0fIb&#10;CqQDgM3pz0PbNXLa7VJdrvJIInUm6kZoWixgNtyN2eh3bc8Zxnintd2dvO19NFLc3Fwv2i3PliOE&#10;OSpZwmTkEkkZ7D15HDzOV7f1t/wT6CMqilzUvh00/r1FvbVodN+zQS+XeTpIWjL+YW5YcsFHUBsq&#10;OgPJ7jCGlNfBLeArJPaANcBpltIwT1R5GIQKCVXk53DAAABbV1HWYLmRPOuPstqkOI0wJbmckkqc&#10;9SRhcscd+eTVCK6e0txe2tmhZZU8maeMS3OxRjKk/cwASWAHJC5O5QXTcYe+o+a/r1KVTmXJPVr/&#10;ACvb/gnYafY+GPBfmalrl3DrGvTR/wCg+GNIhliiUl4xK13fSKBCNvmDEKSsSAPlUsw29O8aarLF&#10;b21slt/aN1cKuk6Hp8Xk2VtyI97t80sjDdwWbqpPJLZ8zsorDUNY2am955TyF7m/SIXLIjNlvLiZ&#10;kOMFlLFhyQ3ONp9P0F7C0uYdV0Sy1K5uIy1rptxcRrCZZQ7qAkCl5NoAQIC2cAABi3yzUi6yjCT1&#10;fReuy9Tpovlhecb2vdvb/htbnaTXV0scdup3bNKMF7P5MUtxIN264bzAMrG7jdtXaxQYJwSK9/8A&#10;gP8ABHx18a/F8Og/B/4e+MfiH4wSQN4P8F+F9Dk1vxPrU80kqQ3s8SgxwW8RQzS3FxJFbxpEEaZG&#10;dd36hf8ABLv/AII0/Fr9ui1sPir8R7u7+Dv7M8GTffEqaxil1/4kRRM32i18I20jFDFvUrJrN0rW&#10;wTzBbpcFllj/AGd+L/8AwU2/YP8A+CVHgS//AGf/APgn38I/B/jLxLFNJaeI/iAt5PfeEtT1i3BS&#10;WfVddj333iG83hxIYZkt4WlKi4jwYa6qmXYLJ6P1niCfLN/DSjrN+tr29N11aPhsZxdj80xcsn4P&#10;w6rzjZTqPSnHZaydk/vs7WV2fKP7O3/BvBrunaNF8XP2+/jx4b+BPgfTC3iPX/CvhjWdOvvF2zzX&#10;kYa/4nvQdKshKJAXSzjuHQqqrdZPye66j/wUc/4JDf8ABOCO68K/sJfs6WHx5+LFtataS/FTTbeM&#10;6fPJbq++fUPHuqLNqMsQlRtw0yCS3LKduxFVl/nB/aX/AG9f2jf2sPEMnij9oL4ja9490+31GO+0&#10;Tweb+TQ/BXhqQh0C2WiWxFtGinfJudJbnO0C4I218LeM/iJrl+RbObayjiKPbaHZ232bSLQgEec0&#10;KNmSQKww8zO2VzuxxXMs9x1dexy6ksPQXZXm/V7X/wDAjlqcHKtJYrifFSxNZ/ZTcKUX2t8TS/7c&#10;7an7Tftcf8F0P24f2gW1jwvYfFeD4R+Gby0aTU/DHwPhuPBml6VbmFjLHc+IZWbWLkqhO5o5bRGk&#10;GBBjCD8CfGHxd1rxBcX17bTz3RH+jw6pdyvc6hqk8jiSe7uJnLS3NxJIdxmnZ3ORyc1S1jUri8MA&#10;MNgYbiNG1OW80+KVrto1bbGobPzEOdzc9Bnoq1yj67qhlfT9Lnh0u08s+ZPZW8NpgY/eOGCjg5bn&#10;07+joYOhOaxGJk51N25O/Xz29EdcX9WovB5fRhTgukFy3duttX6sT/hDLk21zqfimaK3vb9EuJWv&#10;LkxTiJD8sUaYZhGAQW+XnbhccE52o6+NK0uG20mCRJL4mFZjCimK2U8FEXIRZJEJBOXZYgTtztG7&#10;p1raaikwcTy6PaQibU752YPe5ISCFd2DhpHiAPBA+Y/c45/V7S8v9RnvDEFMwBWGL93a2yoAqIi9&#10;lVSigdSFBOTk10yq89RRq/DvboRhMDGpHa0lu99f61PObm11abMr3EjO0AtmSdfNVo8klMEE8Euc&#10;9iW5Bp9r4cSRTPLLau90z77aIiO4ttrD7yABVDHcUA5OxuMBc+waXoNtCiy6lJAzgDbGZS0cZ+Xj&#10;Gewz/wB84wK2m0/SbW2mnhjiZZG2/vQFO1uDgk9j+laVMdUu4wR6lPBUqMl7R27/ANeZ5Ta+HJ1d&#10;MW8as3yrEpLgZHbOOtbQ8G3gCSmIBSxUSRnBLEZG4D25z7Vu3mrQ21wHjaFo41JjD4ypVVzn3G7/&#10;ADtNXYfFtvbWaO1zMsUrhruLzmaCQmTPCg87Rn143Y9a539cqK8Y6HXPF4SnGMVbZX/L/I44+EJE&#10;lBkiNupXbG5GXbn5sDk/n3qS+8MwMyogu43EQ8wyx7gGwAFGBkYAwcew54NdPZeN7B7+SaWKNI4n&#10;PlruINwHY+pJ+7gYbkHvmupn8T6ddQISRIJQZiqFVIx1AJBOQq549e+MUr4y6biaUq2Erc3JbTp2&#10;21PB7nwoBcELNEpZmh2tnfB16j1Of/rc5rn7nQ7uNZYwoLIfLZiNrAAg4Ht2r3+OXw/PeGTDxpcM&#10;Y45LhxKZCcEBiFAzyD8oGc9O1ZmuaPYmNktyzrLIzDB3xyY3ZGMZzjPJ9PUgG4YiatzaafqiqlDC&#10;1H7r1X5s8DuNPb92pXb5QDBmXrxn+n61iy2agyu0akKvytHgjPPX9K9d1LQzFFLIRkswjXDDfGo4&#10;+YexBFcxNparsto4zN1lYB8LIT2yOfTOPWu6hj7LXc4MRlakrpLVX+f9WPP7+BLtBGIybgY2norL&#10;gkk9ORiuYMk1nK3luy/OFbA/HB/SvRLiyRp5BICgVSsBDEA4z39ie/TFcnfaf0WKJnxMxaXeSGzj&#10;Bx1HT9a9vDYrmioyPkcfllSE5ShHq3+XQkttUeUJExQbiwZsfKT6tnpyatr5Qk/ejbubfuUkhvmH&#10;Ocd/6VzMnmQyhAPn25LfdPqMe9Ot71kOVk3FVBZd52gdePTtXW6MZLmgeO3Upy5Jq+p0MkKiXMbI&#10;wbcEKPhMEZz79ucVYPmRELI0SjIZwHyZTwDwPpj8awRfRlgxBRRkLtGAhPU4H0r1Xwn8XNe8K+EN&#10;X8FWHh34Wato2ua3Hr9xqfjH4O+GPHHjLSLiOOOEDStdv7GbUNPhdI18yCzmjikILOjNzUSpPlfO&#10;3a3bqYutKE70rNt21/M5R9QuIHijWaQSwKAyudrZPXofUk/jXSW1zi3gLo3myuvzNnbgnBOPXk9O&#10;eK4MzzXdyfIjeUM6opzukOORuxyTgMc1+kn7Kv7FXjP9oaTRJzofiGbRDGt3LdaCtuI4rTzViMs9&#10;zK4ggUsQoaRi+H3rEyh8eZiqdONJSqPl/wAz2KGIlSknTd76f0/Q+YrWCRnhn8uKQZ3eUf41GFIO&#10;B/sMOOmDXT6LZXasEjtwshf7wOCxxgADPPzFeCc/Xv8A0ax/8EOPGfwl+Hf/AAvf4h+A/L+GWl6f&#10;Fqeo32q+JLTxBDZQ7lVri7t7SWcpEAcuzZhjCOXKAlx2vw7+BX7P/hqWTV10fwLoWi+HtMls5dWu&#10;dBg0KFgzee08c88gWaYRyMcLGjEuVy3ymvmsXONFujODb3+9aHtYXHvFUnPD2dm02u/byP5yk0/U&#10;4sEiSGW2KzqEGJAT0K4GcdwfYe9J4zsr3TvFMGoXMVzYnxXotn4pgjaIRFxNuhlIG7HMttK7Yxy4&#10;OAMY/pD+Nn7OfwJ+K+neH9Y/Zk0P4sfF/UNXdIdW8MeGvhdc+NNbtrtWeSCWC50jTWSO0uMqwifa&#10;64UZZSHr4M/aH/4JO/t1+M4fhNq1t8I/B/7Nnhvwn4avtN8SeJf2l/jd4P8AgXprw3GoSXlnJdW1&#10;/qr6kjKJJ877KP5Z0HUECMFg6+JfLGm1G7V3otFdfefSYHOY4bFU51NHy6q/vdLaev5o+GvBEzRr&#10;HPbzm3E6LiXDD7gBO0dM4Xtzye5FfWHg/Ujp8VlfPJfSx53AB1MbLtbsTwM4Bx2Y15H4u+GXwn/Z&#10;ztW0f4ift6/shfEDxvBGI5/A37LFh4r/AGpNVinQmJ4RrVvbaT4fVgygnbfSfeP3sZPzp4v+N3i+&#10;9VofCeleL20zTogNP1TxTb6Z8OYTEW2r8jyzks+cbI5ZH4PBOK8HG8N4qvUlBWV7a30XzP2fKuN8&#10;DhqMKs23BrZJt6eVr69Ht95+/HgD4/xaf4XGsaxqei2Gn2tmkUl3qV1FYabaojQzHM7ugDAwIww3&#10;Pljrmt1f+Cpv7OXwx0m5tNeuNQ8dmIpHa6boc1p4f0NigYES6pdHcw5AUwW9wCFOMYXP81+k+Evj&#10;J8TrhDqOuy6XYMVb7V5lzLHAJcFhHc3K7iBuA320BGDlWPb7K+D/AOyn8LNJ1ZdZ8c6jdeMbqFBO&#10;bi1mntbh2Kh28y9uGe4fYzNhoxbh9q5Rc4Pi4jAZbl0YvMMY5Sjpyx1v6t6aHvYbEZrxDKUMny5x&#10;pSfx1HbtslZ/fY/SrxP/AMFq/Fms6pGPhp8JdN8OQzhbe2udG0qXxddSRIqrGwv7/wCx2HmYkJHl&#10;WUg3Kcls8eoeCf2w/wDgot8UdITUtD+E3jXU9AmZLK01Pxv4q8QaH4MuFLLEhm07TE0TTLoHgNG0&#10;+0ktuYDcy8L4U8QfBT4f6ZoVj8O/hX4L0nUXinTUNZXSZb3xFdjek0fm31y0pIVgwUBgwXceerfX&#10;/wAFvHHivxbLqOipqkXhpbmCS1he5gFxDGskUiqzbVZ8uzxqrHBUg5253L4lXPKFPFSoZbSbbvq7&#10;7/gj62HBeIngvb5rOKjDeNlsnbbV6bo9q+Dkn/BR20tIL/xL8X/2Lvg5Z3wji/s21+CHhjTdduQn&#10;K+ddWenazPMflIk86d3Ocggcn7Bs/il+1/oUqTRft1/D2a5Me2a08EfAuyg02JVBxumn0yCRhjZ0&#10;VMc4DYrzD4Z+BtQ8Tw29p4hTWdav9Ov498mh2Rgt7lZG8uRrbdBIGcgh1Vmjyu7DAjFfXnw/+AGh&#10;a++oXN38OPHFzcG/kt9Imt/FVva26mNYwttfO9vF9xnBkddh2uoC55HsYbNeLcXRhh8PU9nFrdOp&#10;fTp7rS38j4DPOHuA8vqVMVmNGFVRvdezw/K7tat1IuT01fvdz5Z1rx/+13q3n6xeftyeJJ4hE8q6&#10;bpU174O83b+8ceXZW0aL32qzbVUD5iDx+UX7T8Hif4x6g1h8a9Wi+OtlDqomGnfEq+1nxJo8SRRG&#10;IG3szqK2y3AZEZrgw+aSmC/JA/psl/Z48JpNp8mo/DnSdAtGWOK/0638Qv4h1eYoCs0m3c5RH37g&#10;SQfk6YBr4x+PH7EukX7Xd/4KsL60gt23QQ6pHnV5kc70LRHLcqQNwz2Y4yBU5lguJ5Ul7SvKag01&#10;rO9+krSf+TM+Hc14AjjE8PhYU1JaOMaWmvK481Na+ie1z+cTwN4U8B+CfjpoHgKz+DXwp8H+Cdd8&#10;ODU9G1vwj4Hh0zV7m6jljF9aS30rzSb0RztCneFkjB7Y/Wr4v/AHwNoXhqS+8F+HYre3khS4SeW+&#10;udRkbehIdXkcjJ3nOwKpHbAAr83P2wfhtrvwyXQ/iHb6ZfLP8JvE1t4h1S8jUwulhNMLK6PIwyh5&#10;oZGGCNkbNjgV+xvws8WwfFn4C+A9VjkXUXbw3baQ4DDMrWcCQrI5I6sjRZzxktnqCOdVsViMBSqV&#10;m3KLaffv91tDDiLD4bBZgsTgkvZS6LT+tLa+Z+JvxC+EmtTLPA8LyxpGGwUHmALtycAYBYjJxjr+&#10;NbHwO/Zr1LUtds9QlsnkuWmM6IkBUwRqZEViR93K84HYjPPA/UHXPhVb6pI8ktqyACR2jCC5ffsf&#10;h8AjCnnAJ4Xg5UE+3eBPhaNE0hNViWS2naFZIpjEIJHAVQCmPTp74Nc0qs5YlUUvdtdr0Oarmbhg&#10;5exdnJW++x+b37UPw5udJ+HN74cs0SDfop0+fbHuuBCyMJwvGd5AZQCMgP1JFfknrf7Ot9b3qXM0&#10;U80E7u6X0EDFZvnCllBJZgWyB7KcnGc/0cfGXw6fFNtdxy2BF64W5hurqD/RJWX59u1SMFzjGcrj&#10;IIwcr8/+OfhVdWmn6djTbD+z/CWiz3O2yjjeK+82f7TNJJIhYOz53cNtGMDGWJ9vC1LRlKLaPDw2&#10;ZVcGo03q2/v+fqz8ctN/Z71K9ube1/s6QzFRtguXWOQiVVYHaxCruCx/6zbjkHpz2vhf4DR+JJNc&#10;uVkt0vtF8PzX72ssQsrZhAkRiTaq43yKWfjlgS3U/N9zyWdhp9xKjWYa+1GxfC4aPyWl3SmRc90E&#10;bcnIUEggjOeSu/D+qaWNVntHQSatZxw+amDDKs8IjJjOMDAOG/2lY12U8W3JzcbpXVu+h6lXFVKi&#10;dOdk3s/nqfK3hv4cWOq2llaxyW4d4jcebcxJG7qY+GjX1JKYJAPTPArsxoFn4ftoodLtng1ey1r7&#10;Ld6pJOJ7Ke2WORVMaAnJ3mFgwZflByMkVqeIfD+q6D5GxfLMkwltY4nKzyRmQblVgDgkBskjjPTo&#10;tWkATWY4nb7RbJp0P2rcFn8sgASknGMkqC2Om4gYHAxdaSpuNtNdv66HXRcfafWL3T6ea/zD/hJL&#10;3RZrcW/mF8Kkt2qhboBjsZgSQAeScZ4rutL8V+JIreIs0Aub+6K20rxi1uZmjc7SjnLJggrgYyzd&#10;cCuX1/TNHvbWC705tSi8y+WS3DjNtNBNkOJWGNmGRcAZGGPTvBfaX4nOqy6Zb2Qjv9NzCkJdWt7k&#10;JGpBjnyRludvGMoQByMedUw1WXuU9V62O6ljMPZKcUuXe/Y9f8M/EGazgu4L66kh1AH7ObMMI7tm&#10;3qE+UkEEdAScE85III2rb4r2Vs88FzMhkjuG864jnLSKyM2dyngYyBjGPl6cnPjuneHdW1G5sNWu&#10;jJb6rfajbWSajeSsxSBJUE027JVhGkm3lsfvuuRzBrfg2W68Z6kJR5U2qXkmqi2ktEt9OKu7NlGQ&#10;FcMuxm2jO5n+UAAs6mX15K0JaP7+htDHZZUxDdVaeXdW8tj6dt/jRcX+j3s6Cyt7fSrcGO3isls7&#10;J0laUKFA4zmWQlgCV3ZOM5GfY+O7fWGsxqTS3mlq/mXmnmVIjPtwNpYZPKj5cghWVeOoPzVZ+EJR&#10;LcxalqN5ZTK6NHCrq9uirs3BFVecgMqkt8o3e2Ppb4dfs/t410m9vNC1mY69ZwSahY2F4s7Q6nDD&#10;5aG2iVAzG5cyFkz8gVZCSCEWSqeExspcqmubp+Gn37FVMXkuDoyrP4W1ra9r/L1uRaTeT+GNMsGs&#10;r/VZNLDNZ3ml3F69/bQxzYYzw+Y58tkMEMRWNcFV6Lg7sbxz8TJkurdL6+fUsW8VolvPK8imKFES&#10;JGTcThFjRVAHyhBtC4FesR/ADxM9nP4kutQ07SLW0sfJksNTujFqLlY4oSYoOQz72L7cggAk4xmv&#10;W9L/AGdvhv4r8Q2V7fW3h3QJbvSEkkkmsDNG8q28css0+0s7SOwuPNlBKk9FUKzEngcRO8a81Fvb&#10;Xf17GWGznLcO/rMLzi072Wz0ur9fVHzT4M8P+N/HGp2F74J8C65e6vLawrcWWl6Xm4khLkhlkO3I&#10;iPJYMwAjJDY5P03pfwk+JzWsdpeaLqOgfabmKG2W+8i4ngUyMhaTy2Zgny5HqdwLLt5+kfhxbRfD&#10;67gt9Yg03Qrp9PKiKK62G+gaKWFZLebIEpBVshTncMEAYr2TTviN4b0nS2gnigvVEnnE3MZmnMgW&#10;SONw3JyFll27WPLA4yBjnSy6lKU8VJ812nd/oYYjPMz54/UKUfZ6NWT/ADv+h514A+C8/hZra61S&#10;x1G6uljSeW8W2Kb0cohMYdlGTuTBIwQp55r6ou9Ybwv4e0rRLa1gtLa2U+fCt3bTyyO+Xc7o5mAX&#10;7jZZFZcBQAAxbwHxR+0JFZWZkk1iIFoxDCGux9pRAMpGcEDy0CADOSTkknA28h4Z8XTfEWWCLRDI&#10;8TyrDf3sswRIQWWJnDMwLnO4bYwcEYJHLV59TG07uhl0d9L9tdjgqUcdif8AaszVkv8AI9h1fxjJ&#10;f6mY5bgrHcsbYtNJ5i4YMrH3I3ZXpyB0AAHo2k2NhD4dn07T4I5jdRET+ei27S53ZVkyeSVJyo3Y&#10;bPcio/DPwYtbywsrq4sdWkvJLgLDe3tzMIpIiwwxgCchdrgOOoBGDwa9as/BV1a2QNrEywyxgxSC&#10;3JnuP4zj+NQAqyMDnAK5Axx10sNUoQcpK7ev/A9DxcTicLiGqcHy203PlyTwt8SdMumvbe0smtpJ&#10;sIIb1Y3j3OFRnU4AJXnb1PlnHWnXWifFPUbi38vTtQRUlIuLiO5t4SM4Dgb5RzjgjvkZz82Ps6Lw&#10;U1pYzl/Llls40uJH8zzJIXlLZUEg7STvAA7AegFSDQGsNKsUuBDNPdTtd+XbyifYGjjmlDSAbnYm&#10;SNTuwQVYYGK4a2UxXN7SDSava/nb8z08LxDRpKCpuMpp2Wnlf8F6Hy34asfH2hhY30e7UxFgZIZ0&#10;uEhzy4Z0kcksQwHJJ2+vNe26H4g1exEEV7YX5U5R45LOWKCBFEjFSSuD9wH1Y474Fev22i6TLJ++&#10;uVtbQ6X9pgl+xtKJHicLIgVSAedyhm4yvJGa0ItPijj82NZlRGjKIoiVpssCSxYnC9BkZPBrpw2R&#10;8tqlGpJfNO3y6X/E4sw4swuMi6dfDpv0cfuduj3S26mXpAt/EEMkzWUEVvN8sESIYEi3Z25OAxwG&#10;4IG7PUelm60O900OhjHlJl5LaM7JnQoV2s5XJBPYDtyBxns00aaK1ZBZGCMKpLpIoSQBgSQMNhuU&#10;IKjB8zODnI1LdZJtPa2vpp75RDGVgS8ltbmCPYRIInK+SpA2MVYAsA+M9K+op5anSVOp8dn736Hw&#10;OIznlqOeGs6N7ct72Wmqd7X7t29T5wn8P+GNRivfO8NWKBryOSe9hj8l3fa6SRtLg4ZguMZ4w2Bw&#10;aw7rwP4J8RtHpWr2UWoXWk21vpekxyyFp7WIJuV93DfO07n3bJ4xXsWu+HrXaupKsqyRwmNJJmzv&#10;jwSMquAvO49TnPJyK5HTfByXcKaxHba3ql7ewLLBptlrFromnQwqp/ePMbaaQuVCHYq/KARkk4rw&#10;8XhcZSfs4QjLTqt49dut9tz63CZphlQ+tQrSg1tZ2tLTS8pJJWTu7x7evluofs9fDIuJ7LSI/tMD&#10;Kxu2vZzOmOSFZZCjJnIXIJ459/N/F3hzxV8Pbe+1TTNNvfEGk6eiytZ6faD7TbIcsN4VjuUAqm5e&#10;eD8pNfVNvo2tWM1rPNplpcactyJI7JdZGoyz7XaQh3EcZKqoUM2FYM6/KucDo7qNzbs14LUJMfKl&#10;sUQJGwYEEBhksQCeWJ+8AvVsfO4zKsPjIP2lJ0prVSirfmtV5dT2sHxfmOXVYRnVWIpPdSknfVaK&#10;zdnv2S7s+PvDPiK4vLG11G4t5dNlu8SHT7iOSKeIZDbXDYYA8YP055Br3fw3cRSz2z3czIbh9024&#10;8NgF8ADnblQD37jPNeXeO/AA0C4bxFolxe3lnK4nWyBPk2WC3zKgLEACMkqCRuHTuYfBWs3Oowxz&#10;Or7UQxxvIpRW4JBAJ55IyOwHfIA+dVTEZbjY4SvHXRp9GlbXtfufXZnQwed5U8xy6VovR6WcX2s+&#10;342Ot8R6SJobmFWJkkt8SqygBmLbugzgMCAPXP8Au4/CD/goT8NrbSPETa2jRSWzTFXeEgyLI2GQ&#10;sOowFLHjPK+lfvrLqFu2qFFCCzhigWKJn4DBcM3OSTlWyOgyOACBX5y/tsfDrwx8RNJTTLnWIPBm&#10;t/6nSL/WkY+GtTmkjUxxXcwG+0Z/MC+c2+PcwDmPll96k4KMZUn717firHk4erXjCCqp2Su7ea7e&#10;Xlc/n98WfaLPwFrlnHMG1PxP4mtNSgKR+XPPbWFjJAqRXH3QWkvHxvIwLUnJyQPDJLnS/EniPwho&#10;V1dNpsOta9FAt2H86GyW4/cO77lJCKiPuGCwGcE4Gfqz4yeFfEXw11nTNC1PRJoW8F2FvoGp6WqR&#10;SpbzKGuru9t3QsrRXHnSLFPExjMKB1crIK8Z0HwVp3xH+M2naD4auY49Ku/EEK39hYXQt72azt9P&#10;1B9RlsJsEB1On3JZ9uI/OXg81+jZbzTrUlu9L9rX/r7z8+z+NOnSnNLR3lf5f5WZ1/xN0LW7eDxn&#10;a29lpOpP4w+GPgrVZvEOpJt1K0a20+2SMWzZKLLlIlkd8kxwtkNljXkfwzvZ/FHgPWvAtv4dvptf&#10;+H+syeIdQ1JGZ7RrK5Mcmnwuo52CeG9R2BwRcKNoxX0lbQzeIPh14Ddp5YE8QfBe1k1+3u7Frq8t&#10;7ZU1SxgijjfHlhd9i5nwNoDKqkncvL/Crw1bRfF3ULLU4ru3bXtMu479bd9lusslvZ3enISFOBKz&#10;X7g8jMqLwSTXfj6zhPa6t+v/AAD5HLsLOU6d9U5ad9Gn+tj9n/2TfE58dfC6HQGWxvL/AMO+GrXV&#10;bDUkWSO61yxtZZXt5Pvcy28ct1A5QL/qsMCAhP2Z4S8Kx3dsraxfSKNRYyeZLcOzREs2wRYGVAQM&#10;Bg54POMCvyh/ZE1zxj8M/FcXgzV9Yub/AMAt4kXW1DMLW1ikmh+x3ce3HPljBYAKpLqduFOP2Htn&#10;06y1C60SLRorc6bqc0KbtQmmgmSOUhAyMxxvVonUFvu+mSD8jjKkZSjiJWurJ9vLY/obhuvisPhJ&#10;YGK0k7pqyatvu/NB4y8GTeIPBmpxrYomk6ZYzSXWoXVyEAEfz/MM7mY7sKMclsAZHH8xX7dnhu6t&#10;bbxDbSJEsVpE0yGMiToeGyO53A+nA9Aa/qk8WXj6t4evNGeERmax8+yt9Ms/s1pEwIDSP7Kkkgzy&#10;cvgHB4/n2/b28MW1ja6szlnlu0ZJy43SMRksoUgdOQO52+nFcOPq00oSh06+fbyR+leGeLxMM2qR&#10;r2Tm9Fv21be73v06H8vV5HJHezRshMhfCbjz1yBj+vbiv1T/AGL2mHh8CN8p9qPmLFJgwglivHy5&#10;GFJP5ZOK/M7xNZtZ67dQwKhMch8wBd4kJJJIHUHJ6dc5r9K/2KZV0vSrSWaMET3hIDthUy3AxnkY&#10;5B/2q87iut/wjxqpbv8AQ/qDhmnNYjFU4LVQ6+qP6Q/2bLSGXTrVbpINmVZRIhFwhA+8HHO3kjHf&#10;b06V94xpbWtlIERl81PM8xgRyzZ+XPpnHX+Gvgf9nm/Dw2UwwC0KtGVbCpuU7UK49ATj2r7wnSK4&#10;0e3naURTTTFZYZGPyxpt5B7E7uOeMD6Vnw/VX1Fwn0S/Gx/N/iQpLOXKbai+nmr/AOW5+Nv7fWoD&#10;/hN47TMhhFjbKkzuyKHKtIwRM9f4iRnhsHGa/N2R0dZF2kpG2FKAkR8DKg8knheOB8vSvvT9vLUo&#10;bz4lXBF6pubaOK0SyhQbLd40cyM/OMsDGAu0FSrZzwB8EMwCpgbTtyzsoBxkngHrzntjpn0r3K8Z&#10;ztHrb8rfofxnmLlPH4iTjq5v/wBKKxyEZmYkKnlgqhLuTjGT9O2OvU1X3YKbtwEUbHK5ZOgyTjOM&#10;Z57c96lmOyNRuMSfcVi+RnhQfQE8c5znrz1q7fLIMZRZVQlixYsB378Y4Gf/ANVZtJS01X/AOOUU&#10;2k9uvdf13IplYghly2Pkwm4g8Ng9hyOPXp3qtbs4ym0PJhnIYksoBHIzkAcsFHTCnkcCrMnyop3j&#10;94u4EHCjOfmc5APYkA5BzwBUAZ1LtHI+THhSACgBPRSRwQFx6ZLHHcaU+eMeWWyuZxhCUrt6W/4A&#10;jBwQgLDZ0AYxouVJPA4xgAZ77sUsgDLsI8woSCHBKchfvDJXnIycHAHbnDGOfMIcBmdixZcHhU+b&#10;G3k53L7knA4OY/kjYsyshQtjCgBAzsyKTjOACwGck468k1fMlZN2uOVRyi3a3/DiyB/3kmZpPKLS&#10;K7Iq+aTuJOGJ5Occ8c/WpRhfmcSbgxIQJyg+QDCluS5YnjjG3HI4gWR9jSMwcBliKbsH5gBtwe4L&#10;dT2J7tw+PlizMxlVxkhmOwAKTgj/AHg3A6evWom3ZtihFKS1urbF9AWAKqDIONpIJQ8cgLxnDdCM&#10;9BwSantupRQjZyWByAgBIOVPGRzx1GMdeKiXLNlRg7Ni/NuJbIPr3APP/wBepgI4zE2BJIqlHBYJ&#10;IfmJYZx03MfoT0wTQprZbd/Q1cEk4Qf/AAdiwGkhJA+6SQroCy44JOQeDjI47/SrSSKrKIkdQsjS&#10;K5bIyR03E5A5PHTpWdFK6u29YzGhLnBKpzjGQCO5Y8diOlWIpGKlwd3RlK5VX6fdyPrjtx1rJxhF&#10;NdF+pHxapaJl5FDnbhgpUTAqhL5UgEZHTgMRkZ554PEhYAlSpLqwtsFDuwxVDnH5+lRLGrRcoDk4&#10;kV22MylRwR6HcrZHXcOfSWQsxyxIcSA/L1cYLAnP171Slb4ndr8v+GLaU1daJ308rDiVLDDFA3LR&#10;tH5mR7A46ZGM8ZIx0psf2gKAp4wGyW3suD8uD3GcjkdMYxTRgKCUbywQQSCxGMkfjwcAnPyml3qo&#10;aXc4OwEAfOOwOO/OQcfp1rRybUeRXM/ZyVoSXQkZDJ8q71ZQEcL8gOfVuy4wSPYc0zkttLP5cYwp&#10;ChipJ3P8uem5gSRyAWPsXJnOGOSrYRMlR82NxIJB/AZ5yfemSYkkUxAlkJJAbA3ZJGR2yARUyg7K&#10;Cf8AWhanGbaei/4BYzkOZBJziRnVwrsR1VfQH3781TzI4UARBVYYJbYAxU9eD/tZH4U+Vg2WyzNn&#10;d8rH5ucsD06ep9Dz6tclXjXIEzAOSFBjPK/MSOmQBxyDzmojTcNG/wClYmT5tJdO/wAiGRnlMgys&#10;pBBVpP3ascBfX0/vegpQQySqiEKWCBDgjAwcge/A+oxUsZQs+Mxb5MbVJbIGQd30+Ue/Wo+oBUEL&#10;vJVmOd2CuAPwLEH278VfK3byZCnyzVtE/wAtCJA6LIGYZwVGBkM2RkDp0xjjjimxdQjqXVnHBGSQ&#10;ckegwCcdsjHSpnZUU42u2AynIYtknJA9emB7kDsKYUG5lZl/dMHBQYACHGQR1ztB4/vDvxW03zrl&#10;HySjq3d7fcQAFpN7sygju+0KASDhfdlP4DIPPKnzVLQrDFuU79zLjaFGcD8VxhvepZEQp5zM2ceY&#10;pAZVAw+Mj8G59RUQUqWG4sz8ktJuAJILexwc8n0qoztdxeltypRT1lonu/UUeb8xyMMgbKsBI2OA&#10;pA65AH0K0wlnUoqyruxkxjBPQkZJz3J5BHHQ9KmVwJMEsCrhNwBaM85z1wRgEDnqp6c0jHbysYOW&#10;2kbiBHwDgE4PTGM9vUVkpcs1zr+roUlFybWkF+VkMIAcDLcDMbBsCQDaNuPbOO/X8TGVTc7glmGc&#10;J907gM4Y54J/r15FPBzJAjcCJCPNwFY5xkkZ77RjHHFTMEaEDaAuAwCkZjAJG0enXHIA9uoqbx5n&#10;PvYUlK393+tfwIkaV8bSELffbZnhcnockAgEe3NRqEZWiDhjjzHZQAfUDHXPQcev1NOeRQIwHEW0&#10;7XwPvZ5PP0wOPQmmSygMIxGSZY2QkZWMZJJzjtkEe30rVJOfN0/4JU+W/M3q9/yIwzMxCFvLQFvM&#10;QDIK+h+qnHUcU0FPKQ79pVWRXJIOVUbc84/h7+/HFI0rKgh2yfMQrM3ylypZQckfjkdj71DHKHwp&#10;X92/IG0sTnDDPf8AiIwRxggYrRck476rVIxSi5NT0b/qxZRI2UFVl24wuIy3A4HOaKzZGj8xtxKt&#10;nDBlLEH655/Cis7Q7G6hQW6PKi5RCqbwpICzY2rkhcknjOR0xycDHJqZvLlZUQvGIm2uYmIXLYYH&#10;b06xZHG4fNggFsxl2cRrvwOJHbaYnBZVJUIcjKkcg9yeegEkjKPnGQS3yOezbizHPGDlUPHXnpwa&#10;mcrRTvr/AEvyRxw/eJu2m+uluxHhNu8o/MQDK58oHJ3ZIIOR83sfm69jAuxQHhK42gk8h8bFO3HH&#10;PzHOeflPtVtBI24sUIiRcBmG2bBDA9R3Ibj0IIIJBhC/OGLytJvYMqlssXG0sAeoPHX644pJvW6u&#10;Dk42cV0v+BGULIkZy37o7ySIsBsgN06rkE4647daRWBicHcs5wXjCbVZgTgZJ6nB9+nIGMz/ADFd&#10;wLNlCQqptAyuSvYdD0HBFNCgopViiswZFmBO0tjL45yBkdO2fTFJJO0H3QoSfMnHa12u2owkLICQ&#10;GV8ptZwTkgjqPoSOMcjHSpjsiQcmT5QynG8RNwNxwcYJBwDgkdR3qqhMixMyRl14ZFfc0bMxAJHA&#10;ONoOeMA8gGrmyN5HDyFWPI2r8nyPt7kc4GcccsfTmn7sopvT/g2Ranz3nF9Rm1G3upQsCE2rkkkg&#10;EDeOoIkK8Z6EYzmnkNNIHVUCFleUYCedjaWGOMKyg/MD1JwBxmURxPsQqrHfyVBIzksSB2xtwSOg&#10;fPYU9Ywd5LQhvnUHG0MCVzk5PJOCcep61Em4Sal/S2/Q3c1KnLn0u9PQiZAgcFVZlLSY3FcDJxuz&#10;ycjsOmTjNSLCVSVmYxgEld4yHyXyA2cnlUAAzzkcYNOiGw7sp5owV2kJJEA2Rt4+U7gQPr37zMg3&#10;4KARtGdoUbgpxgE9G4PXcATtOfWplJwau9N1+BnCEdNdNfv/AOHKihHAZ+Hj+fZIPlbOUUFsHA65&#10;44xV1FwwcNuIC7VkVogrNj73Ugc4z3wOOKdtXBDIJPLVpdzqRJMRsCKp5x0Y+nGBk4BSBZCs37va&#10;4OGhXgDa27GfQBCxx/EoBGc1rzKSbk+hgptJcr0/rUe0aozOCDhiwaWPa7rhQVAH0z3GS3NWJEVc&#10;sxLNHlQ2Dsm3OckggjA6DsQTkE81YjUqCisjSBVBwwYhVzjBJOSV469Wx1zTlMYJgOSnVdgVG5IJ&#10;UNgkHg4xmsI2vft0OiNOM7tfISIRhW8zAkYsZABhAN7ZIUdyFX9ewqw21yChKnd85TjgnGMEnrkg&#10;++PelT5srwqSPlwUKKCOQOefmDA5HHDdM1Og3uYzuG11iMjAeZnOcjGOcqQB6JkEUqbfNdblSbS5&#10;Wtvu+Q1lVwSFaMK3kgKc4A8tlHPXIVck5ONwIOTU0aoFEitvLOVjYYO3AUZXkkgMw5BGSCcDJw0Q&#10;7WZAd8ZlVgpfAJBDfd6H7uOcE7s54wZURiEhZmYs37o8FsHczHA6HjJGOxNUpNbBaUbRlGzf/AHR&#10;mRo4ycxBYxK68SE7uSCc8EE5PXkEY5JFpo4iTkkzNkvJuDDawiU7jk7jk5LdfnyehNNiRmADYYSl&#10;vM3jJcDsB7gHrg8DvSxfKGIUDywysUdmL4Jxk9cFdpz249DQ3pzroEvcknTer8u1tR5GNpWN4jGw&#10;LFyWfHABAz7fXpwcCpomUBJMsN4/eEpsbPzZzzx1PP1I7URoNysPMQq0bqik7242qCvQnCAfU9zm&#10;n+UZGiUMR5RE3lqwDcBlxz6ByB6kAgjkVLUrJdOoRV6nNfyGx7VDSNEI448kwJksq7SCBg+zEKM8&#10;4qzFECzu+5hj5lUA5BO4Zz1JGPbHfqakiJiiQkAhiwk27UZeSGOB6ZzyePcVJAhbGCSFQCKRgXJJ&#10;zlcjjOQORzk9KhJwblHq/wABuCcm09F18+/6CKjTHzJA3mIRhBtUEkHdjpx94AkA8ZwM4q2uQxK+&#10;YoxgNIW5DbNo5PQcDbjp2wOWB3Z2kmYiQgxhQ+5EIy27k9eRyR379asQly6GIxsSoJIYHyyQOSOv&#10;HJ/A+lOm+afL0WpvFqcF7N2W3qSLu+bDN5ikM+3DDaOB82eTwR9V654qYFmCEAoxRd0jHb3C42nr&#10;jDcjnpTeXaNhE+TtkJI2DgFieeec5xnrU0ahWDMdy5yuQQfUDqCaLe8nba/6BGc27SV11+8WJVU4&#10;VkLbN28YDddpzgdQDyfrWTr7sul3xX7ogYhezEBQGPB4zxzn7x7ZNbhjjQlipj5C7S2QOACcjjty&#10;K57xNDK2kX8ZUeYbN0R9+UTcuEO31yynng4HrTgnd3Wv+YpKdN2jte6+/U/nq/aj8HR+Hdft47aS&#10;SSGXT5LlWDbtzLcSo/bjBTOPr6ivjG9UG5i2rswwyCR1GeQfp6epr9Wv2odJh/ty4guoUV2kvLG3&#10;Mi7XUSBZgpBPYsB6/e45FflxrVuFvVhVWzArLKzpgKRnp+H8/ev3/g/HOtgKdObd0j8O4ywPscbO&#10;pD4X0XfR/i7mSZWWJwAuDKDyepHP9avW9w0N9AQ+FeIRsygZIdSp57jJFZrE/ZmbajEy4JxkAEDt&#10;/npV2HygLaT5i6KAeNv8XPPb/wCvX2Dbsl01+eh8bFJS916WuXVihjnMwI3RyYUnnfnNdxrrx/Z9&#10;DuWLzCYQmV2bjg+Xs289AoH0FckwQ7oADmRyUYrtGev6evbNdNfK97p9pBFtVY5mgRlXAztVlP0+&#10;9z6n2rnlaUY8+119235nTSc4VJNPRx/H+tTDnjVNSktkVisLNhegGdxP5Vzl15jXyPtAdVZeMHkA&#10;jOfyrqL5iuqPKpB2z7HZRkMNwz26D0rCkidtRBYYjl3Kp2ZBwDj+tFGyal5BNt05RWr0OUklKOkb&#10;84UMwbOO56VW1SdpZVcRrHthC7EG1cjHT36VLqf7q7Jzldm0fL1+v86g+WdAAwB/hBGc12Ky5XY5&#10;qMn79F72/RDLSWQYDZ5PT73bkZ7/AEq2ylwuVIYHJG3k9f8AH9arwDZNGDgrvwfXHAq/Ix808YHQ&#10;AdQM4/kKuajdcujuRQquNPllK9rGbIzpMgQncB0VRxk8/wAhXQW9/JGkYZjvGJIx0O4fzzVe3s4r&#10;mYy4P7twABwSAMkH8jV2WwEssPk7l+UqpPJBUZxSlOOkGVFxlJzk9H+tjTWaPULa6gjYiRlFygc8&#10;7hgsBj6cD1FLaXAiMLhiJEOMFgRIhGMfh/M9KxXiubOZZFUgKQQQAUDEAEf/AFqsSIwEFxGp8o/M&#10;4UcRtjJX255rFwVlfY6Epv3o7/odzbEIkjRPtK5cMrANtIOG/wDrD0+tdloV88txJeor+YI/9Kt0&#10;+ZJdgwrAevQcV5faXe+MbWYPGrI5I+VgQDz+taGk6xLa3yPHIRx8ytkIcf0P8q8+vSu2up6NCSdK&#10;MIvTyPWbu3i1aO9lWKG3uLZV/cZ8uWZCWDPHxj5WXkZzyPqONs5kguCkgyrhodpQADI9T/kV11vd&#10;pqem3CYSK6sR/aatGSrTQMQs8ar/ALJIfp2OTzXOX1pFD5bEAzbTNBJnckyNjG734PpXm1IxgrP+&#10;vM9/Cz0U46v8lddO/YsQ24WRtm3HmK5ZlJGTyCSe2PzrchBSTy2G8b/vBgFAzkZzz2rPtpE8oSSb&#10;1DqEZsZ2jII3dvb2x6CtBraWXJt5rWVFGxkW4WGZBnHzB8ZOR/DnqBmvMrRblbqfV5fUTlqt7L8b&#10;/kbMM6Kro5URlyqgMWU9G7cAnGM/mcZq3CjgLKgXyZJBGsZAADrjOSemcd+4qnZ2FzEVMsMilwQv&#10;mphWx1YMTzj3rRMcqQSEndsQsuB8oKgFOg/3uf8AaFcMmoNo95ODjyxWzvdddr/gQCNZGleIYdzk&#10;LuJyf846+lQsHiA3xggMdoIYEDGfqcH1GMfqyMmEckCOVcrgY/DI/pV9kaYF127lXhVGFbkqc/lj&#10;HTiltN22Oeq4S1XVWX3la0LkOGJDK28M3zSfMM9vf19a0Y4nmR38o/LHgLt5I7Zz27fhiqduIw+C&#10;H4QNlcKrZBJ6ewxWyibWSWKTBAyoMYGckMuPrjjHp71VklpuwjKmofFeK6fcQI6oYY22Da+5kYF9&#10;mFAwMHocnn2rZt7plED8+W6bCkSlQcZUjaffJ696pS2N4s6NBZXdwJTv8xLWSQAkDjIHAGOnsR3r&#10;o7Tw9r8tukp0y/t4SCyzz2j20UygEFhI4AIBDcg/wH8OKetrbdT1MHzJtTl/X9I1PLKpbtKYoWPJ&#10;tomHnkAjBMQOVyf73J69+dSTc9xFb6bZzk58szEG7unBBz5aAALltvGGJ3DBwaIY49Kl2TW8dxcv&#10;HvaS4PnFMqVLFUb7wYjBdsHaDgg1audcEGmGyWyKyTKVnnLGJpUc8qioMBCGIwcZHU4rg92PT/go&#10;92lVlK/NokczeWFvbSyTXd1bXmoQyGWbT7Z2mSLYMIGkA2Nk9lO0AkEnrUkeo6jc2kkdmWtonusz&#10;fZs4mKk4Kj0XPygcDHSuRuEuftwmVYrPTvNDTiHLSMpGdoJzgEA88ce/XrbW6lvpzZ2Vvi0a3WOG&#10;OFnEUZQqWYjH7zdhiS2MFulOceeCjJ9PusNN2fKtX/Wh0ltaXMlySZ55UJjk1a7mla4b50wLaE9W&#10;d9wXAI5BJO3JP7/f8ERf+Caui/twfF7WfiZ8Y7WDSf2Vv2fbePVviFDfXKWVn401AZurXw600hH+&#10;iiBJLrU5127YPIiYqLtgv4M6HpTTahYafFLfa1rF1drFp+kQPHDaSXM7qkSrzg75GhVm4GPu7u/9&#10;MX7Wf7Qll+xh/wAE/vhD/wAE2/grqEVj4m8eeFn+IH7TnizTZmg1DWob+QtLoYbAcx6rdi4ednO7&#10;7FpUNuQUmG32MqxGGyzB4jO8RFSqU0o0ovrVls/+3Um/LfofLcURzTMpYbhrLpunLEv95NX9ylGz&#10;k9LfErLpfVXPYP8Agqd/wWXuPjHHqX7MX7I9+PAH7NPhyJfDdx4g8JqdAufivb2gaEQ2TReX9m0D&#10;aqCOCPBv49jvi1KJdfzu32o3eoeV9t866Fu7SQpdSkCMnCny+eDkoTjj5ea4Nbq/1S4aWZyis7yX&#10;EhXyxJ02rge7ScAAAAdc4FvUNZNrbOPL4kLWtuDgtGjgEqBnpnd2B5PY8fC1I1sRW+uYuo6leWrk&#10;/PWy7JdF+tz6vBYPBZTlqyzK6Sp0oPSy1k9FzSf2pPu9tlZJJQavqdqsLo0hVgftlwygRw79rAIr&#10;nLZPIz0AY9cknxvUbq3uZ49QeW3L2wMywKzzm4BDESNtBwoIGB19MZ3VheOvFTwPOLZv34HlEqwC&#10;bcYDFe7DqO2QMg144b+/vUug8rodQkjT5UyVjhAwN3B7DqccCvfwOEkqPPNnjZnjYVK6oQWr/r9D&#10;stTvblwkkhupfMicbHg/s+3A+baY5ieeOCUAIK8EsRihayNLG0TyqixqpW3ssGKRsHLPJ95iAvB5&#10;znpio7XSzKIzvLrGxEuH3KeFGcYznnn/AOsa6TZY6MGVdnnSsEBGNqbgBnJ6Ecdu9ddWSlCNOC0/&#10;yMo0acV7WWj0b+dvzOs0qSeKxazlnjhsrghbuEKqqoDBypOCx5UHr/CMirOqXdr9nMdjEJiqeWJO&#10;Fcqw3bsdeOME5zmuAfV4DFLK9w0TQwvshi5ZwpYsDnuR0x3wO2aiHifTokKPFdTNasLcXCSiRJwq&#10;jK43AEgFeQ3QdCa0hgJzcXO9zixucUaLUYNR69NS5eXogmRNs294yDlvMyxj2KfYA8nHqe3XDvdR&#10;igtQby/jQqhkMRZlUMeU3IMcjPT3Nct4j8UTXLPBZxxwwrH5iQbdpUctkkjJJ4HJJ6dgK8qNxdX8&#10;5eR2eQ8NFvOxcehzn+I/pXv4XK6dlKror/kfHZjxNN4lug3J26PQ3bzxIguCLYyzIj5I4XjncD2A&#10;5H5VZXWp5vL+wxH5sjymkysY9ffivMdVjubN7i6t3khQPllIO09cgjn35rc0XU5D9ll3zqzBdwGS&#10;Gxzx9QK9uOAoqMaltLfI+ZqZ/jqkpRjKzT/yPbfHvwz8ffD3QvD/AIk1yTw1faXrllZX1tNoWuQ6&#10;r9lfULeW8gguduCkwjjMjR/NsYbSQRiud0fUNSu7U3ERcKpDJMsZaMMONu48fUc9a1bu5utW0RdK&#10;l1FltGeO7tYp3Y2YyojRgmdoO07dxA44zzXSfD3QLgW11NJbC70uMESTmaSKNcPsBOCMgswwp64H&#10;HQ1wyw0Z4WVSqldN2sradDvwGc4t5hTjSnLlaSld7s52dNck8qa380yuVlQQ5dFdcoCAejHkcdQf&#10;YVRi8S38UiJfyTqY2KMT8wRgxBJHHQg5+lfWNp4a02/sVWzsWs8qIZ5BkebgnL/Nkc56Dt2rg/EX&#10;wxgJiWKWP7Zd3HkfvgqW0A+UBnkzgDk8kdM88V819Zwzk4VYarT8v6Z+hwWIcfbqe347annMHiay&#10;vIULYB2GObcCCx4GQAMDGDx7/hXSeFtF0nxUfECXfivwf4MtvDvg/U/FJvvFF/NaN4hkshEYtJ06&#10;OKKR57+8edIreBVwQkjsyRxyyJzOr/Du2s9EvtYj13TRqlrqItG0Aw3kV7cW5Vit5DKYPIdAwAKM&#10;6SAOp2kV5G1zeRERxtIGfKx7fkU8HknqAT0x61pSwNKo26Lv+WqO6WaV3Bqrpf79Lfmjtr1IGVnK&#10;gBpCoBHGDnOce+SPoOlVLmwht443t4oyZogJDnjcQSRk/QE/jXAQ63ezBo8huu0tlGIHGK1pPFV7&#10;HaR2ksMMkasrCRVDTJgBACw9Fx15/LjuWBq04pxerOGtmeGrap27le+0h5BkpxG4crs2BM5JAI9j&#10;XK3NhJEJd6jCLuChMDBPAzjoOK7OPxPbyRziWHywxCISd23gAtt6d2x6VJHc2GoFkjZZGY7GCgFs&#10;AdvbnrW8J16C95XR4840Kz+LV/I80SWUMAyg4JTDg44x0/T8qv2zMCX3OuImB2EBPYY+tdXc+HvM&#10;3yR/I/mFIYXBHmcHkfTH8658ZtVkGF35IUOMdCTtwB36/jXd9YhUp2tq+h49bB1I1uZaQ7+nYuaM&#10;8jXKSrbmXYWLgbtpUKxJ4IwRgnPtX9G/7Av7VPwV0v8AZibRdc8d6d4M+IfwS1h/Huj/AA81+ymb&#10;SvjlBaaRNBaaZZzorIb+2u382K3nMYZbl3V98SKf5yLWcW/myDdGbghQyZBcHOeOAcjPHvWtpd5P&#10;YMZNMubm2LMDKVuCFK5HBxjrg+/6V5ObYSOOockXyyWq/L9dD0Mu/cNqprF/J/0z+mLQf+C3H7aW&#10;ueAbweK/hBa/Enw74r0m40hj8Xf2lLv4N/AXTtNnWRZtJj8PaTqGjCWAxTCGaO9vpjMihSE3lG+d&#10;rv8A4Kkftbf2wt78Orj/AIJ//Ae+SIW8l9+zH+xvpXxl8Z26EYLpr2p6VravKilsO2p7ztOJM5I/&#10;JzwleQ3SxXmo2enzTbSi3l1p8V1cwhtwKJIV3LnLscdCxPuPaLLUWRZFtrsxW8tvs2QyGJADu3Lt&#10;Hfk9c5GfpXhTxkcHenGDv5t9NtXf9D7KlGjVlFxpQUe3KrPzttfz38z6Q8c/tfft7fFifUB4+/bN&#10;/bp8a6bqNo9vdaPffHh/gN4KuISgUwNolhd3UMUBxgxLaxgg42jBFfF3i7wBdWOm6T49u/C/g1rj&#10;xJq13YJe6xqGp/ETxDPJbxQs01zc3riCRiZ0P/HuMAgn0rrNQ1e7s4JJlk3QpuuAGldVfauSpOf4&#10;tp4/2vTp0njHV47v4a/C6KIlfO8Ta40dkuZGXybPQy7l8/xmdAq7cfuic88z9dxFak5v19Fpf8zv&#10;ozlSxFPCUGlFvVJJXt3t6HlnhzQtZkvraZdTvdLVCEjfwxbW/hiSENlso1rHEyHJxlCDgV794M+G&#10;Xhn+0TrV3cSLdxEP/alzN9uvMkgs7yPliclgec/L2OAcjw7FBut2jC4khKgtuJfG5shcepbntivV&#10;NL0Sa7urd7IuqREJPbxKOjA/eI98cHruNeJicRiJSspadmfqmT4KlCfM1eTtq1f+ux7d4R8B6Fqs&#10;rrH4k1RZEt2fCQJFMwD7Q+5geTuHbkHr1x9A/Cr4R6LqeoWsOoeINSUM0MVzC7qkEwdGZWDBd4AU&#10;kqVxuwxwOc+Y/Cvw7s1m9iN9G8JtzOskUalHYFVIOeB1Y9OcV9m/CLwpaTzTRWEkM1xORaCbHnOk&#10;rZiDmIYJKkEYHHK59B8hiaMZyvNRvd6d7dPmz9eymdXD0pctaSVk7rS17fgfSnwV+D3gO21XdD4f&#10;j161W9eKwl1GA6heTKQpikBkyQzbcjlcAkEkNgfpP4c+GegeF77RpF/4R/wzJrtjb6rbRadE9zqV&#10;iiXU1tOlwqggS+WI2VB1Gw5XDmvjfwHoOs6FFHdy6l9gkstQjWDdbTWl1drHJKFlAwDhHQZLAHLL&#10;1PA/QP4WXTePPEkf9r39tdajJblrQuQkNtOLYwnzH3BkTZH97jlmPJJzw4b3ZujKHvSs12XW36Dz&#10;OGIqReO9u5U4p81m2+lu60ve/kfUXhTUry5S00/w3of9qQzv/Z2rapbR3EuqX5ik2rI5LP5LNGiM&#10;SG+QOQMDAr3nwrqtvf3za3Z+E9Mj8JDT0trvRpruXUtPinZwGn5KDMzbN24srMrEnksfmL4c+O4I&#10;Ld9K8i31aGHUFg1TTJS0EEPnRSW3mqAwHyvHFJgjcWAB4BD/AEd4R3abD4l8H2drKbS5t5n0+e5W&#10;NLVbSRH2GSUnKsFeT7vG9cZPWvosDVdeNKvGo/NWWklsttnrfz31Pyzi3LnhoVaVSjZ2Vm5SV4Sa&#10;9pJvmXvRTg4vl0Xwu10fR+ladbafZ3qJZ+FrbUXuDFc2miadBY293E6YjQbPvyRbtglUZ/eYx64O&#10;oaRDBAYdStJo7+4jlWSG4UzraW8ibLd0XOFPnBWZjwdv3Sc1r2sdwttpbyILiKXTYPtGoQ6gLOSO&#10;fbtQgKGXKNHPhmGHaMHuxrY1NA0JvLd2linsbqws7ch2vLptxkRJGYlmZSAPmyMD72c7fs5QbpXj&#10;5fd+vy8z+fo4iphsWmpX5m7taapbKzdurSkrpJapI/Jz9sv9lfS/H/w98T217Y232LWPD2paVrsY&#10;twZJbK9s7i3lOThcqziRC3CyQx46AD8ZP+CR/wARdTjm+Kn7Nnjy5kHjL4Z3N/BY2bS+RJ9n08s1&#10;5IF6vi3g89VAGUaP1OP6lfG+h3Oq6ZrNrCftcM1tItn5s/NyyqHCc42BjGdoYABmGehNfyJfF/X0&#10;/wCCfn/BVP4d/tAtbJb/AAw8R6/DqGqR2dsLlNVsZYXhuLVcLhXlglnsnkOQqwIwBzx8lUoYenjV&#10;Qqrlpyfrtbt5bH69l+ZV8wyerGbU6yjeK21WqXlfZ/jsftlc+HIG8QR2omkhhLHMtmxRbpSj7t3c&#10;hlYnJBJyvYAV7Ba6NbRaLZaazv8Aabm1jubsOPOSGLajIigD5TgYYqcEcYHOfBB4x8P/ABL1azi+&#10;DnikWLS2MGrxaRrVrbvqunQNO01vBqNzjHktZiJ2mh8ssqOflUc+v/C3xYfF2k3Wp2TMuqRSSWni&#10;K2dVub7R7y0BhvbVZBkERNG4+TIYbSAeK8WrhvYU1VtfmbV/zMvrlOvJ0otqUEnyvv8A8OZviXwl&#10;aS4uLzTGnidGsoFS1JMRUqH3YGCdj85OBsB4618xfGzR7W30aHw1ocUm/V5o4pZbeUvClovMx2g4&#10;wrDG9cEkMvO0hfszxDq+oaZfBYI4Gea2EEdzcgypp6uquHETsA7MVJwBzjnjAHnms23hvS/E0l80&#10;KQ6ZJJDJGt/JFe6gGaVl8tXIVXQGMsVTC5ODjFdsaUZwU1K0b637HmXq0q0ZTXNpdep+aPxD+Euq&#10;eIDoOnR2skOuB5FthDGZLvyzLI8zXQUZMkeGYlseXGpBHTb5tJ4Ys4tX0zTDqFw0UUIsx9ltBexv&#10;sEguJI1B+YIphIY7cGUnKhd1fpTrmpaYLHWtQZVuvEkmni8nv3uBEdBtrnZa+RAiyIrNcPIitCUc&#10;iNUPyhXI8J8UeDpdal03w9pE0tjf3M5Gs2diUsfD+gLJM6hL24YruLyRRffYhQWBJESRnuVGFNqS&#10;dn59uh6NDEV+TlqbK6/zf5JH5x+OfA9zZyWV6+sxmeLTft8104EttayzHd5EaFV3hVxjdyc9Ryte&#10;BHWjYXk13D/aksbMLaG8XTpprabeWBG9EKA8jOSP9YMDvX33rXh3Sm8V31h/bFnqVnpEkUOm6ja3&#10;Fq+jXPlqFeW2DN++UBQVOCCEyeDzieNPC15f+IdX0/4S6vBrWseK7q5n13W5Y1ttDuW82KSCC0iM&#10;Szlg7x72AUsUwqEKN2C9nUqOy1TtZdb9j2KWMq4bkhVXuuN+Z6Lpv8vn5HwtP8SZZYbe3sbO8+02&#10;syCaOSPaIwOSxOMAOSCoIDc9Diu28D+KdUW9F/qLlYbqOQ2U05C3G1ZUjkWRxjK5boQOSTjg17KP&#10;2cvij4p1G28O+IR4f1jUE8PXEdz4nvtWube5+HE0DHzHukMZe5KwwzoIJiEUOrEHIR/Fbb9mMeG7&#10;K/1PxZ4m1pJkt7e/0X7PJJY6dr3nSiMxhwQ48g+bG2OA1vISF2HKllr5vaQk9n1/M2hm2X1lKlVi&#10;rtrbW99j0uDxlp93MNOnvYLKLTb15YLiCddsJOQXUZwBtAySMfKpPSuo1EaVF9hkk1P7RpEE8EUU&#10;1soEyB9pdY/7vKlT9PSvmLxX8KLDwRLc3mm+N7O6nt76S1eWLUP7e0y6aN1LSW0wRHZSCirISqv5&#10;RO3IIrlLf4m31oF0yTR7yaWDlLyOfzLWfaxcMEYlgzAouVzhs9MgDmxDxOGjyTkpaaW39DqwmFwm&#10;Jj7XDtqz1T0PuG7l8O6hY2llHqVxHH9t/eukheBoAB8svzA8skbsCp5hBH3SD6v4B+Jl54MtpoLG&#10;+t7yOTfbNdRp5fkxKSQAdoJPOeuQu0ZPQfmBqvjnxk2pxlNOexsyAxQqRLG7R5ThSQTkgknnjA/v&#10;HqtPh8aTW1tJc6i9uFG/NvM1tBbxMMtu/ibGF6DPzHAJIrynWx0pNWtZadGewsrwSppVai5ZPZ6p&#10;H6oeJ/HumeItNhjj8WXl+9taW0lpcXNp/Z0CD7OsssSokjsyJJNcxK8pLOEV9sbP5acVZfFr7K9k&#10;bO+kY6TayWJkdmZl/eytuViSuMOUwpJwvOOc/J3hHQdQ1mdZrrV9Q0yxitVQyx3gAZgjMJZJJdxJ&#10;JZWY452YwnNdp4e+Cd7d6wk2ueNNV07w3OplitoI4Lq+uthVUX5VLRF/mzvU9zjBzSnDE4lNykru&#10;3UujDK8BH2MtYJNrTrbZH1ZdfHC3ltGm1CW3vXtyJop5JvPubPoVZVD/ACk8qVdTkSE8YzXl0nxZ&#10;8deL44V8MaJq91plzI8dtfm1KeaqMGLDIUHGU+Ydd3HBrq9A/Z18Bafr9td2+o+Jr20IkuJF8QMk&#10;V3IFh3R+U0YdEjM3yAsoc8ZEZLIPuHRtB+H/AIZfw1Ho+k6XPLp0tnfanLNZtu1Hy5mlO7BICOw8&#10;soxAEKoMl9zvz1sFh4pyxlW7i7aPcxnmdDD8n1Kg3fXXRL5a9Twz4Xfs9eM/HRttZ8S+KpbC0N89&#10;jdafeXlxbwyBIDKYMxlmkLsUiAIMYdgDswSv6Z/Cfwp4H8LRRfarcQxabctY2lqpE8Vy0DoJJDcF&#10;m8zkOiqN2V243EjHm0XxfsdC0m8tZp4Vtr0tdmOK2SFFkZgW8vbtZUKARKgOwIxXZgCvPPEPx3a/&#10;tLGwjEVvaRM7QWlhBHboSSzNI6oBvf52y5GccZOBhyxuBoUuXCxtJWe27vY8edHN82qNYltQbstb&#10;WX3fL0P0c1TxXpck8NxpbQW1nFLJGplZ5RdBIAjjcpQ9Cx6YLMeOcVUtvE8qatpiT30E1rPay28X&#10;2S42Q6ZAArmBQzOFZ2THORnIOTnP5rTfG6S2soYYdSYXKTDAjJeEI+fM+Xd0QKAcd25PGK37L442&#10;729rGLnFxK8SP5Lu0coVkyxySccHAPzZwQc1yPOqta06iad1f1Xl8hUeEf3XKldK8b2bfrf57/of&#10;p5e+JhqGiXlsZ5be2t7ZGfKCQ3Lqu1bclSqqFVd3mMAN31zXA6d420f/AEGOaNZLnTrq6eRHuHWx&#10;VZvLVfkUZG0wAtyN/AxgV8nD4rSzaXJbaaE1PV9Uu4bHSraC42XmozzyCOOJcEcknBBwPmyx4ryC&#10;L4o3enatfaTdPd2GqW140N7p97bzQ31hLFjcssO3ejcAYIBJweQS1a4zOq6qU6sItpKzdrq97pdV&#10;c1yng3DzVXDylbVySvyvVcrfdrXfofelx4ugt7+4s49TuHS4SC3h83YYWjWZJpYiqqrFQ28ryOcF&#10;s/dPqHh7x1pmo3EK3UcMiQxRwAMHypiRY0jQKN5BVFUADPOeSc1+bMfxBu7q9glaC9upJFNxNbm3&#10;lkmgeQuD8uOeCDnsWPANd3o3jnUZLoxRRSRi1mJ82VtsKtnYCX6DkgDnOcVyUuIcVhqnPyu1+2jW&#10;9vlqe1jeAsJj8MqSklO26aT2Sb01u7I/TnRZ21pxBFqrTSxTRnSJL1WupoUSINJFLKELAoQ2Dggj&#10;BPoNzUFMEUM13d3jeTJKs1vYwyXOkTOglVmhcMEjbax+XDsTjjrXxf4U8TaoRBcrLLa5ceUrHzTv&#10;3DGFK4b7xOSMcHjoK+kdC8bNqbxQ3P8AZwSEFFYSPJMFPL7GdynzAg5OckfWvtsp4lw+IoKNWPLN&#10;7N6rXvqtl+h+McRcI4/KsRz0mpU1ukkmtLPW3Xru07vR2IvEtyYdBuLS2jeS7127ttNsm2N5s0lw&#10;6bwcgKrA7OgAA3E5pYja29rGluJNthFHCskMmyUYXaGyoxjKkgMOAHHYGuX1+8trzxHaWdlPFNb6&#10;TEbhpNyrAt3ODHCCzDbt4mAOOWiYg4rRhuoYIlVd5uxK63Zl3qsgaPap2njOWlbd1wTyMrnaniad&#10;SpOTa5V7t+mnb5t/caxwcqeCpR15pe+1ta9kk+y5Yr5yOnW9ltoJ5YzKJorYbNpa2VkKAbtyEHLb&#10;ZMtnDFTx1rKheKH7O8lqES5VpDHdOzxjJYOVy3fOc5BBcgDgYpQXbKzWYjb7Sk2cCYwklt2+CUYz&#10;sdCQeDtOOOmb+oRrfWwaVmiglL/uDcENFLGocIHCnO4EZO0dAemRWWLTlDmgr2W3Tdfcc6oKjPkq&#10;Kyk9XfW1tLJP1fTqr668Ze2NyqXbzgSWsMuyAxcxojNtBzwcHcvXgevGa+e/G2mal4UuXv8AQbF5&#10;rO41QRPCJm8mwVjzMW2t+7GG/HA+XdkfTd1BIY7dWc/YzZySXLzAtHK8eIwYhk5GB8wHfoB1rl7m&#10;yW42RiRZ4Zoit0k+Jl/eRncPXgkc9z618TmeFp4yj9VldSXwyW6v2fbofcZBnM8BU552lB6Sj0aX&#10;/t10/PX1PDLa5Ms8czTrKgjCKUfmNwWyQCO2ep9PTr8tftd6U+r+Dr64u7f7WNKQamIt7BJZrOdJ&#10;o9xwMb2SNDnPBYZIJr6OuNMuNI1mW2iydPS+MsE0sgJmUkALwP4ORyBu28kduC+NekR6x4I8Z2Pm&#10;IbWLT3dBJGXJkMWCw54Aw5OcDtXjYGpWlehJWknbyulo/Q/SK1Og5QrU2nBxv6K67bPXY/mC8bal&#10;rtjZvNrkUmvzWkapea/c2zm8ti0rYyVIjKswClX+QtKgAXHyc78LIdX8C+P7jxNKunzS+Gvh5q+n&#10;ae8+1LI6r4gtrzTreOOPdg3ENzqdzJ5Q6Nb7sHOD7J4x8C6/4m1K80mO4vbS2WGe5uYN+ClratG0&#10;AeMjkvcvbuxbdgREkfLg+Y69qMUkfg3w809ubiDxbca/4gl+ztDLb28dnfx2byzjIfzHW6uXVQdo&#10;tl5DMQP0PJcXUWHg4vpa/wCH5n5txfhKcq0qVOF1ezS7bP8AA9csNC1sXGkN4WGn6z4f+EFqnhHW&#10;HuZiEbS7HTfJkiYu+JZR5qz/ACEMzFTkAtn0Lw5pF3H4vuTDp4HibUPhjo3xI8OXumRPMWvvD2uw&#10;W17byhSdkZtrq5ciQHaXjPIY5X9lbw/o+u+B31k3E2tyav491XWbZr2aTS7K/RtPt7EIq7fMkeOS&#10;RJEQAZKRLgdV948KRy6dNp/ie2iWK506S68Kx24TzWFpeWWl3zNjk7XmicgHgAsccGurM8yhCXLL&#10;flf4tfozt4f4JxGLwscXQ+FTitV5dfK9l8j6Rsfh7ca2un+OrW2aO20zxXYaZrHkwrFEJtV0+W7K&#10;SqM4aSRWwFxuJAB6A/bOiy3ms3UMyyP/AGpY2MOk/ZrcG7lu/s0SwpIWz8xZFDMT2A6kZr55+FWo&#10;6texfEHw7bXlw1jZ6BD4/EM8aRNcSaJcT3NshTcfnRWD4Qn7zICwwx+gfDWr6ddXpvry2uNPuCAN&#10;9knlcSYYsq5Abb90AcnOMgDNfLYqvRqRoyjKylv2bT7+ltz9Up5fVwtXEw0bi/dstUpJbr/Ent0s&#10;a2rQ6pp9tPe3bajbeXbMsbxKY4TI2BISQMd5B2OOgxmvx4/bhsn1LSNRvZXeW/mVpfLkVVAV9/IH&#10;A43LwBj5RX7N+IrHUDbmCzvb/V7GYhxLqEu+eNmUkou3jHLDPX1yc1+QH7Y8J/s3WCLOWNUTaCiE&#10;QxNgKCGPAIDDPYkrk1hVotXcG7J/fbqvU+g4Nr82b05u3MmvLTt/mfzDeOdHY+JJWCx+ZNdb9wUo&#10;eGbjPvk5PP8ACSOgH6XfsseBpv7G00AxRDajytPMsUanpk55yx7ZA5zwCCfgXxVaSzeMCkigq92q&#10;KMZ25b1HPJ9Qe9fq/wDBC0EGn6LDborSmJWkVhuc5wT7nGAf+BV5ud1fa4WlQmrpa2/Q/sjK6H1b&#10;B1cXTdpTsr+mp+t37PVuLZYzJFK00aKbcxoRGGDDOenBGSTjtj3H3yjTS6ZAJ54ZTLIImiRSAvCk&#10;AH127sk4+6O5xXxX8GriztdOsbQWghupkSMyKSokzk4IB2k8kA9a+t2vYo9C84wOsNpG9xtTcWAQ&#10;MrEDqxBbGc8BcDHBHp5TSpOgor+nofy34mP/AGmeJlGyV+21j8NP2xJLVfizri20xnWed7i5bcWZ&#10;XBePA7BSIwQQee5yDXyNLIrAGRsO4VFUMedwzjOMdl79SOK90/aDlu5viLrFzewXEU9xOZFimlL3&#10;KxyZdFdf4co0ZAA6P15rwP8A1iPyYgZisaOflZAzLnjgAgcYOfm7V7NePvu2ytp9x/D0q3tpyqPW&#10;7b/F6iqIxEwdSypGUyTknJ345Hr/AE4qqwIRPMYqwOfMAyCMrgkkbd2Bg4Hcn6TSGMo3DDYufKVc&#10;g7cdT2wO+Ow9eK2wzZBXJ24YKSip82ASOOOcc92z6AwmlS5bW/Mxd4xk31E2GQYJzG52IVUgOMBc&#10;ZHqSfbB96rk5+ZfuMhxEoO3e2O2MnovPrU7ZUtxtAblg5OB8wXcOhyVXpzz260yUhg2XCsznaEGE&#10;RjnaN3YD5ePQDrVcybv/AF8xSio0/Jf8AqZyXVt+5gFZVIcZ3YB6dMsCeQcdMmkO7a5O0glcJjO3&#10;G4rk/QOcAHOasKY1dYyqI6OvbgcdNucHOARnPRiQMAlpjY+bGxLRLJgjJOcEOC2ckNwcccY74qXG&#10;Up3mthwVNr3nps/Ur7nhUxyeWyg7mjxvOdvBXGc7drkkdscZ5NpUx5yuHjYSt8pUuuRkKvB749sc&#10;8HBBYH3bX3KkbLtbIASTayjbnjAwo49umOKljbyzMVMbMATtJI2sxAOST2AY8d2Oc0uVSXLfYzp6&#10;z5W/n936XJlaRMHOQ46KwUBgCxXHXO0NjgYC5Jp4ZgS5hSNCwUyFQ52+YGLHOOeMkc89M1EGjLbv&#10;lXywWABJUMQV4A+hHfr75E65RcS7mjBxHgBic/Ny2MDgE4znt1q6k4tc0UNqU5c03aK1LLGJSm1o&#10;pMMwZghOBkYG3qOSOuOCPUU+LChSgAZ8li+cNlskEjgE7s9CePxqCHCbgrlSxHD/AL0sNgA55zwD&#10;yefl9BVvEc3lrhE2ksMNuAOMFdxAz1PPHfism7TvDbzFRnOTUYvXr26InVyHLHKgIoZWGUfsGIz6&#10;Y49hnNA2I7OAzPNgKwOBgcqSf+BHn3PWmuSQR8uFi4cAAAqecjp6DHb8acjrtJkUDbuEqJuBjK54&#10;JxnjuPcDOafLZK61/pG0YybvJ/1oWAsjSgyOGVcNsdflU7McHr039u/HFSgAlAqZ+8B1QHGU6Y46&#10;Yx6jPAxULMRz5jER/NtK7W74C+mcde/PXGaG2IRuaMKGMQkUfKxVmAP6gD6dBmtIO1NO+v6GfNJP&#10;nh8Xfy2GSYZUGeTIwQ+WcD5QPl9SuSfw9KcN4mzkGDcMYGwZAAzjrk8nPsKlLBnUqyFVBUAZBPH8&#10;J9++fXjiofKVXcqpbAUMM5U+YFYE+hG1/qM+lTe+wKlKXK1ZXY9gWI5dhuO8Hq2e5/Pqf6ioG3u0&#10;UigElNzDglTuYKCTxj5eh7Y9qtD5XV2OVCgxYPJyM4OeCABjI55GMZqswAbe21mKjAReEA4AA9Me&#10;vJ2+vJIpOKk9+xcouU23ra2/qEjJIy7wArBfl3AIuF6dsZ7e9NUGRld8xvGvllCNxJwFJ4yerf8A&#10;jnNSsilTjyyOCArDahJYnj67h7kdcCk8yRiARGE3BTGqFeAVBIbruJAOOmCxyMAG1dQ1YqcU4upK&#10;N1/wxWRcEyq6q+cLuUEjBHJB75DHPPakDMsgUOyqqDbgDehbpknpxj/9VTfKZI4xGMq4jXJywzkA&#10;579e3P8ASAiNyVDDBlV3Iwdox0JzkdeMDB2n0yCVnouqJjZPmjrr/l+oIzkuhVWgJLqwCliMZ5zn&#10;GRtHT34FICQ5bAZypGY2yMYIYED6tn6+1SeUVKgsq7ssUHzbhjPf2wMfTpxUcZdQFdWWPJDFyCRz&#10;kHOeSf8APeplGXTbQSWnLVTv/X5Cl22kAbDvO07MkAgZB/ADj6nk02TarFggMSpglsuEA25wBjuR&#10;nnBIHXAqRZIlJ3Y2gB5PmD49SCR9cDPtkYpsRV7dAVDLhdysS6vt25+f73BGcccnt2uopNtvy/T/&#10;ACHJylBqL3ZVM+51dkZdp3AdDxgqFOMnkAccY656U+RGKIhV9zl7chcR7dwAJGO4yTkdznPelkG1&#10;o0UBWUNwM7/kyCSAMY4HOex+tRNJ8o3uXWAeYSRlwQTghehz2+nOBRCST5iYx5qKfVf8D/giTERo&#10;MMCy/fVsLgFyFOOgJC9O+GA7ZikZWaPJdmLtvMbZZeMqW/EIOD9eKTzQByQgJ3OokXY3LHacjOB9&#10;7tznHeq/mqpYoWxzMQnzkZZjtXA4AweB9amTbmox3/rQhXjbs7/8OPZopHEcZQ7CzIVO0RZZs4IA&#10;XAyOB0OartLFhkEYLsTuVyeB9B9D/wB9D0OIppot6bTxsGCZNxUdxt+7jJzzk4HHfMKsglWNdkrF&#10;R5ZJDnJLAspPTpx35rSUYRklFdPzKle9pPfUsnzXJaPzmRuVIKuD+OD/AJ9OlFZvytgpgoBtUiUI&#10;DjjptPp3JooUo9v60Mder/E4ASAxCIJIVKYZpJcKCWOd3y575554JB5pZljC5JLktuAUEYGB/DgY&#10;P3hn2B5qSNNuwZzGsrLwRI53ZIQt6+meuCfaojl2O+WQDzAEKZKuM9Mj6eoHHOKyte8W9P8AhjOf&#10;uJOTsxqDlgQdwYoVjAJIJyR0zyF7YJwenSnyeUqudz7kyoLttDfLtBxj3JxzinkEI+FAaQndvcbY&#10;8MDuwDx2HvjqODTAgLGMj5FXaoCggkk7c+vQHsBmlFvn5mxzlJWinutfl/wBRhVhIjXBQMXfBXPU&#10;gDkY9cZ6nk8UqqJFEkhBLtsLGRfMy2emecAYOfc/SlMagqqny2YEYkAYL0IweB8p46dc9sEm0uzH&#10;CeWilQ06gEEsMHBOB90c9PmPXFE02701vr/XqghOKkuTdjYxGzNubCldkhcFMLuVjn2OcY5OV9Kl&#10;i3qjM5w7HnIxgsqsRuyeeP14IxyDcTs2x5TnLna5xweCBwegyO/PXiQI6r8yqzKSj8bVdgM8kg7e&#10;QPX9acm5adxQ1m4PuRojZDMN0alXSJQV+U7NwIHPLEjB/ujnoBZjLIMyMBuhCEowYKRwC3Of4h7Z&#10;XHY1IqbGQeYXC/KkiuRGeSFbns3y+nK/jSOHZIxGWU+WGYtncxbbljwCOWxjHGQDnqR80/ek9DdQ&#10;lGNmttfx/wCCJHySry7DHwMBSFxuYbmwTjOAcEnp6YqbZLICyFQSxlLMPMSQ5YfKMggk4PJ9+pAp&#10;qRLGQQSHLgsRudVUFgEz3I+Vj/8ArqwvzSo6n7i5V3UGNucrlcHIPz8HOMKDxkqT6Na2/pkRUUnN&#10;Prt8hFVXYOqtvKkvyGAA2KBnjDYYnA7AeoqZI9n/AC0c8DeGwSgwMjJ7DIGR14wcYJeiSRqBvbyw&#10;VVoVlxETt2bnHPJywzgkhx74k2M21XEjtIBkPnOSFfkfXA4OBipaUtUUrzipOPf8RMbiJFywEaxx&#10;oAQjZXGWGMMANxPQ8nqCamEDv+9jTarswMgQx5K5xgnBwA5AAJCnPHWpIwzAosmVRQDHKNzZZY5O&#10;DjngqRjGcDIyCKRGxGY/MbzC4ZSrqhBLoAA3fhi2OPuY74pJqL5YrXT0KnT5XdPT9f6uSQGR8JyH&#10;x5YDKVVi0jFCvA67VGDn7z+2baskiZILMrqy7l+8AcknA67eOnc8DFR7fMxKAFXeqnC5Zer9cfLg&#10;YHGODn1p23MQKNhd/lxgkrAeVyOhB4yCOxz0IOHTivijuylKEKHM++jJQu4ZUKT5ZyyMFaPnOX74&#10;GFPH95uR1qULwm1mG0FEReDJkDapGcjGMfiecc1G6AujgBSo2HL7ipJJIbuPuqM+3anLH5rttILE&#10;ZZWwWGR1xnPfGTg5Bx3qXFaMJVJSd4vWxOsflsrGWRgCwDbklVdxXbn2ww6EfWhVVmeLYdrNhvNJ&#10;CMOS+O+cDBIH8FIqFypHmAbhvVyQ8e0nbgZwM7pDnjqPwuwpIQBw5XduYA8jgKc9j94kAHO725JL&#10;2dmn00IhFOWv9MVZPKfAXzQzLEk8xDSAt8oUEe+0DHrxUzGQbvMAiVvlbOFZkGOh69QvA9KjCOVC&#10;MVYmYM7qiycAZUjAPIIGCM9OlTxK00jEqqxPtHlkBYzxxnjHHznHJBYc8AVKvDr95Shem4puyYsK&#10;hgjvKv7qVmbanXOcfoSM8/SrTp5aAKPMVmVoEJJC9ATyflPJHHv+LYPNKmMnduYhCSWD5xgkkAdF&#10;AxngE5PXFhV2LCoXarRY2FS7o4fC84xzgHHofY4dRq6cdv6/4Jsn7OPJbW269RkILb92OQQQGyx5&#10;PcYHU09FUFhkgodikHBBCgHOOv3z+vHSmqjxu6KGwm0cx5dCOoB6c5HpwankUPJtYqVaLJWJSxyd&#10;y4II67tnyjqG9xQk4vTb8n0J9p7qb0l+D1RZgjkdgGYMoG0EENs6kJ+R57ZB65p65DZeWUb3DLOx&#10;w4IwAp9Pujn/AGjzk8wqXd3Usyq4MhIIUtkfeyOBj/8AX1GZwBJGsYZmAjDLuG4MCqkEHp029PUD&#10;oooUuWKbd9rmrkppwvbr6/qKA4LcFmAOFGWD57KMk9sZ+vtWZrMbz6fcK6szmIKWRsqwVVwOucEb&#10;R/wEYxWlB85jG9f3ilTz1PbAJznCkgjPGTWZeQavKXW3Nn9l8sxlZ0beykHJJB+ozg8Z6ZpRbc2r&#10;9iIq+yuj83f2v/Ciy+Eh4sWJRLAtvftKoG8AFIJFY4z91cZycnHWvxs8WWcgnhuWAC3Ra4j2t+7V&#10;Gx39QRX9C3xt8BX+v+Brqx+1rd3ECXFpHpyxBYWOTtG4nc/zP8vX7gx2FfhN46W4EVno0VokNzo7&#10;ygho1CzJIwOSc8jgDafu4PANfq3AeMU08O3eSaa8k/8Agn5xxvhajhGvOPKrfe1a33pnghU/Ypyh&#10;JKSgEZG4HByTUEDzRMwLBl2iTBORgNn/AB/Sus+wh7e7EkdnGch2xdgSdSemfX07YrJWwhacoLlF&#10;LoRwwYfpzjgV+sQbd5H5RKinJO+rf/BNOF3WYXDFtnlrsb0Y5zn2wK6yRpYtGtzFuE0E63THIYur&#10;MSufwwfxrh5mEawW0NzF50a7JVyQj54x3zjJ/KuzhuBNFJbBtqvAsA2E7GKrtBHv7Cs6kWoqy93o&#10;FNqMuWel1qZs+0b3AyyuA6htxDHof0x+NU7sAiN1zvinPI+QJuUEH3HWkuGliuXiVHy0akb+CTkE&#10;A+4/p7VYlg+UPMxSO4hCwnOUzGSSQfxUVjBxbs9uh0vTlSfQ4XUI/tEKkkM6ZOFODjJzWHEhVgo4&#10;CkFctjpnmuhuBGl1Jn5Yy20jO4J9M98GsqaBraYxMxZDlkO7Ib0H06V6NKzjZM4VKdOfPNd1/kNu&#10;FUOsinOGAYDqvTPFWZAPMUSHA+VV9OuefpnFV1DeYitykzcn09x9OnFXrhQXD9VGNxI546fmabs7&#10;J9X/AJGMVzuUrdvz3LdkfkYKQubgsF3cgY4wffmtxSs1pFLHhXS5dAwyScrg5rnoSsCkvuAzhcjB&#10;JP8A+r9a6aCJV06I4P72RpTk7ST/ADrKfLFXb1ujqSlZQS21IY8fYpFl5IulQF3LAhunFZpkkhEy&#10;KN8Uz7NuMowI64/D9atwjbbXDMTIiXKMu0hic4B59OMZqKWMO0YVm3NMAY8Y2gZ/Ko5knrt1+5FP&#10;mknbfZfl+Q2KNvLkSH5duWIyN5/2f8+1MQyxPuCsMNkdWAAOfz69K2rYLHcO/lKwknaIkkERnAx9&#10;cEfrTY8B5IXjLLnepKBsjGD2+tZKrKKfMrt/idcaagko6bqx1Pg7xD9i1SKS4VZ4Y0aJ4mYhZY5U&#10;aOVDgg8hj1q5ca5p0OdPm8xmtpXEE8hBLRMfkVuOcZxWT4asLK6vNsrNHMG27QuVlDHH19MYqtqm&#10;i3Ahs7hPLmDL9kLJgzK4PAZfUetclWOGrSUZq39Xud1GpjKElKlrr+J1NjeQMZhFIrJKBGuXCgE8&#10;9PY9PartzHlTK3zNuG8buCCTnGPzryl7a8tGclLiBxkH5DyVOTz7YI/CtG013Vrc7TMZlyf3cw3D&#10;vyM9Pw9a5q2VynHnpSTPawWfvD1HSxNN69UeqabIybQzEINyhQ2fLHrgdPr711cNyXVY+VXZyWJy&#10;3HDAj6/pXkVl4uWFwlzZsoI+aRCORnoR07V2dl4o0WZmMVwEKxEeUzlGUkYwAeMcmvExGX4mL5pQ&#10;PrMBnWX1opUppPVa6anTSMFtoiDmaEmOXcQ6g9MEduh5qzZITHPt3P8AOCRyVOQM/hWT50Eq+YrL&#10;IZPnkdcSHnkrge+7nvurobU5MRjZUh25nwpURADGT9CAP8c1wySjdKLTPVi6UqsXTneJI0C7oJIk&#10;3NIcMOTs5Kg9Mdz+f1rodOudb0uYzW81zYTNE9tIQgjkwdgZM7eQR19fxrNDIG2xEDcjs0u7aUJU&#10;qSuM8H7vBHFSWmoarxBNdTyRW+9QLljMsAJ3EDd0zyfrWDVo2Z0U1HncoR3/AEsdBPrOtXUQhvNb&#10;1G4IAk8qS8l8tCA4yE3bejnB6jJ681ZhBl814HlG7BkJPzFlBLkjJ5O0cE5Jz1NQxKbxopYYY2CL&#10;vd4oVgcbfkzlcck47cnrzmtO1dEZXmmUowLGEIoJHIx6dCM89RXDLlasmenSfK27Xbt9/wDwxajm&#10;URlpVIuXORIcyJsI4YngY46dee+eJIvJnjCSn7QAwMh3+UikEgBj+HA6/N161J9iNyqm0tXDBfPS&#10;OR96SId+XyOCMo2fT8agtlntrifz47RJkJdFuJY4ol++flT3O4nAPTpgVyqWrvp2+R6MpQtFvVN6&#10;9tCtqelwzLGk0Vwtqfnk8pMkjIyFTGQBgZJ7855xWjDDNY2bvpOn/ZLSCPbHPe3UInlVuA3llt+M&#10;KPXJ7ADNWWSylgM90t5dF5BG4gdliRiP7zDDL8wyAM8dhzUlvaWzJBcXMCrbQzBxYWsXkRsBskTL&#10;EHcOBkg7vvAkZ456tSSi4vdnbQvUkpvXVWR9IfsffD5PFHxt8FeJ/ECLP4a8KXknibU5ppBH9pGm&#10;wPcBY153srmPjG1S6ZIyAeu+N/j7VPix8UvF/wARdWml1C48W61Jc2qF8mK1tlitLGNORhYra2gT&#10;03B8HA5ufs+Xt9YeGPjr43i+0rb+GvhtD4d00xReSlncateiOGNMDYjOLaQ5ADMVdiWOSPI9Jtrx&#10;I0kuE+dUCJGCTHAi5CoMk8qMZPcknjIxniq9SNClR2jy81u97pP7l+JhSiqua18Wmr3jTv2sk2vx&#10;RpF/7Oh+zoCGICv5kfmDAbjDE4yOSOO1eR+NdfeNJ9qrI8LCOONXCK5IPJ5ycEY9u55Fen6rdwWt&#10;rPIZHWQps3g7lQABT9OQM/UnNfOniq8kuJL+VpliigWO0sHdgxuJT5hncjoVUGEKAc5J65GIwFCe&#10;Imr7IjNMQ6FJOO7dl/meZ67JNfFzG8bupV5HDbhK4GCOvC8diBx9K0dOsPJgjk2ZAbcigkFsnk56&#10;A5657CqNlYTXU0CwxtJHuxBIB5n2hs5G0gdy33enB9q6cwosYimcWrKdrNKCoUsdu5h6DgV9LVbS&#10;jTgtPI+doU4QcsTW+J33JYH8uRY1nACne7cKFIwdp7n6n+6c9q5TUo7iW5MkskKwCRpVVrgPLMBg&#10;DI5K5wevTjA6VZ1e/tdOmSKyFxcG8tkuGvL2NYmcMNpaGNSVVCQ+NxJwQeOtYJtWLC43SsrEkK4U&#10;MByc9fXjvnjmurC4R06vP02R5eYZgq0JYenvv5mUmpQQ3jS3Dm5gth532MRtBbSHou6QHcwJ64x9&#10;eeLFzrc2qXUEbR20VuIw0FvbReTb2ischUjyWA55JJJxyTXP6rvtLhihb95GQshUFQeAAffof1rU&#10;0maOd44p7ZCWcK8p+WSTI5XA5wffjnrX00cNDlUmtbaH5tjMXOdSdOS1b+6xqaho8Uj3cMixxyGJ&#10;ZTcBgAuVUheO+DjmvMNRmmsN5TbIkQ8vIBIz0GPp/TvX0zovhtdce5sraGWTUL2ykg0+MECQyp8y&#10;jaMlt23aF5JDcZIrhLzwEt1IYLqKRJps7So3mIDd95R0xtPXBwenIp0K1N251o/zOSVOUE1R0dv8&#10;j56uLiOcLHPvw5Yyuh3nJGVABPUHtkV13h6yUQWiYAaRuF27ZIuSD+OBnj/69dfP8NbixupFeCa4&#10;t05BWLYHweG56YOR254rq7PwvdaWsUzW0biRk+zvjJibGQpHY57e3412yxNKyjS20/GxzUMNWupV&#10;JK+u/qZ2sQXNraWkMcbS4AQRx8hckHAA6dD+P1FevfBDxnq1tpHifwFBai70Lxfd6dqWu2/lA+e2&#10;kyzS2LZ7eWbqbOCOJnHO458v8QOxZIjujuIxukiK7CvAZWx7jJ59R15r6U/Z/wDD94l/Frd5Z2t6&#10;ZLd0s21KIPbTb0kiSQnKlnR3Lgk9Y854BrkmuWhN1NFZns4ClOpjKfJrdn0VoWhQC3VxE32aKIhY&#10;AMJkkZ3dx93HOMjBHBGeH8TaFBJcSkQNJHneUjYmMuTnO3gYGFwTxzXv1t4eNtozEzbbeyjAuHIM&#10;VuDjKB5iNqswXjcRkrgAnAOP4u0dYNItbvTboXd/eQPeK0IKWUChkKqZWG52IAAEa7ACfmLAivzn&#10;GXu1LdXP2bLMNWxDi6MXZqz/AK+8+LfGulJaWwjkeO1R1PkpIwi8w4BK5J5OFbgY6V83a/YQxlpU&#10;48xgUPmFpiAoyenbDZz3Jr9G10vxO9t4gttKnNpF4p0k6FqUNvo1nqTw2spgluIYJbiGWaF2aBB5&#10;9u8cxUOm8pI6t4V4g+C9raJLJeJJAyKBuu0Me1iBgHd6Hjn1zwTXRgcbTou0nv8A5nrV8nU6T5mr&#10;6LTpp/SPhKZHj80KylTlXG0ru+hP1FZ8drdGWKURqAHLKHw0bEeoPBx78c96+jfEnw4gs5WiVFnE&#10;nMX2acXIPAIBQEkcbfrXPyeAnghjilt5FlJDIr/KWU43Z49hxyOfz+ko5hRlGye+n5HxtXIa1Oo5&#10;zs0vx8zx5dHs4xC9xdxieRRLhAZRBkkFXx39AM/eFYSzXNlMxtS3IwjbckFSHBGfXA/A17jP4Hnt&#10;ovPcCMTT7Y4SM7OoIIHQfKCMeo6c4y7vw2VkVZ7eJ4WUSBo5MlssQSc+mCOM9DXTHFU4twep52Kw&#10;cpJOCtp/Vjk9H8Sy3bxwahCY5FGVkBIQg9QPQ8Zz7n6Vu32hrdeS8SqGY4YjJwM5G7H1pJvDsaMw&#10;WMJ5KEpgBA+3kEdsgZwPpXSeH5hA6QXSYhikBSV9obccHDE89PX9K5MRKlGSr0dP66fM0w9GV/ZY&#10;jXp+K/yOIudFuvNREjO1QFCgZyTxkencVcs9NkVwHhkWPeu5l+YD1xjHpn8O1exvaWdwI2PzLsw3&#10;G5zgbk6e4B4HJFc7f2LQbVSTcFDM+2P7xPrz1xkevNcSxU6i5JdDpeCp05Kcdu39feb/AIWnsz50&#10;NsC8CRIsizgnD4BIXjO0noSScd+TXplnpdxdPbpbM482YjZndtJR8555C7scf3u4BI898LWscd2g&#10;RH8t4s3RXPA+UEdeoOTjj09TXfReJLXwxayyzQPPdXEDCzJk2RhgylznpkKTyP8AZ/DxcVCVbGOM&#10;VfX8Op6lBulTi6j0Tt+X4C6/ewWUE1oo8+KHMdxdS/LvIyj7BzjpgEegznGa67VrS11TS/h3oVuq&#10;2l7JpOp+INMEjGSS6M1x9n+yyYUhcjS0VdgOSvvXi+qarZzQKbcrbBnXzLi6O4MZHB698ZI5wMFQ&#10;MAAV6N441G60f4g/DfSbHfHfeEPhr4fjuCI9jC7uYX16Qnj5iDqsY5ycgg5Ar0VhEsNyxVrt+tlr&#10;b8g+tRjjk4P3kr/1957H4ZtLWTTdJvElzLJJiYgbiqEbfkHHY556kY4r0PTLj7PcvJYzJ9p83yCF&#10;QF5EO3czFSBkEDjgn19PFbOS+0+5ureZnVbS8uBMmAcSb32ow7DJ6dgD1xXX2OqytqECoYk3KNjr&#10;8xdgBwSPl/gGD7HnNfG1qdTlbj/WqZ+5ZDiouFNdFuv0P0F8AnQreLSwDELuadrm4UERiUsQNufr&#10;uJBJ+8K/Qn4Pw+GH8Q6ddW1tFFLpotrtxvjAEjTMfkyPk4Cc4/ifnAIr8kvh7rl5eGysJLZYYTd4&#10;kk2FmbOCQD34A79jX6E/DLVfD9jrcepw3MltIlitjNLY7M3EqFSxkJXJAz1xwCo4zXy9f26jzymr&#10;XvqfquHo0/q7hG93FrTW17b/AIn6c+HNY00SrqlxNbTJd60jXdlLG0akSGQ7Y16YVguQTn96cdSR&#10;9SfDaHwxdagG02WwsSdcTR5dSlhFgt5byiVjdyFCBhVCICWyGUAjBDH8tPD2t3N8+mWl/c2yQyyR&#10;6iDHLvELRXpmGGyCpKrvJHOWGDnFfcPww1mfQrTUdYjjh1rSNDmggdopxFKsd8jiKSJfvPwjFwhJ&#10;XAJ4zjzvrdWNaKUbxSu18rvz6nfiMuh9SboNqbVl26Jb6b9z7D8O+DA3jlpPC1hdpZNqE8ct1dt5&#10;MfiKCC6do7hiS6xmZVBXA3AkLhiPm+w/hv4th1bw9Z6gbiOCPTZI9BlvorJXa9le6nSKETPGSheX&#10;ejKrjIHA5wPJ/AOs6Rq11o1xqsGpabJd2hvIzdosfh1IEjUK6spWRHfESscHrkuMc+m/DmyspLi/&#10;FtoxvPCMLDXbLQksSBo5IZp28mRQkiRsglUlyrGUDpkN9tl2HhQrRlRfx3bXnaNnbpbXvf8AE/G+&#10;McY8wwM6OYU23RULSdtdZRkrv3ZSl02Ss3f4Ue2Ws+m6MdV0Wxv7O5kmn81LazY3V1JczbZzKqA5&#10;JTzdr7/l+YqPukDci1K6k1O9NzJJHbxWg0mO6u4BsuZWYXEjqisFRi8m/ceSiA4znPhPw68Qafqf&#10;i97u/g8RT/6Y032tbPypL23EUaW9vPHhQoB8wttyDwBxlj71cssFz/ZkgY3F5rbzWanFzHIY0Nqq&#10;YUYj3Z2lnBBKE7XIIPuYGpHHU1iIO0E2kl2Wyf36ea+/8cz3LZZbjvqeIi5VZQUpSaV+ZpczWnRR&#10;u79Hqk9uU1O2s4U2RqkdxaaidKn1GKRHWffvdDEn3sHDMcnHzA5ycH8JP+CrP7H9l8f/AIM+MJdK&#10;hceNfhXqEut+HJdge+khbEreUcEYjZI3JOfvYXG7I/dfxdpVvpyyXmlwmOyj1AWd3ZRSKIRcRlPJ&#10;kh4JDBklzyBjYMdRXzn430PU5LuPxSlnBcabr8L6RqVvOsTxeW0UMRUxsSSP3sKZIwplT5iSRXjZ&#10;nRkqia+KPbt3/I+k4brRlh/aRqe7Pbm0fNo+Xd2bTlpeyVrH8oP7Mn7RusaV4Y+AXxEszDB4r8E+&#10;Jbf4PfGDRbt418QgQM2n2UnlA7pFZ3azuWkU4WdZGcKGFfuT8EIJ/AHxV+Jmgj7JH4J+L81r8QPh&#10;rcT3ay6h9rnQnU7EREh828kUryKATidec4avwG/bJ+CN/wDsjftg6/rlpp+rad8Nvi5fQ64tnbRS&#10;TaYuqh2b7LPGqtiO/h86LzVUBJod4BLkN/Qx8Hvhl4r8S/Dr4Z614sgSPUbPTtJ+Imh6xdwXGi+I&#10;fC4a3W4S1mtZVkaaSa2ZYpGB2SJK7sQM7+apXeJwznJWtv5P+k0elisvqYfE08RT/hy1S+6/4n01&#10;P4Yi1OeS+BlZoLoDdcbJ7gynBZgv3sH5jkDuBg4xXiPxW+H99rGnx3emWy2uq6Rpckwu2uDZW6wQ&#10;gs73TvJtAXYAkaqgyVADs6ivqO1udW0+S41PTrab95cBbiKH5Niz7gGK4+4AQBlhwOgwTXJ+OvDk&#10;vimOXTrJJ9QeWMSx2kFq9zFChCuJS7KqlSCuGIxkEdQQPOo1V7NqSutFba/XQK+HqQq+0uly/h/W&#10;h+Knir4g6nonieWfUL6e8UyqwllgeGKdUZmTaoHT94xwmRkgfTi9W+Kum6pYeJAlxqMcF6iW1xcS&#10;3W6e6YujukzMDmORUkLbQCxxyFDBv0j8d/A/w3fXdzeeM/DEOqXlnGkNho9vfSaHADkpmaSBw4Uh&#10;gpji2F2ZmL5PPxR4+/ZP0KxtL/VvENkmj6ZfR3M2n6bpOpXVrBDdLE8ltBFA8r3MyKZF8x5JCWGc&#10;Abc1X1WpWftIVfVdke5hczwl4wr02nZJNW11v+R85658UPAjeHNLtbHS7W88Q6XNLCLzT5GnvSJN&#10;s0cZA4UpsYbm+UAjkYy2dpXxgm0TUfDt/B4fjsbW21J7yMOnmzh2ZpJJWyx6YVPbavocP8I+GtH0&#10;rVIbW9023tI0u3sjBDZCTVLgkKxYomXf5YhjLHBYgMMtXfeI9I0OG1u9f074b+FdDNzpUZ0q4u7p&#10;7W1hNvDHHI8Vq9xNP5sxw+J0XLuxXB5E0KEpxU4VHzLTRaaHXVxGGpVvYTpcyldq76v/ACMpv2pg&#10;njDxd4g0nRdV1HVte1C4vrzStL8M/blunuA7OogZSJYiJGwPmRlxwRXn1z+17rPiLRNS8HazbatP&#10;pE1x5ll4TurWCWxie2mkuLUNbuCimORtwPIRjuUKQSXy6Fr2jzWHijTtM1jzdYV4LrW7Dw/caTZN&#10;j+H7WGxJuCkZwCfL6YBrR8Li00TxDpV7ZWGgRXl1fi31ee+0pNWkto3dk8+4R0ZCBliqZzwzdRmt&#10;FSdCrarUlzdbWV76mM3g500qVBPRd7px7/oeIeJ/ETeP9Dk03XPCjWuvPqovr2x0zwZb6RrkqxuJ&#10;Ime4WGNjE7TMqqpI+QkBRtFfOWvfDfXdb8//AIQ63uNN1OC9WC2j1TUo4WeYIuY5TK4ijDMNpLMo&#10;GSTzzX60XHwJi+I3ifXr28+IL6nd2qRraXY0FdN0rWVeMmWM3BmaWIRMdy4Rt4/ud+X0/wDZZsdX&#10;8Qra63eW/hnw5BCi6ncT67daPbpdxW6vNbfawXm2v5ePMQMGMw2rgha7GqblDmtKN9LtbebR5tPM&#10;PZTlyJxaV7JNq710T+6x+OHhvWPHbXUdpqT2QuZLhra4Dzma6tRC2JHeNQQqov3WJ6A9hmvoLwz8&#10;WL+wYRX3hee4BQAzyRLdJAGGQuGB2nnaCDu9DX1zffs6fDzw3osPiDTNctIdTkuboX9kmkzXUNvE&#10;khZGjnkI8x8GLcHkZkRVBAYYr5/1jRfEeqG8t/DGj2U2iWd2lnd641nLbuskoJQhCeYzyBgE5Unp&#10;yOSth8PWXNT1k+z9Nz2MJmFbENwrK0VvzK1tfLuzpNC+MGkx3W2+s54ZpCZDvgjjt1DbWCg53l9x&#10;YcDHTkkkL6tpH7QvhFYrSyMcl1M0hjHn6dO42jy1Q7wm1UUuRuOCOctgYHmfhb9mubxHJHD4k1jS&#10;lkSGOaSza4Avoh+8AIjTcwbCZYAfKpTIBIr2rwb+y9pIgnnja+vL23lkWGzeMx2pij+9IZOMHAbC&#10;jBAAOORXDVy6MVLkl8r/AIfeelVxuDhT5a0G7dr9h1v+0HDZSWkWnxT3Eky+RaSSwCZ7cI+4BTyy&#10;5OeVxkBxkA/N6FpXxZ+Ier3M1zY6fMLER4mlAJaREwxGwr6HBI5B75HHU6J8G/CUFraWWk6NaXWr&#10;R28axX9pE1zPKS6uVcEYIXew+UDgjGRX1T8OPh54fgbT4blYfsJkW31W0e3U3UipGib2k6FHkzIy&#10;4z8i8nANYUsowtWqnOWr/r0IxGcqnT56NLTVa72/rY+U9Ll+L/jC4i8yJFsIJluIyZhsxMP3TIhK&#10;s7FQoAHy+/OT9CaR+zl8XtYspNV1/VJtFsrbT21G2ktkjspVQ7Y2kmlfdsizJk7T94hd2WyPdLbS&#10;bfwzrlrBbLpGo2cOnRWPl21mZ7NFjje3SNoGXB2qFfK8EsOc5r6Ng1HXm0DW7i/EtrHp+iMFt7yK&#10;S6vNQhMtuZItsiny0jMZkOcBDHxgjC9OGwWXxqSg4N+fTqefi86zOpTp/VnGMXbpruv13Pg2b9kr&#10;x9Z6dpGoz6lPdtqN7DDBH/bqrcXSTSN86xnlCGWQsSccuSucZ09M/Z4ubiSyl0rUNT+17DJqu25l&#10;uIwSwysbvnfnO4NgKPuntX3U+jWbeHpdatG3xxaVsv7O9kDC3UzRRxC1EhZpJSxV2aMKQC/y4DM3&#10;OaZq9tO1vp0TyW00DNLctZbvPdSjiMSLnGWwxO7IyeBxipx1LLaEYw9luk11udmW5jnVeTmqt7Oz&#10;0St6/gcX4X+BOm6dpVvrF1rF/eXk9xEba2NwSqIGG6RQpAQhlZVKndkdiRn6Lg8CWWo3Nxr2sKt9&#10;eTpBHLNNEslxNtVVhMzkZPRMFvvYPUVmrJZWVrNKF2iQeQ1vCGMJdTGhAEnzA7k2447AfLxXoGg6&#10;jE9vG8rsk8iKYohDIkcqMdxbd90lSMZ4x0BJ4rkw/IqvskklZPTb5+Z1Yl46NH6y23K7XnZ2dvJd&#10;38x+keC9FiMFw2nWap9q+z+ZJGnnICu7K8blBK4OfUdK09c+DXhrxVI6ahZ29obtQbO4s0EvVVlR&#10;GjPysVJxyu7IPPOa7XRrdHW9ikcvFOssasIt0YkEbFDkjghvLwVwRvGetdRpdxfypBdXIW3h0uSS&#10;a2ARcQlgi8vj5mPlhkVs9XAOdqn3aOCw9eMadWHNHrp999uh8Rj88zKhWdbC1XGUfN9V7tk07vmV&#10;npa2vZHy3d/Cbxz4dikttHeK6tYpRC0jzPb3C4Xdnytpx1bOTkbCT2zb01fFei3eNasRa2anzPt5&#10;l/0VfKj+dEBUEsp+QDuXQDBYCvrrU59HudH1DXtW1eVRo0ytqsuH+2RrJGSkcLHmQMq4UFud7ZCB&#10;Nx4LQbR/G+tHX9csp9J0WTTZrvwRpNxcLAk+wBIL2QSD96BjIUj96xL9FRRw4rhTLI1UsJKSk3dJ&#10;S91K+t+y6W77HTS4+x+LwdR5rRg1FNSly2lzWTSjtzNp821lHVrVX8T0bxBHOLwSPJ9svLiOcxOd&#10;pJjEixZ7HarAZ7nPcmvSNJ1CW9izPNvSd/KQqy7gyHcEXJ4yQTu4Ubj707xL8MrbVbRNa0SBdO1K&#10;GBBdxWrhLe9O0yByhIWN9oKnbjLBeCWNcdZRCwtUimDQ3Dy4K/NGYtu7hhngk7M5P5V89DDZjlWJ&#10;9li7OEtYtbO769nq0erOvlGcYX22XtqpdKUXZyg0kuj+GyTT7Kzs9F6LMuI/O0xB54EUttKVMm3A&#10;UMvABJABTHTK8cYrpJ9SW5Edpc7oY2hO7ynKPIUB8veQSNwDIMjGQMY+9nzTRtfvLS58ibzEkCoU&#10;k25J5wDkDnlj+CnFbm2V7iUbmQsWXMkbZcKCykdQABkEnBx7V7OHzH20Hy77Ndv6/I+exeWzhUUK&#10;9rRTcZbt3t18t/XsX7jzJHU+YBGQ8DQlNySIAHbGDxnehweuevrEkRt5JJgh2AF4wpxINqjnvnHG&#10;cep56mlsruK7cSvCUeMtFIpyysjqVGNwznO0g56YGeudUW7kPK4Uw28qlJCWVHBaTg4GRlWdgO5L&#10;V5lSnSVT20Nn/X+Zz1JyofuqitpZr1e2nXb7zxnxL4cSaa8YSPhXZohtDbvnZ1XjnkHH9CK8g17T&#10;pr/TNcWUiJrq0msvISFgYHeQN2Ut9wuBg4DHr1r6I1e4mS4jkg8uExXAmcsxLE7ty8nJ9R7EivPN&#10;Tuoo7t8QhYbi7EtxJtCh8nJ5J68dBzwR7V42Io4eNRVIuzfbztZ/I/RcmxuKrYVUKmumj7bX+/fc&#10;/DLxT8KobbxlrN5rep3ugQXGqPpk32MEz30RZJvsW9UYosvlJuK9xyQucfJXxf8Ag4fDfgTxB4t1&#10;qxi0zX9Q1iew0vT4bbyZ9IhubVTZwPAHaR90GpQxec5JYyTEdwP3O8e+GPCGm+NJ9Z8USpaaRDqH&#10;mzsiGSG4nSMqqrjDBpASu8ElQ4ODt218kfFfRbn4hXOl6jJNptzZaf4xi8Q6kLOLyoLl7dpHtXjX&#10;aGEOEhiEQCgbUHsPocFXp0ML7J6Su38kaxyXFZzmEasdIe7e/XVbf12PDvgX8M38MeC/CPhuN4Da&#10;eH7Se805IgFQvL9kW4mHOSXaFJGfuwJr3nwTpem27+MJLjSwLS+1eIaaXbyxaQ2iNEZFygGZQkjB&#10;TwBKgOSK6bwrpum4t7eYRWptLR7exCKENspmLhs4z90gH3GBXbtocexrdV3LLcvLJNEVijR5JFdS&#10;hf8A5ZnzGU5wQAxwMrXj4rF1MXPmTV1/wx+u4TD4fL6awlSPuX0+9P77nK+ELq1+3wHVbWPZJbEq&#10;0ZjW5gZJnRXYg8r8rZQ8YY4HFfRnh+CxNsLuXWY7wyziNYXg8kqQAAUAypG5U6HktnvXzhqkU2gO&#10;hjDFnvVS2lSFi1wCnmsACM4B9OP3Z5r1/wAJaodZ025TTktbB4FBaO8H2WLzCvJXOQGwFJzwD7Cv&#10;Ow8Kk6rpSStHv3R6WYYeNWh9cpe7F2v2/Xv0PetV12ext5dIjO6yt3UwxwuLpWcptD88MR+86cEZ&#10;65r8jv2wp0h0TVLa2O7z8zNO7ea0rd9o6YBH8IH3c49P0wF7JpumJbSCe6vZHxczLaC4uItqD5lZ&#10;ASi/MCNo2dSeTk/mr+2TppstK1EOYmkijk3NERIiZLFicdDnIGc5B+lezOrGrSkoLRf1ZHFwng6N&#10;POqaSTbenm9NfvP53r7TpL7xskuXdorzc77MpIQ59uwBGB6j1Gf1B+B15FDPp6EIJYgDGxHmbtqg&#10;4Bx0yMYPoK/OHTbec+P5QEO9LzaFlG4E7mJGemef58+n6YfCSG1zaXU9uItuAhySoOOWxwQuQozg&#10;9fbj53HNOcddj+y504wyizV07fkj9bfg7LZzxWkgdhKxVY4h8p3qwIAAHC5HOfU47kfQnjnXBong&#10;zWLpZZrW6j0iZ4RaPvmiJ3BSuM/NnsOhI7jFfNnwLuLS6t41mjki+z3BH2nhN4wxUM3PfHJwfk9O&#10;R6d+0JrlxZ/B/XrywKtc4WytLi3iMYRjIokYjJY4V2HXlsHjGa+lylXhGSau9vl3P498XpTw+Gxc&#10;krNQf47fmfhf8SNWn1bxNqV5cRNbmS8lZIpWE8ygvwHYD52Adcke2OMV5uA24b1BODhgNrgHOSM5&#10;4ySMZ6/StzUZJ572ea5cmaaSQGUgsxYkk5PXkk/l16Zw2AYBIifNKgOyPsc8bcZ65AA5PPANejKa&#10;i7vc/iizUl2Xb5FZyCGCFgyowwiBgQW3OQoxgnLDByD2A4NNDMiggFW5IY7SuR0U88AHp+oOBh+X&#10;HzPuQ7+u1Sy7SSCCecAqM8gce3EUrptMg4lCMIyp3+bluMduevGeT9BQm5VF6hPmUXKL93+mxuCR&#10;xhixBKhceZjGe5BPX0GB+cTOxCxRx7JHkAZkwwzygVe+cKDj0Ax6B7owcuoVZFGA21WYdWXg8Ec5&#10;x7nPFN2kJJGADlFTgMrYUnBZehI9eo55JOA27X07EunTSTtr1IzlzGzOVOCA0eFaTjaHJPXOTjtz&#10;34pGKNwxkJKiN3HzMpHDHbzkDf1PQZPPSpPmMpjESLDkO7SSAlgwYR47HPl5IB+U+mRmB2YMW2ja&#10;QArxjLFctyMjsw5IGRs64q4RkotS36GMoU6cLp3X69f8iYmNkRkIIQbsbMOFVm5weOQ2P044NPaF&#10;l3EBWZGcxMoHytgYZWPfPb0J6ZOYdu4jc/LxEj90zs207iWxjPGOO+Pwpx8wuSoPzApklo1wQVZS&#10;p56PjIHfuQaTtTXNLT/g2/Uadrcvwrt3/wCHJUUSF9yJGxX5WVlZow/Vgc9MNnB/pVhULqPMJIAL&#10;MQoCBQcE9NxOVYHJ/h445MCiQh3z+7ACgyTbjhRtXn1PGSepxyetTARONsZZNyqpcpnaOmOCeAVO&#10;OB9B1rPllKVm9F/wBxfNS95aefqS2qPEXYoyysoDbSCQMMoUkfVgecHH525MAbkJGx1UvHw7AFiV&#10;PHTnt+BGapxbVBcgojbijs4baRjPQYPOBjjrVuEEpt3KxjYsUC/O4yAMDJBPzDOPfoBkVPXR76FR&#10;bpQUFZlo7ynlrIdzx+YVbIbHHA/H+eKS3C/JE4IQRrIvzhFwQejH2HBz29waehBG3G0eWCvBBZsk&#10;AEdvur35yPfD12Mypg+W4IO5tgLHb0bGcZDEdx79zSWrd0H7uTvfy/L/ACHTkEEbWj8seYC0yhF2&#10;jc3pjnpnJ61AuZWLMshwoMbMQwBGSQBnIGSDkdyeeMVZXqwYjcrZRjwhABOcnjjgdPXtUG8bAsb4&#10;dWO4EYKjceRnjOWHHPCn3xcZxS5Irb+vzFPmVR8u1r/luLtKhXbeiqpdVIJKsoOR75z+a9aWNiWk&#10;fbKQG8tirfMp+Vh0H+x0B+tKqgkqeflaQOXMhQ/3Rz0BJ/ICm7lcOqsu5n2yYXCq3IGOxHHX3qbP&#10;msv6ZUfZySk9OtvRakrM8jqXZcovyHbk8nnt36/WogUZfnVtxj3KuPmAyQc9jjY3ryPzeJo5Aqth&#10;nZdpDJg5J47/AEz75HpmE7d7lDgocguv7sDIUfQ9Sfp37JJqTizJylC3s+vQVVy7bcswPzLkBcZ4&#10;z79c/wD1qThmfcSpRuCxY7RncAMeoOcdOTx1p0agK6BpHcsPMkBKgnGAQcDse39KaCyRtnyyohIS&#10;JE2kEFWAB4wfkxkYABIPXFNpud09rbmyfPTstGQt5YWMZyxUI8aEIVGOo/ixjH4+mKMBwfM5Cj91&#10;uwN2SDjOOe/X86dNuByGWRipZnL7Cysvykn0/Pg9KRQGChSVULufzU8s/ebkZHI+UgAdQO+QatJw&#10;uyFGMG4LcY+RgRBFJIlkbZgtkgDJHJbCquTzhR7U0qp3iTlVZjIhwchc/Nnvx3wOv5q+IxE0gcF3&#10;wdgzjJODjOTwpBA4yPbNQqQUMmNhyZHTBAV8HKhuTg8jOO+cHpTclTV3209QlKcZr2mvkvPYnYui&#10;HZuwBs2hhuyQcZGeny4wMj5uagQhAfkdSF2k8RKCBg7SevPc8YYEZprSRxsCMbC4di2AwJOS2D7q&#10;ePU1E+yLe/7uTzNrSjoAhAyc9OABx3xUqfM257P8zPm5ruKtv/wBslySTE0bdSylwYWUhSwJJHuu&#10;M4689KY0mG8oyAh8IFcABuOc55yPXp8w/GB50LKfLkDF9xEKljgKwBBAO77rAdfu+1V55mYHLEbp&#10;AM4yR1LLwOg2sW5HTvniuVuOmlv+AHNFQTe7+7cn+ds5aN1QNGsiyD5Ap6Nn0JwT6D0qjI+3znMh&#10;wVPCru28MpKnnkg8jOOMAdyrSpyFZskE4VtqtuO0j2zgn9PQGs4csy71ZXAiVidyP5bFeBnA3Aue&#10;D2Gc4Wm4uMW5f1sZ1JX1jp/XQkUhnAARTvESvghAuCACx54wuRzgyEggdK0khbyhs3LwirsBRGOF&#10;Y4zz93pz94/WiRmUNGx/fGR2jhRsb2cZA46kjC4BwpIHGMVA820YSRcMvmKQMyIMnAUkZAwB+BHH&#10;ArRtSV7W2NklZqTtFK332uRG6kB5mjJIyzNAGZieSSSpJJOT170VA0duGxLCsrgAF1jDhgB8uCeT&#10;xgZPp0HSik6EbmDlrotP68jnHiL7lkQYZmwOkcx3bfl4BGcMRnHTtnBXb8rkbEwSwLAclRhiD03f&#10;KQT3we9QorqxKrHiTgElmCY+cZHY/NnJzwT61cX95EYpwVLR7ZHZ8xRMmCTjkH5QyndnBbnGDWc4&#10;qnNdv+GJtFSTmrtf8D+vkQkHAVF3K0eH3DoSQSD+LHkZwMdM4qEgvLKiMhLvuLKGKN8u0EHAJICj&#10;PTGBnrip3kEL+Wyts2l3805kYhtw4wD1G70OOBxTyEUsCVCbyuwvh+VJzwMDkKPXGPepSaleK+/u&#10;E7uUb7Xtp1d1f8yPCld/C5CxgN/FsXK5XOSQCx7cn04oIwPKyGAbZLt/1iBQSp7A5PpnofUZtMhk&#10;2yEhHC7gztmTPy8FeeihuexY9eGDFj4Z3EZRGCjy5AE4DDcOQcjc+OM4JGe1VFxUW29Ow5vmlZWX&#10;+SFAARUAXPnFo2D7Yzk8Eg9mxkEAnjp2p3lKgSJM4C7WVkxvYElSxIHXB5OO/XNMUFonUeY0iqVj&#10;Kkttz8zKPYNk8Y/WrUh3gMQNxIlZfLCNncCpI7EF2z06dAc1m1aXKxxacbP1/r1BAwIjfzJI5AHi&#10;EXGDgEZK+gJAOOAOe9ODKgCqFaYSBMDcFCsASzehwSQATnGccjDmKiNmjf51kDsvLecuWGB+GDzg&#10;jBABPWVUCo2EZGQbwcKS6KAqEnPXLZxycFiOhoWlr7dTWEUkk3r1/MiJ2OmXV1MjKqhdqx5UrjcM&#10;4GSuBjHbpkVYRhIceUR5SLleVjQkMvGeDgEjBA5YHqBUYVipXaIkBMihAYVBDsp+Uf3ipY+vB7nN&#10;lVchiXLlTkblIB43d/qBxx71TtBWe269TJTlaTmrPWw6Abw67Ed1cbQI/wB9HjB5znjoODjKn1p6&#10;Fm3sQROJfMbBbGSz5OCMHPyEDGMZFPIC/MhUOAVcqG3A4XAOP99G/wAOKlLSBAVYh0OVSQsrxBmD&#10;hcn7pw2eDwTxyKUeW67P+maTlKMkpK6lZ6AsWQhjaQYibKsnV9mBnggjlAevqMHBq4YVZ8KmSZTG&#10;HdQC5U4yMk4YfJ09KYkQ5DMSqk8lVO3j5gcEnoxyONwHOOlSHcyrhVJCeWJCwVgcjC8DkfkBUTi+&#10;dJf1sKN7WettLd7dSSOMBmYFSSBGqxgLuIz82AOxA6kHkfgPGC3lRg7lUMHBOGZguWPGDyxz9D64&#10;E0WX2mSTL52pgFQuAeMY5OUfr16+hpxLD53THORhgAmM5OfTOB+A9azjdyck/wCkVUUHFX+H/hl/&#10;wSFg+GBI8tnChlb5GLEndtB9SeT0ycdat7N2CCUDAAlA4VDyMZB5PU/NnjB64zE3mbWXYIsFwBgo&#10;6PhQFOSOAcc/7Z56Zm3BSrugPYpHgkAbTjOcYI//AFjnAnKUVprcqPs23GL93r/XoRpjLFlKiQcs&#10;OS2Q5CnuTlt2B0x6VcBMTISrPGcueCzk8LjOATjk4Xrn6U2JU2CNnWTduTBXCsVBPGepPUZ7NgcY&#10;FPOFLnJVyzMvlZZjjnIbGAAD049RjipiknzRfYUZLk5ur/J/8AfGjglhJ5S7lkldm2InzHLEngDA&#10;I9gO1X0f5gwiVtrdMbMEe/JAyBnqBjoelUInkij3HahB8zc37zy1G4sMdz06HHNXIIzDFsJ28BCo&#10;cqI2wRwx4bBIB6H65qZKTSjU1YRV5cmy/Ww8Rqu7YJAArszFQ0mSepx05wTjj35qaJVacwu/zbgx&#10;3tt8zcOPpndGc+/WkhHlsoAJC7nJJ34UgjnGMdeM+lShnMiygBkDeYccMRxjA9Ouf5iqXuy8kl67&#10;lVZyUbpbW/MargzMFyAYiy7kJVhkcHnPGe/XHGamQQ7sjy2PJTjEuBszu7YPIHPJDcnGCqqmWDEL&#10;vAQcjce4IOO+M/49adG7L1XILMw39AW2jj2AAB/KiLjFON99v1G4Tmrze1n+Q5ZEDJvGS4USdV47&#10;FR0BHy5z6jgjNTSRkRqmBuEhVCD8vOM5BH+yOCKSGN5WXBXcGJAbkBlJwP8AgRAHTv6U58HyimFD&#10;jbtJznLDj2AABJ9iaFPa39X6m0lG3tJdfv6XHR7lYDA2hiQQDmTDYXn36ZPQsegqvdoWiaeN2hXz&#10;tp2/PNIucADOAc7snqBtPXoZ/wB4rvJuYPjBVsFmUHnIyAOg59e2MUyU7GjPJVh5g8vll65DDPUn&#10;gDtjOBnmoRhPmX3/AHGUnKMNN018zhNX8LW97aqssUt6HuJLkC4mypUqcblIIyTk5IOc56dfxL/b&#10;G+FsvgzxvqN/Dpjro2uLLeadLaKoaFgwEofHGQ5ck/7QGQMV+5mqeI9M0u1mlvr20s4Ioz5014wt&#10;41HJZi54GACSTgAIa/IX9rb4weDfGOsJpelXreILXTLOe38/TTiEzTlJCRIy7WUHaCV4Owc8Yr6X&#10;hWrioZvCdFPl1v6Lz2vc8zPsJSxWV1FUd29V8tv1Pywu7C5sr2WG5heP7RaCaMHncpG5T144P61z&#10;u/y7pJVyABhQBkg59a9Eu7SUTk3BcA7lViSCgI6iuXk0lp4y0WJWQFiqDlvm6Yr9/wAPi4ypxjN9&#10;Ev6/I/Bq+U1lWcFFp6/oZiqVmkuGycK0qsTjjoPzzW5p8jmKNzwVhLZ3d1Jx/Lt7VUuVItRGYnVz&#10;8pJGDgYGOnFaNnGYWiicNGn2U8gZyc5H866Z1bx5O3+Ry0sO1Lnb06/gi5O5knkZGVcwrPjJYEDG&#10;Rn86W5ug9jbZcM0N023C46kErjtk1TjuAL3bgBVTYXzhQMYJ/X9althFLK1tOQPMU7RjIDg/KP0r&#10;ndlGLfTUb5uSTju1b7zD16FBLFNGmIruBZ0Yclj3HsRyMHnisyaFZLVZFYlospzznoQcf56V1Vwk&#10;rxXOnyxhpbRd8JQ7jtIycD2yc4rnrZR5kkDneHJ3DqPlJI+hzxxXRRne7b03OedKUZJS1dkrdv63&#10;MaIO8wI/5Znv93oT+uauTnLANkKNoIUYAwP6nJ/GkSEwO/3lVHJJPf1/LiiXkE8nOR16/wD166JS&#10;i0k+v/AOemmnZMlgQzOVwSjdSRk5JAHP0J4rpZCqQMgkw0FqTEQflB6fnWTpsJjjaTaGEjfKpODw&#10;flNXLwxp5sDZw0J6EkZ4yaxqJXabt6ehrSqJcsur38tf8yK1J+wRsU+aW5VQCMHCAA5P4k496kUK&#10;Z0Vic/aCemMnJz/Km2MTsbSHdkJmZt2Rjdk/yA/CrUKFiHKriKGR8hiAMEr9Ouf84rOo2m2vh3/r&#10;7jSM4ylyX1drf18y9aRotvJPKoxJckqDyWyQSPoQO1EgX7YscWTgcKR6sRj9aYrILaztyfmG+Z9u&#10;QXJKhfyGev8AeNOs1drqORRhxkuVfOeTxzzx/WuZzSk2dt+ZNJa3/C/+Ro6S8mnXMNxBJskGC0jL&#10;ko+crj6MBXUSgNLNBGFEdyRPEmcCKbBJA443YGPpXMTM0V7cAYRZJAoQEkBhjvk57fnXRXgMcwKn&#10;YzWqSgMd21o8/rhm4HPX0rirXVpPqe5had1yR6NW+81LGaC9i+y38YVnwJJGQc/3iOOMnJOPU1n3&#10;vhqy8xRHLCkiLhmifIJGM/KQD/8Ar9qZaXbTSGV9iLNh2JBBU5+bt3P8ge9dQ2n3E5huY1SdJY8q&#10;sEm6Ren8H3gO2SMHnFcVSrUw9TnjLv8AkfQ4ejTxVNUqsE3pr6Hn8/he4CySQXMUhDbCrSfvWwce&#10;mP8A9Y9a5y98P6xaqX+yTlEADTRx5VTjPb617UbG5VpFkt3hYcHePLcAHgbTyeSefbrViGSSPfGw&#10;C/LlVzlicAgED1PP0ojm+Ipq1k9NvuFW4XwdVe7Jxk+1rdTwKK81KzyqPPCV5A+YY56foa6XTfHW&#10;rwYhkKXcMQ2iOYMgc474x+tezTaHpt1ERc2cDPIodD5eMg8jkcjH9a4268F6PcTFI/OtJ2yUQNiJ&#10;uT0z16HHNaLNMBWqezxMLSfU45ZBmuGp8+XVXJaabCaT8QrdDGl7C8R+4XJ8xOcn/Ix3rv4/FOlX&#10;skbWl9CAyB2UnZIDkA+h9Pzry27+Hl8m5rK4huwR/qnJikXjoQe/Pb1rj9Q0LUtMb/SbWeAgk8Ev&#10;FgdwQO9ZvB5Vi5KVCpaX9dzeOZcQZfTtiqXNB7vy+R9l6TqhkhiXbHcxKNxKxB2h3DG5SOQRvOfr&#10;V+9ALwtEreWwCkq7hlIzuwDkc7TkgY4PTpXxlo3ivxP4cukuNI1W8s5owSBFLlXB/hYHgjtg8cmv&#10;SLT40eIHjjGp2Wn3Mobc9zDZR2tySc5JKAA5zzkZzmvIxnDmKpy9rhmpRt6M93AcZYCXuYyDg/LX&#10;t2R9Dwx3OwTRhLeJ8rIxmUngqCM+49s8H3q9FpisJrjzg7GIMx2NLIpwo5zwAP4TXTfsjfCz4hft&#10;t/GzwN+zv8BdL0bUfjT49vLoeFPDHjDXYvDXhrxANN0291e8hfUmU/Z/LstPvJclX3mLaACRXZ+I&#10;fjn8LfhpoPxQ+C/iD9iHw1P8cRJceCJ/iX8TPjj4xvtT+Ct0kV5p+pyaR4a0a6sdMuNRguWFxBea&#10;pJqEEL2qL9mnieRZPM/sjFKryV/clJSaXe3Lf5a7nv0uJMBVi5YCPtLON7O3KpXs3fS9lJ28jzWw&#10;tpmkiaASTyN8ioFxDkkkcex/Lt0roU091gPnXamSNgpjjTzVgOSvzY4ABxzwCSB3Gcl7DV7C9m0a&#10;6QJe6VO1teRTqcWzoWDHy+qsGP3eoJOTkc9/ZaRbKkct7cJJMkiSpFCoaM5Ac7j9COM/xYr5rEzl&#10;CThLf/gn2mGlKSjUgrtq6PvT9nVDY/8ABPP9v7zLd5tT1n4n/BXTLW68ss628Gt6/dMsY6qGkKsS&#10;RhjEo3dAPkJYLsWzuxAMjBVcxvEWYfJnccn5WBztwMgjrmvuT4D3ttP+xT+2n4ejZRdWXjb4R+JZ&#10;ERRE80R1nWdK2hucBJL6OQs2Au3I3bWr1v4B/wDBL39pX9pLwdpPjbwHofh6Hwpc6idOk8aeNfE8&#10;PhDw3AUAd/szSo0t4y8MwtldFVxvkQ7lXqq0q+YYiLoR0VOmvTS353PEeZYTKKFV4t8vNVm9r68l&#10;Pt5H5I6hol1qDm2SdUSW4M11dlWkgsogVM00vVsLuBC4LMMAbm4rwfxVbNrV4Tp1lcDTYj5FlDKC&#10;Lp4wX/eyjoHkbczEZ2k45Cgn+uW8/wCCDnxTf4X38uq/tE/s8/CXw/f6pHaah4k1efXfHes+KXU/&#10;vd8lra26eXE6ho7O0k8s7vmncqr0fBH/AIIGfs5+K9ZtvA2vfte/Er45+K7hFlurD4B/BDT/AIba&#10;ZHCjBZ3udS1q51R7a3BaEGfyycMNpOSB9Ng8mq0J+zclfR7nxGO4qwdeMqkL8iv0dvv29T+Q+10q&#10;a0tTMPtUDRNw3lsixkEBTuBxnp3zzXlusSfaZZnmvmdYCQnmyt5bkN8vP9B/Wv8AQB+Kv/BBL9nL&#10;wZ4D8QaR8NvEPiS0+I2r+Errw/B4p1v4zaN8QvDmlXUwiSzg1jw4ujaa4WVl8oT6eRIjybmMmQp/&#10;gs8baSge802a2ji1bR9Xu9L1EwCNLRJIpjG6qoBYsXEh3biNu3Hv1Rw0cPipUpyveN0+m6Tt+ByU&#10;c1nmmC9tQTTUtV8tPvseZ28vmzojSxspkCGYK3l/N0B/3eM+xrs7JraNZorv5yY3S3KucKwPynng&#10;jODz68YrntN0CMecskM84dS0HkzeUFkAGGbg5XG4EDB5HPGK6218JXbwxNDLLcSyMVeJVLKn3dgL&#10;55JPGByMDPWuytUgklHp+tjqoZfUq88pbvUxdU043duJVBLo+0qAMdDzn3z+lZ2kTLbOYHVUkVtj&#10;Hplsc8j0/rXpGneDdXkIURTO6sCYW3bcc9gOcgEcevbvY1H4SardMZLYC2uJGI2rlVOeuBycD39B&#10;yea66WYU1+7rWV/0seXmPC+LqN4jDxu97XWv9f8AADTZbi2Flqmm6tJb3lvKt2rwIUms5FkwoXsc&#10;YVuPXBHWvVtQ8Q23iDWn1uXT7Gz1OWAXeoNpwEOnXs74Es8cBwsRclmaNPkBYhQBivN9K+DnjONA&#10;jajZxKHyktwZX2/xEFVQkemBnj0r1DQ/gJ4x1GWSWfWrez8pMMrRO5zuKgc/Ng7QcAZwaznicJTb&#10;XOt7nHT4Vzms4VPYt20+Rh/2xHLADI0ULqjRyfvCp3AbWCZHc559D2AIrnbjXDYMdluLy0W13xpd&#10;AQDeJNwJJBLMFJHy/wB32r6Z0j9mGXUGha91m9LRNsuCkQgWNtw3YwGPzDjccDDV6XonwM8BadqE&#10;KTRoZt+GbVWe5uFXhSdhww3DoccnI+Y9eWtm2Cp00ou7PZwvBGYV6salRcqXe33WR8F6L4R1nxtq&#10;32waZK1pPJvuZzuXzDgnBC84XC9MD+Vfenw48KSeHNOitrXT4rmcFGT+0YBNAWGC5WEkqcGRyQ2R&#10;zyBk16xp3wttNK1ez0d7FBbreSpNNp8CTyJEkEssbIFODny1BIbHzE/NgCvon4caFomi6hYeItX0&#10;63kt7W9kvbyK7tDb3d0zRQl7GaVf3iRlIgCqbShkdgVLE14+Nz5zpez+GPqfe5NwZgcrviEnUqNX&#10;s9vNJHhlt4G1nVbGbVJLPVtatrUs32hImXR4Pl+Ysi4jxuRQwjG09DtFb1n8E/EuuaJLrMqT6fY6&#10;fMdOddsK7DGQhgzuZOCq9y2UYttYED3XxH4u0m6MF3/YNlcaTBHJDNocV45tI2mMgRzETyqqgGRv&#10;JO3kE1wuq+JfCmleC72z0m21bR57iSJ7RYA50respMkckRbYxAKlTnJZT0wDXzFfH0ZtvldmtPU+&#10;5p4fFRsoRUU7W9CBvhRH4PtbRrzWtVj1ORHVH0xra1urf9xI6t5MgAYkBBtEhzvGAeRXA+L/AAtb&#10;yQa600q6lNHNE0r69bQTamySxy3CHCqDGFji+ZkGAOdwFZXjzxdfajFo/wBgmOry2kjLHqmmXLiC&#10;UPtIJiHKPjzBuJwSCBwOPLPEfjHxBerqeQ91etaLbajNOu27WKGMqUCbQCyoxB2emAOSKh15S1jG&#10;3bpocNXBRhepUqay1d/VHluraLp8Ntbssy+Tc6kFcSWkckFvHuUkozIWRlJYZGCAzA53cct40g0V&#10;/PijubW2uYrcPb/ulSGRgMIu08qxUg4JHBXjkGux1PS72Dw3LqsUrsYbfN0YWeaG1dju2kDPONoD&#10;KMBmG7jkeE+IHt9Xmi1V7meEC6js7k7cWiSbCwVX/iOAMj+HgE5Iz7FGU4x9nE8atTg4ym9UtP8A&#10;hzjdY82aTybqHYZkG6XbuSU8hWHbjb1HevPtQs5bfKiKSeF2JWVl2CORgfk5Iz1zxn7p6V6D4hWW&#10;8MccLPKLOP8A0ee2G0TKQSCr/wDAmHqD6YrNglS9aN72FUE8ZiMk67VLqMnBwMcY49Wz6CvYoyTV&#10;2j5rEwaladkraM4h4YbpbbyJlbKhHLqyRt1IxnnnGOgPrjpVW90u4hCSmKMwJliiEBjjHfp/Ef8A&#10;Ird1jTLbTLmZtPukvEGAhQHb0BbgjIOcjH+z36iqt35cKCRJD56HZK7AkZZhzzkYK4weMCtJaq8N&#10;tzznKdPWXT+vkLp5eFdrD90TlGwrPGcHPIHoen+FbttZG+dv+W8sYGQoCBhuQHocckjH865SQs0o&#10;8mZiN7A4fcqhdy8fXIP4V1WlXIt4Ukt2eRpSrNIv3QDyoz698d8j2rlrwfJfq7bHXSrQlG03Zd/u&#10;NGf7PpD7Y8RLLkeXHuk2uR2OeecngnOetNtbW38Vy2mhiZI3ublYLV5GOHkf93FGCTtDSOQqk85w&#10;QRyK0rnw3d6hi8uTJDDPDkYUqufU+nGD83TjivL9QuJ45r028jraiVxGplaNWaNZT5nvtAbDDj5i&#10;O/NYOnFyUl8X9dTirV5u8WtFt5+Z7x8IYrDStUfwZqFsmrXPjHxLZeD9BuLdYry5ubqabyYIijZY&#10;b5XVSQNoKrkkDNVPidrMGoftL+MZbEiSw03xzJ4ZstqqyNHpRTSkwRldv+h/eHBU5HBrlv2cNbSx&#10;+J/hfx3cRAWvwv07V/i3IroXV5PD+nTXVlnnlnvjYxgHqZB1xXK/DRLnVfHek6nqEsZu7zWP7T1B&#10;5wXEszyedIXHUhnxkdTvPOa78TH2Urz2s3bz/pM58tlOvi54iC1tFeTbf+SR9J6jqMtxrviGSZ44&#10;0OpTtIiIH5JJ+XPIHOM4GT781l6fO1pqCXHnrtjmLc5SRhyDgdeR2PrWA1+yeIdbPygreuiFQPLO&#10;yQx42kd9pbnjBPXOKiiuVe6i82UCOLCgRNueQF3+Qk+jB+OxYGvkvZQnDXsfteVYmSajfQ+tfBni&#10;W4WO2eDyUtlmCMSpM4zhiVc9OE55x0A9K/Qf4SnR7uHzLh4rVLqYma6i8xJTF5Mr7ZDnaAGwcgHH&#10;HQdfy/8ACPi3TtMig069zFDIoi3JAJmRS24/LxlsHsR96vvP4UtDfxWf9mTTsGgE6QXMBFvIQyHc&#10;GEg2kEt1B6qflI5+Ux1GUG5U0n3T9VsftWU141MN+991d15n6dfDXQfCSWTQabftdTRRLG1vcv5y&#10;XCys2w28oySqA7zkheg5xX2z8NvCCeEX0mNr241S91H7PqOmw3kBtNOuIzIjeVL5nRAGAyw+b5s5&#10;B4/NL4PeL/7I1iztbzS/Mngu1tXkjURtcwDy2Ox227dzEqyjap2DpgEfo3ovim4vbu5S1sb3RIIN&#10;GWO01eSR45ZZGiSaVXJ+TdHuER2lkOMEkdPCozpTnKU1qmlotlbU9jEwxUZKhSk3Tmru7Tvbb132&#10;PvDRfF1zdSWNhsgnn8LJPdX1iYDpUBxEJXyijO9liVQcEsFB719ReEtYu9d1DRp727sLvSH4tVlQ&#10;iyimhiDXU0h67vK28ncqLswpbOfhP4K+LfC2veIlvNU0u6udL03wtPDrMNi8c2oarJDLKqXK+bhC&#10;wBQFSFCiFTyxr3bw5LJrvgG20yK1fT9X0q+F759kRJBGqHZPBcuSWfEcmyMqoxuZieArfS4GddNV&#10;4z5k7yS2vytWT9Vp6o/PeIsnhVX1SdL2bjyxc7JqPtee8lqtmk5Ws+WVvT7H0/UtHa5+0WcdrpaW&#10;WovcvetGsSXqXMLhZJpWKjyYWQblXktIMADJXbh1PUddt52g1HzF+0qBJJozwW91LHvd440WQsgi&#10;WIskxHIcHAHJ8q8OzadFFpXhq8tZGN9p3nXt08Ect1FH5EkkTQEZdcqsjOpHyfZ1O4Heo7bwX4ou&#10;r2wht0trdZUuZLK4tZS4+3yRiPzbgO4cF5CpYj93wCd3RR9TTrJzjGXwu90r76JrS2ya9dfM/EM2&#10;yuVBTr0IOThy2lLlfuty967TfvOMna9krbe7bqYZwmjtp8NzK0QvmvTLOCb5J1USvFNkFmVd2OAC&#10;Qx7nFeCfE+2W38MXHiG0tIJYreC60nUYXt5ibnTr1fMwArBw8LCCaPk7Xiyfu4PvWqi5juYHZLgz&#10;m9WPUJ7m4WL7azMw+ZUAAA/fDdggBlIAyBXM6nHHeWV7o89vaCJANOeS3RVV8xtMrM56lndc9cBW&#10;A9uPG0XJNPR7R9dGvkjlyPERw+JhiUrxlJSkrrVPSXq2mrbdHZPQ/J3xidA8fX/hu28T2mjat46+&#10;HOpwano9zf2sGrRM1pNb3VswlkU9JNudgDB4pOSDz9reHJl1bS4bjdLcz6TYWyRIkbXWbG5RVtAp&#10;ALbbVkMCrjgyphcha+D/AI9fDnXPBPjC38Q6HHeTWOpXmy3tbS3aeeV2dZPJAHLF2G4A+uABwK9u&#10;+DfxNsPEWk6JBDeXy6vBcrbSWMbNbQXdthHjLMuGby5PMY4YFSwPQkV8JHHTw+Lng8ardF2fb56/&#10;M/ds6yGjUwWHzbKnzRlvZfC27tPsnZ+h9TQPcRQ3ElvM6mJQEjlUMkiBVHPQcHnOPmyMkgVxtprk&#10;+qJqflm9tri8lCpHZ3At/PISTbJL5Y3YXYNqh1GSMqQdo0oLi80e3UaiDFHIkn2SdZVkERDjy1Zl&#10;ZiCcjknjaeuc1c0uzurRAqW7RXNqubqwuLKSyuoHkAdkVMLt/dj5g6kgHHGDWs5ySTV9d16ny9Sj&#10;h4c7mlK9rP0f5XtcrT+B1vrdtY1gJDFbhnjDYaT5cMD15Y4BCnld2O2a8F8X+BZPGRntNHgk0wKh&#10;sZ9XljBZYW2IyoWBVQylF3BT04xgV9FanJPLAJ5X2aPIG/dbzNMEDEqWweF+ReSc7eSTmuk8Nf2J&#10;LbBItNW+gd/sab4FcM20bGdSTkDcDu5GBnJxXVh6MqzjTjpFL1v6nmV6EqNB4mS5pX0S0UfLtf5n&#10;58J+zR4J8F6Z5cvhzwvqPia6uRcXXizxJq5vLueJYHLW8djuFqkDPuYqctKAq+XtB3eBa18N/h00&#10;Ngk1/q+v+JpLoLNB4b0hLAaXD5hhRlaQqvy5dwkMYBEarv8AmyP1j8ZWemmCYw2i38sO+G0hgTzI&#10;raVtoLl+B/CMEZ+9jHJB8otLDWG1aFbnQLSdpJAk95MGmZ0VI9kQHYDbncCD83J6A9ixbpyVG2i8&#10;r/02Z0cqnXh9ZhJ827u7fn01Pygvfhd8Udbg07Q7qxuNI8LaZPJaQaqWid5plAMlrFISVeVQy5iR&#10;pMbjjrWVr3wc+GnhSOza/wBV1N7u8VtRkv7ZjJLaGMJEbQwtIItpdifNcMzAgEEA7v1s8V/Bx/Fs&#10;ltH4kuNZXSVzNp2n6NeQW6kspKIpAZUUyMWYkBjuYZX71eA+Pfgf8MfCeqW+qan4cv8AxhYbvIay&#10;uba4tpLWXYrC5liVX4EhVSCxVijYIB20TclGbdktrvV/cdFGpNzjGbd+ihZJvbfvfXU/O7SLb4nP&#10;c31/4B8K65deGrW3S6k13W71bSOwt3uIbETSTARhwHnUHyQW2Ix24U46Sb4WfEnxr4e1PVPF/ild&#10;HS3mD5s78Cymi3eTGS8sZnmOwRpGINpC7eMKSPvXxvoo1LwxaWPgnw9dWaWGiRQLaX2mTH7dLEGL&#10;CG4RNqBvMkZ4yVUtICV6CvkOXxP46Xwzq0Wn+EPEjz6HCza3c2tjJv0hJP3bu0q4UjOQSm7AA6c1&#10;xVcNGlOM6dKVSLV79L+ltLGkcTicQtXCm00unNa9t76nL/Df4O6bYjUbmbQx4sntEbZqmq3062EX&#10;Lp58VmQFMTgoSZRuUtjnAJqxfC7VpdfOjRXem2txq/iNdRiR7l7a2Uxxy4uJpNhEaQxGTZj5sHao&#10;ckA6/grV/EsscTXOk6tfi2X+0LmZFLfYkL7ncbg24lnGCEYkHJXGcdQniHXNTng0iw0PVpNVuG8q&#10;0vrrTxbThZx5aL9ouFVCoLKC/GDHww7ZLEznQgnSfotvw/U644ScMXP30/NtadV18r2K03wq1fwj&#10;YXup6TD4d1Z2T9zDp3iNbnV9ZAZ+IrDCXbFpFT70absqCCK6DwVYWOrfZ0+I0+r2GjanfLeJpdh5&#10;mmGNAwFyq/JtaQ7WQeWcLk5yQK9P+H8Xim2v4fBHi37V4O1DR75IPFKQafFc+JpZI1dvPDQq/mFQ&#10;wZIwxXgYXIXHonwvs/DF/d6vbeLdDTWLC1SZDex2E11qtnI7RiS5S1C+a4ESXAXcR5RkDAKQTXQo&#10;wdampJwd7a6q/doyqQnGjVTanazvHez0Vnr6+h5vZ+CfAdjqGqL4e8PWKaVKXn0u21NrmSzhkGW+&#10;zmV+XEilcllJ+V/ugkD3zwxoXhHQY5/s0ulXgv7B7dZDp6RGzkkRCYvLdW2CMlwnluTwDvBALWL/&#10;AODmj6kLW28J+INY1CyezuL3TZNXCWPlXk8sCG1t1RmkZXWOPa0yqSQAucHGToeg6n4Vuku9Xtmu&#10;tOsp0hvLuCOQz6PuVMyNbsqspDkx73G3ep+YAGt6kcTSqKTUXFvdfjoYUo4evQ5XN3slZ6X7b+h3&#10;Pg3wVY63B4qmt4PI1bTtVZle+VpLyOOxMwfy4AhyrPDGpiC5Ubchl3Z6nQ/Elv4q0jV9K1GyisY9&#10;b0kaVPr27y7SzcKDBLKirJJmQ2+2RlUqQ7H5c5GRpGpXcNoviWTT5bsp4hi1DUp575bPU7l3knuI&#10;niQHJMm6N5GbndtHA3EpY6hdaPrza34dmurHRr66llubVUiuJNItp4Xt5flx5bhRM+FAJCk5PBIm&#10;lVdFwhb3dU13T2fy1uTLC8zq2305ddpJLS/nZNafLv4xF4mu7nRYdPupTCwAdmjvXliVUYuEdASm&#10;4E5O0cbDk5+aug8NXsNnZtqKQpJcSHMblN8vGM7cf3QcnHb17eR6hcLp9/qWieVK1n9pll06VyZS&#10;8Lkv56jJGCiKh/h6gDgY9C8PWq3NtHFcXMSNBsGGf92gBBUkfUDAH90cd6+YrVqjrKKSurx1P0Kh&#10;h4UqCklZN3Z7Jpk4aO385VeFJl2ZbYsgQIzbhyDhmUMASPm7gg16dpeneXELu2uo3jtzGuQikqwY&#10;soB+9t5fPUHoeOa8y0/RHubV4bVlS8FybWebkLhG+4oxjDFuCozgdsg13OnRXekT2dnebBHLCtzb&#10;m3ieS3KxFSWIGSQPMKnd0J65Bz6uEo1KclGqvc0163OTGulKhanUSl2fVK21/wBPxPTvDOtRTaqc&#10;O0UUUht1jeYw292XJJ+bjaxEjDdx/qwB1Bro/F2t/wDCL2UGrajPptiimGw0+GbUlN3d7oUkVEs/&#10;9YVwGwzIAWZVUuSoPlUGs2E2p21jpk+mRandBm8y5nUaZE27Bk3gEv5eQoEQJJG0ZJr0/QfDc2g6&#10;7b+JLu4i1bU7G6jj0vW9St3j0m2kcbcW6lSyxBH8oygEgTH5lyoX6HAQnKm6UG+W+sk1p8n1+5eZ&#10;+c5vQoUMTHExVm4e7CSfv2drcyaSTe7tJ2btF20zrTQ/Fmtw6P4i8Y6WX8K6dMv2Lw1cxNayyQTq&#10;XMkqAfu4ztRkEm6Q5XDKAqjvL+S2jngube4hmW0NtJbrI7zxQRxhY5Y2AGIwm1I/LC8BxgcAmxpm&#10;o6zrGmXWmajo8MN3pd1JJeLp13H5N3DI/MqS7gHUCMKu0ggDkZFcbeS2iXklvZLd+Sbh3igvCZbu&#10;NGyIxuJOThlUlSQcA5IIA2xLp4aipUE3CVr82/MtO3Tt0t5niUY18XiJUsQoxlDmVqdnDkb5ujav&#10;K9+b7SeuyN6G7ljlktrhpzbpELmRYdgWMMCVDDgMAdp3Ak4IPPAOZqfh2112dWsIgt0QrbBG0UOo&#10;TgDftDrgEgAtyFJzjnObdlexTW8kc0x3LF5MLMQWChwwizkttX5yMk8kDsK3ti3aWNv5pZLZBMJY&#10;yvnOsiqwDMo568BgMYwAMV5WISrU1Tqe9Ht1+/p3FKtVwNf2tH3JLqttt2ut3pa69bq55FbLBBeR&#10;QzbopobdoQ0o2yKwB7HOMHB4/ugdM10ULTSOJpI44Va3HmKgx+8A2c46dOcc8n2q74l05bmPzrZV&#10;+2QfMyoBmYIw3BccE4GASQOTzwDVWzuI3gjUAl5du3ahLMzEdMj3J5r510/quJ9nN+7a/rt+R7k8&#10;THFYeOJgtXo12815P9BDbxsoeF8nY0jt87Bm27cBjzwFAwSMH15Bv2Nwk1i8LyFZPLZ5mGdjCNWx&#10;gc5IAI5H86bMYwsjqy7U2CQhjs5yMZ99oA74B46Gsm2JM9zbwBXWdd6oW+7gh2zjryASMfwnPGaM&#10;QpWTitHuc/L7ei3JvSz16f1e/wAjndchjYCZyRIFAZwwL4ZA6qOT/EAD7N9a8x1CBbncsq747SDz&#10;wGBbc0b+YA3PVuATxwDg16hFH5trdG4k3b0LpuADQ8rlQMdThT+HXkCuKvgtvlpFYfIACmGPl733&#10;jIJyMLgnB+8eleFVheNPES2a1PuMnrOjekneS0X/AAD4q/arZLbwLb3OoxJ5yavbidJpN8jgliXL&#10;Dj+7hfyxxXwrp3iOeaeGGOdlSdTaymOQo0sZG3DLkdF4Ge5NfV37ZWtXsXhKwtbNVit7/wAQ2sVw&#10;s0Y4WOK4uRGMEhfmiiJGP4MdSBXwRot9dG6gEAFwkSAMsf3t3QkHjk5xzx1pVua/tI3srfh/wD93&#10;4PwlKOUOdSzk5S/JafefVHhrULeDVTFNKJ/MtVRQBuYNg8j0GD1OclO9fR2naXa3llDfwxJLbsuI&#10;keTZMj5CsmOu35W5JPTnpz8Z2F5OHhuRFKCMqTt5zjkk/iwBJ64r6K8LeJVhsLfS5dSeG2uPlZ/O&#10;MQkU52AkdQMDdnPWscLVp06zpdPx1t/wTtzTByxGHjVov3r6+n+Zs65Y6VHcW8N6tw07uUldpd8N&#10;gMkhtoyQMszHB43Hgng9X4L8OR6RojaorLd2RvZCLvzHPlOCu9XVWIVuW4cHAxjpz57da3c+dc6Y&#10;kllPLdjyjL5yOI0ypJBILr2XLDnBGT82fXvhxdRQW8OiWw1SVdQQmfT1t0+zXaFllkCSJnhvmbJB&#10;7AjrXqxoc0nJ6PZf11PIxSxVDAJL4bptPqlr8vI61tf097kyr4dUG4j+0LqEE8olj4VTEVPyqOFY&#10;ZXJ5HGOfzI/bb+zx6HrEq+apnhW4nuJXDMz7iVAYc5O1fxJPXFfpvr994eMTjwsde0+SBRFrGn6r&#10;dwajbO4yMQyoqkoPlHIBHAORX5Oft1a7bpo7QGWORI4E2iBxOhk+8V9BtY9OxWtK0Z08POMmpea7&#10;v/gnbwRRjWzrD1FBxu1o3dr11a9LO3U/EPwlbyT+Mp/Mli3QyuwREDM4IZdozycbiQfcdxk/ot8N&#10;rKfR5ZZLmwuCkqMdrxtGqKxZg3IJIAHGMYx3BIr85vBVwR45iRgkSKzPKVfcxAZQc+/QAV+m/wAN&#10;Zb2dLQyvLeRbgqsSZZVC/dUZOAAFx+B6V8rjGnVUZeWx/Y+Np1aOXw5reza6/Lax+l/wRt4ZtNtJ&#10;JLW4tVlCJGgiDrcEfd3kfdBCnOSRwRzmr/7ZV5c6H8H2gtrgw3V7eLJOysA6ptPmFRjPA2Hj0HHX&#10;Gv8AC1w2lxzxnaIYAEjZDGQVH3kOCADgZHOM4ycE14J+3F4lc+GPCti7rNcXTzF41cMgTytgeTkd&#10;DHgdcb14zgD63KnaHNskv6+Z/EHjTjqjy7EuLsr2t6taH5O3TK7SE5y5IDM2VBxwdvfnPY1mp5aH&#10;G10BUGFpDtVixCMVBIJHIOe3Hpmp5GWXcoZWcORHGR5gLAZGCBjuOP8AaOM1WcMzQZwwEgfY2dgw&#10;RvIbtwrDPv6ZruSU9JaM/kVJRfLOV/6/HYNwdQGTd5hXfJGx4xjOcn+IknHOM+1QMAdsUgXCoQHY&#10;lnYgbuFAPTZuI7A5xjOFlV9wGQ7BdyoMOSMklyrE9ffg4NJ8iq4lY7QTlNpYgNgjORw3I+XqT054&#10;NJtJSgZRjJxtfRkIDsXUxhpPNQq7LsY45wG/2ssdv8W3ocAhgcSBy6rFkEgoSjBjgAZIxjKuMjOd&#10;/XAp7EopfaqEkKOSQhJPIPJ7HqfTHWmDAJRmfJYHnC7gpznd2zyMDnr7ZEpQasZL3Wr3a/r/ADGH&#10;5zIAquN6xqWfLLjqWJPGdp4PYnOKUJEWYdM43FWxvUHj045/Q+poAVTGCIozFGGVlTBij2hEAPON&#10;yllAAAULjp0i+8rRgqruRsJUhlAzz6HO4+nQ9AedE+ZctvX8NBx5mnzfd6v/AIYkLqDv2Kzkhg2N&#10;27aRw30GCQAcj8i9csFxvcspLOinCDqMnuCDnP0qFRh3kZ8uFjjYlMDPPzDuQSw6ZGcDrnEiyhJM&#10;70yzFMLKW3YVy4OQCOQe2Dxg8jJ8Sunr2MuaUZppWTJSjRfMuI2H8Ua70IbA3fjl8j1HfnLxtA4Z&#10;WzkAKQTtyRtJGSDyvzDjNMR8k7suUBcgjarMCBgH1yQAO/4UDzPMVw4ZtufLRztbr39Dg/XA4qab&#10;U3ZRtY2qqKcevb8CwDE42AZlG5yWJIXI+8Tn06YxggdMVbj2xlCShRwUZnBYDG3knHQkjA64Xp2q&#10;CJ4X8sYXarKrurZ2blG0E9wcjGeu6pUcFMPvAlYl1JYZBz0IHHHt6epzE+ecmk/+HuhRUIR1tdf8&#10;AstKI2Dg+U6qGcq2/oeOeg4yCRx8vvVtk8sKZGDDacbuXY7SV4HHI598/Q1CUBjZP4nhMm0DaAcs&#10;p5xwcquMdfWrBCNufeqLHvcgEGNNzHGOc8bhj2XngGqb+zTRTWru9ehEYvl2lsLtBRkzwDnAI6Dg&#10;Y9vWo2wrKGGC7hnDJyRnGT9SCTg8+lTsCrySblUKAAFYjcGBI49wD9OvHFKrZbgKysG3MrZ2sW4I&#10;6nbjfwOct7ctOKT5X/wxPuxtF6yv/wAGz+8i3BgNr8Kjso2E78scY4z1I47kY7ipIiGlYFtgABQg&#10;ZZhnnjucc9ce9Vys33yrDJdUDH/ZTaGPT+Jumc4HGQcvikY7o9h3FjGrI21hg5BwOgAwB34PqANH&#10;BOHLfW/5kpcs2/P8GOcKCjYPA+dVUyPywz6Hv1OM49qYFDrIzYIGHICh8E4K8Hup5GMdBTfOjj8x&#10;gzDP7yRyhbAXGcgZPrwATwcCpVXdJtY8tkuudypx1IBwevI6c5zUcqbVrr9RKLvorL+rCcEDBClW&#10;R3ZGUrhhkAfnn1yag80YZSXSNB5rtxjAO5ic/TH1x68AKybkJK7EGdv3WzvAwfUAKeRjLDhsGpmd&#10;BIH3iMODjgjyfmP5DjOSTgEc1o4PXT+lY0V5K7d79O22pXZlDBSjII1LNIxJKbGbGMdeNvP+yKa6&#10;mRQwZ1VV3oVO7KriQEY6YJ6expzsFSQFWXYTEu8DexyQWIzk9/8ADio/NZTId5Iz5aF2UhGyxIx3&#10;wScg+3J5xCkruf8AXQmLhTd7kO2KXb5shBdCse7gOQGYhfXBJOT/AHjnrQkxRCdoUSEbzn94fU+3&#10;QfmRk1WDGORtrM0KgSKuTITgAsRz2LFe33foajOX3btiEAhRH96Mgkklu+Ny4Hv70VEpO8drL+vv&#10;FeD1g9f+GJmeNlIjcl3YSsqkgZ+dADnjojEDpxx3qo5ZRKob/WL5YIIKx5JAzxzyMnvg+wAqOyPI&#10;ZGZTIYnRHYBeBtZjgjPO0ZwcEqOahaX92XD8bAoyuHVcn5jzkdOM8emavlVOWiMVWk4OT2/yHnh5&#10;GVjJtYiNC3mR4AJ9D90En1ABz0qOV1AbaWLmHayFQSrfvTwc9PudsjceOMVGJE2swMe05RVBXZgA&#10;qMg9MDpnoAOnNQPKxcuIyjQnYssjBCwViVDcYyuRn8e5qo63T/4cTtCKtrfoWJAg3MN3zJ5e1zhy&#10;qoPTjp9B9M1XnbG1Y3RVkmKsWXch5PHoRnBPUHGPUVASCWjLkEIApJ2FsoActj5sBFXJOeRzxinE&#10;4BWQqA0YYIw3K3JUFh14yD7jGRRLRJLVBy3ScH52fyFMiruEDcu2Y1KgEABWKnuSSvIHYA1UHkhU&#10;fyyyMm8AqVfsvb1EbKc9Mcng5mJbDiLITO6U+Tw+3B25xgE9BxxuHQ4podWLyeZnaNy5JLyAFhx2&#10;6rtA9W4wODra9NRv/VtCpSkrwa2X4uxGkW5FZ2OSo25QsduPl5Ckfdx3oqxE4jTY9vCzqzBy9ztO&#10;dxyMBSMDoMHBFFZ89bzGnDr/AFscpHE7udhI2lpNrMIxgIpOQTuJO3p1JHqQKkBViFyThd42ucgH&#10;GVzj+8oUngH2oUAhSAzNswVUb8nAJ3c5GQp59j2PEgWMQuq5jJQNCMBSQyuTnjJOSpzyDgisPiSc&#10;nuZRbcrSVmuv4iCExuXBLtnbLj5+QwDIwPVSN24c8uOo4oZNmSVEgyMAou1d2W3Y7EDyQTnOWIOC&#10;MVKYnkcEuEjbCOJPlDHAwxznAGAc+3QVNsVSuwks5GS/JXAG4ADnnDD8T160/eteXl9w4pJe9stR&#10;kUYTZGPKc7GVmzg52AKMZ6KdrY5zyDxzQUIPy+SituTEpAVlJJUE9juf7xGOTwOaaNod38xJGt9o&#10;aIPtJxGXRRgclsEAHqXUdwKlCIizTs0igxtHCUl3o5MqYYnHQKrcAjlweRjNWXLZ9RPklS50r26L&#10;8wBMagHdIJCABuJMgwWIHqCAPmHJ9c808MFZSJBIyAKY+Bncccjr/Fn5fX06R/KDJGo8zY27cQWd&#10;1YcE5OSvU4I6senILmRGlV2XcGAVZBmJgQVOAAAAPkBweOMYxUpx5uWXzHzWilt/wB8cqfMZDMyI&#10;rOFBMjkg5YLgHks7sPQq/BJwbEcMjFtspDeYxyxGUI4G08hm5yCD7+pD5d7PuWYyYDMr7TtbJLkB&#10;f4c8cg8buOtSw4jdY1VEMbkvGqk8YxnHGD/CRxwOlDs1pG5cYc8eWSsu5GJJchyXZhI0IZYzHG5V&#10;uQox0zg84GApxnipHRo0LuEeQoBLGgLA44J69gu0A889OhpVJLkBuVYMwXBOdvPbPOM8nGcjHNSq&#10;gZWIRgpbDtydwbJxntwSfbBx2NDafuvRr8QqqK5k3f8ApD/JYSK+RlySHXLSyH7oYc5GNo5wOAOl&#10;TRK5MqAE7X3+VGoMOVUAMQD83Kluvdsd6F+VlG3cySD5iFjCn5m+Ucjkbcg56Z6GgllLkLJxCqgE&#10;5QbQFGQeuMMfxPGDURbUNVt/mXNr2XvLbZ/d/wAOTQvOrbHDs2TMvmLzzlivGPU889TjviQkh3YP&#10;klWkKKu0A/MQR0HOQcg8bDn3VFVULiMxzg7JHZcQg8rjGTngdR0746VMsQYliSfNIjkEshAHRunY&#10;FlXnkZK54yacJqU+Zqyf4ENwkrRXoPDAb1QsIwdgMfHPJz35yDxjjjuSKcwLs2dw/hUIm0EE/Nnu&#10;PujrwMcDrTIvNVcsmXWMPtID/KWYKRwMnaAcjHI6cVMQWVMooUtv2SMV8vcrZGe2MD3OD2U1HurZ&#10;FxfvKD6rb5/5DViU5RS75yCCo8sZxw3bnA/A49qmgQp+92xszrnBUlHwu1WDdzjYce/Sm7h8wZwX&#10;kClZF537vl4PXg4Bx3xU8RJhVVzIfJG2Vzgb1DEpznOcL34HbtSpSlyya72/4H9dirqk5K3n+ghi&#10;Do5jJd0Ac5BQ4B+Ugnpg9scnip441YJHvEjbg5JbAQc8Y67jx1xx+NRxHe+EkJWMNljmNX5HYjnh&#10;l546nryBZUn5iAoYDMe0EoevTgY5Xp1JB9hQ7xspMvlhF+03tov68hyK3zF1VIUC7I2G7Zlcsc+m&#10;4HgemCT3ncyLtDEBQThcAKTtGMn0J281C2X86Jo2y2QAcqGHPtyAepH6GrLBi3ymQOyl8AYLnJO7&#10;gYJHYdAQD3GFdS5dCLWXPLZv5+v6EsbybGaRAvAj3gZDcBRubOOdw5PU0+EIFGd8aMoUyEZZcHpg&#10;c9PzJPtTUkf5IpHHyIQSzFgVyWIJPQndz+lICZMRllVGZSzhRnqeQMcAZpSTU7jqRVN25vdX620Z&#10;IGVSPJLM2SQSAAey5yTjnHOePXqKlBZuCrOWzlR+7ILKDwMD5hkD0/lULlSQ0eEGflZ1LMB+IOfT&#10;8OlCqE2g4AIRcB2cckKgKk7cdBnA4zngcEeSSTlua8yu27tf8MWkaRDFuYMwygbGwHAPbnsFyc98&#10;gdhYmCuN0WAEYx+YjZJXBC89AQAR6cVUV2IlYlshhyAOBgdRzyPT6U6TYgdS58twXCrywLNxyc8B&#10;WYjPYY9amFJyalF69vK41VvTu1sEt0sbNudsEguYyEVuM/MPT73HTjPYGvBvjF8cfD3wn0p7rUrg&#10;XFxMC9vpltIqahcuwwCgJOBhTmQ/LlVyMkCo/jP8UdL+F3hm+1y8kWTUGj+y6XaDbHLdTjAjYgjI&#10;UF3YsAfuEcZyPxU8beMvEfxE1281zxDfTXlzc3DTgkbbaFXbHlRr0AUKoA9B17172SZNPMJ88nak&#10;rXfd9l+pcrqPtGtWnZf16nb/ABW+Ovjz4oXlwt7qE9noxbdBpFlIy2i/MMMwA+Y44yfX15rwmS3L&#10;SfvMtII98jvwW5PH+fU10KxGG3McAyJGLFxlscAcL24A9+tRm37sBhDvLKN3UkHjHUYr9HweGw2C&#10;gqOGiox/O3cyq4P238f+VWXTXsuhwmq2lu6JuXDHDMpj/hGBgE8jqD7GuVmhWC2fbGzb1YKEGWXB&#10;O08DjBAr1O706O4ZGAUpsYHsMkY4/Ida5i7sQsYi2iTbGoDBTuxnn6Y6/jXt0sQnBU5PX1PmMflM&#10;Y1ZVqcVtvbpoeXTz3mxWKhgZCqJPHvVj8p4z/OoluiLqOMQxgYAztJPX/wDX+NdPe2cLTxQK4UxF&#10;2LMC20nBzxkZrG1G3EE1pDbJukmcLLPztJyeAMcD+te5Rrxk4011PzvE5ROnCpWk9FZPz17GLqUo&#10;F8/loAsAUgqBhiOp9+h/IU0XO2QyhMq2HDIuCOOccepPQ1Nd2wluZZNwTexA2HJbGc5ArOlZ2RYA&#10;GQx8A4xnHr+f6V1xlGSjY8LFUZwbVra/8MdbG0N3Pazyr5bzRbA5faHUj5lP6+vauXntRZ3csEhU&#10;SK5aOQf6tgTx9O/0q6rYsLeRVbNswC8ZYfNyDn2INZl6Ha7jn6meLe3Ofr+uTVwioTevu/5anHVS&#10;aSktXrf8yvd2ku535XefmPQHjoPX/wDVVONBK8UYJZM4JyM8DpWrcyMFt4A24MMktye44/wqtbRY&#10;kkWIZdeE5LLk/errd2kvP8DgtCF2k2zTUKfJhiG1eNhYFiAOp59qpOu57i6lJMSyCOMdQApbsevb&#10;861beMrJNIx+WGI9RuJbHQdv/wBdY1880iW8QKjMpd0XkKcjA+gwc/Ws4fvHy9CpRUIKVr/1/mzT&#10;0uBpnMo3yyzI7QxxIWkIReMAd89hzxViOzu1jfcjwN5axKJiYV3OS7Eg9c8/jmq8W6GMKhMbpCIt&#10;4yrEsTkDH1q2AxEG5mMMlyWcsdzYU4HJ+lczlJTbN4RjKHL0WvnstCeSOG2V5d6yyJHtRIiTGCT6&#10;9+PTgVoRxpJAZIWWKdQqqHA2biRyGH8qxr1owsCwxsFklEmMncFXr39SK2rHabaeeQOUto/MAOVB&#10;K5Yhvrx+tZSfNHnj0OylFKp7O26u/wBPwIwIzcySNIjoLgyJGDknDDrjt0/I1rQ3C3dvbzEEyRNL&#10;G3K5kGTsOf8APArnLHycxSKoLLHl+cZYt0Hr7jrW9o1uSl1DgKY386NeWdhg7s+g/wAK5KsUoO7u&#10;z28JzOtTvorrqa9swS4jieNzbF84JAEbMpzjHuB0OOlbkI+6FY7o0GyQMAiY7Z+tc/OrozoRtO1P&#10;KIyyg4Geh69a6G0WNlVXEio0RJbqx6jjt+Oa8fESjKEWup9Rg+eLbmrap/jsdBpyb5JDICSFACqc&#10;seCDhgc9yOO9a72EdzKrEKrM3zts8tc5x0GexHtxWNYMUmGxQ7qAFULtjcLjJ/Djn3rqYmM800Py&#10;lpEKr82xgGIUL/49jjnFeVUk1UuvT8j6ShT5IXfTb8x1vZ+RlAzFtv7ved6oeMgZP15AqObTUndz&#10;tDOhCq4JCocfie3c/wAX5btjZE72upCcjbGx+YjjgHI5IwTx27U7MdtdMEcmMhisjx7NzcgHHPbt&#10;6nrXG6r9p739bHfClTlTk49Xp/mcS9jeWp82LJCAbmLbCeDjOB1/magmmjlUxXa5bOVZ4wz7gCcH&#10;np+POetd8FE+1Gh3RyPv4j2j2x3GKxNQ0KOVoliGZnkPlbTxEMEkkdevbmtaNdxkr9TaWGg6NnF6&#10;a9+2hwjeHdJv/MM9lGHbIEkbBGQ4B4IGSfbHJ+lZZ+Gy3pC6fqgTBACXKHaST8o3DuT/AD9q7ny3&#10;s2a2lgidwxIf7yyDoSD35J657VqwalJaS+dHFpskgUlILuDMEpxt2rj5c9ThsDjr0B7P7SxdFXpT&#10;f59DxY5Hl1WVsXRWu3f0ujnfhb4c8afDr4jeDfG2nz+I7SHw74hivG1nwJ4k/wCEZ8WaehDQSS6f&#10;eKweGby5pArjgh2B4LVw+veN/Fc3j7WNf8Xatq+v+IJbtIb/AFXXLk3urXItoY7W3eWU5yyQxRIr&#10;cgLEoHAFfT+heLbyVGgjj06yIbDrb6ZbxPt/2GKF1XtgN0z3xUeqfDnQPG13JLq9uY72QBTqltL/&#10;AKTgBRllHysQCcBugXj1OdLO7Yt4jMI3fLy3WjSvf/hzrlweoYH2GSVOWXMptPZtJpL8fxZyXhL4&#10;uaZdR79UkcaiJSJb2aT9wYVChWKAZ4XIJPovevRrP4n+G7weVHfbrlrcGC3t1nvDGTgbhAi5OdoB&#10;KjJ8sZbgY4OL9mTxJFf7vB/iTT7kFSYP7Z0JVkQYJCkZkB42/Oqgg84GBV+L4AfEzQzJb3utW5tz&#10;J5sqaTqF7YoxIG1ysYiII3OMAjg8HHFceKjwxVk6kK9pdup14TE8VU4xw9bDaqy5k/8AgH6Nfs8/&#10;GHSvh74I+LujavpXiG7t/if4a02xtbTV/Dz6XpFrf6JrljqVob+fUWgtzbzxfbBG0bSiN4RvSMHc&#10;P1q+Ff8AwWu+HHwL+EHwK8Aaj4E8CaxqHwi8MaxoeoRa3+0pY6N4T8Qvq2sXusxXSaVoeiaxcNLG&#10;kyWziSaEMsKYCFjt/m88Hfs86Jqmr58RfZwJraSSKS7gutZmZ1ieRYgtxclSXZFG5gSA3A+9n3y2&#10;+HmgeFtPij06RNNkihDSXWm6BpOiuMA/KJoLQT/7JbzSWZSSTuJHnLMMtwjX1So3LRPT+W9vzZpi&#10;8txGPlL+0KOzct3b3ko9PJH71/FH/g49+JPxJ+H/AIl+GXhzQ/hzcaX4j0xtJXTfhp8CNf8AF7qj&#10;+SYtmq+IdYjiSeEkNHNHpbKkiKyw/KAv5qa1+2Z+2H4nh1O98J/Dv9ozUo57T7Jf23jr4w+LNC8L&#10;a3HICsqDw14cj8P6NJFlkJhuhOmwcl1+Yfnrq/xN14Xdzp9lrXiex06C1NuotPEl7bCZwpId41lC&#10;HJIycdEHavLNb8VeJLS9EWtahrjJDEL22tH1ma5gL3EEbw3AiLvGWKlG5G8glSRjI9OhOtikpOct&#10;le76dV8zzVSyjLIzoUqEVrdWV9dN73/pH78fsmf8FCf+ChX7LUV/4x8a/s3fsy2X7NL6dcJ4603x&#10;b8LPCXg6PVXkjcAJqttOdTnlIk+W3aa4dgGypBO3+fG8uJNc1XVJ0hg/s+BfOkjiiVLdPKggtxIX&#10;/vyGJHZj1d2bqam1jxD4h8ZvZyeI9Vn1O6sYfsdqLmOKKazgGH2EKq/MWGTkjt0xgaP9lNaaKbHT&#10;45Vkv9Ra/uHnbz5TCI2EUZ24AO4yN0IwExjJrWVSrCF6svhTjFdru7++y9CVTwlStz4WlaU3GU5W&#10;3cVZaLTS79blLQ9DW9lMcCNxNsJIwORwPl9CCe+MCvWbXwvZ6D539pg/2iyboLNfk8oHB3SD7oLY&#10;Aw3OGbjkVX02GTwf4PttVcWFx4l13UpYLO3XFxPo1hEqxtczIFwss0jOIlPRYWYkkqB2vhKDTNUW&#10;P+0Lma41C6fzXk34lDs2RkYyc9c5z81efXxVWNTR6Pz9D3KODpu05XSV9PuS/EXRrnSCpd7abS1C&#10;BcIwNoojUYYgLuL4KjKMBlxlTyR2ayRpaI4u4ruMN5sWngjziSFIQvnGcNg52gcgnjJiufAZ02yu&#10;79XiMM3l21nb+Yi3LiQuwYHg7SI24HJVWI4NPtNOutPnjtnsXe4kWPCsoLEyY8tOeckuvTkZ6GuH&#10;EYuo3aL3sj1qWGo35U0o/wDDf5s6rTNKuo1N3E6x22X8yOS0Wd0TjO1jyz8sRngdiCa7jT7qe0mv&#10;N9ottd2sKwxaXIojJnZokEkpII25dnOOgTnvWIvi2HS/tNjPFF5tni0S3mtQRGET94xD8bmdyw4x&#10;jtgDLk1FTBNf2sJ864e3EYMTmaXzFYhgxPKqAfm5JyDk81wyxFfncZJv+tEexQwcpvl5rRei8z1z&#10;RvENho5laOzur22SN4prdpDGXllXIlJGSTGEJUPxliCvC46ywhs9d0+/a/tkjeSBL3Try3to1u4Z&#10;1BLgswJIf5cqTjIGfug15j4cN5AYZG00XEWox5WeO1aSON0ZBIpkK7coJIiQCMLKpI+YZ9V0rR9U&#10;kt7Sa1eW1BDNPEyM6MGdCgVUbcEXy2DBcHn+E81mq9bRr07HdDDUOVU2/XzsyS2tbq01bTdREl08&#10;kBeGWOOVXWZgsgjCtwAu3OQc/d+9yDXW63cTKrTS3MsENzIkziKcT2+8pGMkBsq4RVyQN3ykEZJr&#10;XtvC+qx6StmEsyzzebFM8jF4tqMUCqPujapzkDAjBxwc8nBJopvbSxvru2tp7OTZJel5JzcSoxYu&#10;I2x85A2pFEdoWIsx5LLzPnledR38vuNKMvebhfR/5f8ADGLp/hi6vGWbUbi5to7y4ZrW0tFWbyVR&#10;HCebvIIyWjwM4w7HB25rtJvhyddXS/7V8SNcaha3u6OW/hjn0toorZTFCx3DayNsXc5YfdPAwDvX&#10;mo6JNp/2y38+2mjh822kmuIIi4WMKnmR+Xlh8yDaB83QtzmvD9Z1m6knjPl2lvC0vmRlbjy5i5IA&#10;LR4zg7E5z1bpya0hOMYKCgrqwq1fFTs3Kz1LnxD09bLQPItobG6i1G9XUpNR0qAkI6ENHtd0DAAK&#10;oAQmMK+B12j5/wDEt7LDpUyaXYRwx3Ecb3v2lI554pN5Hm2+VDKCu3OCSdjHgHaPRvFXxC1UabcW&#10;135oVx5CTRPG6OFZtjsBkqpIRtpwemcc58L8c+OpNZuYrexa6u9Os7DzZINW8u+vbVFgQ3DkxoES&#10;NZDJt4yqFQzM2WPZGEpvlT00/r0PHrubfM9ls/u/r5HkXi6fUHk1HTtGvby7vb4BWzaiLzlZSzK2&#10;3gfe7Dsehrx6PwdrV1ZXerGO0ebypJUi+3QQF0jUsxwXDbxtJVerZwuSQD6p451qw1KK007w/Ha3&#10;GoXIBmvLJZhLZDbzAwYbWDNuYsNxwAQRkivFxp/ia4E8N5e/ZFsopHJ80Kl1jG5Axx82AQAeeMdq&#10;9vCUGpLk13Wun9eR4+MxPMnC9no7bvQqWniO7t4re102Bnj8tne3ulWNQ+CXI3DGNoT5eMkEYOaz&#10;ft13frLEIbSGU/MxnYRuRvEhUA4HAGB14Y8dMdHp2iwQNBehZbfcDFHPcKJo2fb8p+Y88gZyO3GD&#10;zVK/0uW9kWNAhEL7kvLSEyTOSvKFDxjjknJ689q9Sm6bi1H59jxcQt4yV1f5mNDp93NPZpqt5baZ&#10;aOXdtSlgm1CGyRQ7ZEUQaRgWG0AAnLA9ORSjLOnl3luFhuELRFY18wtg4AbGRgtyFPNLLNqEAMMJ&#10;mZbc4JljKKmSS3JHuD07d+lS21qmpmCF7gmeWQIufkSMMSd2eMc5Gc9B2xzpfTmSt2OGU+WFpa3/&#10;AAX/AA5HpWlPqF0Y7KFNpUs7SHEUXy5wxwSCcfWvpbwN4HsdP0aa8vQ0nnSK9xE7fun2AOGOfRiQ&#10;Bz09hXOeGfBLaWkcViSbnyN9+JV4ZwDtVcjII+UY6/KTVvxNrd9oNtHoV7MlrJ9nzEIZWFqy8j5s&#10;n75xxnnA6dccGJquo3Cnpt8xYfDzlUUZrSy26FbxZ400a1vvsdhbRXdhJDLp0tssnkKqujRs+4A4&#10;5IPplV4I4OPpnwF8S+MvCmreItE0/VZLPS9PkutTnhsWls7G3jjZri7mmHyRxRqF3FyOXUdSK8zv&#10;5GuT5uxD0wUb5R0P3R2A459Kq3t9POk63Ny62CWUQa3aeRrO9MPOWj6NtJByPu5BGMDHTg0qcXSW&#10;/wDWo8cnTjZrf/PY29K0OXwp8D/Hfiy0jeS38Ya7Y/CHw7e7Q63kMcket61JG391VsNPjPByLth6&#10;VyPhmc6So1NAI3jeO0iIyQZJBKy59ysb4yTnax7ce9/HDX7qz8NfCX9n2yayXw98H9JOualDBZwx&#10;3TeI/EKtquqCWVcuzW63sNowLYL2rYyAteFLZMslnbyhVWJROyDkvjJGTj0bGPrxW08RFynKSur2&#10;Xol+urMMpwldxjTpr3pO6t0V9PwO20g3M1wZWaM3d1M8zbmyjfeZm/HJYevFbYZEVNrSOZpcSbwF&#10;MWdvOR3zkZ9B16Vm2WI7W4c7lkt4j5JUFgxOQdp7Zznv0NU7W4S6MYZArIUeYuQ0gPzEHGemAowP&#10;avGnTlPVKzP1HBfuavI9Un9z/wCDc9y8GWccdzHdSf6WkUwz5qElyqqdqnccjOQOeg7ZwPvn4Y6p&#10;aNd6WunfaFvDbuQijLMuxnUKVGCxYBRkcbvwr82vD2p3MNzDLEwljVdzRSnPk7fmLA+/U9u1fZ/w&#10;s+JQ0e70vUDGlvJY3CzeY65WPaSuQo6Y557AdD2+Yzajq7rbfysfrfDmI5lGUdZWdk3ZPyPv3w74&#10;2ihvUuNVRNLnS1RjLqM7WN3lZt69PlZZCp5LbhtTAYNlf0C0Xx9Pe2WjNZ2F7q2nzQWWlT6i0UsV&#10;pbxD960aTMjKXZlOM5O6NyMqOfzM+H3jHQfGGo3epahYxx3k+61LxgLGrFHMcZAGArsIzkAlc85K&#10;4H2p4e1LTfDcPh3R5FluLvVtVtdV02QtKEu7eCZleAxiQgfPGVbA3NxlguAfla1CNP8AfU5btfn1&#10;Pv4NzlSjKlapHZdLWTdvTc+8vAvirW/Cep6gthpWnXlrqN4+gX1rfl7Z7yO6spYJ8xNhgn/Hs/y4&#10;CGUZO6TJ+5fBFjrWmRaTpFvJctrviO4stZtn08tbpZR3SG0kLzfKUWGMsHxkMVZgwwN35n3XiLV7&#10;SW70hJrfWLDxJqVr4xtdagVUk0cTyzPc6aWZQpMbOrnZkBPKUcq4H3/8NPGeqlbK6kNs97ZWtu5a&#10;WN5CIbK0twjTRklSGa2aTHdpGPOa9jC1oQrSpVr2Vtune34HkZ/Sq4jCQr0FG8k79eZpLl5vJO6a&#10;67H1p4LsLlk1rWNd1q4iPhfTjFf3JtI59VggSWQSqFHO4LI0YGQNpRcgyNu9z8OzJqumSrp95far&#10;C+nRRzLbJJN5W/eiBo4wSojSXKbwCTuboCD4l8K9W0e9XxezXEVzfavpT3Gpwve29varbma2EoXA&#10;AjMhXYd77tzkqCBx6t4Xu7Gz8MwW2lWv2K9u42aNrWCRLOGOUsAImyd5RyGZ33ALAm4ks1fVZdKC&#10;pU23zRcW76t3u/ltY/nriyFaria8JxanGdNRsoqCTim9le3MnZ3t5JrXu70LeQC0aMHUtOmjjW5+&#10;zSG3c+azwNKpULx5ABB5YK2Qdxrzq5uJE1GUhWto5btnfhntowgZN2084BQKC3J3EfXvbr7VYSax&#10;f2hVW+xxXz2sd0/2WEMbXZNAGRWkkVSFyAMG65AJAHnupxrLZGeGVXtZ9TnKxuvkyRRvNG4ZlIU8&#10;F342/wAJ44NLNXUpLnttr8r2X4dT5jJYK7j9iVlr0ckpSXZa2cVtbbQ8y+J/gqDx34Y1HS5l3eaD&#10;cQ3SoMx8FiyspGCp6EAY31+bvgrU9S+DXjC88OeIrC0ntFvA8GtxWGzVbODGGRpsZMWMBQAclyOg&#10;xX67aaYo9Ngt3TJEH2fzBIChl2k5PXnlvlGAABg44HlPi34ReHvGEMks2l2yarGXEdxOWiWUbWaI&#10;KyEHqzKc/Ng5GBnPzOZ5JLNPZ4nDy/epXWna2h+vcHcYYLKYVsozqDlhJOy2untzf8Dz7Gda6xpO&#10;u+H7u+sb/wDtGGawlZorpYTJEkgQYKADbgDcGwuQDgDmuJ8Ixa3didhc3oNvcx2uFnkQBDuPmo6j&#10;BIaUF0UhmGe4CmS08E3Xw6iKX7P/AGOX8m/t4JVla1jcBFAZgTySeWyQcHJPT03TNQ0u/wBNeHRR&#10;DYxWIhuYn88R3MUgAKtjADMSR16FSO4z5eGpyli3Qxy5JxXw66+a+43xf1TC4epLLV7WhUkuWpZW&#10;itrPu9V01TT3sV9HitLow2+sSTS2ki7II4rpLb7Qg+4XXngj5RjGMj2FSX097eX8WiaUxhZXVIp7&#10;WDdPM77YypweVAXO046nJGSB0Fxpuh+I7iGxmjtdE8WXFwLm3h1a3S00XxW7uuUWWNvKtLpmYbC5&#10;8mVsDCMzML1roesaNDdxSaLHpl4hFvNbXOmhdVVmcSbhKmd3zMZEZWKPhirnPP0lDCTpQjyPmot6&#10;tb6dJdn5P5XTPlHmeFjWfP7te2kJaR1dueHScejaSV9Jcsk0qrEafBb2UNsL66ieKW7lZRJdpISw&#10;2hASMDaCMgc7uTtNOtrZ21a2ilsIobNgPsrSZkZi7MTuxg4+bccc5dgBwKU6XaaUZ4Uup7PV9acy&#10;zQ3Mnl3tirrHtO0ElVIJUDOWw5I5BNTUXutNutDuZ5L6cpAftqww+SbaNd0YmbuGLAYYhm5bB2gi&#10;uuthXCKmlomrrov6WphCUazcaEruSlZu6cnbdK9rXTUfL1Lmorewag2j2y30Dsq/aI1iBt3fdIrD&#10;zcEHsxUHI4wO5zda0oXtoZF0648+Dm4lntmhEI5XPmHAPT+Eg9+OKj1nxNpiaJLpel392pic6g83&#10;2x1jMuUVd2WG3YplIwNzsT0Gdu7oniG0uLCCKDU4JIZbsS2gvMSC4nMyJKNo5ffgKeueAQK4ZTwd&#10;Su8NKWrXR/gvQr2eOw2Hp4r2WqlZ3TTei1e+61Sbb0u27NHAvZw6Peab/Z2orpuqGdxFBNYrJvmW&#10;ZRGyQuhQsVOdzghTHxyFIxtcsbjWLv8As3UNSh1C6u4x9onl0xHvoklGwvNMqebKGQvuUHDhOeQp&#10;HuS2+mfadUa8MOpPZ3Ua3EtnZRPJEWHmfuCVBYJli+w8nI3dAeLudJiieS8uS8GuSlJLER2z/ZbU&#10;Nw26bGflGQOCGbjIwa1q4SvTivY1LeXp893YjDVsBiqjden79lZ2u25aromoxvd9lZnzRpXwA0+3&#10;1281Dw/rc+jXkEymwuGsPsdqpkVmaQWzxu4jVuqhwR2+Zt4ff+B7nwXNbeGvG5Se2t5Y7nSvEGmG&#10;61PT9JhFyvmhoGaMxmVGkYqwAG8FSCVNfVzWd/YRJLqEN9rF0jbZWs7UrNKoBLq8aKCuMHptbg9c&#10;5L9Y0yWCwOpxaGjWV1tiktZZX1G2kXccmR5BuU/OcL/sttJG4mI0ZxpySjqnfZ7ddOv3kLFxdeEX&#10;K8ZaLVay0tZuzT3avHXrY+dtIe3vZ7trjTPD17Z6zE32DWZ9PWymlliziNWMigMRtmwd7g8fMBiq&#10;N34M0/Tpbm/tH1zTNb1C5SKz1251hLbS7q1l3sY57aNA0uGk25Z0BEQIUgAD0G/8CyjRgumxW7ww&#10;XC6pP4duH2vCHiKR3dtGSWBKxAMn3B8xBz8rSTSC/wBHC6fHceII/IWzEl3BDJe2fmsjIbUkZYoL&#10;Y4LcjzNu/naeaftm7TXmuvr/AFuepClQup4d+7e0le1rWs3017PR+ZwOnWWv+E9Sv7q+0q21qzaW&#10;DU5JobuWzgtgf3rJDGrMEjYMUBycDG0r8pHdXWqR6PrCeJVu7+5s/EcTpeaXI8Fx9nLR4liKDLGN&#10;iFJ84c7l71rWOs3N9pl5Y6db2Vtf6xDJZ3cmpSEWaxwt5jxyxbd6kt5e0cA7xkqpJHI6jay28qpd&#10;XVrJNf2ccZsLdDi7JUh5bdF3Tl43UnaJAG+RlIPytk/aezXsm+/mn/W/qHso1ajWJST2evxRtv2W&#10;q9dNfLI1DSpbS+l1fQhp0NncF5V0pX8tbaMMdsbxHfn/AFpVA3bJB4xXMa20nhxroQpcQQmyWO2g&#10;u4WiMbuqiTAkzlcszAjJyeOcCvUoLO60nRbe48Wx2thpbZtLTWfEzR+FA6JGDBLE1yUeQlWxmJXJ&#10;K8ZzXJajrngrXYItLbVb/wASRmYvolz4e0d9Pj3mNNsUmo3qqgUkrvfyZAmA3G4ms50ZThaq+Wdt&#10;L6O/VpFUsVTi+WkvaRTt7q5vva0uvO3Xsz528VeCri70abxBp16DfaRZpKLWJPMnvYwxMqqfu5VD&#10;vIPURnqcCrvw6+HfjrU7uG7g8PavNDexLG2ranGdI0fLc73nmMaME+YLtDH584Hf1+08RxeZcxfD&#10;/wACabBd6a1wL671dk8U69c+VE7GWOKUGFkB5L28cQ+UEA5FfEviX4w/F7XfFum3Pjbx3eavod7c&#10;iTS7nTIE07QYFD7PKjtk/iAChzMzE+WSGHIHm5j9QwUKeJdOU29LrSPq3rt6H2XD2E4izr2mCouF&#10;KKjf95709dkox3va694+5refw/pmoeXN480fX/EunRR2WoaH4Fvo7uzsmjKoBd34GI5MDkRneWU7&#10;gM7q6TVNNvLubUNKkbVNO1LTLaC8uPDdyDb2F9DcLavFcW0gkP2gLh3ZZiSxDMETBr5Qs7l/EGq6&#10;p4k0BbW/vpnWz8V6NoMYB8Q2twQf7S0+PZlrgFI2aNdpzKzFsKc/QHw1+IHhrV9WsLLXncQ6fZr4&#10;d1C2uCYtZsybgMksJY5hlt5HkmQNhgRg9aujjqNSp7Gs1GE3aMr2Vtr377N69Nnc2xnD+KwGGWKj&#10;J1q1KN5xaV7qzSUduXeKVuqfMrO/0ZpmsSX+jeFtf1HSIr+2sof7PvHGp2ufLmkMUXlQJF5sSh1X&#10;a7q6AzjHO+vQYZ9PhE1vqTX95oMdpEgWPU2a7tNpJWDUN8JOSkaDzojvbYhP39w4Ww0jTbjU9eS3&#10;1pF8QJbyLPFpMUF94T8bRBgq3sSMWWKSQTOWigCiKVA6hRsxgGTVdP1XUPB817eqgZ7jRVghENyB&#10;5YYJukG7ZvCq8OCvyMwAJDV9N9YrYVRlFcydlfR3klbX1S1T2ezd7n5fUwWGzOc1Q/d8qcuX34tQ&#10;clO8b3V4uTtKNuZbpOLidpeWV/4OW31XS9Wv59Mnv2RXit1K6ckwjbEM2B8jNDIGDDlY0OOcDnLv&#10;U5bvUbC1vRMzC0WWyvIZCylI1GxCwJKkKFIQ8bQBxU2n69Jq2lCy1C7tCllbJp91frA0drMC2f30&#10;bZYEPk4Y7gAgBIC4mh0+W5nXztt1dWqZN7HbuksCIAuXA+8I1JOBgAZJ6NXlYiTxEr4dtQdvde1+&#10;v39P8jpo03hXN5kk60eZcyVm19ltpJX197rqtLu5r21vK7WbGWK3WSV5Z1uA0Ast27dIwIyBhFbu&#10;AhGPbc8w2du7pcrJAh3y3CphE+dgDy2TxzjA79cZrnfPltms710f7U9vDC627MWt2HmKspBbAC7l&#10;LbeiquP9q5PcozG0lkQQNCsqyFgUO0ZGScghshQDwMdhmuatP2dJ8y16fcjy69GdWaT1j10XR6/d&#10;fR9ezLk05zGwge4DXDRM0YLxOsixBdvoQP0PfBzy6LLb3aF4po41/wBKXcuzK5yMZx6ZHHQ5rQ02&#10;/iN4sQk8i02oJpPL3mOPduBA2nG0AnA4wMYI4C3VvHNCk0Bkyql4y+EB4brz0O3OQemO5xXj4mSx&#10;MPaQeq/NWRvRTws3RmrJpa69b/c/v0CKBpVnmlk2o7mMqcM5ba7EgZ6DaBx049ayZ5XsdjWyb5BL&#10;9m+YkFEcHceDn68d/pl/2yRRblhCA1wI5IosAIMSEMP9kEKO5+br1wzUsxMGVd6vEJ4380Ddu2hT&#10;twSR8xbI4wp9QayVeNWi0tGlqdtKE41uSpZp9OmmhiBlhtLnKgzSSSZJPMRZi33e3cY44PHSua8R&#10;R/ZLXUJd8kaTWg2Ow3+XuhY7lySM5ZiDn3wMkDU8Q3XkMYYiEaVVbzCFUjcrAden8X44rB8bMbi0&#10;gs7dml8+SGA7AWOCApbgZxtZmGMEgV5adPkeHk7qB9HgozjUpVfszu//AEk/Mz9rK+uLtfCfhlDG&#10;0F1eSajcxna8soRWhiIbG5QRLKemGwM9AK+bNB8LxreK2mRyiaCQvPA8OyCQKTuOT/ED/wAs8dzw&#10;MYr7Z+K3gGbxZrrSQM1w+nWa+WZwPNIiZpJURiP4go9Of147SfBf2eKC+it3Oy5MN1avxNl1AZtv&#10;UbhgZ6cYrvhQkqSVRe67art1/Q/b8vx1Chk9OFCXv3ba85a6r8Dz61s7e+aSKeOKwkkiGFKvslcq&#10;MbSOAWIUHGAMjpgmvPtU1u98NyXej3qv9rjnUxI8XmBwfLZWLAchkLHjoeo7V9Cah4Zltp5UFss1&#10;veEQ2ZmlwXKbwwjJUEBs5A9vY15x8RvCFle6TB4j0qKeLUfD968Gq6dczNJHqEUkixJ9mkyX3x+Y&#10;rFXDcKeTyBNbLXH99peKb9V1X6nZlOb0Y4qMKyfJKytfRPRJ39boyvCtvezX7a9LODK/lxyox8wI&#10;gYFUKNwRwMgjvjpivrrQtO1OCO217RtQUQPF9pmsNklvJlmTcyQgldw+XKgLgE4GAa+W/BNzbX9i&#10;sls6sWAXZLKRNEV48sduTkEEHGBzxivqzwrfy6XpJaR7c29sSQSzIHY7QAMDkj5Dg44yfQHzqLlU&#10;xFpX5Wu70d/w6Hfnlao/3cUuZO1rLVdjq/FOspe6ULmOz04X0sIW5uBpy2EmUHDZXClunJHPGfb8&#10;Pv2wjLeTambkFzI7ApGSy7iBwR3Y7l79exyK/X3xV4h8ywuTdFIkVQyywoI2cqM5PHXBH4Yr8T/2&#10;vPFUkl/OI5EEM0zlAEDAnCh2zjGcKvJ5AA6ZNdWInz03K92vx1PS8PMJOlm0acYe7f7trJM/O/wN&#10;o8sXiKa4l3bFcupOGdmd/kAJ4BywBznlvwr9QvgFoM1zc2atEm5l8u5eYeWpBOdxyTjOcDHce5r8&#10;8vBQbUdWlntVcQxEW6qNwAYKjEgdvmw3+Ffq/wDAvRPMuoIIbqKaZI/nSAsxYDI3DPRjg/TnmvAc&#10;XPFRduup/TvFONqUciSqOz5fu8z7r8G6YbJbMTsEQDy4o8Dy5XUH7yfxYz0z3GfSvz6/bS177R4q&#10;0zSoZZXGlae1rsVi0QMjGVnI9TvQAen1Nfpnpukiz0y3v7+D99AiiJWnYyndv+YKDgMBFj6Gvxo/&#10;aO1e41Px54hmliktzHqUsCOV4l2MAGyeGwMAHk4A7Yr7DCwlTotOOj6dtj/PjxkzR1MPSoTldynr&#10;/wBu3fz3PnQEZZiGdo5c/OWYklc4GOmeDgcdM1XLIu4IGdNwwdwJPqGHY8jr9KnJU7NrNvCBmGA2&#10;whdoPYEnBPH+FV2GEBMZ8t5A2Fw3GeXHHXvtA5Irdz05XHW6R/PslB6x23+ViJ18slot6gqNxwSC&#10;NwBIIHI6c9j9KhbJJ3EMTllYJwCu3cowSB95WPORvXOetSSM0j/xbxkKWDRuwfK5K59z16HHpTNs&#10;ajcodRgKxVx5uRhcnjHYYO49Kvn93Q403JK2i/yK6SPINy7iCVfeRkYzgHPHrnr1xQJS0beYSoVt&#10;uHyAqgleR6DvjoHHrUjqqnBaP5gMIpy5GN5bHfAToMnJXn5sVCpDbyYy5Rd25slnzuIUZJA6jHQe&#10;nc0762kt3oXFJS5XLV9/Qa8bSorys6t8xC7jwMAvkYGeFGMjkDgU4nd5QyE3IGYE70fkEFV6dVXB&#10;HY0hWN2KOApO5mV2JUYxxgdc8KexBPIzQUdsBpFcCRcyYI284P1IAPHrnmpjTlKLn/W5cW5N863H&#10;ZZHDMu0AExFBlzhRk7SP5Enp1waQiSMMmBvIL7QvyhtwIBPoQDz9KiQjADKH2SKVwd7jJ3lQc9cA&#10;DjsT1zTXKk5BlZPlYsoAZgrKwPB6ED6YbpWkLR5Xu+pDhanbrctb9oJbCNjO4KTEAEDAE9s4bPs3&#10;bFWI3dWwyvIEDLE0a7VBGcN/tZGD6ck98VAvmII2JXa77xvCkqTk5ORgnJAz/wDXpWwQIiSEKkSF&#10;gCHB3DGCeckjtyFbNJJr3aa0/JGTdNOy3X531LCFY3XEgdlwu5XBZFyyhgPcg/kR2OLsDyjG4kSB&#10;mMZLBsLhME9j0bAqocMjuhhdiwYFR8+Onfr1AyevPJzUsbfvZCq/L5SiNSCiMTkdSc9NvGBgnpWb&#10;U7vl3X/ANHKKenUuBWeWcvvCgbmyNoAAUkA88nJPTualDRLHuATAQkptMm8sScED06Z7gDjuIlPz&#10;Iq7gjr5iLtwdueQQD14xnJ69+cTZVgy4K8kNtxtHXAPvtx+XvSfLP4X939f1cJVIezdSG+n4koOX&#10;LBsOdof5NwwB0/Haecj+QoI80tGF8vBDIVXjOAAB+HPJ7VArsSSVjwUzuB3Mx5xj26cds+9TCTMe&#10;C21nXKFG8xkGeBgcev59atpNLl/r+tBQaqy9pJWaJIyz4EifIrZLFSmSACAD7bgcen1qALK65B2p&#10;gjAG4pg538DPcnjPQ/QJgHbhQUALAEl94xghckkYB9TyBnpT9zZOCVcn5FL7Ffryy/iPm7bveppS&#10;d79kEm5uMZu27YxkIBd15VxnADAZUcEY+vOcDb78sAAZ8sjRqCQxiO7sfvc4APX6dDT2kaRSAysC&#10;QeoiMYyACeRn7276Ht2aNipIzBVkYmMEDyxJyzEZHIXBJxnv2q4uyT7gqfS+nX9BFlaRPlVl3urJ&#10;IerHnr0Jzn69OKgYoI5XeRwqjcg8zAJz1YflwOevaoriUBCiqzsAMYO0owGAeuSP1x2qEuvDsqMy&#10;hc4ONo5JPT0LYUfTjirbcVJQdwcuWd4R8h011JIXEkbmJfmWVRsYH5hjB5yMLjt8x6VRRyjPEuYk&#10;UBg2CyucDoO2Ce+Kc8hIZSgw2ScZAYE7sgYwMsTwD6+nNaV1BMke52BIkZR5pkL4IG3qcANyDjk+&#10;oq3CCilsRU0nyvoTOzfvZgxTdGzuzSb8ls5O089VYeg29sjNcvvyRhlkDgg5DnaFAJI7fL36bmwP&#10;mya0spMcbtG4yu5RsKBlAO75TgjcSCMZ4H4ElyqtCqBJEkCqEUvCQm0gEDgHCuo3f3gcdDT1ldt7&#10;AkpScL2S/pfoJkMflXlfnjkB+XBZicAn+7jBPPX2xWUFoiYQBGioAcB2Z2OQRgfdwDj0zjOM5T5U&#10;AYbhH1kQnBzgA5OQcZJx3y3Woy6lY2I8wIytgOy4+Xrhhk7QzD0yuMcCl7znzPVflt+dhRoXnyz/&#10;AK8h5xkmTJLqPOl3sm4MCQzKDjALA85wQPfLZTIQAu4opw0krHK7iw5PJwdhUD0A7Ypod1jWNQSQ&#10;+7GSrY6sMYHAyCB7fhUTzBkLlY5G+WGNXk2xuSrEbuwA2Behx5i8c1Pu8yvv/wAN/XoJyi4OUtP6&#10;3ESUsBDKsmViBR3IUrgAAbtoJGTnpyDyG5FSHIEhiLb/AJpAmCsTsduEbBxgYYg88sOwFRSxqhKL&#10;IwKRbtjxLlgrHLbRkj/WNgc4JABwRSlk5KKWbYUlfzNzuwHyuvPT9D681aUZJJEq9kmv68h7GQHa&#10;WyHVU3uQCDlVA39OoXp/s9qrkO0bNs3E7YoTwqHdsVgFJ5++WOPTjkVYR/l3AAIQQxbKqwIIB3dc&#10;HKjuBxxzUcWwKFVI2Xy2aMNIXcqjKQMAY6AEndn5RgHqrleGqX9aD5uW3I/mQNaQsxLhQxPIMHX0&#10;PXoev40VKkV6scao6BVjVV3Y3HAHJ5HXr+NFS1UTtzIqOIsknDX0XkYRRgdxPlSbdiDOMBhwD9cj&#10;pnhj0OCFDIpV2B5+UqVLuxCEspz1ODyec5Ayck0/ZG0eQhVdkk5kY5JAAJPXj+L5sDoT1oDAvtMS&#10;B3Ctjy/mkCjsx7DeDgccjg8ms6bcVZ9tP0/Ayco350+/4EyRMqP5gVyiEn5ypf50UKT0ILP6n7uc&#10;jApkWJieH8yQ73J2rgBWYnGf7mfyH0qZTgbwrsGGBlgpyWwBkk5BJA4AxhT0BBaVXG0xhUJ3smw5&#10;GRneRjjo3JHRT2od52t1I5HKzfw9PwGAxljlDJ2JHUqMDIyfmPUYPoe2KlIVXHkNn5m3nO4NgNnC&#10;k99v5Hj0pzBSsQjZGGA77B8oZlDYwTnjOPTgHA4FSLkAMUVYwd0YDcEMu3PoRyFIxzk9+ktaqcfP&#10;9Ddc1nB+Q1FlUMz7PnGFWNgxJwp4wffA45+YZ4NKqCMmFm2MhMbCMkqx7lSMA9WJwemcg9KlZ95i&#10;kfzAEYI7OzE7iW4Oe/HGPXA68PQqSIyFaTylyWd5fMZnDcHPTDscn+EMM9c07NWttqRFKEW077P5&#10;MDEfldGUuy7VK5Cq2Ocr0IGV6dce9SSjDAjByQd6R+YSG4yORwAvOMdvXIY0HmFSxRpGUZc4LncO&#10;35N0I+8eKseUQRuCg7/vKCGG8KmcEBsgnAU9No79EruMZwd1s/UpyqU1y9Xb7idHWREfbJvZSyuh&#10;CNEjZfscbtzBuD94nnmq/lyMoaQJKykiKRwDGjYBGAeDgMFI4Pz9DnFSjygVCBQoUq2epGRg45GR&#10;6fj6YmjL+axUeWDgKyDb5B3L8wycjO09COQOTWVSol7qejNKsYt809bb/cSORhZVLurSYiJ2tEpb&#10;K4PccjHI6KOooMDLI7MEfcxXDSA46MCFyThQ4GfXHORwIjMBuBKqoBbeTlGOSRwADlj0JyCuASSB&#10;JEjMT5Sr5kgXcpOEYEY2sccck4bHXt61FLlSvt/noZyqQ5dfl2Q9CAVlmRC2NoRmGGKbfvLwRkls&#10;jsEPcgGSN/mbdmNH/eFw+UjwQCvOSc8Hp39jR5iOgKINog35T5mUkbmUg555xgdD15yakAQbgwdA&#10;u9dgbLlWBjJHJPpznPHucpRskpbsGoq193oSRsGjZiQxaPb5SnacZIyDnkjA/n3p37zco+VlThtj&#10;5cgnOCckcYp6lcAttzIBtQjIkzkY4+nPv3FS/wAJMmFJJG/GCoJOAQe/Q5/+vibNq8d/6Rq4e+qj&#10;WlvxQ5YwqYAIDZGGAwoA4IJJ75688Zp8LNKhiAcKzsyOzKCuTnB9xgjHPB5psZeRzukZDIBKXThZ&#10;QUbIA9CBjjk1KGUt+7DsCg3b2O1BhV4AHA+YD6njOMlXsnRe+/8AmXKMXNc2sf60FYBlSPAMkZCm&#10;IMC5BUk5I4xkcnPU+9WRGo+8TuDZCjiMjK545zkZ78H6YpI/3SlsjlwDIWJeNxjq2Mknvz2PGTxK&#10;rOrsHAZpRuVFYbUztBz6dB7/ADH2AU04u+6tb8hySs4t/wBW/wCARlh5m5njCk7UfO5s4IJOPU8A&#10;dDkdgKliADRtGWDNmMlv9X2bOPT9aWSWRd2wKpd1LDaHKkkKfbt26Z79wRKyFV2mNc5IOAoJbcV/&#10;E5PfnNU4wUuWWgoyfw0+3b+u49pHIYM2EYny1bnbyAD6ndhAR37dOECbWZAMuFyoO3c4KjaoJ4OR&#10;kg/7Q9M0ihA8eIyeMgb8feycbRxnj/OTUpBZFUbEJUMS0fDbRk/iAT09gcZpe85O3kRaLpXT0F3K&#10;yKSDtfChiwXfu5HHp1Ptn8lMmVU7ec7QrZJIHGcnnnAIpobZt3KQXBcxMPlRQPXuDn9ajlRkYIVJ&#10;w/zANgttYMuSBtAHPoOBipjFN+9tujaKjyqa2/yLu8nnyxvGVeQsDnrkk9CeePQY71i394lnbzXE&#10;sqxxxoS0gcZ2AZYjJA4UOTk9FrVlkCqu5xvdcS7WO+MEggHHBzjp0/Gvkb9rX4hDwj8OdUs7e5Ka&#10;n4hf+zLfyHMbxRsS05GOQfLLgY5O4HjjLoKdacKdH4ptJfN2Lp01Wmk/h6+m7Pzs/aH+Kd78T/HF&#10;35c4OgaY/wBg020iJwwBPmTYJOS55J6AAY4AA8N3bAixYxuBcM2CQfbpjHOPc1Dbbp5JJW2+cHEr&#10;MQDuPLL1+p/PpU9xukZAN6yOeNgAUA84xx/nHvX6/hcNSy/C08JTWkUv+CzsoUlUhKs9dbf5IWIM&#10;WA2qAzEoyOS2M4PPtycfX8L8xh8mRVXaxXdIezYAHcdOn4k1NH5EIUzcFAVeUng9ckfliuW8Q+II&#10;ovNjtJIZJ3OMRj5I+uQB6c//AKsUU6lRzUYr/hh4irShHkS0/LRaFgLAwZ3lTAfYylhgdcEY6H5x&#10;+VY980ZdoYn++RvkySSAQeAOn8Q+pye1cZJeTGRTLO4EmDuDEcYORj/Oa1IJSEbgEO2GaT5XIJ+9&#10;xzXqKjyrX5Hi1p+0g1FaK138iYaHbxb5yxlZk+aP+6SRjn/PSua1DSZJZ4ggCeXmRkVwvXOAO1dE&#10;0rREiGXaHBUnI25XoB9QRVYySIWlVizsw3A5Lj1IPp14rpjOql7SL3X3Hh1MPRlTVKUdN366ficD&#10;dafGkoVCVdGAcMQwJOQce1ZM1rLFKXaJSGJCoxCtjHzMPxFdtPBwAVBcygkuQwUf5zWZrUUJ2ZXC&#10;Im3dkDPpx69a9XD4lrlg3v8A8D/hj47H5ZeUppJJL53MazTNuVLBo8bAd+F6Hr9MViaisnlQAEjb&#10;IRhmw555x/8AXrTmjEVpHskbYr5BVuRknqQf196oSxc7nZyWcMofn5hk/e9eOlevFpy02T/ysfC4&#10;uChFxfxW0/C9wigeZY1AEeEy00nCRAkZOf8AJ9qie5trbfBZl3XH724ZfLaQnOQoPQHp+XSrN3NP&#10;Im8u0scWU+zoAqZPT5Rxng81VtYQqPNMjiIDO1wMdztGa3j7z97Y8+UbL3Xqlb8izultrNYY/wDX&#10;Tj5l9yRwOemMD8ahttPZpd+S3kAxFidq5OSevpjrVtWFwss6rhwdsYbHyn+f/wCuqrGYlIncOyNv&#10;IVspls5/Lioi5OVuv9foN0L0oKb/AKT1+9m7aWMX2Z7hnVnUl0iibcwxnGT06jmszJmuYrZPmjQg&#10;KA+VBOSR/n1p8Nw0chVM5XargHYuAOeBxycfnVnS7YPdTTQMZXCny42bB8x225BPpu/KsWpJ6vQ6&#10;YtJWitW0mRTRCa9jQKCq4DKORySTn8q6PUXeztbPTBsFzeA3N0FcMI0cAxJ3wQoyQec46UWNkIdR&#10;lluDmSOXKR4yMH+Nz2Awx9TWdf3Z1HXLifdGDJcYSNUCoMgKOB0HQDHasZShdRS82deHcWpTvrt/&#10;wSlZQOrES7QFbdkE5ByDwPbg8+ldppTQR3J+Vt0wIBU8ben68VykKfv4RktIy/OSdoY9yTWrbySG&#10;5STd8nn7FUMBsUdCPUg1w13zK8l0/wAv8j2cGoqST3TVvI6Bo2WZ9yhih3gsd2Ac8Ht39K17Q/JF&#10;O2GCtwuCFxnt+f4YqGUJ8zmQbiBk7jskPqOR6irVlEHXyt/yxSfMe4HOMn8/yrx6jvDXofYUbxqL&#10;l1Tvf9PxNy0umRiY0zu43KwdU7HPpgZrb064K3aghGZiFQLwckdPXPI6Hk5rIisSsT7duckowPCj&#10;P8Xpgd/er1lCiurPIBLuWMyA8gtyT6fxY+orzp8lm0/66nuUak5STqKzf9I7+3eEwgxvvZ13qhJ4&#10;JI5z0HAPFSm0j8tTI/BJKxJ8/mFiVx65xj8656wkRS27KKr/ALzI4PHPfPrwDnrXRwvvaERAEpnL&#10;Z+UDjqffNeXVU1JKPT9D2sO+WCUl7q7Fj7MzRRhAyuDtKSEnylPB6nA9Px9amg02OKSRrsyPyTuI&#10;B3MxwcfgSevY9zirJuI4mXbHhJX8sKVBLHpz14yDyf71XpruJ1ESxkRhg2HcCSTnoV6Hp+dcqrzf&#10;uw01/I9ihCM+urS3OYfTZ5TvMKvbMCB8gYADBBAIzz9e9RN4d37VaKON9qySq6o4UkDA7jnJznpt&#10;I9CPRbA2kh8t8x+bIRtIBMYOD8ueAMdPp+Jupax/vSAjOjnG3hpAASSf1qKmLnyRs9djRYCMpJzV&#10;7du5wh0WbySTMEKkgGGJLYBeSDwAcHAI7jjI7V3XhwO6Ipk8prYZ2jc6sDtBJ54yRgnH64qJY0t5&#10;g5AdCSFBb74OTnjp1/MV0lkq6bLFcvCXWSJSkLoBIgJJVicdDjIOOQRg888eJrylGS/q57GGwfJJ&#10;aWPXNEEtpBDO5ZkDhkbYRng5xk84znAPU4JHNddPd2l6uVMilUKoPMI7bcng8c85zjdx0rzOw1vf&#10;hSUXcQjAOAUHIVSF4wu4YPv061di8R2umxPJNIvmIGlWM/OUORwOehOPwHpXy9WE6k20tdEe5haX&#10;NTc3byO+W6g0w2886xZgmR1XYMyZwoO7G4A7yMEgHHfiuI+JPiCTToG05YpIJpVV0DgYdZVDq4Gc&#10;kYbIbpgDGa+c/iJ8ZYIGmtbCZ5LtowqoG3bMcc47YwADjr0qCLxVqnifTdL1S+Es1/NpcdvI843v&#10;CYMQoANxzlI9w6dx6V9DluVVZxjiKy937r6HyefY6hRcoUH+8tb7n1MjUJmCNDboGuJdwlnf5iNw&#10;Oe/B4HOM8muK1axb7KYV8w3CgFHJCMM8H5j69ePX0r0KeD7DayTTSZmMY3MzgyZHJy3T2+nWuXnS&#10;61e+eWTE0s7LvWMFE2YwF2r90BVIAHYYr7XCtQi4/ZX/AANj85xMGoxnFXb0t1vpqYHhuwcXEaBU&#10;5Iy8lxs3jJyQfcsevXHavp3QIbhRB5ojCKixhXYzAqqBUCgk4UHYAMD1x1x5Hp3hXUxu8uNE8yTc&#10;GmTa8S5OUB5PbghTjjivafC066YsUNyfO8yFYYmAVXmQOAGdVJKD5C205JyM8HNcOYtVF+6/rTQ7&#10;cppypa1E7O33XR1Vzocl3tWGCSceWFYFt0qbsAkpkgAkA4z3AycVraf4Ms7O4nmiaQTQSqAkjmCU&#10;8KdpOcHsOfeuostQtEnTy3jnjKqdkefKX+6c87sA465yR7mu8tNM066VpUE0bCPeYYEXzpNxPQnI&#10;UYzkn398/OfWpR/drovxPrHBOmop6afp/VznY73UdQ/si0udPjmCI8csy5MdxulcrvHcqhGPQYHY&#10;k9Xpa3Oo+Ko9RuLEW9i+rDUpbYSg3CxpKJNsY27BhV28YzgZyc1sx6clrFEI3Cy7nt1h8zdcDHyl&#10;2IGAArsvHpgA4xWpYf2cs0okYXHmWzxN5jjcjvuXKH23AgjkHnjrXPLEKM02tv0/qx3U6KlDl5dH&#10;ov67XOGsPC914h1pzqcEU8145JkumVFQzsQysSSqqWLDOcdeehrsrjTrrMlhFbqsdveJPEVhIDiA&#10;PDBux91VLgDb0wPbPSQxPApCyliGHylFjW1JOVIIwCeehJHyHiu2tzDIsbo9oXidkeVJBJcPgbyy&#10;kAgr8g5LHBHTnNc1XFuya0a/yT/zO+EJe0VR62V195x+kaf5flwyrLCRnzXEQXdGQjojDIIAKtkj&#10;kl8Y4r2/wzfQaTFNOhMh+zrBJK4LKThiVw3PKx7uMDLKBnlTkwQ2SyQXfnQwsZfJXBAdSwXgLzzn&#10;Zhj09Bya0RLFNakxXYUTgKZlVismV5BLDBYmUMpB9M+g5vaTm/dlrp8tvzO6lCNrqNl+X9WNLXvE&#10;zxyRQh5hFeIpmCgCeAZHygqVHzAngkkbf4QMVl2NxFfTzy6Vp8s10XSGFdnmyuGV8qCFC8Lklh03&#10;jJyRU1hFZ+a1tKIZ1ePZJPfLIjW5IDp5TMRHmQsgBO7jcDjINbOl/wBj2du7rdvb3cH7qZLiJWU7&#10;WUbzuGScBVKuDzGp5yQKpVKanz1Zb6fM6asoSg1Sh7z0+88m8U32r3MaQDSpbm1RUWWU2bW7W5ik&#10;EnUYBJAIyxJKsDzhTXKeIPFOntpkIW2tkn8jZMs6/IeW2MAoVgAPL9TnPXNeyeKfFOk6Rpt5qE+p&#10;i5uLtQbj7ZdtNLdkDcS+ScnciZ64JUkcV8nareP4rv5bi5QWenqBO8Ujrbfu2fKFhkfLkseOcZPP&#10;WvQdGNVqEW9d/vPErYpQglVjbs1v5ng/iifxNr+twaboxCWspMqzTAmB1BB+Q85GGIz0BHJzgVjX&#10;Xwj8Ravpskj3cUl2dQ8mWKJlhKoiuyJu3DKlgxJb5R5eTzgr9WfEXR7r4f6lpOh+K9I8R+DNZXSb&#10;fWdJ0XxjoV34XlOm3qMbW4txcfO9rLHl4pYwyyqylSwbNeB+K/iZbaYLjT0WSee0ZrJmiZZ4wImI&#10;4cDDD93GA2RwSBwTXqRfsLQowu0t+v8AVjwsRVrV0nCVot3X9ej+885t/DWoeG5ZYZUGjXcUYuUm&#10;W0Nwm5yHVgY8uu4FiCPTGRxXn5TxJLczxfMiFWlnu4rM3MhRmJZxE2zLYycMRyfvd69huPiVHri6&#10;a99FawxaZpy2MEtro0EE8kQkeVGnaKMNM4MxHmy75NiIu4qiY39O8f8Ah3VLiM3k/wBgtBpUmm3N&#10;wmhwXjmFI/lWJZFCefK+FEp2lC+9WBUV10Kzes09P+H1OOam4p3Xn+R8mXkniS4stWtobayEJczv&#10;e6pMIL+COKYuiwIpbEjhlEiKTkBgHIUk8YdW13SFjkhVJLu3VnM0Cstw6yAABmB6rk46HnkmvrnU&#10;LHw/NKHkjkLMVuGikhaV2SQnc21Bkr/GMDJ2KMDnObfeEdK129v/AOwdFuLqN5Irey1J7c6ZFcRx&#10;BVaaS3YOwLhRhGZdnP3htFenDE0nDmnH1PKkpqu293+tlr5ny1pup32oyGOSHJZSjmQM0TE/dGBk&#10;hjnr04Ptn2vwp8PiypdESSXRBkiidfLC7jhc8njGcj8e1fQXhz4LaDaMt/e26RsQJgNweYKN2HyP&#10;4hjp1AXpXbarp9t4UtH1G8Mg0+yAeWeUCSZY8oSUP3SQE4Gedq81zVsxgrwpde5DoNuMrX/zvc8F&#10;1LUT4MsJL64ibzi5js44hjc2R16HA4OeOnfpXzp4g1O71+4OoXkkhfzAXhb51iHLcKecY469T3rs&#10;/GPjCTxRqd1c3EfkWwLQ6fbwrtW3UAJkZ69MlgOeB06cPEiXg2ySIxVNrxvu82TL43KOnCIAc9jk&#10;UqUHG1Wa1fXsrns4XCSirRV+r9TlpPNkXzUR3UEoAPugqMHH05x2GK7Pwna2d1fadqOqo0ul+HYp&#10;tb1m1eEypJDbKGhiBzgmafyYjuAA84E56VDLayQqFKLKh+aFkUIT0zj1HIH410F9FDpeiWmixc3m&#10;sFdb1VgNs0UIObC3dOqkrm4YHr5sZOcCuynXjCL5tGv+Ac2Nwcq9WEIr3pu1vLr936nKXE9/qV/q&#10;HiLUHe8vtR1F7+Z52Z2uJ5JGkYtzuIBHTI4PUVaZpbi+a5MIjkkk81UX5AmR8oyMY4xx7cUk12yB&#10;IXDyBCUHyEZBUAtk554Ge5x6ZBb5zOhjVVIZNgkjOSwGAQT3wAcdDk/hWNWtUajaKskfU5dlUME3&#10;Vk/ftbyS8vyNSOZI43N1CRGVKMY36ZBynHX0/Ac4qlYqjAPAN7lNkmRy5OQqnvgds1cN5EummL7O&#10;4kZTJ5rkM+cNhiMA9vXnH4Vn6PKLeUyt5ZlRg4jHyPwfvc8cHnOePwqIudrpa/1+hUbOTqp6t/p+&#10;h1OmJysLzSxSbDv2ErGw67cevIHJxzX0h4Hns7W5t4LnLuQJrieV8mTLKcMxzg9unO8jngV88Wdz&#10;ZrdQ+ZE6bAFJYb0POAT6j+IYP1NeueFdTCXkJhKpa2yiOZsB5EAK84J7kqRn+EcAV4eYptNbS39T&#10;7vh2uoPkqPqrfI++vA3h6OZ4rrS7x1ee4W3e0MjW0BBV5VwTxzwCcDt1xx9+fDzUW1GDS59buLeJ&#10;tEQ2EFu7geer+YTFuPT5zgfeztAGCTj88Ph9rOn2+mafqMN2rf2Zdm7kVpCdxYnKtnOQA5+/nkHv&#10;X2zo82nXdjZeKNOubFJbm3db7TVYhysJgxLFx/GZSTgceUM9BXx9ZTu+WPRNruu5+oYXMfbwjCo3&#10;bZPqn29Gj9DPB3ivR3sftWoxQaeJ9Nns9PsZVmv31afYEgaBP9XG8hAxKSFCnpnO77e+GK6bpGg6&#10;xY2jadfa3Z2ME/2wXLwXs8M8LB4YQjeU/Fyrt5q4TYRgE4P5V+CNT0jxJ4csLO6xcyeHLxdW8+J2&#10;N/P5kH2cRb92FAIc9OTIcnhcfp/8H7jT7PSrLXtOs7i5nihjn16znt/OjiaedUhZ3LksjB5d/wAp&#10;+6p5DMw6I1oOqrW5eX56rX8X+BlmCVHC+ykpX5tltdNOOu9mtH62PqfwJpU114f1u1aeymtNYvtL&#10;03UNQ88eTok0sjm1JkjkJdGaMxkcquMsCcEfYmhrHp2l6dp+oE3S6tp/2OS5ax+1qk9tL5yxR3TP&#10;5bhf3QJRThsFWIwR8leEvD/hqS18Q2Oqr50Wp2cK2T3F20unSGRoGaVYFI3MJEIWbAVPLOD+8Ar6&#10;s8IaKdC8MQWd1/akb6TcwagzX06yNJbS5hDQNMcLDuKbzGAQdvL7SK+uySlJUdEtI667avS3mr9e&#10;5+Kcf16daTlKbs6kWo8qXNenBKSld/DJRVkltG/VvsdZs3e2WKVrKWaFkg+0RiWOzcpK6xqkJUmQ&#10;kOAFU4TzDyN2a8u1iVmm+zRlUEUq3LMsIgtnSWEMwJzzIzqwAOABGcH5sjt73VIJIrXULnUpJLfS&#10;NX+1PpiHbOZgWee4adlbldsZG9gFKsAp+THmOpRzzTSyJBJZ28d6tmrtLvMLFPOB+YhiEX5mbGPm&#10;ToTtrfNXGUIrpLf0st/x310PjeHsNODft3tfVqyTb6Xtra3wrl1td2bejBMYHaCJRst72QwzbcTq&#10;zRQxsQThgCULAHpmtnT5pY44ZBEuYpWjnabhZAcKrOPqR37YxiuVmvTd3Ul15UcJubrdm3KwWyFl&#10;U5EQ7btw4z0GSc7j0WnTOkaoxAMgRC4bJUPtKbVwfm3EAg5+8RjIrjwiVvdenf7rHqYyi1RTkld2&#10;uvz/AD7b62Oy8T6Hp3inwheaZd20TyTxJHaPBOtzPBkh4zGcAfu9jfJ2JIwSa+RdZ0ef4f6lFPDM&#10;y2DSboHlkBmcqN+0qPlz2wMgEDGeM/amnlbFEOJHKgCJA/meYG3M/wAo65CgbgOAenOD5/8AEXwz&#10;p+sWxR9MRNSSB4xw0VxFvIbaRk4xlTgAdR9TyZ1hKWNh9Ygl7aNrP57fmc/BvEUspxssrxN5YOrJ&#10;tq990ldXei0V992cNo9/p/jTSrZZreJn1Zo4fNkCPtRyUdZExwMNkAsR14wcHq4ta1PQ7W4tRJ/w&#10;kGjWesvDpVjqfms+neUGjU2typVoSwwAilowGYGPBxXzZ4f12+8Fa9PplzBBcWbzBYmuXMMTBhhk&#10;2jnDZGSGVgAcEZyPo7w1dp4gfTtLjsVvpJZXvzBbSFNmA8nmucnYOY19/LAycnPJk+PljI+zhLlr&#10;p8r032SW1nu31PouJ8ljl03VlDnwL9+Oq0VrtptpxaSSunG2uup6fo+peHtRuZrJbvSNXv7qOC+s&#10;/C3iRbXRfENoX2qJLRpGFpd7c7wUdAmMEFxiqfiT4d6Fezj+37X4geHHDodQgkinh0i6ICOoW4iM&#10;ttIoy+FWTEbbmZOx8h8Q2V3fpJaadY2l9Il6ovZ76GKSygmZBlVVyxcJsDqG+6xJx83Po3hjUtT8&#10;CWOl2UHjHxq2u3sPnQ6ZZ6l/a+l2cSBoxHDp88c9vDHuyi9CNuQFCpn73AY/LqtL2GbUXaP247a9&#10;LPd+jPy3Nclz7L5QzDh3Grnn/wAupX5lZXveKtGKSTXMr9W3u+Q/4VN8OtOe/udH8Qy3lzIzmdb7&#10;WrDXYSJt8kiRRoUVADKR+8OR82SCuG5vw18MbPTzLcL4kjtLR499pDp2lpdT72LgZ2zbVLfOoAVR&#10;kjdjG4ehxfErxh4w1C6u9fl8LW/hfSvMt11zxx4R0zVbxkTeZFQqFBbCSfJHGM4c7cAmuHXxgviR&#10;bmbwzpvgm7tPO2WM158J9OjjIaRQssh8xcLsY5IXlwF6ZYc1fB8JVJQxNJPmd2k4tdtbJp+jWh7G&#10;BzHxJoRq4LGRUvg55KcZqN9ouUoNJ73TbaXRI7C7uLuze6t7XUtKS/8AspsrddRiXdhN6O5HnbQ+&#10;0HaoBG5Qu4ks9ZNzEbG0fUru/wBO1XUb7TFzpUWq27y2rRABYxCj7CAm0ggkBt2W4NeV6ofiANcj&#10;dfB/wutdJeNpk1q6+Fei3ciRo2wyv5M0ojB5YI7BgMZAyM073xzd+H7u0e2+KfgvQ4XaKOZfCPwx&#10;8MaVqZnkEuyOKO7sZ24Vcln5OWCjAyefEVMqp80pVJaLtbTulJq9u6PTwmA4kquH1bDQlzau0lK9&#10;touVOLcdVfl0d0/NHpumX0OppPfytp1zeX1x5c1tHek6rIOUYuobKgMoYEjcWIznOB2Gn2k8813c&#10;poWrTWVhJG1rPPot7Y6aICu147q7lRYyxYglxIFAUnjqPDfFGl6n4s0mSaz+OXxr8Q6/fSlTpulf&#10;Ea58E2FvAoyBHp2lQWiDC8ZjdckZ2gYB4jw98Bfhx4l0Ww1f4lfD+D4i6zcyebYT/FPxJ4l+Icpg&#10;eLaXgl1DUJYRtwGIChCqD5eDnkpywMa0aVKTnpdSskr9na+uvn0N6uDzarhZ4nERjStLk5LycrdG&#10;oy9m1G0WuZtaX6bdrrHxl+CvgOR7j4l/EH4b+C7+GJ4IodT+JWh6xrV5uZivlaVYXFxqEgCluEhJ&#10;BcADsfJP+Gj/AIRalrL3Pwm034wfFFdRjkuI9P8ABXwcv7S2+0QoBcOmqa4+lQ4TDZ8kSugkBxnJ&#10;rtpdI8LeAfG+kW2i/DTwP4Z0xIpYL+z8KeHrLTLK4iUQ8PHAgjM22RxkMHO8r8vU6nxEn1G58JNq&#10;ulae9/qHhLX21rTLSOWe4jht9w/491JLAXCSZMYAIePaQBgV5uKxWFpupGlG/s3s1rsu1ul+m6Pd&#10;wWT43noVMXXaVeK1i4+zXM2lpLnekrbSWktHfR+L3Xxo+IvivXHsLP4OeDPAF3ZQwRyXfxV8f3us&#10;6jNHLht76TocUETMIpgwU3smM8nIweZtNa+M2vaxe2Pjf4iat4H0OVntdItfhTDa+CtMn/1i2kpl&#10;8o3zW8jbwIXuS53Es2VIa7pcniD4m6TqPijxFpelaDfrq99qOgWRhKeJcC4BgtEfImlwzbWjk3MA&#10;oB+VSBU8SeKdK0ew1/w7450x9Ok8StFbaJMgf/iW3CzrJvtXbBJjKMAjHjd8y/KprwJY3EVaaxMn&#10;aDvKLtbS2ilbXyR9rg+GcAqrwkaPtKytGUXJz5XdXcOZ2ul7zt2sr6HlviLRI9M8PeJfD/iO2tLD&#10;UpmnXRfFdsl1qd5r8sTbofOu33YmLAKGU7QiEgtyT2vgrW7bwvpmmyapqMNja2sqPb3OpWjTwG4M&#10;yFWSRgBKd0KgwbhlWb7u7J3/AAj4b/tTTk8L6nrN54u0hrNrqSK9ka1u4prcEgoyMSTGJ924FQAA&#10;oX5hnzXx1ourfDjVdKstXgbXfA/jy7iuLKXTLhbvStdRHiYweUR+5uEEbMAPmJdSANvzeXiFXhTe&#10;Z017sFZvflbfW26u99z6jDRwdWo8jkkpttpWtzaapX2lZN2ej+89O+ynRrK48X6BJqusR3OrvcX0&#10;d8/+kW6NLJPdBDjYbcmY5iOCvmHsvzSX/wAK/CvjXTb6z1bTWh8OeJrKfUrW4hkR9f8ABuop5skd&#10;z5IBaaJZGTdGpZiC2A1bHhq9mu9J1G0026udN0y+n/0CSaKGYn5dimSKUFW82JQsqrncTuGDjG9/&#10;aWp+FrrSZ7e3s9ds3Nws1rpy/bJtOkRwytNCU4TdcOyDnaQQQVwTdCtCMITnHmpP4la6u9G0t9U3&#10;p6M5qsMZCUqdCXJWu+V3s7JcyV9k01o3533s/kD4bvqXhLVzpGo3EUMfh3U2tk1mEG1iilZw0bSu&#10;20vbttTa7dPMUDaWr668f+BNal1XRviTotj4e8R+HPG+nRX1/FodsNFmsr2J8XM8sZLHzchZHkjb&#10;LnkKd7A9V8Qfh74Z8Z3mj+MdFtbYQappM1lrejQxtqCXU9qHacSsWDpMiuh8sxsJFJ7j5tzwnp2s&#10;aRaWeqeE55fEXhWa0GleKvCF4HnvlhYxFXXYV2mJ2BhcqH/fBSzDduuhksqEauX1Fz0HaUJJu6ts&#10;7dVZ2kt7a2ZjmPEzxv1bPMK1TxCUoVYTSSlfSUHJfDJzheEr8rkuVtXusPStO8Z+HLi1UQXknh3W&#10;tRSPQb+S/juXs5ZAjrbzyIcROpjBy5A3KPmzjPvGm+Kry5EkM2jxane2t1ukXUtK867nl3r88ZBE&#10;q4IYlVIBy2KdY6tpukeG59IS1v8AWvB1y88UOkvcnT7+Fosvg4+7cR5Q/NkExgjoRUNhqenG20pL&#10;S+uoZWie2tLm7kY3N7buX86KZAfvnayl2wylD0r2cPRo4OywlVqLSvFu+uzSvpbrH7tD88zTH1M3&#10;UqmLwivGTUZpWuu8km5KStaat/eTk01GLVIIpZGu10q2tYZkUy28jqsccuSZEmQtulR1OME7kJBJ&#10;zuVixuYYBL5McKRx/wCjraRB5Y4kl24KZyflMakbuRx3zWpfaHHdzSSeELi5vDeQvFrGlXE0V6bW&#10;DzUVJVuS4DbjhgY1BK7uGwagi8K6rpM120cjSIYoSySZRt/3CGUE7jtZBng4HbgB1aWJb9ooNrq1&#10;r921/wBNjzoYrBTwypVKtpW0jJtS3Sakm3byd2pL3k3dkst3i3gha2864dtgnSVY4hgnKnI+bcQo&#10;GDgY74xTZ41uLSBjG8eXHmI2EkiByCwbpgkDA5BDVHI97bGGW7sAJjCLhlmOYmDLgOpVvVlJHUEY&#10;K5BFTf2iVni326rEJhvWUlywGCsbEHnoRxjhjXk16kpNxm3btbbYy5JxUZUEnu7p3v5LX7rfqzHt&#10;rK5EKkgM/nSSZiGUCAkqGH0YZxkZX0NWrueOZYEABEKiVAo38hlboT3AwOwxnvzJLfwLHNK7HCsY&#10;MxyERq33grHPOBsJB9Qe1Z2pTSLYI2lLulWHaR5YBAYkkA54IXoR9046YrxZOnTbcOmturXQ66aq&#10;Vq0ZVFZ30ey17+Rk3zi21OC53KIbmTgu2xI2JRnU59mfHvjPpV26uomSNFDLMWUSAEvJtPzdOmAQ&#10;vP8AOqUUckltbT3yuWW5llVGzHK687RjJDNgYzjBwTisPQrqaXULg3Ehfy5cu8uCwXaCxwOOAv5Z&#10;PAxXnxrTjVslbma07Xte/wCZ7McMqtF1L3dJa+erS/4JmeOBfDUbR9PtIbsx3ccUlrPcNCjRyOA4&#10;81VJyoDHOOSQBjk1leI0aBIJLaZw1oqMkjHaDsK7SnoQo5HbcM9TjtNUu7K6msGjtbm433wjSSAe&#10;bCAyy/PIAeirgknpgH3HB+MXS3EyvK4xakYzhZH88kDJbB5aPrjOMc8VnKlCUpVYa3a2/rr/AJHq&#10;4GpOdOhhnGzitv6f9X8jM0zwhDLpcV9JaRz3E8BuZN5DDEjHIJ5OTkDnueeM1x+t+DZLa7nvoIws&#10;V7bENAYtiFySvy56k7l9MEHpwK+odHsLW2023s7nzEube3AAdiQriPBwB3LbSev3fYVkX+ivqOly&#10;WN7AWeIzrBKhIEMyBdybeh55456196sFFYWEJLVRuvVW39S8HxLOliZRl8F7X/uvqu9rL+t/jO+0&#10;aXU7M2ElnFDcWs4iWSSRY4JNxdlfB4GDhScgYI9zXGw6Ml/YvYJNJBfytFIzRRPFFNNBhoZGjYAk&#10;qS2MFWy/JIAI+ltYstN0y+8yCWAyrGJ2Dj5eQeoLcrw2eQTtzxXl+p+Er67uLuextZVvtMuQLtra&#10;cbLkS7pIRD82315BH3uegrxazryS5LOS0fp/wyZ9/g61CvT9pJ8sXZp7a3Sb16XaXqzxePwKsd3q&#10;d1c6VZXOoSSLDcS6fGbO+tJwcNK0Q+ZSSxDAYU5G0g5I9Ns9DitNKitLmSbLQtMkjxgZYHgODjIG&#10;1zx1OOeorcjMtjq8dvemQTXgxbPdNnzih/eRM38QGDnHPQ8Y47C8aHTyLTWLWC5NvbeWrrzEhKxt&#10;uUg/w7unPU4HGa8iVJTm5N2tvfu/+GPVxGNrP2dNvmbV1Z6uyS016PofIfxZWS20e7kjuZ44SCrl&#10;QGVgQEUZbkBTjJGOCOK/DP4/SRX+q3URn+XzzEwlm3BCHI3cDuOTk9+nUV+1/wC0dqITR7mG1mki&#10;i8syBciMRu45Ax14C9gTg+lfhN8QYJ7zXpzO4dGundF38ScrjH5dTjr37ctRSpUmraPc/ZfDWk6t&#10;SNecra7WD4V6BEHRVAl+0T7ZHaM4RT+73pxkfe4HBOSeDX6kfBrQtI0e7gubeWVJo41ypVlN2qgf&#10;MPTv0OcH64+OPhP4Vke400xW8DNJiVI2jItpAFZeVxgnnIA6YPB6j9R/AnhuHTrKC/lggCS7fMQj&#10;54SyMWC/3QcDIGDzx1BrysJRnUn7RaxTPveO85hDDxoc26at/meoP4htE0HUrvypmaw0m4vmvJWW&#10;NYVihBzyBgDCjnlmJx6D8KfH2r33iDXb7UL15JJLudiTNhmjyx6gnA7cV+unxt1OHwd8JvEepRSt&#10;cS6hImmpPCZPJuFll8wqGJyNx4I6EM2QBjP4161fNe3sly3/AC2bIDRbQGJJAwCOBtOOegPI5Nfb&#10;006eGi763X3H+fXirjqWKz2OHpX5IJt+rZiOS7sGJdlUO4dsZ5Yhmc8ksQTyewwMmoSiyxymORkV&#10;Rjg/Ko4ByCDnkjoD9CM1NLlgzNsjLBYyWYIwLYzhSMfNjjGOT+BqkgMxIySQAzNlwfu56cYxn+7x&#10;05JpOV9Y+R+WawlzNaWX9fgQOVCqXbDRuzPglAANy5OSeg5I7n3pG2AhOi7BtdmOzCqF2/TAx2pZ&#10;gULuqTyuIPmIBVSGIADL069MkjB98UzkOwAKxSqPMO3BU4LDvz1bgEZBPSpXLZRW/wCWxjKSUlGK&#10;0dn/AF2G4zlmCnDlAv3kcDo3XqDkfgM1EqhmdCURzGWBDAlQThWA7YJH5/UGbLAEOdhD+YqeYRJH&#10;twAMY565/wCA9scxK7SN5YRY1K4J25Ztwzt65HP8uO4Dbfs23svwLktVGkrS7/MaDuUnbhAMlSmF&#10;LAkjAIOMnBx7DpUJCZUw5KlIkYBmDhR8m4DJO4hGbnq3HGSakWM4IXkebuYhmdHOBgKMcgADgY9e&#10;+Sm/5gwAJUEJjGxgcEZPPq3tx1FXCq03ba5MZSdNLql/XqAIVhGpUBcybsKFG1SxyckHOBknkDIp&#10;yKwlYNtCk5kDHDyblO4ktkg53HOc9Oc9UyzfO0a5BYgh97yZ+YgZIyQW+7npnmljeLc7uBGXZijp&#10;u2rlQN5GAQc56jg55wBTjKFNXe1rGqvKLl9qw4RIGVkcZ2GV9pDeWzfMyH33k8g9h74EAaRyCVcg&#10;EqwIUHJ/+LPPH3qcdivPtO6TcgDdSGGATn+Js475yuBUy7ChSRAGMRVlZQCRjjGTjcf9nnHXjNKU&#10;oNWjpf8A4BlSpylZS3/rUfGzMPMYKMhMhQT5bIflIYf3iFP1Hc4IliLuVZgWYuQpLgBAF4x3Ocjj&#10;tx1qmCpGFCqGOxG80kL1UDI7ZJx6Y/GtLgFjn5guBzvx9D7c0lJ87SWlzNKUYw08vmWULKjPK6jD&#10;AL0kCgEYx7jHA9+9Ph5TbLnhAZFixycjkkjPY8nnp71C0haJdyxl3OFKDJZhkZxnplT9M1NvOYyC&#10;qObfy5FB+/jGcYY8ZB4OeCMk4BpxS1SSNvZxknTWnTy9CWLbGWZX3fLjaMKUJXC8EY/iNMCqDkE7&#10;iNy5YDI4O4A9vQk46jscHmIV27UcFlQk43bjwvQ9ScAg8jI4pVZy58srEuMJJt2MVZ8DOMnHb06n&#10;tmou+Vr+uhbcIQSitb6gxUKY1AXJw5JAMY7YOfbg+1I21yjKRuXCqwbc7DPBJPGDubvx7Ux3RnVW&#10;bCMD8m7ZklcEe3f64qs8uwKqZLENMCxYlwwUsSPbI/E8+xCK6q/9f1YylJ7x3LJKLudnYgkn94S+&#10;MZP059qieYsSVGE3EgEhggIGTnGB3/76/Cq8szbZSDg5Pl+VweeS2D0H3hgnjHUZqoWaeR1I3oGB&#10;ZlPmhtvBOfoBz045HSq5WkpPYipJqHNHX/hh0k252kUK/wAh2EfOrsMjn36jqOo54FQStOjKSxWR&#10;48uxf5FBcEfoWPTGc+uRDniREZQQwQb5MljnAy2e2ATnnk7qiMiE7mUMoUeZllzkED5y3OT6juap&#10;6NNPQhOVazS9PwGyzuZY4o2AfzFKYJlkOGzwQe44J7fXNK0oVS6KpkTMeOrggKeMYzkDHJ7GqzN9&#10;3aAdhwozuIZsEcA/gR7HkD5hHk7hviYGN/MJKbjHuxkg9MHd69MDA71FOMVZl8s6Slf+l/wB0jlY&#10;1BKkFhjYAjhfmXjHQkbgM4Py575qsJHUKGdDIrfMEUKhZju2+2GgZgvbHSnGSNZEPUsWQKH2qQAp&#10;UjgDqT1HY9BTFfJ8wK5DL5bEsGRDuxxk9sHJx6detTJpaNbilGo1rqnqMd87ypAiJJdhlQSeVGAf&#10;945AHGMH0JF3RPGVkYyRsijccoCGY7ADwPmLcjk4x3y1n4YB4g5ZY1LISqqiKqgZGAowBhehVqe2&#10;WwjZd8CNoi+WIAUAYHTryO3bOM0qjcV7OK89P6+4LQUeaW1r+ruReZmRykWwGZ5kGWwePM4XOBtJ&#10;PTGPfrQu3cpL/vBkKQdqYO0cHHoOeR39MU5l3/KQikhdv7rbtDAHfuGO/mLkE/cGccCp1hQKAXjK&#10;5VgWwnRydrkkYJ3HBU5zgd6uSjKEVL4iFDmTT6dO5GCHdZVwGUoAWTYiqWA6c5+6CepBPQ95HUBS&#10;yRtJ8gSFHXIiUBdoyDyFHBVQeEOOOkkhUCQygOGUrIzqMybvnxsPIyRnoCMbcndik2AnDr8rNIys&#10;i+WZiqxqwDdwNqDvgN05NOKbgoPcpu1RKTtt+ZDFFJKW4YbyAhicxqCAQoIyeu5sds557U9I1Xyl&#10;ESOW3NgtgqB90Nxz3PoMiracOyoQCwZFcN5iuA4XO09jtJHXPGc5pZElO/cCFOGA80ARq2Nq4z28&#10;tjuABxIw6HFar3+VSdkSq0XFtLX879PyKphiGAzRBtoyMGXsP4sH+fFFTFolJXzIlxxiS5Ecn1YY&#10;6nr+NFc9qr1Rn7ZdUzlUjXYW6lSvCLvkBySgboBkZ59F6dTT9kLKpcvGfMViQArv0U454xk49egA&#10;pBESwfcULswOGO0F9uSy9T1BByerZI6GQhfMdlKsFwY3mYxYJTJzk4wFKn0HPbBrNxlom9QcvZ1O&#10;Vr3biCRV379ka5MUaqD5ZCrnOSAc4A9Rx7ZMxXc8anaCXYBQpZsc4GMds5yf5c0RpGxlCk5k7NyV&#10;UnCZztIxggjnv161OqvskZgzMqfdU4BYA8AEEkEEZGeuOTWll8L7EpScLp7EDxRqDKHIKOSJixII&#10;KhlKnrgADkEDK9McBxhdzIsLAs3zZdiGXcQSCWOflI5B9+oFP8uNNpIZW4lGGERDEBSOnPzrITzk&#10;Y6ZzlEiZ2ih2kZfyiSAJASSFIOc5UFQR6Dp1p1FFTUYP3bf1/XqbU/Zv4kKFCq7BUCL+7G9txQky&#10;YLMQckCQDaNo+boSKWEjLMVRmTbGFU7ygwf4s4G7JHTkAdhVny1HltJs+WQ7d7Eo275gO/Qhsdep&#10;yOAaRHVScEhyCqqTksMKyhVA6g4A5A/eNkjFYwTmuRBaL1UvKw9RhtykoshXe7Z/dnKgEEkjB5B/&#10;3utPKsCwVFdt7ABJdrOQRh8+udgPT+DgZqJSrKS0hKKquzBiIwAMh9uenyRnHrkk8mrIVUKxvvQB&#10;wkjmTcVIDA5U8ZBzww5Kr0GKagoar7jSEuWLcEm3t8xkMCIwJYklwwRXeRd3AAGegXJOemQvbFS4&#10;ljcDdnaSNxJUL90Ac4/TPXnHdHM+WMc2AsfyOULBgeAMYKgAhgTn+HqM1ZREldirBljDE7+HwAUR&#10;cEn+LJ5ODjj1LcFNxb2M0pyumtdr/cETKwxHjJjDbGznI3IR/unfHuI5HzcHHEzAFvOKmMBR5sZf&#10;hNoc87iRzt3HHAL4wOBSIqEjaRvWPzEYjy/MAAUk55OOTgcZB+lL5UYw0buxJCRMzApFuVkOe5yp&#10;fIPXAHXFK0IrXTr+RUUlUUVqvPYAChDuvyIwV/LQINxCEAZzwS7Ln1I+lOUcLl1Ll1ZtnyduVw2C&#10;AdgX1wenUieJFZySmE5jBkO4xgnCgn655PoOgFKqIyjaY/MLkspO0gBQSM54GR365bmmmpu63f3D&#10;ndOKW17eZIvyb2VQuCChBzgnkdOgwR+IqTDspctK+5i58obcBVJwxHOPlbr1OAeOKmiES4LHy8FS&#10;yh8cFeR9MYB/3e2TlCxMrhWk2ElF3KCCMKwA45+9wTxjmsoSalyx1aZapNpJbJkgwPl2qdqNiRvm&#10;D/Meg985JOCQBkdBTlVsAb02x4YsoJjZRjgd+gz/APWpsSJh3AlBAIO5SWUdScdcfT+79KejHy0V&#10;wN4kUSSNwoB53YH1GcDsevFO953T3/Pc1V7c1tFb9ETMRJjMZUJMqAMQdxO07hzjPzYGcYKn61Im&#10;3BCclZChkZSTnZnjOOBtIPuQO1NKwyBnVkZE4l2jYzcYXOOCTkHPapIQZFZyVC43YjfYZVyO+SPm&#10;J+9+OO1TUXMlyq/T0uTadrStZIUxhGZW7JuGD/qySQCOuR06/wD16FZGCKrbY3OSOoY7sk7emfbI&#10;HH0pA5dliQsshwjuUJjjHfcozxjJxz0JqQR8gMVBkUdVBYZK4Izz1bkDqT+IdRRnDX4tPwFCcpK0&#10;Y/P7tQDeWikgKdpD8mURfeJHqcE4Bx0xnB4pCpOx9yICu5mEg6kY5HoTjHHU0zJSZ1UboQx25HMr&#10;YOB7nAxn/CntGvylQwCPtD7CUPAOCemSWbB6kLSV0023f/NFQlBxfM79vuHL5bB03AssYVfMG5uM&#10;tkcdMjGfbp2pzqcgSNv+Vowx+QHg46fXqf7opiKxKqBt8s/KHbarbhjr6j/CnuqKdxk3FmGEUFlX&#10;Hr+R/Wqsofu/zHNylCLitv6sRXnliJXjOAFAf5gMBcgnJGOMH1HGa/Jz9uvxc154y0XwvFJgaNp7&#10;XUzSEkB7hyy7l6YABx+PTNfrBdnKTqilSDmNSu3BI2gD0PUE9QTmvwo/ab1RtY+Mvi8mRvKguVsY&#10;QpxtjijUKoHX5cn65Ne5w1QVbNYe0+ynL7tF+ZrCfNSnJdXb8V+f6niNneyjhmSQM+FbG4oR0I9u&#10;tdFbR8qcxsnCh8klRzwfpwPwPrXLWsSCVVUYSLdhQMOxIHX+efeuoneOz02SfbiVI92d33fUkdfy&#10;9q/RK1opcu/+eh30n7OFl1OU8S6oyA2cDkKJMLt+/jBxn8M8e1cLNvCIzk7FP3uv3vX/AD3qOe4a&#10;6u5HIVRu3KN2QBnHX15HWrOoDykXcSS0WVAfKjHPb616mHoKlTiup5WNqxxFZwSskl96MK5lZDtC&#10;gquT1yR1A/L61etpySu48BAwIJ+bHf8An/hWHcSiRmbo2QeG+XGcfpinRztgIWKjHJDZxkgH9Cfz&#10;rpdNO1vT0OKpUcJS5no7W9bafI6CW5L4JQ9xhFGCOM8flzSiRkYBfnDKvA5b9T9aoo8pRU+ViWLY&#10;GRtBAHJ79xViIKCp+TfgBlB29CRj1z/jShFNJpnC0nJpvzuKCZHIIBO8DYAVKnB7+uetQa1bGWyC&#10;Aqj+ZmVeoyOgHGe4H41qR7yqEBQQ3zDcTu/vZPoTjFMu4g8MZLKz7/8AVswCjp0/z6VVJtziovZn&#10;lY2henNy6pr/AIH4nCMxht8Sx7hKdmGULk9M4xxyBVMhDJEBIjBDtYMMBcnt/nufx6m9tLgwrPOI&#10;/JSQMqFRukGSMD8zXO3UEhZVhQuxlV3YAkLlsYHsBXv0KkZ2it/8j80x+GqQqNtaLXXr5/eVJ7aJ&#10;pTAkiqrEhmbg+xH6/nUc6vvWwiw0a7cM2OBwSM9vUmrsiAFn2l3jGyMh8IxJOdufoajsrUKy73DG&#10;Vt1xOf8AVwqcce/fpXbFdVseDVpz95x3f5DgIrUlEDNHbKTjPyyu33Tn64/Co7C4toWkmvLVrlmY&#10;qjxzmDYTnJHynoBjp1xVe/uFume3tvkt0k3L/DJITnkkDp1+lWLVbeRoLd9yKMgbhlWLcAk59s/l&#10;RBSt73xMiV3aTTajr9xoTHSUtV8i2vI5XBdmkuFdF3tgH7gOdo+nJ4rU0x4rcWotLXM8spkhMjGR&#10;227iGC9B9ayNRiUXEVvFJGznaGjL/OoUBAMDtgf+PVMt55F1GkafvLeNkaQttyFVsgAHueSea52u&#10;aKT6s6aTaasvX/hhLq8eGWSIkma4lLzSlydpBPygf561X0q13XUVy5CKk4dnlbGcYx8vfnI/KskK&#10;DOqt/rJZAwbqOpz/AErTwyCCEMMvcDzCvLkAkY69jk1LShT5Tqcearzcum/5mheyKJ3aFMRQyBHO&#10;AryMOv4E549K0rYxrCkiowk8zdgnaF6fmO+K52UedcSoGUR+YzFmON5weP8AGt62QiFTgnAICuSe&#10;mD19ME152JtGC5+v+W59Dg06lSKpLR/o/wDI7GCNZYRI3zSLD5ygKT/F5Y/9B7+oxV21iW3uJEw2&#10;yQBmfOc544zgc4Hft71Ut7gLBBGgx5q4G5shh3Ye3+NdCYpZ7dJQFkknAkk8xdrrnnA6nqea8Su+&#10;Wd46LQ+swsE4pP8AroSRzJEz25b5G+VUbldpBwf1xzjpQtwYpUkd9q8DaFbBwTz+NYdykstwFij3&#10;GEYZ1O0MzdAB7Y7etTCC8IKGb95Gd6R7f3fY4Bx/tZ5PNcrheKcXZdflY9NzlGPNLWS/Todc18jh&#10;ShPynzMA5Z8f3j+NTR6rIPMdCuVTgZABHJxz7Y964VruRVCqvOM7sbGPY+2cGoXOpuAkRXDEkkDL&#10;joTx05/oazeHjKTa7m2Hx0lbmW9/XsvzPUR4kXaNzsG2gOM4AwOWx6n29KsR+IY3iyzDO5gSsmHf&#10;HTuCMhvfpXkjWupyEq7GRWc4QgggYzgH25/SiDR9SuS3zSLsJOA4IHOBn/Cs3gKTTlfsddPMa8Iq&#10;DWq39VY9pPiWM+WPM5XGV3gcDkZPI9R369OKv23jKyMiYMQt0RRJEXEcmRx8o6ZwB06lea8us/CN&#10;7dOQfPdCNmByoJGcj6Y5FdPaeAsDy5o3Xbj5yGAAzycY6n0965KmGw0Y3voexQxuIk03GyXn10/M&#10;9GbxRZEIY54o3WPIllYOrFs4AJ6YyO3YfhdTx1ZC3czTQuJCqOB+8wwAZR8vHLIWwCR8vBOCa59P&#10;AtmIgXjdlVQFUKXf0JBGR6D8K1l8J28MOy3s8woodC6rgggsce5wpJPavMq0KEZOV7s9WOIrwlFR&#10;2K0vxBMBKWH2m4JZchYzhTxnO4ev1zWLLrHiDV1Z5WNnFIQPN3cjBztAzjPXiupgsLXSLeSeaGJF&#10;cBYw22RtwAI+gz1I965fUNdUHy7S0SJVG2R1RpfKLDLMMD27/wD6nRo0Pafu4XZtKvjOVpuyavp2&#10;v0Oen0u103zLmSOOdzKZHZ+Hc5GAep9eDxxXongK4v8AUkubf+z7k2irutZWQrBBvIDgDnduMa5I&#10;7RgcYzXU/Dr4a3njiZp9WhghhllH2JZFZxcbio+aMYx3xzjjJz0P3d8P/g7punaasCWSl5nGH8kR&#10;QsRt5AxuOCpPQYxwMDkxeZUqC5d5W2vsbUsjdeMqtX4Xrfr5aHyJa/DDU9clt5rkfZrd0+eN1wyn&#10;b0Hp3/PtjFem6f8AC+w0i2+S13PhsMRu8xFHXcRkgnYecYGMgZ4+5rX4bgWrCOxa5Kv80MELSXBy&#10;MgKnfAIwAO/ua8s8UQ2Wj391HcQXReMTRi3kzb3FuTHhfOyhGYyQxUqN2MZGTXnTzarJKml7uhxQ&#10;yenTahFc0t7nytqGiW1oJDAqxbsYUDhD/dHHfp+dcVdKIVb7NJtkbLAOigx9QQG9MY9wSeOK9N8S&#10;GOVpTGhSWUOYyRuEZB6cnkqQwx3JHXv5Xf6XqktxGsNjPMr4YpsLDO4hsnsDnocHAr0MPWUrOX5n&#10;JicA6c3CC17+pr6Tq9/CkcpuGmZQJMzEggkhwST69+PXjivUNL8ZzEeY1wsTfZvsdwpKuSi4ATGd&#10;uANvXOeeucDyW08GeIJS9tJC9tABuAOGV+Rg+nJA9+TjFWZPAut26CS2mn4OJljHlq+3DAknp97H&#10;GRg9QavEUcLV0UtSMPDE0E4VFd+nofQMfiOAQxt55kmePYqGQho84GQcYwecHqOOfXc07UfMYs06&#10;xXJfHyMuwsRtJ3EYPUdRjrXzPFoPiSNQ32yZY+MoDvXOSoByCR9059x711NtrOtW1k9oIY3mUApO&#10;o/0kc4bzD0IwMAKFI35ycFa8+eBptJQd2dkMbUpQU5rc+oY72OFE864jneKYwyqJVcuyk4wF4YZK&#10;9MDg4rRh1xoriUzqGY7QyQuFii4zleCME4JHbcxr5Ts/E3iKJVEsUJD7R8kTmcA/dwSR1Dc54BjO&#10;OCCZZPGmv/uS8SiGJznEJVpEKjB9cgscqemO2cDjlgKjb/rdHoU8bSUlOonbp5n1VN4rS0czRT3Q&#10;eKNV3ROSVwGBbnnGScnAOOtWE8esYyt5dTtZn/VrbsgkmkAYqJCEIOArfcwfccV8jTeKvEUoVFcb&#10;G5MMUH71znhOfXJPJ7e5qvc6jfXO0Mb07W8wgqSq5ADAj3GVx3HHSqpZTGLTb/rQr+2bQ5IRuj6u&#10;1v4tWgS5NrcNNJlmIRdhDfwkEenyEAcfLjHauA1b4reKNaaS302NLZceWktyrPdJGML90MACckY+&#10;bABwTzXlujaf4k1RQlvpxTIESyyoIkiU9Gc59Orf/XNe1aF8H9e1kY1W7trULhEit2DsHjWNXBIx&#10;33HI4J3fd7a08Bhqcmp9fMwqZriJaW5Vb11PItVvtXwx1HWUlu1lzaNguwR2JLY3Ekk7Mhc5xnNc&#10;3HP4ruvNtLRb27N2pjedJVSGRjlTlupBHTHXI5r67074H6PHeW0VtbO9zH+8vby+be4LEAgJj5QM&#10;bQATyhJ7Ad7p3w8uLbVIrbR7G3uIMC3ljQIhkOQxAdwq7hjhieGI+bHNdfPQpRtSSaujy60a9eXP&#10;KWm+vyWx8l+GPh5rVpoervdRuNNu0t7O+ZTCsFmZGYhZDIhkIJMo2wEcqWIYLT4vh/bT3N6biwjz&#10;5fkI1vEroDggOy/w/KzEt1HHrlfqrx5p9r/ZbPbldPvkkKX1i8wiSbyhyzLgKzL0+UDJJIxXjt1P&#10;pbaQlvcmNLp7hRFIIjGSFIaTaCxzk84IyAeCtbxxTm3so+W5lUw0oR16nJ+HPDXhFZmsdRt4VliR&#10;4IVWFS4cKdqsSM8kfNwT1ycgGrd58LYLmWKCO10+0a8+0XSyzXFtYw7IY4zERGVUITiXajElywVV&#10;LdS9sbWadv7JmhNwkS+Y5DK0TZwcdATwRnkHHBbcMd14auoLrUY4tVR5o4LSS0cxT8XJZG24kKMy&#10;AEg8AE84KZDqqdb2abTvfe5hLC3X7u6e/wDwPmcBpnw1hhvJYLeyhtFu50acXE8aXA+5G3myHC4U&#10;53cDCjByFJrvtJ0P7CVt7ezSMsqvKk6hFiJLs6ngthwVyQAQQc84rv8AR/DE9xKLKJmhCoJvNk/e&#10;O4IUsATxnkE+pbB54rotU8Nx6ZBBfQtJcl2FpKRMI4ogI23jIXjnccYOVJBJzWEsU3am2XDDtJSk&#10;/e3X6Hlj6cwje5tVHmJMcCZgYUO33ySeoJ59jXzb8ZNemkltNEE6C3mfaWX92s+Mqe4bBIXqelfU&#10;/im2fTtIkur2VLeO5kxYabGpaV2cssjswBVVURp1JP7yM4PzAfnv481D+09cuHmVsRTrHa7mICoi&#10;87e+4ybyMEjg9xx1Q5p1lJ/1sduFwqktdX3PGNfWyt/PWAOqOxkRSQApzjJPGO4we/68/ZvuWQ4d&#10;JioA3L84AYEcdzx+RrodRu/tcs0CWxkVRsRl5JxuBO3/AL5xyOMVb8J+GdU8Qarpmi6Ppk2o63q1&#10;4LLT7KJDJLPKSdvQcAAbmY8KqkkgCvWtaFnv/VzqoReGi5Tsla+52XhC2vtV0e4k1vSs+E/C94uv&#10;6rq0kQhub6aZESHTxJgMxuPswVE52qJ2AHzZ5C+kudS1C6up9gubq6a5k8pNkXJ+6qjACgbVA6YA&#10;A4Fdj4113T9Muk8BeHdSh1jQdBl/4mmsWs3nWviHVVDLdXNu+cG2i3tbwbRhkRpASJQR5vb6l5Zb&#10;cAC82U3OGjfaRn3zgs3J6nHFZYm9Sqqf2UkPB4Oc5Sx9dWvsuy7ervcuy28x89ZUJkdAVkZAq+ue&#10;4/vDA7/Q1XtoEAExYRRJlgNrN5pDA44zjAOTnAwOucA2Q0+oTBWXaVG8eUcgqDwckdBuHXFWb3Gn&#10;+USEZ8tCYimWVeGDDsD8xPHTHvSh7kdVd32uejKs5RvTlbv8iprM0Y/cwyfvGYPIkyDZwoI5GScF&#10;v0Fc7aNKssko8tmdHzyRtJ3bh24zjgHoKn1CUO8lwyoqjKlTnJ6nafU88f0qla3bW8kjPG2JIMBA&#10;M+XuUjkHPXk+vT1rqUEouP8AX3nnzrxg5Q+y9uuvQ6/Spo5GSKTZtYBJTne8vzjheODjOP1rvdDe&#10;Zr62igJuI7gFxErlCyKOSB1wBg+gzXkcbEmFlDliwiMIUBgQPmwcde3416t4bvZ2ljurMp9stozs&#10;AOWfGCzEntjn8Py87GRi7wmtLf1+J9LlWI9glUejf9adT7w8AaVYXnhf7CYJm+2SCzmvgdlqsku8&#10;qhU4O4qjEE44RuvNfUfwt8RWunX2maVqySMlndNFceZPwxUN5aK+Coy6xggfIRnI5JPxF4N1Oc6G&#10;uopOEup7oqCD+7XaUVlUEdASvQd8g19a+EryK4v9CsjCBrCx/b/MZyDcGaR5vMkYZbJYbQeoCYHf&#10;HzNal7KUZx3il6PbQ/T8kxXtqbXR307WW59f+DoJtH1HW28P3MkFjNmbT7XUXjWa5VlV5FbcxAG5&#10;pCpBYn5flBOB9n/Cn4neIZbO1h8iK3snulsrie4n2SSbgfLbZndsVVkLMFOG2gHkA/DOg6d4kTTd&#10;Je9ktrm8sL6O6Nu07spjyikABfmXEZBLnk5xjGD93+B/DcVlqXhrUrmPShpOqrFbz2UwaIuFaVik&#10;s8YLJgKHUY/jYgYJB8PEwdOu1y8q0v8A9vO59xRxmFnQUa6U+2mt4r9VZ37n64fATU7z4gXejpfR&#10;WF9qt5DFaxQy2MhjtrazQsEMccu5kYCV2Gc/O3I7favh2VPEOmaRaTi502/Gmy+THLqd2RBHG6SR&#10;qIQ62x3GRdol8xwXCkcAt+YfwU0PxP4ClN5Z3WkXyPpa3cq6rp91e2dxJHDKy2jrGytGWeR42fJQ&#10;BY93ybq++7RviNJaaDcXlrf6EbK9tl8S6YLgvca81yw2yxT7mKbonRY4Uwc7SQSTt+yyetVp4VRn&#10;Tbn9q2t1pbXo93v3tsfz/wCIWXU8RmEZYStCFJpODcuVxklK9o9U7wi1ayfLdpSbXp3iDULC00yf&#10;TNQu9Ks5r3SEvraz+zvFqCiYLtJ3I7h22snGMMUPlDaTXllzZ6vLdeHtLl0L+yoNQ0xhAkNo1rc3&#10;lyIpVl8uIjcoMUUaZIO5i7Z5avSr+Lw3/b1tcPLfmY6TPdXsmoX3mX1vZxumJpo48Oro2xVRgwAj&#10;BJO7mrPJ/pljefZ5/tdjoKaxJdXV68zTyMEtoo4BgMFVLsOwwThF3E4Ir28Vho13erLS627bu+n+&#10;SPz3K8SsFRUKNNuUouTcrJKbTiuWzXVK9+Z6rRXuvETPLpV4Yvsr3EAtPKi2MypDhtyOGBxlQrAb&#10;uCMEZwCPQ47+O1jiYo3liaIvISAqliwCknqSTnqPu9DUOp6JaM6zwRGJY7aVJf3zOJJI5ShEZxxn&#10;BwMgFVyOuKw7pZjYtAmwzTYUZ5YFMlXOOh5GcYBFfPU6dXCzlCp8L2t/XofWVamGzSFN2s9pX6+e&#10;/RJvQ9b86CKzubmSV40IZlKkzys/lnaNhZQo+Tr8230JbnM068uMs0duYJYo4IormdlkhfcH85ki&#10;yfugg87eSOCBkZLzzPZaaTId0trH5kDjeYZB8skatjnhmf0JbHvXSJYvcyPHBcR2pto97iQGXCZA&#10;yoGAxBYL1BJBPTpvOnz1VOGjjZevn8j4+pSp4enKNbXmfW7tytLZb326p9D5y+JeiadMkhsWRrm2&#10;lJgVpF82YqETzCoAOGJYgdBgDGck8V4P8X67ZxtFbQC2u72yl0uZpP8AVRK6gOQ/OGwzDjH3sEr2&#10;+k/FejPeQ21nZ21lDKhja3zaxreXEczyCRy6oGJDI7YJP8AyRkj5c1zwzqGlTPdIk7yx6jHDbQR/&#10;uoiGlIVnJIUAyIASxwMtnvXy2YU6tDMPreG2Wjtouj+/ofsHC+Y4HNcn/svHNSa253ffa+ys9H63&#10;1PoTTPE2n6Utjp00Wl2WiabZIXurm4M95ezi2yryDYMSzT702Lv+8gHUKFttV1u402/Ftc6Ympal&#10;KYLDR9B0e3RbWzZW8xZLja1xlQFyc4wW6L18NstbsdP02cXlmj65dyvHNdqDcX/2q4Yqwyw+QIqu&#10;OMHD4PfPTWni6DS0h0zwdoNyDFfSxHX75HvoZZHRA87GMKCSTKESVx8sL7Vba1etgczdSyqPTsr3&#10;10sktNEvRM8rFcNunOU6FLmm2rufK4vlfM5Nyba5pNar3mtEo2d/T2vrKz1PTIPE+paXcLBbIYvD&#10;OmadJa6fDCLczokgGZGYpJbB2YnOQ7MBxWdP4cv/ABBPcxeS/wAP9EvLdSs2nPDJ9tBDEXF6vlyh&#10;Wfa0gROQqjOPnQcQ3jTSrIDUdb1v+0raS5Mmp3mo+HL610y7yQsdnMYYvMjgJRN0khEbhjk4O43P&#10;FOuSeLfstjd3ej7YbOHUZtFg1+4tYdHDNJG1xNGg3yPGh4Q+YFbzTuZcuPclWw9aLTSbvpHuv7z1&#10;006W+486OWY6hXpqmnFONpTs+WLTveEGopyvreSbty3d3YbbeEpdLl1DSTqeo6rBHm91VZLq70uK&#10;8sHkZ9iTBIkKybdheLCPtP3hXnWo6G2meFNXOjeArHxFpsniJJbO6m1q0eylbEd2fJZE85ihEagh&#10;1yzKF4TaN3xZ8TtY0fStKv8ASNF1HxRp8ZTTb3X5LxdJ09TCI4ovNjk3Tt1TagiCsFI3rinDR/D2&#10;s6bpeqXGkJbeKJIWjtpo0jnurJWdJ5BDE2592NwEsfzNnkndz50/qqdShS0aT/Hazad/89T6TCf2&#10;lShDGY3WMpxTtfVw1blGMoOPq1s7NPpV8NeI7uPS11rWfCNhcWEunyS3dtpmqTz6pFErfvIDbBQw&#10;dkLYkG5Qp27cjjQ8D+LF8RW8Fnpk17Johkkgv9NvYzbvpk8B327xXL7WJIDjygiFVjYbnJGN+3ez&#10;vVe8VktLCxhaeS8Opk3mpxyqpmkvIioBj83edvdWDMecLzWrajb+HdUv7DQdY1TQrzXtOXUNM1HS&#10;bOON1kKRvKiEKY9oC78gMdjJncSSOZR5PZ1ef3V2Wrv16b2s15jnKhjJVqMaNq0tY3cnGNnomves&#10;4qXMnG0lbXreLVrPQNF1e/8AFFtN9t0hhb21za2sbyNpt0jsss6gMXDgH96Tx87YYsWNJquuaoni&#10;XXPsOrSv4a1mGA3F/Gnlz2kHy3EUgVBtCOj5IBPIxxtNZev6l4x0O60eO4uLPXNKkxZeILuRLf8A&#10;tAPciSTdLDGqcuplI8wDcroxGCCfN/Hlv4ht/C99pmgyacPEWma1FrD6VbxyTz6nZAyeTIJjIAUi&#10;jO54ChOVG1ui1yYuas3CL9181truz273u9PI9HA4SOIlR+szjO6UE78yUeaNpPRWcXFO9uqb2PQ/&#10;Emh/2d4g1PTNN1LSNIhmFn4zsbixtV22aXdu0Lsspc+UvlpucZwWdgcYyOL8dabYeKbmTw/4oFxq&#10;ul2SJHo2ron2rRdImO5Zrpwo3u7OCSyHo5LEAM1R6Zrz6xc+G9S1SGC0g13wedOutekUtY2UxlaS&#10;C1ujEA0sZV2kG1gWETAYC4X03QdbvtB8JaTcrokeoXg1vUtFn0jTkxKUvYY4JLwOVZ5CztHIqKVw&#10;RtwMkVNH2Nac0nywbvbfqtLdVr+Hkazhi8thTUVzVoe7dWj7yT1Uuj9zVN2tK7dmk/hl38cfAyE+&#10;PtAuotV8BPq91pEf+nfaLuyLSyoyxxyM0qxjtuk+X93knFep6N4h0j4tXVt4Gt9NtINHj0lfGFsj&#10;XAubfTpbpZE8rzDuMVzG6OWhztdFDLyxA7Dw/wDDLU/Cdvfa9qU5u/BlqDqN3pBRLyw0ixBSNpzA&#10;R5ewMCH3ZwdpHtrt8Ebrw9o+pax4P1G2F/NeNBoL2qtaaBfwpeLNOiHb/rAjkK6nam4pwpAPNQw1&#10;WGFb5XGNryhvfu15SfTufW4vOMlxNvrFSP1i/LCqk1rppP8AvQTve6um2kkcb4dtbpIdK3GQ6D4e&#10;1BRpepyygJY3JWUrbXYAG9c+cUL9o8HlQD9C3txqV3qfh3xH4QhD20Xh1rLxTpGl2rSTfaLeaSUX&#10;h+Y8NAyZLcloW7dfLLu0stG8E2euatappvijWtdm0y5s4beRhdLbrJKNy/c3SblCtn5Qr5BRg1et&#10;+DvD17eT+GfFnhC+itNRW0nt9U0q0cMLqK3lAYzQFSpYece3zJGx5VDhZdh/3jw0Hq1CWmkldqzX&#10;ptbqjws6xGHlQ/tCbiowlUpx5k/ZyfI+ZSt0k02pW0aTt37pTYvZWviWxlP9tgvqGufZmKLrNusf&#10;l3E7wqdjFA2WXaWBxjOVz3c+gNpV5rPiDw1okBls7NbvUrdIQ93fW4leOGYIdqvIgJjP3SyRdCwO&#10;7b8PaH4VigkTSrm61HQLua6gne5sftNnYSSQo0MZQKv7xQ00ZkjOFZYSww4WrXheO5sU1/TdQeW3&#10;Sy1FUs49Xto5b4rKz4juGCiWSLyiUU9G8pgFAAx9fTwUadoyaal1jbRpbp+d/m16n4pmGbqXtHhk&#10;7QavGaknKnKaXI46P3NbRfwqSltyo8wnubPVLZvEmm6dJNfPMlzf6Lp0fl+eqwsPNEbMVEoWNsgA&#10;tIzZPQhrNpY/bbG8vNDuU1DU76I31lpesg2kwcYlkNiZO6hwGUH5g3KA9OkvtAmbXrG90uK6tta1&#10;TC6t4YhRHuLuZuJblWQSAhISWPmSeW4BGSzqtSapcwQzT28sEcLNqDLaWtjDNEljdM0u5vOUKiOg&#10;lKogYsVDhiQuG89YOSlUdbV7X2u+67PXVO+utjtWYQnGnTwV3dJpN81op25ZL7UE17souKcbrm0s&#10;q2i6nqmmzQ3mu6ZJZvE00N2FDWzJbSBBuXchjWSPHmPnIBIIABrsIZblUZ9O1F77anmTTRoNPuLk&#10;7WSUywbRtXa6D5VCsAcbQMVyRu7zWrJdS1CPSZFgaeGC90u6kkj1ECUKtrJFkpCwUl5S6BsgkFgw&#10;YW7nUtK00RvCbaAlVPkSFmjtxIcqr4Xe+NhIPJORxgA1Mp0sNTXNP3Frro/8unn5aM8rF4Z4monG&#10;klV1jKMUpQ0e2t5Lfy3tJc0Ulz/iK+a33XMdpJcTSyfKFhI8wLEMBFyADgqcDqeSfTlLLxJJcMsF&#10;9bJbw/fG+Rbhw6rkxsf4ThgMZzgjgdK664ltNYjjvZZ3H2d2EZgV4Q5ZyAvzqThgQdzDjd9FrGuY&#10;kWxktruBZZooi/nREiGEvh1VDxuODgk8dfrXz+Mc5zdajL3N1597/ifSYF4eOGWHr0m53s3qnHpp&#10;eydtPvsjmdV1N7HznhhR4nVoYo5JDLbrvO1GJwDuB+UYO443E9aqaQuq2mnTW98lxcKyQsboFJgr&#10;lGycA718zaPlAAO3kd66SztrOPSwbyGRUaQefbwbI5nhLjyyisACcsev6YJrGtpZYILiOVR9pmuM&#10;yQj5zGB5fQ4xjheOufYV8jVoyjXWIm3qnoul+nz0/E96nUpyoTw9KmtJJNvd2as1rpbW+61RBpep&#10;Xw1C0gunjZJpDaSo7qdrsw+XAJ42gngn7w69RUtLfUYVu7u4iCStcyW4hiYAsm+VVYkAEEp16ghy&#10;OnXRtLO1juNNljVfNtZ/Ncg7mjYgjH+90wD2PpxXQaksUZhuEO5ZfN8yMMWd3C/IwIHO5mHTsrdu&#10;a5KVB8kq1Ru6ffvZX+THVxdOnW9nRgvfWun8rbtv1X6HN2UTJb5TbiCNMoqhhksBxnOOT144788+&#10;YeKmkOswL8s9s14Fm+RpdxluLcAqMnkYbj0LY6V6YebWeNpkYybR5glBJIdWIO056g+nTHtXA6aZ&#10;9b8b6hZxv5VpZM147SRtJEEjjZE2jpw0g4K8ksMAnI6cJSlUnToR3bX/AATvwtRUq08RPZXfy0O0&#10;Gr3cIt7nzWla2vmFxFCuG2ljsYN0YbiAR0wM5OeOyvftSTQ6y8syWepIJLhUUAxXBwD8pIGXAGTn&#10;19K4TTdOuJNZWMAyo8hG0JtVwBycAYGPQ+pr6Fk0dodDu4LiKEC7thArSw+aIBgNuXPIztPKgdBz&#10;0r7bB0qtaU0m+VW37rT8f1ueDn2MwmX1qCgk3LR7fDJrS3eL1vbpY+cvFejaXcLdYW3luLO7eVSV&#10;MpuYZxmSPd6HGBjHLHrXk/gu5vrfW9R0wzC4MEcKGKGQL9oiUZjEx3clNxJPGdpP163xVqz+EvEE&#10;2n3qJJFLD5QCyYhuFIG1mx0PIJB7nHevOp7y1sfESanvES3gEoZG2oQOPmPcjOOfSvAxdWDrxrU/&#10;dnCTUl/W+h+o5HgMRUyqdGXv06tPmhLdN6Pvfu9/y09f1LRbHVoZIrlRFMkjSB1iE0ZkAG0qwx82&#10;Gfkf3l9BXn2tLFDC0d7GyTIpEcjqeecKSD1Hvx9eK7y28UaRNcW5ht3tnEOJNsm+0ugORgg8ZJPB&#10;6evWvM/iN4gM0V3dtBHBazq8iSGMLJCNuAS2ADjavXI68emeIq4etFzpy95P7/Uwyajj/rkcLVg1&#10;HdXto+yte9/V7H5w/tM+Ilit7hI5YpHjDRyKCAFBzgkfgPz9+fyiubQ65qsdoJY5D9qHBj+UKMEg&#10;nr3Gcd29Rx99/tG3cj3d8ltPDcGVTmVZRJGwOTlsEDpjnpnsMV8sfDjwtJLfySSQ+eouCF8qPcUC&#10;8Aq3LEElgP8Ad+leTjq8tYxV3I/rHgPAwweX/WZbx1Pp74N+F4vM023EDCRp0jinkxKIWdgRuYAE&#10;AHHHf8ef0G02JNO0WHSLt7SeG+2q1wYTM8CnAaPJyT90DJGeNykcGvJ/g94d0XYlqNOPlXNuq3TO&#10;hgkt3XLBo8gfdIVsjuT+Puul6VZw3t1pV1F9okUNGrpNm1gVnHlu3935cZGcbs4OK9HLsOlTbhKz&#10;enz9D4PjfNqdfEzjU0UNfXXf5M+Ff2xtds9K0HR/BNndr9hWaTULhpywknYFBCEHsfMIJH8WPQ1+&#10;Xdy8JdnRjGkigqg+bgbev48/5yPsj9rfxBDrPji9Kzi4Fk50qIrt8tDDhJAACQM52qTjmM4Jxivj&#10;N4o1URs3DKSzA7yFOCc4/LGM9ua9KcLTUZH8OcR455nneIxqldOVl5pafiVXZdjBDtdsqJC23gcK&#10;4J68gnpjK/gKkol3RFNgkQCKTcASoxtB49PlyPQHGTxVsEBn5Vj95n2k5I4UEdedx46ep6mmkqxK&#10;RgAl1BIbaxB6j16gce9RCNvdR85V5vivrp/mV5XI2zPASdhwhH71NzkbgR0O1sHHYHqc1VZ/M3FV&#10;XDvlXVwSyqAWLADHUP04Icehqy5DOSHfaj/KASxI3ckEgjHB6ccio24ieRsuSu+TLAsMpg/Nxj7z&#10;g5x061cYQSTv6+twcuWXN529SlGUfO9wZEbkk8PuyMkDuAqjkZ4475V8cNyqmMiOQRsjZV2BTOD0&#10;yM46mpWcOjmI5aQBY1+9xxuwCOBgj04J9qi2s7tIxCyOol2s2XYAKiEnjgA5x0z9MVUXB353qOSV&#10;9H6/cKFVSNoOBgNiM7kAB4xkdcYHTk9aiMeCxU5BzjzCQckZAyD2w3T8qmVRufABbcAoyVXswwT3&#10;OSp9zjnPMTuGZEICxNExLkhhKqKMke7cY9SWxmsUmv69Loiy5Ize/wDnZCh9ohhkCqSC5BJyFJAz&#10;gevHfjP1p2WVMvt4QM2egIKtx7kBlY85DnvgiAgR7GklyQwAfGAwAx0PGDtyPZvapI3YOsRXhd2/&#10;+FyuBzk8g8EenJGO5tRlJXKvHWOrb2/TUkWONVKsW+TChySA7MxO7HGCSc4H6U9TJJwu2XLKu3zC&#10;dhONwXqASDuwO7c5zxEsT7hgR45xuACoRgg8euR/3zVlSRtMWWWIB7g+WQQQRwMDBIO0c+vbNEun&#10;V7jck4xT93/gD42iWVgVRizgZbhcZf5SfUDn05FXt7IRvOJI8YjKZVVzhACTn5dxIAwTwOwxR8ss&#10;ysEKq0pQRMGbdyMlFBHHU4+h6E4truyVOAB8+4fIjAj5uMYxz93rxwRjhTu5pp2/rQmlCWkptjwQ&#10;jKdqYZCAgcgsSRxn8h+VPidHAJ3Jht33jzjg+gAzxx6GgBNzvIqK0iLiXlduCSQxA+797p3bgU+Z&#10;1Xc7ucqpUkNuUDPDEg8n1P1q+aL/ADuaObtbfUdHKQN0xESby7SF9vlgqB049Wz24qNJ4o4sMrRo&#10;Is5JK7duDk5yeeoHqBTHcAKOA4JXDDa2Bz9eenPrTSVAR2BPnIMqVAbK+nsMEg579McEpuNrt6f8&#10;MRN+5dPTt57EuXUu6xofLLKwyTGTuwTg+gJ69MZ7ZqqrrsVssrjKCQcMAxVhk+2OMev40jSLucDa&#10;hEbEc7sbQPmA4HcdOD9KgYhXR1G8CQnZtBlxztGe+AW4xyQD6Um3Ju6FTlyq32tP6+4bcSR5UhgG&#10;3bgUTeyFWI5+uDn096gDEBwBLz8ymRmXp0AzjnI/U9c0yUyDA3MY4hyTITJ82VwT1ydpGep4PpVe&#10;d8yE7UAKkKGJdiGKs2SRhQuxTjjkEjOa1UIuOjJtBy51934CljiWTcrsVLM+/iTO7G7t6A49B6c1&#10;fNHB2MrkF1DEqz9FwWPAONqn2YnBxTGACF12AKMAjOAEwucgccIzMW67COozUDbQ8iqVkzvaZgTG&#10;AAwI3LgDkucjJ5Y5OQRUc0U7LYiNSfPZaf1b8iYMTJtBBdjuZcebt5wFBHUkFeRnO45qMyLIdm5V&#10;IPXaCQuSpA/2cqD+ApflaVwNoBbYCH++5PAJPcnPqD79aTygseFY4SQLhuUIOPmyO+N2P+BepppR&#10;UE1p2uaSc5Sva6V1oI5cKpiKFWUNISMqqg4YbByeh5/2vWmlXY8INwjZpFL+YwIDNg/LtPGF4PqT&#10;jHMcOPKUPnbuVQ/KOgDMd5xkdSrE4PToOaf0ciRGKbQQVypQEcEDHTOOgzj16Vc5JL2fL7y/4CIU&#10;ZJLmd9tiNVDszsnmW+TEwDhHUuj9D6kCQAdcEnBximxhASjrtYIcsBkTZbgsfU45/wCufFTlYgYy&#10;u1kWAyAlvn3E/KOOcAdR0OD7CnRx7godVReWzktuO4ZGTyMgk5H93j3Fd3UdFsF4wulu9PyuJEJH&#10;YsHz5QCqWIDbULt90dc7wxPuOT2sQwg7UnDA+ed4GMTgnedpXnJ3Mvzd/wAKSNdsiIi5ByWBHzbd&#10;pydxbA7dvTqSKueU0oSQbQkYCwMSdwySqnccj5sKemDtGc4qFHlThJ6kKTjOPr1+RWWPYrsiM5hA&#10;KbFJ8w8HGMcDjA68kVKAU2hhEqo0gRslQBznJI44bIPfHfrUqqAS4UYMZC4Yu5UEcYxk9Ovcj6Yu&#10;eVl5OhGGYgYIJ6bmOQT1OT7cdeXdq8exq5e0i4yWvX5P8iCJIyAWKZDb0Yg4PAUHPoBjt1BqQKrI&#10;nl8kKoQSA8EEhWHHOBg468D1zU9uQi/cIklBDMVO0Fcg8ZwucnjnOKIEEaKHViFj3RRGQKDtwMdM&#10;KCMceue+aIcru5b72+QJU2k187EG8OSSYI8MVCPKFZQpIGcMB0A5wM0VaLW4LD7MHAYhWlkAcqD8&#10;ucgnpjqaKxdON9mc8oy5n739aHAxvscrICPLHmOzMzupbOQcnk8csM+p6ZJEGkWRFVlYOTkrkryD&#10;hgR9056H17ZqRVzIVKqGjkMy8YVlVlK/Ufuxx33D0pzEKqAyKGO0hlTdwBkHOSN2eSDwGYhQBgUc&#10;0XKUXvfQqfs5y93Zb3EdNzM6A/dVAV+UMGbcwP4qxAHGW6YPFiOJ1ZZMloz8jhiFkkOBjjPAOM5x&#10;3z7VHG6pEZIzK0jhUjcjABByxCgY7L2PQHg9FUgsYQ6ySYDS7RmRFfK529Rkq/fsefTSEZ6qWmgR&#10;aV5Jb/LT/hwSFmCh9u4kSvMoDJHlTtPOe4OOM/M3HJzOI9wjQ+XuUhlIJ+XjAfBGOuevHGajn2yj&#10;zMBygjRWMmFweTtH0TbxwMDuebLKZN1x5KoyqGcA5XqDkk8+nJz93k85rNJtc0tB8qv7i8/lp+Y1&#10;VVCXBbY+HjUg7hvwVIJxhiGXj3xjpT1jeJPN3fKRtVCVAwGVhnPoQDzx+VKsZChhJGiklVEZMSMC&#10;CByeAMEc+wpwaWScqThW+VjgL5QyxXjHzHsAc9RyaEmpaPUahF+/BXbSY8FvLDSO0kEjttCrgnG1&#10;txGBuwCCAOm7v2eqsz7fMkKBjJ8+D5jMWI4PHReccZYZ6kUyFHH2mQI5wMZUmQiNiioxB6NvOMk8&#10;grnqczI8cYOcRo2QsaqzIWKgfMQDzkAZGOAOKqprK0EFKKcFOTsl+elvzGDBVmCqzOfLdccALs3Y&#10;4wP68gdSanMe0Pj5YpEZgoUCMjgFsY9xzn6jvUe1V3qrkRAgzMcZXBLNngjAGcnsM8ginhT5qrE0&#10;bSKAyshw20OTg8HnHbHUH2qVOM1aDtZf5G3LySUb3/4cftBaKM7yyszy7kCs+MZyM9Vy+RjnPTjm&#10;YlnVzGA6yxiNkIALZGZPlGeMh1BGASoJxkAKQw8uQnq6SlFVd7EEfKCSBxk7ckdOoHSZFZYy7cgo&#10;QTGAFYjaoDZPAO52GM/dI46UrLlblukS2oVHd6b/AKD1WQGQyYA2BxIB5h5kPBAA6BgRxg5PcEGN&#10;YyruIzEeGEiybQznbhiWOc5CgA7iSGIIx1cANqlXZkhJGA5IzkgcZz6+3vzUiEkM2FYM+QVXDkBc&#10;gH8SBnuV9FOMm535Euv37CjFptTd1sv6/rYnVAz8SKzxoC8jKpBypw3PcZ4P0+lPZpEiJyrIhZI1&#10;OPmb5jgDrwSScA8nseaawAKSKMusfykqXeQAZGMdR8vAGeAOwq0Y3SMqshEsZCyr5YZsjglf4TnB&#10;PuWJohK0029Cldq0b77/AKkFvI7KoYvkvujMilQdxBAx+S/genFWUhkIQs6cYWWMDcpBOQcfpxxk&#10;+nNV0UswIhYkIdrliuOVHrtByDnGcnHoMTI7jIIJ3KGGeFQYGBzyTnOaqpZVFybO/wCf+RvKXK1d&#10;7u1t+35EiqUUDCxLyySqAeT90Ht35Gen500K6yYZjhYwu5sJI7ZUg4JxjqTjP0xmlikUQqN2AF5D&#10;LjkhQpH5k/UH1zQvmbwY5GG+H51AGO45PXJ6dsYJ5xQ+eM7R2sYQgmue/wDwf63JViDSFkRgsnyv&#10;IUUuFz14ODuCggA8gc4PRN/lqhXDSEB3VCcDJy2M9QDwCR0xTEO3zvMMn7s4KJHtYEbSTjsAOoPr&#10;9aIigjMihspgbWGxSCQBzn3H5Gs2pc3O3va33L/MqTnBNR3t8kTsFwvyksPlXacEHAXC/iOR9eeK&#10;aqkhVCK0IZigK4C787yPdjkZ75pG2bvMYRgISybU+dSSTgEn0x7mphGZUChTxhvMICsGwcAZPcr+&#10;Q7Vq2oLmS1Vv6uJRv7mzW35CMzOcMSJd+1uS20ZPOcYAGG/Fj6mjYUFvCuAGJZ5mbGSQvJYEbeM8&#10;fT3yq/KfmCSEIChIyqqM5Uk+hRh1PTrzSOIw5GBEJB+7Od+31JOehAHX1pa8zlfZFJKk1KUtyvdE&#10;rCxGC4VY8DpkAICCOwAzx6fjX4CfH1s/GLxy0jhp11uYyEHA3E5Ybj1Bz37YxX773yg27hsZUDzE&#10;+4wXnJUYPIUDr39q/A39o21Wy+Nvj6BjuCa/KowCTKqrGgcZPAOzIHbOOep+h4QcnmFpLeEvziaK&#10;cVTcXtzJ/meUW7p520fM+4FWPOCQRzz14P40uvSyRWQAmdiyjKb8ADLDr6YxmorWWMttCEkfMWYY&#10;PBBYZx6t+tZ3iadhblXIXKjA2nGDxyemPQV+gKClVVNrXQ65zlKk50nbT9f8jiYJTLcEOACDyFXI&#10;I4BPp/kelauoyoE8sFt2BtI5AwOnX1bNYdtIUmXYu9WAQqAccHj9Ca0dSYmJSuE3KQ2RyexH/oNe&#10;/OOsUonhzcndyl7y3OYuG3Dlwdy9c5PHXNIi+ZlFdiVVQo7dRn+dQzOgOAiEryecKf8AP9as2gZC&#10;SuG2/wCznOSAB0rfltT93TU461Vymqafz+XX9CzieAY5m+UkFSVJH+fT0NEF808ojhjZZGYs0hUZ&#10;UgAkc8DtzWiY/MiMZwpUEtlMD5scYH5fhUyWqhC23BRTGCOSeDz/ACrBSik+Za/8MROlOV1GWj1a&#10;37dSxEbjaWLId5wE3fNnIycdu9XIrdlZ2lAckbSCeO3T+XFUfJaNsr/q87nyuXOfl/DBNa1tOVI3&#10;gMEjKqQvXGM4/DHP86wjOV/c20uc9anF07VNtbeoXVtazkRNOEBRFVXjGUIAyM88dee9YV5b28Mh&#10;JnISNePLTBYge/rj9a3PsK3MpaVnjRXACqv+sb7wJPp249axdbn+ywG3S2MrZIEk/wAh68EYOfQ8&#10;+1enhaj0tqz4fM4SnGpo3fZ/5eRyd3LG83k2hQxJz5LgKUGO4PJz6e9UJHb7PtjccyBSQuxW2k8K&#10;v4dferRTzQN0SQSzOGLxLuZ+3PcVr2GlW5LJ5y+YcozbGKwDdyQcYz1PPtXsxlGEea+h8RUU07z3&#10;7eVkc/b2LMyRt1LAkADCqx5UemcknFaen20Q1hZAAY4mM0gzlIVUfd5z14/LpzUdzLC5mis0eJIm&#10;MTS4BZsnhR7kZ6ds9K1reyezsbh5iqzSRru+Uec5ZuAMkdBywPTBFUqjce356kwjeUOXb+tDIEnm&#10;X7XZRojLIVAYKVwenI9uM+3as3LTXUqshWM2zHc/3m4bBJ+v862JkOVIbeu4uWAAHyjHHt1xWUOb&#10;5gysgWMg8ct9R0rPSNlHpoXFVJTevvO39fcUssl1Gh/5ZuGQhcgjucflWhGhEjyKWYLG0h3twwJx&#10;09epqndJslVgQSFyrEfeOT/LiteR418pQVLSqoO1fmAxyfzNKT/dczXWx0U4Su4p7Wd/IowSBZlx&#10;ypTczAccnGD/AJ7V2ltDi33AFXcEAF8M27rx+Q/CuZ0yETTruRY4lzNcuRkIg+Y/ieg966RXWVhM&#10;Srx7QIgASyBeAOOwGePavMxMlUinFan0+Xxip819FqdBYJLEIkwGWOMOm0fLlhhh9eOa66zhZSgY&#10;5QrghT355xn6Y78GuV0yURkSb2ZsYxjIwScn/PrXV28pMeSpCMAAY14xjIBOfrXjYmTVreR9pgL1&#10;EoS/AmTT1aUuHYxh87dm0E443A/j9KVrd45HULkbcKwdc8ADP5Z+mPpVy2uEimETj5XIwwyXXJBG&#10;Qev/AOrirR8vf5kg3DOCxbaMe/J4wDzxXmyVpJ20/pnqJxmlG1lf7noUYdLEgYbY4y3zRjYCBjnO&#10;OnOcZ9hWlFptvHNs4IjUs2UAzgE5Hr06denHNEt5tKFRykYVyxyM5+YgD3z+VQW9/CzlpJJFEh3Y&#10;KY6ZPP14/IfQrmqP31quoo0KcXaesunlqi6LfbIi+WHkI2QucDbuB5JPPr19a6PT9JhgCo1uI5WB&#10;RWADFyPmPPpjPXpuHPGDR063S+fzY5EMRAUhuTgE5xjPTPcdAc10sMrWsvnRvGZ2XMLOxkhibJ2n&#10;OM8BmOO5BzXPVqz5XDms9D0cNRpe0UWvv26fjodLp+kfZI3UQjzIUHngx5ih4XbGV6FlIIOehBB5&#10;4q1bwSucLFg/KwU/JhfX1+p98dcVzFrrAiuLlHfzY5IuDkqchRlg3Y56D6DvU1lPGZVjDTSSAqiW&#10;8Ee2faFYbDgfeO1QMZJJ565rzasZTTlLZnrUHTp2pyXWz/Q9Cs5vKTYUebb+/kWFVE2AMEFvclc5&#10;yPl4zzWZcatCoUyJFHHGS4WMBAoyu3dI3XGDx39SDxgWHiBp7QHzkjtGQxR220fOWVWPPIwODvYn&#10;oMYJxXN6tqiPDshcy/PxNLGTLKSCpwODgDpxng+tZeyqpJ/1qd3tqMZvm23+Xl+pt3uqWFzMyuiz&#10;ROoVVQuVi7HgDpww545710PhrwdbaveW094WtbdhugjjgBe4x2K9zgg84wN2cEqDyHhfQWmdbp4L&#10;idZZCZFUtBG5JC5HHCnleT1wcHFfSPhS2kXUJLry4bCOCykW2TaLp22IZGVN25gWMakuMHPVgCc3&#10;Wm8LGVnrZ3+478DhfrtXmtpfTz2/A+hvhX4T0xfJkvLwW0NtCgto2QLc3DABDuJIGDgkk8jLEgjJ&#10;H1nohsRZGK2t0SFY1LsXjnkYbmkzlAQhKADAJY8klcnHyV4Z1mdmkvo7yK1RbZn+e0guJ5EdcNK5&#10;fCL1zv3EjccZ4z6x4W8aahp0L2YvbK1s7qZRPghpL1VIYiRwpkO042qpC4ZuM5NfE4mpUq1JOfnZ&#10;n6DhcDHEWUN9NP8AI+ndGvEey+0WV5bMyBYmQO5eB2JRGwTuBJGeeu0cYIFcxd/B/wD4SB57rUEn&#10;lDgyvMZPLYnG4lW3DJOz7rA5AC4OcVxvhnX5Jr2G/uZYzbSTgSbmEMhjGX2DnGQJOPlGMKAea+tv&#10;D97b6jZ+W626BGIWKMMPMG0kEZySyjBYljyy4HNOliaqouT+Lt8l+pyY/I1hK/JFWi+v+XofN9/8&#10;CfDttFFJbadbTXjs7SLLAoWBA2R8pzydxJHcYPY4SP4A6XMIooLOa6uZF3/OkMEUgwflO75RjI+8&#10;DwcEen15pWhRFp5ZraBLcqdg3bpyVHzZHUdcDOATj5vlNdiNNt4rdIfs1vFErFI2WQySKMKN8h5A&#10;OWb5RnlfXpvDFza5v1OKeCpSaSV33t/Vz89NU+DK2kaTeTEkkQMkUZty4mTcck9x91ccZx15zXnN&#10;/wDD6Upcb0MVzFC0giEYbcI2GfM6HDAqCQOpAxjr+tum+E01azjgukkeK4RHMtm8EsqxI6szzAKX&#10;QMxBG4rwoHUtuw9f+EPga+iu4Lm8tbC5EJazu710nlklYBlWZ4twhHBxtjLYfDFeGruVaTSnCWnb&#10;5HmVlClU5Jxvbsj8b7nwjaWu3EYQqQmJDlH3ZwRnBAwMH0zk8kVXj0HSorSfdpluWuFZDdLCTPby&#10;LmT5T0UMhBYEEkqCCBnP2t4w+B+puVS01LRdTa6uGg8iwdmuEAbIDPIEHGV6nqpB6An5/wBf8D+I&#10;NEeG3kkgvo/tC3QSVFSJmjLALIobdjCuG7EKwyccddLESSafp+KuedWwdCrZUd2/PZHin/CNWzB3&#10;jiX7S6iRWEIkCNyQx44PHcc4z7VAfh0GaR7qIIzuYJVHAQoDwQPQn0HG7rivQ9RkktJpXvLfE5nS&#10;WIW8SDJ6xqqZ4AxweTz05zV3T/Et19qS5tLG5uLpZHliWzjeSX5AGEgY8DP70dRjZ1+bFTKtpaCb&#10;OaeX1EuaT9H66GBofw1sYoJZXtd7N+7jVF2LiJNvy55JIIJHU5z0IxtD4f6RfRRqiQWMwic3H2h1&#10;klkYO+0RDaM8eWCTkAhufmVa2rCfVrt90qtEzl4vKiiaSRmBZmbA5JIBOD12rnHNdFZeEvEGuTxQ&#10;JbXcdsg3Ruti0Nw5ODuQEDceFHfIwfSqo1K0Xou19Tk+q8kLS6fjqcFatYaE8Fs0ttNsj8yZpbXH&#10;kneUAQN8oI4BcYBD+uQO1tviFpOmi3gsjAJo2TyxbII4QArghQDweAcDGMEYGMVsS/DfTrVi6abc&#10;LNprkeXdyNeOYwPmZi2dq8EkZUDaBxjnsrfwHo62cF1JFCIY4/Ma3hjDkyDez7VXPrgEZGT161jN&#10;RqTc5T27dv8AgG0KbjFS5W9bf8H8jzq18Qarqdyk9jaXV09wxWTy4Fjdyu5lbDkKe53cYwTz0rrZ&#10;JtetrdHeK2toroZLxyGSaVlIAUYGzLHaByc8dsmuz0mTSNERLstaQTecJYzcgJFEVYtuPoFx0Axh&#10;c0/S57rxJNHdzQ29po+n77m2glDQEsCAZDGRlSxTuM8DOKxTo89021f/AC/r1N5U6qjzSSTb7foe&#10;C+J9I8SXFv50guHeS5ae6hjH2hjAF+UK/J3bgG4xjaME554HWvAkmqatpb6fZ3T3lqv2zVC8jGCH&#10;kfP5hAQgYBKA5wq8ZwT9yNoUUEz6lfp+6aBXRJ42AumZtoCKAeMHGSAOOSAM1hXWmRrcSX89jAtv&#10;ql4trpttArJZRy8AqWPJUAN82Rnk9ck9SmqVpW1b+f8ATMnR5p2lt09TwGD4fRzSHcnlm5ZZZVsn&#10;/d+XnKlmIBw20qBj+EjggV6DY+FNPsI7WRYVR2U277YzsijyAhyeWOAR24A75Fd3b6ZYW13NLNI0&#10;czbp/lbylRpMlD1xtyASMDgYHHImujYxQXlvc3aJqFtbefaWyHzJbqQ425zgKHUoRuwOFz0Jpe0n&#10;OW/Xbz00KlhWppwjr37nGWFyNO1De6SQqqfZ0Z3JVsDbgnGCcY7cDHGetmaWT7XGZI4VtLnEqRzK&#10;v+jkMckkDLHByBkgbugJYiJnN3btp97Ou6NmljjW2AjJxt+UZIzgY3e5+tZkV5CyLY6uJ3u7VsiW&#10;2jJAUogLKTxhSXzzzhcdONYxs3NPWxnVwlNK8l7y0/4KPE/ivLdTnUYIrqJ1sraTYs0ohdSiNIwK&#10;nGMgqAvbaQRyK/N7XLq6vLlTPaxWm0bWEMLLHIcYZuScMcEkkgEk4C5Cj68+I2vyxXeoC5IuFlmd&#10;R5crMFDbVJX2wozx1U9K+XoNM1bXtcksNOs576dnMx6CGCIZbzpJCAiRqOWdyFUHJPNelgVKMH7r&#10;8jWEI4eneei0V/uOG0mPU11b7HZQySPqQNktraweZLcBiMxjA/vYwB3Az6V3Oqav/wAIBY6ho+gT&#10;LH4k1qzl0jxTrts3z6ZZ3K+XPpVrIOFM6gpcuhyygxZ2tIHfq+v6V4TtH07wtdR6jrziS1vfFlq2&#10;+GwB3I8GnyADJ2kK1xwTn5Dj5m8hub1pUki2bkjcY2uE25GThR1xjIHYg8ZJrtc7Tsn0OSMfrlZV&#10;KqtSWtv5npq/LT7indpJFCi28axE4WQfLhu4XPfGevase2cSFGcupMu1SyjYeQCT2AHJzknoMda2&#10;LuWNoVTDhgoUgqcH/OPzrnoTJ5yLuVVhDbiQctjPTn3P51rSs4PmWp60sRJSUJbdvu/A7SxuFjWW&#10;dgrCOPaTGN4yobOB37fKe4qjezySMz7w6l8hDydueMccVrxtbxWZAG0yLyGGxiByML3+9164PuKx&#10;JysZZnw4ZQipt2hQMHr64P6VUIrn5bbWOCpfldna6a++2/3mdeGU8Ha2XIT5hGybdmOMd8jOffrg&#10;1mpMZAWB8mSJgdqjJbrnA56kfy69rMpInfgssmXSHyyAGyMEEEduffFZpMpnKqvmMwJboedxHGDj&#10;+9XYo3i1JaHC5NJKLuvNa6GjA6/a4pGmm8lZAZWTDsp4yVHfqev6V2mm3729291brJb2cyCHLOQ6&#10;kfKp9DkE56D2HSuQghQeXDGpkYnc+EyeMd8YGcdMn8K6+yNu1qIpEZyhzCgY5cjgrnP8zXNXinD3&#10;lpt+J7WXVuSv7SfvWdreR9GeCfEBjW2SNZWsoFWYCOMcNujXeckYXgnABPAwOlfbHhvVZtau9Bv7&#10;NmSe1jW1jMZO8KxLMRg88AnqBgHPQ1+dHh/V1t1SASNuWLyoreOE7XLDb27cY/qK+uvh1rV5px0v&#10;ULlzGgRInDRy56gAM4+XGQFwCDwvH3jXyeZUpcj9je+/+R+r5DWgqkakVZ3enkfsT4RlsrDwxpWp&#10;asljcxPcDSJwJwl4+9Y3V2UfNgMRlicZyASVYV9ISW32K88J6toV552myRvKumoJpzL5MqrCysxJ&#10;YZyhQ5J45yCK/P7wJ4hsNR0+1ttYuUksby8GpW4Z2ggiI2MPLAdcszlflHHAyDkiv1K+G0+i6xa+&#10;D5Lq806CKxsWju9O8p7a6dPPVw4kGYyoUM3QHLfeyMD56pJ4nmp4lLXl17an0NCVTBVY14pyScr2&#10;WlrbW/U+7fhnPqdx4LKjXrv7RbeII7aaCK2kFmIXtJF81NozkGUqRz8u5iGAyPtL4ePHZw+Ire0u&#10;tPax1jT7fW9P028vV8PyXOoQXVuFuDavIzwM/BkcPnEqnkIAPh7wLc6j4V8VXk9pdXo0HV5IksdT&#10;0qaWEXFvJYwfaEmdSWRsuUkTIG1zz2r758J3mmaXd6XpL6Rpp8L+OdEk1DT70or3FtcNJDbLaiZn&#10;Ul2dkckthgY2JY7tn1GR0lKqoTfK46Pfqmk/R31+R+Z8bqrTwvuR5qdT34pW+y4zlFLR80VC6s9U&#10;pLR2Z1sB/tK00TVNS16Cxv722XRtSsrueBGV5ZzHPC0ilWkeVZY2DtIR+6B4C5PYa2CV1KK2exS8&#10;itX0mCz2rJeB/PS8jbc0mVTA8sMRnp1IArkLOytdX1rU/BkuiatPbWZtf7F1i8eBTf8A2aGXLsiS&#10;NlI2bKlQhfbGGLfKR0l5DHO0mt+HNZl1KaaztLGSO9uBbRLLC4JaaPasKrsVWAck7g2M819k4ThQ&#10;cbXez7uys9Hu9tu/ofjuL5PrdLWyXvRXKuRKbjKF2r8qtzp81muXvzHn2tzSkWUFjbiV9N06K51y&#10;4gm8i3vndsFY1fDSNE8kkbMis2EXOF2gZFwtzLezywshPnfNGYNqtG2wo4BACqVYdAAoz2HHqVi9&#10;pJb6xZSQLCbnUoFSYFHuZLa6aIEyM/zERzSzsfKxnYnG3g8fqFnJZ36xSwwxZZdOwZCLOf8Ad+Wj&#10;K4xuz5Jl+YdXYsowMeRiMLyt80r318l0/JL11PdwGYR5nh+SzinZtpuSajJ3+beisoqy6WL9pGHt&#10;4owHZChjlMTbSMgAcgEjuec5zXWPYh8Qw7I2vX8r7PCu6ZE+XCqMEnCnA56qe+c+f6ffNErQ7dpB&#10;zJnEpUkYGSOOjN07Yx2rtn1ITwRr+6SYNk3AT58glXJAG3A2jHy8g+nXmc4OlKpbtf8ABNHl5jRx&#10;Ma0eXa7/AB1Ttt92pbOgQ29rM4hUXDlJFnYGd4Vw7cZ4QEFRyM/L1Hfitf8AClvqNzKBPaWEQmij&#10;leSOS4sh8zkMAATtzuHHPzg4rvrG+d4sTS3EyM7SXkKjy/NjBGCRyMj5/n4A3A4xzWtPKYrOK4hm&#10;tbqOODMc97bvO5jUncoXOwFVLEl8gLjHSvPr0INJSXuf12PLw+ZZhl+J5lJubdr6+XdNdNLrRO6W&#10;6Pj3xR4Ni026nis5orS2lil1WfUb20821IiLOQhChmMrxvGCCCCMHpx5msF/BqcWpWFxZn7bdRzW&#10;tpfObWxZ1UI8kQIIVPlcckEB2GTk4+59Q0dbq8MemWEFxYSRpaXMd3erNNay/PNO8KFw+AgIycpw&#10;eDXjniTwR4YuLHXdWGnzahNJcrawaNDpnm3mh3Cs0ar55HlFAFDlY8YwN7DgDk/slqSqUnZJt9tF&#10;2fXfbc/VeH+NKNWEcNjVJykox+zLWTsudL4W+7ajaNk05JvwnUIdRmiitLu7kX+07w3S2Wh25uLS&#10;5WJjIA7jKCNWAyzAKoYfNxmoLq7u5dQupY7Hwn4a1pllS1nl1NPP1kyLDC5+yhWknKhEUyEpEu49&#10;Sdh9mHw/OkfZ7XwtqiW11Pp73l9fA22q2Me4TOLZrVlZ/MAEcZL7Y0ZiFOQBXHvoXii81CFdI8L6&#10;HqlpLADfeIBbpY6hAEC+dNFKJViVRgAGXeWMhbORXWsHiKFPkV279Ndvx0vvor9T6KlnGBxV505x&#10;UIq95Pk0bs7ptRs1G1m5SaWy0KWpaWniDQ9N0nU76JjcQrb6kdL01TpV06TB3hbeeA52f6tQQF28&#10;7iK5k6VoPiy80Ew6rqunp4TItbuGJJrKyvUk8xo42LABzKSzHAyqQx85LCvRvFfg/wASyMsY+I1t&#10;4b0bJudQk0O7ktZbdFjlz9oZCoVpAUXdPEu3C8KWdTrad8PrTTNOtdY0XUfDt5fNai5iXxRfoV1Q&#10;fIi3C2e+Jm3IZlQxyKzsgyeCa3lha9SpyuCaVrt63Sttq+pxwznA4bCKqsQ+aTbgo/CpSve7cUtV&#10;p1a0b0PJn8FWPh/WfESaX4klbxDr1xjTbSHXJ5hpMcqvKsktuxKlHRxgFWj/AHa4UEsK7fw5purr&#10;YIPFdxEx8MbFlmWw+3LshhyTDGMhQuACm3O0FSorM8TeH9V0+ytfH/iWx0DwtqNrq5g82G5uLW51&#10;ZJRGkcMVoA6NIiIs0jrKFQKoxneF9i0/S71vAlzeeHHtF1fXg0dkuq2z3N7dlAV+y20h3GV5FT98&#10;FRNq9ZAGwccNgf8AaZ04RtKK5uXye2ne/wDVjHMc1UcvpVpVVNzmqbm7NKate01zLlUNdn5+8fNf&#10;i+z17/hZ2m3tnollc6ZqkAsodTV5LGURssLoJkZdmFCzKirg/vW3MPkxuTaSuseIp/FNtpl6NW0O&#10;P+z9W0qxki1GXU4lOHms5I0KSuTnCNkhdo4FfV3iDQrC98H31xdxadFpkWlCaPUtKsDqF9bXNxa5&#10;lWRBNkBJAqptUSZdSiqi5XzD4R6RqugeI4NC1K8Gi6hP4en1Ox1OKOLUZ9WsZcoiou9kikPlMoMi&#10;/KAvDeYAus8onRxMYTd4Td2+z6Wu+utndJ6nDhuK6GIyariqSUa2Gi4KN37ytzSu0ntGylGMXKF7&#10;2R4N4Q8EQavrGrfDD7YIPCmsONU8I3NrHHdu77ftFhbRb8bTFOUjaQg/LG2Cc5psT3+haUtpBeSz&#10;6hoGsNqGv2zRJPZW8MSiOe/tp0kYMIGiAkQoOTjPc+8Nolrpngm68Q2t2uieIfBdwPG3haHUtO8j&#10;+1LO2u5nktRKSA6zSTzwlefneNcA1JF4c8KaX8YfDGvadDZp4O+Nuk31ldaPFCw0m0vfKENxBC6Y&#10;jiaWSbPl9cpKR1OOeOXQ9nSjopXWt9VCbSWm/uz09Hc65cVJ4qvKonKlGMrKytOtRhzyXM1rKrRd&#10;9L+9Taura48+l2F7rWq+K9Ojso7DxbOnh/UNAkKxLdWkls+3UYbbiPymaHy2kIIaSLn7oBo6rDpO&#10;n6fpnw9sNRube70XUH8V2UrrKkg8+2kPl2yEDNpNH+8YOCWL7gqhctxPgrVINO1IeEpNcuL9fD95&#10;e+H9LuL6SMTWVysnmoJ0ypWOSZHjaTkBXypXjHu3xU0DUfFHhbw9qnhvSraDx9o1vCNGlhmSKTxf&#10;bJb+TdpFOjeXMRK8JRCdwUvxjDVnh5fWsNXqUI+/HePV6rniuzb1Xn5s58Y/7KzXB4HGz/2eVuSb&#10;aSjZNUpz5k3JKLan/Km27xSbLXwpY+K/BmqaPrttG+kWOny6tLHcSJGsN1uiZJVkCtsSVWXa5VlC&#10;lSwPltXA6Lodxo/jlfAel3qDUPCs0T2N9My6fKpuICqs5O6OSOVRGUIymXbDqSxrb8D6vrFv4dvL&#10;iCSDQTHolxpV3Jquk79DuXgaUPbX8pbdbOpDRho1KoyDdt2nd3X9j+HvEdnfCCwvNN1+60mJtEuU&#10;1hp72K6ilDiOO4+XdC42J5bgjYuMBcV6FCOExtGjUjHlqq2r0bS15U++1r9djyqmOxmU4nG4TEz5&#10;sNJtJJXjCcuVe0km1dW5+blbvF+9Zq0seU/ELTTa3Om2OnnQNNlEHjzwbBZj+3oV5ktdVsroOY2i&#10;EcjRkqoIMJ3F93ydZ4j0281zw7BqHg/VL608YaQscFzHcywW9vrloWN1bm4TaUaUiNZFKDC+SdwC&#10;gVkajZaZJNDqd/G/hrxNDeS27XTwTR273FqYx5MsYcwlFkaRwuEEqvkA8GqB8W3Xg7UNKn1HTtVv&#10;9PuLNreTTreNbhkMbiWSGzbo6KLpp4WORsKqpZSCvQnh6U5Uq91TlZN3b5Vok9k4u7TaSet7bs8e&#10;NLEYydLEZfCLxMG5KPKkqltZRd5ONWO6jJtNR5VN3hG6pD4mub2bWNflWzubLQxq+pQaVZKi2ilp&#10;QY7gwrs3vIuUi3OzAhslVxUmr6RqEeqWWq6Jqeua1Ya0v2i40m10dbxtQe3XK3VvDO6xCRXKxB2Y&#10;hh5jlWOzPenVI5tM1HTdL1ye5lntZZdM1KDSzcXLxTLuSzuo43XO0gBm7OM4I3JXl1zJpVm+o2Fn&#10;pTabfQImpWdvK8kmpQzIqSXCGWRwJYlkSNosqzR4wCBwMMWqWGSlGV7635rvmTezV1qtNd911SeA&#10;xGJxVWTVNQ5VyqKguTkaVm1JRkrStJWbsk1K0lFu9o2jxgNPrEH+n/b5PLhdpY1SDbMbe47ht5ds&#10;gKpDBeAGKK67slmlnt7m5juLmBgUt5H8tDG4iOVkIPMY+XbnjaeD0OZdeIr3UBdC6ksLTU1mZ4bj&#10;TIC5clv3jhIxtbcSqqoALHO7nNcNqHia7knktbnUItQljLPa3yWZiMzKqhYpAcFjgBSSRntnINeB&#10;i8VhOVRirrztr69b6b7fee7hMtzTGYh1ZytJdFdpbaxdrcvTRqX3XPQL240tH2WU15cQK22UzogW&#10;Dq21SG5wcgnjG08Z4pGu7G3LxxCKdJZQpdZ8H5QFARX4xwcHtkADmvPre+WWx1N2cib7PvgKxMkS&#10;HALbsOVPJPOMkDPHIq9pJtJo4Lx2K+bZhvLkYmS2l2LnA7Birfp161xOs6ibjZX18lrrb5HbPKlS&#10;pv2spPl09XZNbW/pa676eoxQ3wjmSRolgufKtZgPLdQCxAZSSMfJgjsSeeKy7bz7G7vLjdJMzWwj&#10;hVId6gb0fhiCCGx930yeeax9T1Wa1+1RksYmU+WS4leXcWcvtHzZyTknk+2ed6zuWSCSCTzYLm3I&#10;hk3L8ykoyAFgSD1YfKSOOteBiHRlUvFWae/yPQWHrUMKubWD2W+l4vtfffzfmYmnzOtwE2sFwstw&#10;27zWyzucHIBwQpHPUqTnnA3dWuYpLOGWKRd4cxsxJHzEFS2Op9M+h9q5yJ2tdXkgliDaeYluJSB5&#10;MshhRY5AhbGAQQ33WJZgeQTUN7bTTafE8QDTRtKF2kR+Zu6jrwMBfXOSK8Ou5UcLKENdXf71sdk6&#10;FOpiYVpuy0+d09/u+RCzLsmCTJIkY8jKqCGYNvdlI4JXYwzkE7sAcis/wFFbxarfTLeJPc3EZiuk&#10;+8ttvYD5nzhjgMcAEAOvJI40ruSyTSb23Jj3W9u1hOwTo8odCwJwwYlmUAYBIGRkccDoV1FoD3Us&#10;7tDdXl6bmGEqZRIheRdzOSOyJ8oB5J6ZrfL39Wqwqqzf5en4nRTpVMc6uHpXu1bbe9tdOnU+ydE0&#10;CwjhS4jVTIwzvABcZ2kke/A+vNda9nJOixSspXBXkAlTjp69dv614n4d8X747cibDbFbHQLjPH/6&#10;vQdK9jttRi1OzintpgWZSVAwFIYjngcE/LjgZx7Zr9GyupHFU3BaPTQ/H88wWZ4TFc2KbavZN62P&#10;lj4++CRJa2WvCLzHtpfJby1yFBDY46jp19W+mfkS5mjdYrW6WTEUwaECbycBgwZScc/ezj2r9NvF&#10;2mrqemXMFwR+8gCvGyblRyud3vxjGB3r82tW0m5tdZuobuWPy47wxR71IRCMKAnPryDXyHEWFeEx&#10;ftaMb8+//BP6J8I89ePyaWX4uV50NYvXZ66emu3Rm5pzDT0gWKdmmI4Rx/qgytgnqDwDj9K8W+LX&#10;isXfh64EchSSJWQRK+fMwBuTHTByG98DvWx4w19vDsEs/wBoeSa4TDq7H93gsEyAepO48dvUjj5B&#10;8YeKtYlhW3jhaK2vGkie7eANGCwUhYyejHDHJxweoxz4tFTnUlCMbRitT9cy3K4160cY2nNtWb0b&#10;3bt+h8qeNLq81C9ubaLYY5pQ0Me4v5Y3bgTk52jg7T2P5+xfDnwzbWFzYTyWQDTSRDy3UsrL1bGB&#10;1IOQT3C598TT/Bs+s6oL2CKOW13rH5hfbubAByAfyY56ivrz4baENMnttN1K3SaO1mdo5JrYB43B&#10;VtrKc4yMYX/Z9s1zzpy9u0paX08utz9Tr46lgMr5KVuazbSdnse9eB/Dip5/k2McFvHsZVnQgg4V&#10;xyBz1/nxwa0PH2oWvgvwn4p1e3jj06Sw0efZP5+AJgkixN6gZZWzjuQOor0TRNOkstLhuNPkDqYi&#10;0UJTdLwemc5/iUDAAwOmDx8Qfto+LbnQvAa6dJI8V3rN/wDZJISSCY1QmTzF7AkKoznoOhwK+upQ&#10;hRoQha0mt/U/mnjHO5vCYrE89rJpd76LX5n5F+OdYu9V126u5tRkvZLiZyzMTtUksSAODnJPfkdi&#10;Ca4IMcNFnzcybkGcgcjAPHXqeMZBA960NRkSS5uJAx8zzSOVIznJJJz9cfX2qiCHLIsUiFolZSwK&#10;q/LAsuAM5xjIOMofQ1Epyeq8j+XZOU3d9X+JCQVK5PO4oMAeYP4jjJ9gO2cH0JFcfLM8hycKEyG7&#10;H72McDqoxgYx+AkeRVO8AOu4sDsDIw3YOcHPO09OeD9ar+Z+9CyRgJINsjMAWwG4JGcd84z3PpkR&#10;Ti3aUN2ZynFNJLX/AIGwyRZeD9wkHCtGcnGSeMAnPHt/WvGjRSRSKGSMAlQqAkKCu75CcHKqPchc&#10;c4yJTIWKskjL5gaNGMTAIMsMDPUZBxnnmnArKzhnGGRsZUOM/LtBI5HJxtJ7d+cXf3uZLS34/wBf&#10;kRCEai52/wCv6RUKlcpGRlACCSrFwAFLDIz2/H2xT9uxduzdtVTlSAGbnIx/dGOMZ4JpoRsJgBlY&#10;ESEoQgA6/qcZ4oARFDklnlcxkKC38K49NvAX8etQ5cy5eUSilFqf5kDSESph1aMqzoWO4spUgEcn&#10;IGQTxjJFI4Rg+AGK4VADnknlSc9hnGAQdp5HcdXA+cDMissY27M8fKBjPBOOgz9MUKzAPMu3ecHh&#10;QrfKCoGTzty+MnocfQ7OyiuVabGa54RtJaNL/gMVVYSlQ244V2DSdADggenJz34PIO0kxZIzkqGx&#10;lXAwoXcCVwfox/E9cU6QytE26LCKQpkUMjP8+W4Xqdrr8ue/IwQS1H3oYnJ3ADc+0bAeONvc/Mpw&#10;SMhqJLmvKOm3yBNtKlb5/LcnIIG1sLGH+6FBL44UA4/vFff09Q9QHQsx2PKQAQwUKecEjqeiYPGG&#10;zx614yPMwUBZsp5bx4iIUkMAvfHPHbHerBKrI5Xy2YHAZk3FnBLnGCcZwv4A49591p33sUop+9KV&#10;2uxPGZANw2twN4MuQH6gA4DEZ744xyORUhxCQUGFky25X2gDaSMHuMZwePvcHgZql1Xc4KptyWRR&#10;lI9wwzEkgDjcDnptB69JjJHhg0bAEPsfljltm7vg9PwyMYycpylGSUVtY1ilFLmlZ3/pFsgBnE3y&#10;gsiSl0WNQeQTgnjGM5zkjsKjE5c+YFzCrgpuQDp+fXPUdTxjrVfL+ZsO11MQLrtIkLYQ8kYydu9j&#10;0yNoApIpHAm3jcnm4jUISVC/ePTO3G3OORye1PRQcpJX0Jkv3fNBepNJI27duCuCHDKuQowcYX1x&#10;16dQfpWaVpEjLOpXaoSIRkqvJKjHTOScg+g59GQPwqyopfygm5E6HB3Ee3sPzNCyFcPGY+A6RbiD&#10;EMEs3zDkAluv+0D601aN21b9etjOTcoubej39RzeZKHCt+8Z2Qkk/KCQ2SpHYAgZ9gCBUXmgKZGZ&#10;dqnbGCMpCwxwo6AY4wc9T36wTZklASNJQ7YjGTmQqysFJ65+fvgYGPSogUjaPaFEhIb5sFSxOM+v&#10;AIbjkYHA5FNOUEpPVv8ADQFd80pLRdfu+8meQOrEhGwTlmG1vmUHGRkc+h9TzVGQsZZBsJiyUijj&#10;zlFA+b5eRyFycZxz2qeTYCPLYq7KXUbSflJkCjGMDAK+uTk1UDvJgMArJ8q5Kqkh25GSTyfvduA2&#10;P4WpxhKDXKzP4n7z1f8AVgXfHIvCuyqr7XjGxiCGAwckgZJwcghsYpioBEQV4YfLFvEm05XgEk/M&#10;MctzuJzQiOCGCs6nO3cPmHyjKnvnIHvz07Uq7WkDACQMrSjcgUZBwFweN3b04J709I+/P7gS9q1y&#10;aNA4YNwseRiPBBCEhuvTgDgYNKFcnyZFVQSVQp8wLEqBgjvnG0HqR36VIN0isUUZ4VEBWUAbgGIz&#10;jBJJJXngeoBpsSMJmQKXwNskbr0JBw2cnJJwNp9DzjORRc732Zpzyp6ddNPUNrBwo5+coxdNgBB+&#10;QFc4zhl44wSQMd5CFZVkScKzgEFvm5VySuB0PbtgHqccyIqCORZAjeXjDqrQhgHR02kdCPLC5A7H&#10;pTihkjkWR8oxBdtu3JwAT0GM7N3H3QVGcU0nz83fv8ioS5XKD+X+X3lYRDaCmBuj3luoTjG4cgdc&#10;9+AT16VNGjhmVASu0KrB9rL8o7ZyDwPxJ6VPFEqo7MHTzNmxSBgZyygnjgMEPHUipmdHkjICmPqy&#10;j52C8YzyTkZAOOhGOtEHZOL1dv8AgkSh7yUXaWn4kYhxK+1dmY9wZV35yGIJJ68gnGeNxxjdk2Ah&#10;O0SNzL+9Z2BMpzyNxJ6YJOcHr+FTgIPMV9hKRAs5XKoNy8qehICuMdt3I6VKCjvCy7XdE2Fl+dyc&#10;HB9frnsQKi8m+Z9l8hRhGbftPk+gyOFowEJyNzeYigK23kAnPUgFlznnJqcWoRssxYkFVdSNmcEZ&#10;z24J5PPB9aeigyNFOeOA6Y4C5BIGOnfBPrmnjeUwpRpB1Iztb5QcDtyeevIQ5FHvO2uppyq7p9e4&#10;0KyrISqJIkYEaM3myH5SSo44P3cDrjjAAWlwSFVkVgzCMy5VxtHzZOOoyx6f3uPQToqoBK7ptUqo&#10;K5LD5mPr2LE54qAxsjbgxdC28EjYoAJ+UnpznIPRQp6cCrV5Po/kS6evuq3f+vkRqkZH/HyBglce&#10;SGxgkdePT0oqZYmIBUgAjoZQnPfjdxzmip9tG+sP60M2k3e35nnYCP8ANGAGYATOHVCxVAXIycDo&#10;2Byc465zT4owrbQVBJVH8xcOchgAuCOcjoByCD06vWMpFxGWd28zaSDIVUkMSTwCT2OOgz0NS7EZ&#10;nOEMbSAlVLs6nknYcZJGQMjBxIPfGc/dXl+hm7SqNtdf6sRB2LSKEKiR/OBUhRNnccH8WVvr9KlU&#10;sNqmR1U8tFkhIyRyeT1+XGRwdo6ZxSwRhUHlvIA42Orc7uSv4EHAOMc/Q4nhjKu4JyqrsiKqESME&#10;lsLjrknJOf4R1PNOMpctupcrPRaX2ImSSNo9uxIx8yxZUeQD8zYGPu4POfUD2qSPax3fc+bChd24&#10;gE8Eg4+6GGcDnrnIxKkaLGAuW2AYJiYMAQTt24z2KjGOh5FLu8thtWMEMSoVCxcYwRuJ429e5GOO&#10;c4WkpODe34saSS5lK7t+n+Y0AmLCgLk4LGRUQHHOAATnlj0x04NOAiOxUcgoAwjTKlSGC4OeuMEk&#10;noG5ORTQFGdx3xlVwMHeGUEOeo6lt2PROM5AqdonjUzKnzQrmZ0jYyOhRHCg45wQc7ffIrN01H3d&#10;nv67BGVOC9ouhPkN+8CoqRrndgK6Z+9yT0xtPQfoKYwVMs+CASfOWQkqpGc9SBgYyR6Z4GBUhJLM&#10;hKq5kaPlXO3aSDuYg4wd+M9cinCKV1AcBWJK4ZRuJCYKsMHONynOB0+tN3SbFeDvaOlvx0v+NhiM&#10;XB3SbejkOSoThjj5QRjCsSfrkgZqQsVWPcshJDqsZkYRyYJOeeARtLZ69epxThiNmKxsVEqud7Es&#10;DgDg56Db689CR1qUKCEyN3UtuwWOB8hGQMn5cA9STk9afLGclOPwtf1+hbi+Wy3EgZo23SISy4Cg&#10;FdoIwASAAMnnPABbJx6TKVRwUDIuRPG6szSEMQwwPfI/P6VAQGXaY3ySWRUOGGBn5GPTOwE9uD26&#10;2xt8w4TaoXC8CURHGMY7H8fUc9SVEtYre35bDh78bS+H8eg2ItKWCoVfcSqq5LhRkElcd+eP8alT&#10;ZHICUkcSKGdRIAZEDjBB9P3o6joTjPNNCbChYhUACgjC4GejcemMH2PrmpG+8YiAgj2lVCYdSM/K&#10;F6YwoyBz7Gnyy3a8jXWS0enT+vvJwyQtGhYu0ZU78nzDzwMenDH1ye9WGdslkYc/KzqgIf5iQwI4&#10;PUjjjAHeoRGn+uQrtlCnru347njJ9Px60pbhdzEhG2hccvkAE7uuBjGOnHSsm4yaX4DUnZwh8hxU&#10;ofM3AseSm4qACo/qQePU+pp6BdjmQgg5JZVCOA3JI4GMEnkZ69Oc0yRTCY2ZsYIUo6EKOnOOoAzn&#10;P1xmnIiBAGBwCCkbLuIVjhu/95l5x1YetOUYwh56P8BQ1SV7279xFk8w7nJeNEHmDeGUnBUkfj60&#10;EhiUETbjwvy4Uh888DqNpz1yPcjCNCEOCrbMlF3NhiVOQD749cDNSIhyxIfzVUhEJz0OMkEZ/h9O&#10;uacrKTlTvboQpNpKa2X9WAuFeNVWEMZMMkgJLcMBjp1C8k5Pyke9PkkjIUjChU3lXY4+bg+/T07n&#10;nGc0xQTEd4XLSbWZfvAfXrnGTnvxT0MbuCyFAxAjRkJ4PQE54wMnufl71TlGT1d7FSVvcb+QEHJO&#10;1UIUrguVOew/Qj/OanTeRlmHDKAGBYk/d2cDngZwf61EAqqXk+QrKyIBIAkf3cKD9MHt1qQqjMQ5&#10;+dX6O7bcAdj19Me2frWXPL2T01QtU3Oe7tb0shSACAcO21jGC+ABuU7sjnjAJ9yevQRhVTYiMWAU&#10;HhvlY9Rz1HBPXB6eopxjYNJhkcZJVGUZAzx83PcMeP5U91UnuGVS20KVjQg8gnP+778njgEkZx5n&#10;f18iqibknLYq3Kh8rLkllO8I2HG7IO33zyK/DP8Aa70WXS/jV4g8xQpvxFexMCFJDRIoxgDj5R15&#10;+9mv3PkKEOBkNkqC5GenHHpkADuQT6mvyM/b08OSab4x8O+II1Bh1DTnsxLgEu0TAjd/38cc8gKO&#10;gxX0HDVSNHN6a/mTj96v+aJm1OjOMdLa/dbQ+E4G8uUfMzbiQ+DyeMDn69/aua8Su8jKhO0qo3jO&#10;7OMHj9K3rCWKSUbiEAIEiM4ODz68+n1rG8RxOjbA25yu5XVeFyM4P1Br9QjaFaLW5cZKdGUV8P6f&#10;8E42CRo3UKOSCu5ScE9P8a3LkE277uRjeC/BUEkdfX5c/wDAhWKqbMsSwGNxGAec55+vH51bd2ML&#10;I4yrfOHY/NyOme3Wvaipya5lt1PLxMuSPPff89jnpmRnUBgGQgEgcNnjv71pWYcMdpAJOWJ47nH9&#10;PyrOnjBbcFGVGSud/OflP4Vp2JYkHDAYxheM8csR+VE5Xp89up50HU9rq9/8jpRDiJZGZgysM4JD&#10;EZHQfi35GpkV8sN+9MjaCOQcD6emajjaSUYDkhGCI23aAMZxn8P1qcwCFwDKSzjDj09D6Zrz5auV&#10;ju1k1CO3X+vURMBWXbuG3ICvwOV55/L8auW3kyOXOQM5Kk8ZAGSPwx+VURiNsEBOcA4yGIyT/jx6&#10;VMtvJIu8TGMAld2AdncYHr1/KsopJtxMq1Nwp3sm0vx/4Y0HKbyLbc1wxVRuYeVCuABuHc9+Olc5&#10;qkNhJMA1yJZlXzJEYtu3Ac7iRjHBH/1quO01spW3dmBYCObbzj1J/MVkGzjO+a6K5Qbi5fy/O9h6&#10;DpXqYdxWsf6Z8hmOHn7Jzat89k9zOEkplWZgBGkp2KiYZi3CqB37frWpckWumuqOiXd65Wdzy8cW&#10;SRg9t2B+FMsCLqYiMALhiGdMqNoOGz06Z/SsTUb6EuybwBtEjlODPj5VUjtyM16kbuXJ31PiMRDl&#10;jKVtnv5DbNom8pYoQVDhYyfuu/G+Ru5AycfStTVbxEt4UjUndOzSyk4Z9owo/Ekn8agsIHeCIxgL&#10;LzI8YBLQoMAEeuc5/CqmuEo1hAg3pKgdyF4+8eR7denWt01KajJa3PNUlGHNHoPlkKoJHUZeJFOB&#10;8yqwD/ngjjrzWFE7S/aJGz5iKCoLckFgenbqevpXQlllXdGGfMohDY6gL1PvgfhxWLsMbT78/Odw&#10;KjgjpwPxpOyk+bY6Jyk1aT1f5aC3UPmx2cy7thkaMjIBXBByT261HcCXFttUKSfJLA9ArDGf0rSJ&#10;YxI5fEQJdgAAp3Y79+FH50trC97JcFWDfvldCQN3J4A79Nv40S5fZp9hwvL31o9C6kSRWQxuEl5I&#10;XOeoRCc8e7A/lmrsUWI1djtCNhEIK7vTA/E0278ozqI8EwfulCnap2jHTv8A/Wq3CoZ90xJQEAhS&#10;AVIGOnPtwPQ15ldqWp9RgKTSi11NezHkhC4MZIVlGT1yBj6d66mO4xB5SyZYL+9B4K+owR2/LpXM&#10;bwCmPmHlcjOcdhjv0qW3BVSyly3JLFCAM9MY+v8A9avJxCVVpvex9hgZKjBxpvd7/cdDFcx7hK5L&#10;krtGQd59Cc+wFWIJ5TKxjUOWj+6DuB5xjH4gVhW6SM0ReU5lkIILFiB7c8emPat63hWEIOpBEmCN&#10;3qeB+LfnjvXJKCs3LY7qVVym426f5f5Ezi6zCJWCRAfMhXMp6sQO/OTx71ct5EKrtQHc3lsNoDIC&#10;OBTFmFwEki2qIT8xMeZHGMAZ46c55qd2FsiOGMZcHe0ZC7d2Rgg9cgH/APXXPbXljo+p20qcrXku&#10;36XOgt4ltYVnjldB5oyM71XJwRxn07ehrRsY2mYwQB7hpHMgyCwjUAsxOOQBtbPpiuasLgTQg/vc&#10;mQMWI3AgD64xxU0MksEc0SyELGB5ly2URCSDgkZ4+nPAriqQlaz9fyO1NpQlb3l26lzU7t43cRKZ&#10;tsjRiKJysSbFUFsnk8lu/G08io47l5YtrHZM5w0SDO0FiCMkcnsax2829uJTbhniiLM6BSrSt93L&#10;A4I5BwOvJPpVmK5ulMxiQGdLcIHRcNFkH5gevYnJ44GauFL3E+pjPGVuZcvy/BG5LdWq+QY53aVE&#10;KNAMMxOA2MjoMAj6/WtzwrYXWp3y3Uj3CvcHfDDFESwDHK544GBnPOAMnPNcr4binjnhlEcMitKD&#10;iS1E6MCdo35BHI7HNe56bfSF0jYWemQOdoj0yxWyMq/u87/KQF1G0ZDZHyrzUVlGFLT4jvwiq4mq&#10;pz2i1p31/U6DRYbiG7EV7HdXLFRBboWWaeZyoVFTnJAOTg9/QZz6Np2j6rHah7QajdSxybdSaxj+&#10;06bavkMIGnT5WOFJLDKZzgnCk+ctdW1vKqwNJeiUMsKmN4/KJIByFUcbR0HBOOa6uPWLm4srew+3&#10;3FvDFFthsorww2py2d0cGduMHJJzjPXkZ+exNVSi9Oj/AOHP0XLuXDzimtND0vSNVsIo0tdas7n5&#10;2ZlWGQwXd2AgW3TdgosAzmQgF3C7UK4ynV2mqE3KRu0QLBnjXc7GBWLORliXwOOWPfOeOfFhKxka&#10;UStJc7vLWaRzJuPRQGJzgYx1xwO2M9Jpt9KYlkkCtMBjcF37VwQBnsOntyOckCvn6lmoxS18z7PB&#10;YhRl7uj/AFPrLS9XAWG0nt3gmt3Ie32YL7hnrhdvUcZJwDz0A+1Pgvd2ev2kOgW8w/4Se0X7To2h&#10;2lu0kuuWoYCSNXyxadcM4Tq6A4KkKD+Zmg69MY0EtysbAeWjsrOBGxyTzwAd7MDgdRjoa9u+Hfie&#10;TT9btdUTWZtGv9L/AOJrY6vZ3D2l5pMkToUuROhDI6MU2MuCG2Y5ODwwxEqNVylG8G7P0PRzCEcV&#10;hXBStNJuD8/P16n6OjVobfbPBuLSOUuRLEybTlht2kZBBGMY/hGOCM4mq+JS58uWcuwKw2qJEXZt&#10;zEBRjk4zg8ADPUYyfYPAWv8Awz/bc0uTQvA3izRPCP7YGh6cDqXw18Q36aF4R/aaWDBN/wCFL+Rv&#10;Jh1/y97T6S+BclTLDtHnGPlofgH400+/1ewk0PX4NY8O6hJaeIPDuq21xBrGm3MSuJY5rabbIhQ/&#10;eULw27K8murEZXiOSOJwz5qMtpLbzT7Ndv8Ahz4rB8Q4FV5YXGfu8XT0lCWj9YvZxfRr0dmed2fj&#10;yWGeWxV7uV43MUKiP94i7AFCgcAcFScdExnvUtx4l8S3Ts2jeHLa4Waz+y3T6ui3dnKxAVpF81ZA&#10;j5VWDKAV5AIBIr1G00a00uGOLVrKW1htFZJILyJreWMj5m3I2Co3AHB9jjvWta6YmrSWlpohuHtE&#10;KTXZEawqj5Y8queB8yhyOfQHIGNGg4SSc3db/f1PaqOhWjzqmuV9Wz5I1Lw9471pwFuzpsExePfG&#10;ZTgl0LKkilTwNwwO4BPU4yrr4StqEsb6nr+pXly7lniU+TEX3FSHkcMR0+6nXcRkc4++J/CFrdu1&#10;kHmkNnZSTSXG94dPtiShUQuQGAZmxkgliHwDtNOPgux0bTbi4aa5tIr1Fsv9FZ5GvFUgPB5xIfbt&#10;bBUjDAFWOOK9GMKdJXTurHHVdN2hbfRWVj4eP7POg30LXMdvHeW9vb+ZfPM7zImOWyW567fvYxhe&#10;nSkb4XaT4WeBbCyt9RtZUMs6rZmOC3kzkBiygOP3jbskAFjg4OR9h/8ACFy6e6QWNjMlzcBbu8gk&#10;hIjgik2t5jgMOSrx4z03DJFXtR0bR7ZP7Lt76LWbyeACKDTmZbK0jZpMb2LtslJVX2An75PQgHX6&#10;xNRcKem1vu3PNr4WMkr3lFv+rnx3H4Z0q1RDC5gv7v5THKAkqFiSpwM5X0bjp7VHNBqdpBArXls5&#10;ILE7TFJEQeELcgnnhhjnOexr6KXwhDpwvNQvrWweVFjMNpnbdTKwLiTAIyo3RnPoykccjJ07wRaa&#10;xrETv5dpDOhNzNdAxwpFuLSjAO4ghsgDBJwF5xWCc5NRlLVnI8LRpU72vBfj+uh8yF9T197+OyjE&#10;f2hJY2vpnaE3ZxyGYjLAkZZjnkDGQeOh8IaVfxXEelSrJJI8e2aURFo1fP8AAWJPUjnjlule66N4&#10;XtjJqOmpE8lvE8kFnLFb+VLNltqz5bkZULkZPPTnmtme30nw5otzqFq1kZ4B9gsY7mPcb2SRkO8g&#10;jjB2sWbAxnPerhGCSknok2/M5cTGcV7KlFa2S8r9T5S8TaLHYakmmWyPcJHcC61OefDyrIZC+3O7&#10;rgkH03dsA1v6VcRX18mlLp8kVraiLzpzGYInLshXcW7ASISRx8vTOcu1GOTTLY3k6rcT317I0kuW&#10;nebaFDfMDjJDKc88Dp1B07e8c2V7LZxxL5lp5MszAiKJMABUXHLktjI6cdcAHSnUjJt203sb+xpy&#10;o2STeiu/66lnUHXU0nv5r1riw047bG0cbpGRCIy6ICAQdqDj+6c1hahc2s9lbtc4kt5C8cazJ5m3&#10;bjHXt156Y6ZFBmmFuYbhlMQdY44fMEUCIAd7FTznIU56daq3y6asQlvDHJCG81BwxGVBx+We3OTW&#10;yUk0+rWnyJjhYr4o35dtej/q5lK7rqzxyobhZraNojGMxbCwUBiflDZU+vAJ78YfiW3tbXUrOW1Z&#10;Yo0t9pjkfLbsnerHOO6bTj1znknavfEenqLZY7aRgAYo5ERkZx8p++SR649PmHWqkWkX3jy7t9F8&#10;IeHtf1jXIjPNd2vh3RptfmEKxlmmZYlYrEgQsZflRF+YnaDjanQdRpUFq9SazhSXta3urbddP1OJ&#10;1GeKKG3vJLpra7MjKyyvhmUZIVW7H5VKlSflxjnpxPjPxIH0mWLTbiN57ZJYvtDRurNk4VYmA6c7&#10;gXwfnx/dU9R44sfhz4N08f8ACyPiVpuj6vp4M7eGPBE6fE3xW2cL5EkdtIbKylbcHYXl3G6IuWhL&#10;FYm+SPFn7TtpHbXOm/CTwvb+CreaBrSbxdrt1H4p+Im2VQJGhvHijt7EksMPYwRyBQAJmIye+VDl&#10;l++er6LfpueYv9rssJFvzekb36v0vsc14h8LSaQseq/FDXI/C0N3Zm+0/Qo/9P8AGesKxCxmHTfl&#10;MEbkqRdXjRIQXZVlK7G+fviL47ur+wOkeENLHhvwsH82TToLtbvVNU8pmaKXUbgIpmfuFISJSflj&#10;GNxq6vd6nq99qGo3l/ca1PeSm8vL+/le6vrmR2Yu7zOxeRzlSZHJYtySDyeGkhmuY2MImjByMFmf&#10;7vXCZBz1/M+tddKT05NEunyCphHTqqWLfM+i6Lrp/wAE5uJbgo6xGSOTdtAd8o2SM/N/nnmoSF3A&#10;DIYsWQb8rwFGen0/GteJFWSbyzJBKP3Bif5kkwcsMdu4zVa4EcqhVt3K5IDRgRuqjknPoCCO9dXP&#10;zP8Adr1OXmULSmt9NPIx5pWf9zIA5kiwoJO0c42+vGM/iKYLJYSpLlWHzlTgBySMcdx6etTTWSuh&#10;ljYKCjFEXdnJ4OSfpx0PJqe2VBiFt58tF/efeYkYwOewyORk8dK3hK8b2utGZrnckm7v/hidZYnj&#10;ZpVcusYBJJUcMMADIGOMdc8VA8y5eVSphMJLIwKryC2W569jj09uVnwHcphgjkuMbcqQCNo6Aeg6&#10;AH0qlFKjiWGJAxfDBnOMDOeeeMj8a1glzLQJ1ZykkvT8B0nlTW0saxKrj5I3fPygEZPXqcY596pa&#10;ZHGrs0sOZETckhHzYDE7QMehz74HNaMEa3hbeGJZSUIYlSvBAB9c45rQs5beydVdMv5io3G4xBuG&#10;JwOep6c8Vvz8knKo/u9SVQd7vRGZZyW1vfo21og53Mo4XGcE56fUe1d49nHeG1uLNPLCKvmQRnys&#10;oBnaBnBJ29sZ5Fcrc7FmV2j2bgCigAlQSMKAeOpyceo5rU0ya9trhklYeSqGKFVZo2lQgAgHH069&#10;s+9Y1ublap9D0cPGoqllv1+f63PXvB89qLq3uoFw9tCyS71+aNCVBHrg/MD/AJFfXvgC60rWba7t&#10;570fZ7a2S6s7SSQJHI6ugaNM4OecsB/d7V8RaBaNp1/a3k/nrBexnekY8pZYyPnRWPDAEsC3c+9f&#10;SOgeHjcwLf8Ah28kiNugZo2tpJLfEpUBAcgZ3bQckY3L16V4FdVFF2acrbfmfoWT+yhZTk020r9L&#10;3/I/RX4S6h4R1s6ba6hY3ZurCMQxeRJuZ3dn2hxyrIitgKAASi5J6j9FfhzYW1t4p02Y6nM2n3ml&#10;RXElohdjA6ySo8cuV4D+WCCpx+8xzhhX5b/s9wXmj+I7NdV3waqsRddkQQW5YFg0mfQYwTkkOuOM&#10;V+meiaHcaL4w8G3tlqv2uyvdJju7tJEzFBLKJB5ULHC4wRhgMZ5U8hq+btKf8VJ2aXZn6hSp0VXU&#10;aMmozptrs9G36bH6b6bq+s3K+G9S0SwuZ9NnSVPEqpCkceluQxkYSDAkikRhJlghEjuMdTX6GeCv&#10;EVr4j0Dw9o0UOoWN5cR+dptzEVkFlIsKKrrAMN8sltGEbo7SY+VSzn89PBF1f6jLe6PcWH2T+xbE&#10;SaxFcQmA2cMqkljEn3hCseSQRnegJywr7B8I3d3p/hW68R3Wkv4guvDehpeap9jluo5dOR5wnkrL&#10;E4w0axZHlt0kJG9kIH0GUQccXKrBvkavJPsrXtu9l06n5nxdhKOJwVOjJfvIS9xprRz0hdtqO7S1&#10;et0t2fTmq+JrbS7uy0jW/N/4SPVmNlp2sJppe4T960Wya589nbIU8oCo2yKXBAFaOjeDtL8EW6aZ&#10;e6za323xlBqljGmoA3VuS7ssrwnJIZLnzAQWA8tSSCTjmtIudP1Pwho3iKzt7tdSsry48uO9Vw1t&#10;FK80hhg2L5hkk+0SYfO39y5OFJz0kUtl4tXVpUGnTWumzw31s013Mk2nSW0McsiwobaNYz92QgyS&#10;AhUxjIWvupRpVbVHZ1LJx7pNJv1en5fL8GxUK2HpywkOeFGMmq9lHWcZqMOVfYik78vNZpy1fWO5&#10;tRBdXd5I8K3t7qmn6jYWQKFY5YZVAtCuBGFLZkds4wSFOME8e0ZtY9T0+S5+3SFEuxLfxTx3mnkO&#10;qNbxqgKbF3GUuA+4REk7+B1+tJZa/cxQ6ZHYX2nW16DatbCZdRZrWIoFmBU4UbjJgDL5VjtG3E+p&#10;aFParYzzWLQ4tkluIL2FZZYwiPGfmDH5ty+YDkbWAxwBXn1qaUm4fCtL+T3fbr/wDTC4yGHhCGIl&#10;ac0nyuya5ElFdZLRWa01ervoeY28yTj7QzhGDCIPEPMM20N8yY+Yhv3eOA2XPFbsBmttsgGIJTsA&#10;mwNp4EiliMZxsyCcj5ueeMmeyljIuY4HFw4dtRjnyYd5ZjG8D4BZGTZwc/MTzyAKttI7QSo2VV5G&#10;WPLfOuGJ/IgjB68V4CVWnVcakdHr+X9ep9NUpwrxc4NcuzW/3fnfqtrXPR4LhjblZmaONoAqbJAq&#10;qcKCDkchtg7dFHpWu1y5jeJGYpcQ+Wy+a8Fsu4CTb8o6HymYDIACHqCwrl7CdJhtuVE0Uo23YZ/L&#10;OCylmB5BGM9CO1ZJ1S9trRIys6COeOWTzrYIcRrsRXjIzyGkPLfMXAzgE1y46oqUW1rFr8V/w584&#10;8vnXqOMEk016a9V1urfP5nq7XOnjSLF7i4S0utYu1bS7O3s1STUEtzDmFJh8yiZgse5nC4l5AJ4p&#10;6zqej3N3qVjqDaPNOTcEXFhdRWaaLbKAbaCSfOFeRkmkkyS21WO1SVWvCdW8Z61dXdxbpqnh4SLD&#10;5aGSP7BptgiW0iOUeQD5496+SEUM0kikJjdjyfVfF+jabqM9ot5qevpsV9OlvbmPSrUz+Ym55bYB&#10;laMFSFB2sQBvxyp4KvEsKS5IpKOiu32Xa7vd+Wl++p6+U+H+NxdRT537SzklFbXatq1C3Kkt5Xk1&#10;JrS8T6Pl1Lw54bstT1K1vZb6+166OmaLHqWoStNra26xraCe6ZEhjtyzGaTHCxwRopLbwlrR/Duv&#10;xWGi2Ft4ouTpmlj7bqUWiaNBe6Tdu/74TOfLjcuDmQbZDhgCSwwq+O2vjOJpJdNg8N2HxK1adEdr&#10;iXTbz+zvDYYM7wRbBiMM7TsxynmBBgHAA4fUvF/iaaae5li8ValfaY08+p+H/D1xcWuiaZChWMT3&#10;EdqxiRSCUkOS3IG4CvTpZ5QcVOcW7pq0bpLW8rtaNt62V1Zd7nrUuE8yr81GE1GV03KpySb93lpu&#10;MJWcFFNxUpqDcmndqyXt0mlTaPp2s6l4UHhvw1quqanbC4tPGlzBb31zFsG0lbiT7LIJZSJlDb5F&#10;CrgMWBHZSxGWysde8VW3hfU9G03TTB5k0CajfLfAxxz3FtBaI0krqsbmNUZSsY+Xlhj5T0/xlqGj&#10;3a+frGm6nomr6f5+o+HdJ0lNbvNHKyllgZrpdqEKA3mRnKbBhzkle50b4g+BdMv4r3Q9Q1nwTr2p&#10;XLyPGhstXbVJ7glxvF2CwUSnd99kBZCsZKqa2w+bYLmV/d8r6b3uls99U3H8DozXhPOUudR9pK91&#10;UUJc6XKoOMpv3425bRlGNVJXbupXPXz4J0PxbaC80zS/C97B4j01rHR473wm3hbVrGSAGSQyTxwk&#10;Rr+7XHmlx8qAA8lp/B11qGgaeukvoEt74o8JRXV1Jpd7aST6YhEiA3NtMAYokXcMO43upYAA4K4G&#10;keIJbmz8QeDviD4msPB2s/bLe9sPEmkarfrc6sjxRncuo25gBi8sBPLzEzFiQTsbN6HxtptlpNnq&#10;Hh/xLL481m3tH0iB/CYuNSsoIUiWCS6ndizQSPsdlIOHOSmQQT7Pt8JLlxNJpTs07W5tGrpxu3dS&#10;V1uraHydbD5nKnUyutF1KTlFw0koO8XyyVWMY03CcHyya5ZXTk7PQ7Tw/d6RqugRa9c6H/wjbadr&#10;NxJAIUSY+Er2ZIkN1umhiGyVS+9FhKqwI278kcBfan4o0fWtD17xRpsUw8Ialc6LP4nl+zWMfiSD&#10;UUDQyK+AxjxbkPtVt/UKmGDe3R3i6xZsRKt1o0mlQyas8RI8Q2USS+ZZPP5jeVM2YQGJQyKGIwxY&#10;bvGfDnjmDxRq+u+D/iN4Z0+wgns49M16307TWggKhlbTZtvnusMkSzBxOnQbfRcLMZUr0qSqtSl8&#10;Lt7rktU3a6tovuaW1jzMn9tVni8TDCqdOnfnhzOVSFOfuyUG2pttTmrO6blTm1eXOaV7Z+Hte8F3&#10;Ph/xRf6Bfx65bXepaNeS2/nXGntbOXyboFikqPMm1lVUCQTAg8luY+Emi6fqXgCbQ01R7w/ZG1LR&#10;Fgsobt9D1KG4eOO7tiTzJtjjctkZEiYHIrN+Hurab4A8beI/h74vuRqPg271D+2fDmuauyC1nOZI&#10;4Lr7QhARWCzQs5baHhOFAOaoyWd58JvGszWGktqnw88QlFtb+FlGmWcTlGeW3uIyPKVGMSoexLAl&#10;kNeHLEWeHzGcE1C9KoteaN7K77xutHsr7H1bwNX2WLyPDVZc1V08Vh5NQUKtrtxgnZRqJNKcL3bg&#10;7tJs81+JsC6R8Z7bV7zTrfTvE02l2GoeIbCDcuj6xOhZ2uIy8YCh8JGwfcVdWAJAGfcDY+Jp9+qe&#10;Cg+v+BvFUn/CQ6b4WutZ8nxD4evtPEb3Fnp1xsZdzgzSRLIWDCIqRjAeD4z6XaeJ9PsbXxrDodvI&#10;hittM8e2Dvp2r6NLcRNPZ3l3CzMs1ncLCY5o13mJjn5tyseS+Glzqngm4bwrrcdzcafc6rCxkhDS&#10;S6ZMziOee0mjbzPLKu+1ouC0cbIfm5x5Vgc2q06zvRqy5lJaShJ6e90tJXV1eLeu6PTeIeccJ4TE&#10;UUli8NDk9nK8oVKas1Km7p3hLlkk3GpGN435ZpvtNNvBrl3quqeEdNh0bxJaar9puvDmr3T6dBrY&#10;vYnMgt7eX5T9tVPLktZANssR2mPLh/P9N1EadBaT+GrPXorTUbiV9Q0a/i8v/hHLyzd3ubYbl8/5&#10;BvB8/aVEe3PNemaz4VuPFOrX2oWk8D+M9Og+0R/ZdRjnsPHmkRPIkUsLptxeWzcuJAp8zbn+CU0b&#10;vw7aeLIofFHhfU72z1HxDYRXOoxuZLmz1OXy1CXHn7SElYHLxkHb90/dC1pWw2Iqa7tO6tZNpvV2&#10;2Ulomr2as1eyPPy/MMup+7Vf7uSipKXNJQajeKlK7lKm25Tpz5U4tShJpuaXUG+03xRY6pe2ukzX&#10;Oo63FDcatZ27iO71RtPdvIuIIsSeXqEAEUvl9JFRMqV5Pl+o6lqFhd2nhnUL/Sdb0iWT+2dGuNQ0&#10;N9N123aLcyRtKJSoI3szJgZZwVwxbGh4Q1M6t9qhW+1Lw/4mTUZbWW0huTbyrIzMjMzqfMKyIvki&#10;VDvyseCVbK8f4/vIBf3FleyzJ4j0u+W5slvLoPqDKHLXNm7rK63MbK6r52A4LMST1Lr1/b4OONpf&#10;H1ffq013euj6692d2T5THD5tPLLe5uo7yi7KMJpv7EVyrmg17mjulCK7Ke5smv5NEj1W10qz1aUS&#10;6dfSfIdDneQyTfvPmbY5ddseD5W1gPvEVz/ibRfECW13od3dpI0ECS22qWbrOsL+WrRYuDGGGY7g&#10;sYuFJBJDFQDwMev2qRwC6nmaOa4M8MtzKksunxGTBjdypBQYZMhR/EQvG2t9/EUVmsNsbtJYDbDd&#10;tdg8wIbfvycEHjjbyOO9fPVMTTxMJQqK3o2rRfRr56PSy07W+jp5PjsDXhKgua2tnFO8o295S3Ts&#10;rNO9373VuVjSbcafoqW4PDXP2SRpnCOXTLpL5xHyoVYscnkYPUZrnL+ZZL3zZjCqW8YUomWjV8HL&#10;DnJ/h5zknB9MPn1xbyd47D7LGkreXyqrbW6jbnKsDjAyuCAQVHJFcat+wuZI2JuGZSohIKRKTkMY&#10;wTnYSpOSeSScZNeNjHCDjRh02PocDl+IlVqV6uknq11138l21OttDMYILFLi3EBUxyTPCztJtfCl&#10;jtxlgTyPbP8ACK6NUWVLoRtteFC6knyYxgAAjp1yxwefk7YzXn1tqCJPHJLMn+jmSWaDe+Zz8uFx&#10;3wcNgDkk10cur2y2MizSqN8YifY/keZuIG5sjIAIySOOn0rKVVKNpdF38vwFjMHXdSPJF6vt1b19&#10;dPPa3mQiOzv723mkkj82OcxTMGCgAFZW8sHBwQQPoOTzircKz3N6q+cY4Jdt2iPKA7KGeM8cZZi0&#10;Z2jpkD3rmbO5htnUALGGUBGADgcYGCehOVxz0H1rrljeWWC7RlkihtnHnx8oWdSVXjA+9jnsRwBg&#10;EeZFxk9Vd+Xnb8h4qEqHu393laV+nXTpq7GdOk8kksVmQ8bBTFILlnn2h1JHzEkAgHJZumOD1rbI&#10;+yaXMknmTbgzZkYEuZCDjAA6DIxjOV6ZOKpWsMcEMgaPN3IqZxIFEiBRjJOPu85HQBuuelewvXu0&#10;shMFcXDvLsf73yPIoyO/CZHqGHTNefXUOdLrb8zirJ1ElH4Yter0/wCB/XTkrhJtNtrdBIkjX+rN&#10;d3AuJhJIRH5oUsrA4XDRk8kAoOeK4XxFHPrF/ZzaYUNrBO9rJJaviPMe5HxjgHcjZ6Y24xmu31+K&#10;PUtVS3tLlI4IWfzJFjNytyQ3lhE9VYxsAVyCMEbgQR1vgLQbDULfUore1t4INNlQqtsqLETJG0xA&#10;ReBksemc4U5y20dWWYVVK0cLf3dNfRHVlmaxympPNaqvZPT/ABNRX5qxJ4TsrkQQA4O1QUDMEYhg&#10;vOSeR064AxnIycfR/huE2q27ReXHLtBZJFBVc8gHPAweoPp71xGmaSsDwAIBAwCoyqdynPygn6BR&#10;3x7165pmizQxyLIjGeNWlICfMgQseR/F0xgjgrX6PlmX1KEXNK6PzPi/OaWLbbaSbenfv8l1IfEV&#10;tHcWkkvmlm8hsqpALNgtjAHqw/lX51fFOwNpqM0/liKQuxR3dhbs5fPzKvOMYOevX1r9EtVspbVX&#10;VjJgx718wHIyCAxHp/8Aq7V8kfEvTLLUZLmS8XZsciNGj/d8H0HU9QB7c15WeU1iNWrOP3HueFeP&#10;+pY5wTvCSWq/y/r8j4bv/A9zrsFxqepMZ7KAPtkFzJHCCMhGJIyVBIO09cjpxXiGuaJ9qtINDllh&#10;EfnGW3mjRcbQ0iBmJXd/y1GScngY44r6p+I93NoWjzLaNcCBZWkmtpZnaMlh8zhcHLE7B1P3Cepr&#10;5htbm9u5xesoUuDHEgjEcbZYFUHBwMtgAA49a+UzCvQwdJUoRtpfTzP6y4VweMzB/XK0vci/d9TW&#10;8BeAXtZIbWWMNBG4d2K/I+w5U5xkY69wMAAcV9Ax6bHatFNaQeWGmNrLlQXuFyTnHPzDAPHb6g1n&#10;eHXjkt7WKb5BOggaNAVOSRuJYcA8Dntn6V6pDoo0+xKC5cCNft1mwQMXkckNGwweHVcE/wC3yBjN&#10;Z5dReJSnb3fx6F5/m0oYrlrOz2Stv3f32/M14b6xi0u2ulllaeXJNugKeQFBwT9Quec4JxmvyC/b&#10;g8fLqviv+xrNoiuixLFIHAfbKwbcQRxnBOTn+AEEcmv1r1S0l060udQjQQO9s1yHB/d4Vd5A6A5I&#10;zg46jmv5/f2gbi91Lxz4g1C/EjT6hqtxOAW80OrudpOO3A464r3JRmpNdtD+cvEfG0qGBp4alK/t&#10;JN69l006J6fmeAyh2llaTaS43N5WMgkdc+vI/wAKrfMXQHJSRSqrIdrZIIyW6Dnb16YPPWrIbyyG&#10;LbwjcbskqYyG27sg4xhcdcAYHSqiK8io4feSAACQHRsYzyOnK5Hp71zRcoOUku5+NO03yxVv6Q2F&#10;kZEGyQGMlAYUUM4yu0Ddtzk88ngds5zXcIvmMnl7fU/uyTgHgAdyD2HPXgCrBXczu6kBiAmWJBAC&#10;kgn1G4cfTgZzUfKxLGjL5ZICqVZeD8oVe3JIAxnr6VacNJxWj/r8BNRktd7IqMFAI3ozPCZowTgo&#10;QzKoYgfeynPsV46UxJAqghTkgBSRw20RkhhuYEglxxx04GCTYaMKAw/1rENICd7IG+X5foSM57/j&#10;irIImQXGNrGUiNBlt4P3M5GeOMA8jd3oUpXs9jKHPF819dv8gMhP73aeF++x3oSckcZyc9cfj61G&#10;6ja2ElUMfmkY7xkck7c8fKVOPx69EWM7DG+DtdX5jxGdjB1HoeRn049KmDALxkMBuZkQkOSCBk5x&#10;kADP0HNNNq91v2/QJ+0knNLXT8SsXHLqcgDyxG5EZcHJBB99pBz0BpsiYZHchUaMbAw2b1yhyOOp&#10;JGev3+CCc0pdkfCFpIvKJZRkFSTk5x1zyMdtoOASQWFzF5khBcDcUCtlWwCy7COo3E47HAwMYJnR&#10;Rt5/0vkS23BQb1trp5ldVCDdI+4Mw2u52PyMnPHUlBwOABweDUrokzkBOWbg5LbTjZlm68AAD0wv&#10;TFJJGQjO7lR5uXRRuUAkEY4A6twc4JPGMgUm9gxyFMhX5WViAxKbgrKcfeIAxnIzz61agkvc7jUY&#10;pKCeui+8GIWRdpXO4K/7v52UZI5AweST1ySxwKZGcMzM7qiJkgx7tmQeFwe4YdBuz9TloYbZSvzP&#10;ETIpkkLSOQWblSAAMEcljyDwAPmZHK6rmQqcIRj5mkB3KBk5GSASeh6qDRfR8q7f1+QklGol3/DY&#10;u+YqKA25VZtqhwAx3DjtnkZOff6mlWcBSy+Yqs4ZQWyuNuMEY9utUGcAoXTy48swzhY/4FZQeW+U&#10;SKpbphjxyCIYZWcSJPvRNoILKAwyOfzGDj0bae4FTT5U7a/8MC+L3vhT09fM05ZAdu4hMkkncB8p&#10;8wFyQQQRtQfiD2prz72MjNHhl2KUUMuQSykjOARj0/gAxnk1jIHYkAvHHuhdG5lb5hhgR1xznGRn&#10;HPNIzReZlWkTyCWXnepLA5wo9gDkcE9ehoUHyu3kZSTjNtu39ImjK4jYFikpDIoPmKBkDj07Dn0G&#10;c0kjfLgjhUAcspJ4YgAjkcjHIPRV5HNRorOm+MY8p1ZQ2NinOcnI9cY5wMZ/i4asR3iPzAY9rOxZ&#10;wXLlsLkdQOJevsRnBqoSU0uZ6f5Fxj/z7jZP8R25jIXkjD4AJ3Hcj7SpOFHJyrc+gJ9M1GzrFJGM&#10;gjAE0hAjDFTsIxwucKxPrt+lJ5ccYLMrSpLJuBDM7x7sjbgnjBIwffqcUjMGA+bdvkJUEEtISTnJ&#10;xjjB5PHy46VMbyTk9kTyx5eWT629f62CWIyyOFOZGDIWPBiKjIH9Me31qsqOWwhjRCMvHESpYHqC&#10;eOR84+U9CR0q0fL2qZFVx5hXcQAxOGYgFhwSqt9NuQPlBDSgC4VlWLaXXauGOM5wM857E9PeqTV1&#10;5/mEo3glNa3v6epFKWVpJWDtmRRIR+8eTGSTkc/wtyePmHc8vSNUdEIlOxwSq8JtDdVHoDnIJx+t&#10;SNh3eMDlF288lx0Bx7Eg/XjGBipArSAAFQ+d3IUKACMEjIHJ29uc9TVtS5L316lxneopx3FljOF+&#10;WPzU+bhgo3EtjOen3See2D3qRIiMiPAcsSTvwdvBAJ6g5A+Xnp7CnpAjhsyMdshypGN2dpLDH+8f&#10;bjFWYo1GXUyFgwkOwHG1QwORxgcofbnI5yIpwc7t6NDlLX3t7q33ECxFjGQSoLsTkA7juO0sMkj5&#10;Ao5ycIO2DQsWyNTlxGoCDMoyeBtYDsoJCk8DhuoANWYozudSP3ZIYFIvlcjcSA3Y7Vzj0p7plRhQ&#10;6KpG5shsHg8HjkE9+RSvUTtLVPX77EWXK4rR6f195BuVJANuFQ4Afl+DklTjAIwOT2A6HpYSEkl1&#10;VowMncrdCWyCMfUc8cj3GbOwZd3QiQcMWXDZfDEMpGQcrzn0FSL8qSPhQ4JaOTysiM5BwOM5yOgI&#10;PvSlK9o0+n/ALcW3bVX/AEIIgztuRn3I5jI2ldxw2evQehzjIB9BTwgXYmT80mxvMBiLDacsFHbh&#10;Qf8AeU96nj8kOAhkVVLLjblyCuByMd2x0/hpyxCQMkqrGyM0oDfKG25wAoHHp+VVJpNx7aCXK6XL&#10;L4vyEV44mkPy8RqpVnwSFYEsDjPQE4z3HvmZgsmAyt8gDCQ4ZMhfUe/8/wAaQtHOuV3M4bD/ACZJ&#10;UH1zxyw54JyfYhkyeWqR7XDK7OFUZ27WIH49QM/3j0zmhuOzX9IqMpU02v62I1iy0hjdkUYCdlfK&#10;nJb2BYZP+yfxYQGjkdS65bC7SRkZxnPcjj1/PpYAVfMPzbX5JCmRmPQdDgcKMn1aopMxeUEyN8xB&#10;GNhC9McjIz8oDY79DWmqla39bikrNVHrp+JGL7T4QIpVnMicMYZAkftgFD2x3ooMYc7jOiMfvK6s&#10;7A98kZHX3NFczcr/AA/1p5iU6i0jt/XmcPENhXczBi2yNUVNwXaFAByN3G4kHGMD+/zLHGyvG7bW&#10;QtyZSU3EsV352gHlsdQMAtnqaUtGrKo5kVFcPkoYiChxnP3jjsP4eTzy8lgowql5jnyi2MALk7Oe&#10;2Ux1zuxzwaTTslb18zPmtrUW1rf5gACPMcqUZlKKy/I2VX5MZwGzkAc8BcHnAmWXIaMSHy9wLMwz&#10;GcDpjp8qqwwe5pCUEZR445Nx47K6LvAbn0yPzyBxwjq26MNIgDMWIzukb7wGOMdgOSOMEA4pQl7v&#10;uf0uo5tpuXTt1JER5FV87YlGAB8ykgDLE4OOpyeR+VO3hiGKZTcDvBUhcbQdoB4IO4/Qgf3gZAy7&#10;N8gbGERk3b9pLEAZyQScMcgYx3I5pu0FJNq7CJA8aswPHGW49QOhP3m96TSuk9yPeptNdF946RYg&#10;rMWAj3nCgbo0ZcAnIHYkjGTyopy7Ng85xh8htiby/cjaQR24Ug9RnPOVxtkYmR0CMAqHqTtDFsY5&#10;UbiDz1GccZq5FhCgZ8lk3GJX37WI6+/Q4I9fphStKSj2/wCAaxdPl97pbp/VyoEWR1+6XOGf5SRI&#10;2CCcDj5txcA55X8anURpGwQgxybo1cD92DhgSD+I69OMkUQjO0ohDSoCEBwQuVyrY9yeBxlR3Ap5&#10;Zd6ortvDtC3G0ADBGB0ONw9etNNqWnw/kCcZqV/l6iHOwFBN5rSqAMZK5yoAz6kDp6HvgGSMMwI3&#10;OU3YQKOgLLjB9O3HUE08QhAsYLqGkBznLPgLl8HggFj1ychvbCiIlQRK6b9iEszEKwZhtZQOxPJH&#10;GMYzjgfs2lyf1sTCU7aK8tvusEYRXVHDeYMKRIxQYQnJznr8zc+44qZMhWd/l5QAL+6RVC5O49hg&#10;AdPU0gUuwZk3lUJQs2dxGCPc5yD7gnGcVJD/AKxVDRs8Mi5DphQCd3HqSNg5/Lk1Ku479B35HGTs&#10;1/X/AARHLRqFyCFf5QkYGWGM5HbnPb6Z4NTJFHtcbCsQ2oiO7EgAY4Hp8oBB/PAFNZd6TBJEDRZW&#10;RFYMEJ+bGfUg46A804OhQclUc/KRk4HOQf8AD3/GtJapPf8AM2suRST06EkbKJjkswQYKhT+8PQF&#10;emB6Y6/makEsfVmyFyIsfKADjO78N2fcr1yaZGEDxqocAOGMiuVYMoOBwMj7zDGecr3FC5CtnaCu&#10;9ZXcgL14/L1/Osmlb2ktH27ijJ2clu9RB+6TyyuVjCsvznP8KqoHXgDt6e9WQCm4uwcABWdjtIA5&#10;I54Pbjk+o6VWSQqCNv3ThN4DPGVxy2cZBAHQdfSnEysrRx4wQctuDM+5icH1HTA6gdh2a5d3v+nU&#10;PcUnUhu9R7khHYNwZFOdo5BIUZI6Zyo/GnsFZSVOHXhiFyRvIwOPqPpzz6wrud381jjdiLaCpTbj&#10;K4I9vrzTnaMy7mcxBWLZVsbwfmxnqBn0/Omk09Oom1PRLRjlTAEW9iuCXQ8MWJVmxn2JHGSPl4xk&#10;iRQweJmZ1RXCuFwSgIySAevYY4HvTC0cYR0DNtOFwDjk9SB2Hy+w+nNPJkIDYchzsXaxAcbhkY9c&#10;A4OMnOB1OZb3k3qy1BOKb36/d+AHcNoZGLhi212DY7HB6HnAyOuaMSZLqpVUADRu3L/h1BPB49+e&#10;tHAAkKnahDBw2Avyrxjg8fNx2GOvWntLuMYJjBBVFXLO5PHA9yc9Mng8cg0Sso8sf+HMoN8zqyVp&#10;dB2URWDAMXxtyGUuDgg4/Hr3pWyoLIFJwWAHV9oJIGT3weD6dsnKK5fyxtYMgaJXkAYkkMM5xjgk&#10;gdccHsKYIWYqzEBFIYB2BdgyrgfXhyceoGKmcUtZeSaN5SUYeiQMsUjTJyrqgRHwD8xGFK59yeD6&#10;45r4g/bd8FLr3wvTV4IS0/hvUBeSOMmUxECJs9AflYHI7RdABk/b4baAQqgOdyoSd+7J5z7jnvxj&#10;nqK5Tx74as/FfhbXtDuUZ4dY0yezIbEkZZl+UnsMMyH0+U1rh69TCV41qe8ZJr5PYmnyS+NaO936&#10;r+rH83FnG0M/mqA+xixZhkfKe/59Kk162Vl3qFZS28bXGGPQD+Z/Gt/xVod14Z8Sarod2jxT6ZqM&#10;sTROcZAc/wBMY57/AErntSl+1W6KWKKGCgA4UZUc7fXIxn3r9rjUjiaVOvSldNJ3X3nPQqOmp0Wr&#10;SWn3HCyrGm6NRnA+bqC3fP6VYiVJo1Q7QCpO9hjHQLn6f1p06bC2ArEELjH3vc/571HG3DBSAWXc&#10;SflORxtx9T+tevSlzJp9OpxY5rkfO/u9dEZV1AYXUfL8inO0HaRj8u360tvJtdGRfk6bSMnBINS3&#10;W4vgvubzDh84DY6fyqGNyhALBQo25zz1HH0/+vW1nKPKeTVcVO9K9tP0Oohmw8W4sqk/LxgE4Ocj&#10;t3rRMbNtOSz4+8B9/HQ/l1rLs16M2CX45HC5GRx3PBGK3gI4x5chIXOR25z6deo6da8+vTcHyQ/r&#10;Y9HDzU4OL03+7ciW1JYl8Z5IAA3AnP4Z4/WkfEYKkg+W7MFAw5OB+lL5hJLCQBBl2bzMZPX/ACfa&#10;q87xbTKuTu3ZCnLE4Hft/wDqrCm3e0jSS5eaz06XGNDvBJhaRETID5RUyOCB+dZNwUaYQm1LSBsK&#10;si4Rn4wcZ7E55q6+oSGMIXd2aMFURiQoAJwffJqmZjHN9rlXfIIyEiJzyeBn6da7sPJwk30PmsxT&#10;kox6vy+f4Fa+k/s23a3X5p3LGZgwKDceVXA6gYHpiuZhtWvrmRfulnXBx8injknnA781uwQSXsgk&#10;khVpN/yXBPypls/MD2wSPqauyWq2/wDoNtLD5sqj7VcBsNGOrDHUbeRivXoyafNL4j47GUFyKKW+&#10;j9NSktyiiS0QP+9JjSZflVxGCePxA59vSqDuJ7qCWQELDbMImwcfKzA8dM81uWlpJeTz/LjTrGAi&#10;OYgKZWcgBScdcZb04NZbjzVWOJANtwICcfKY2+beD69q3pzvbv38j52pTVOTT2/4YzrqaRRZW0Cq&#10;CytOWXJMoLFSD6YC0NIDL5MipGBAAh27c/MCcj8a29RhS3mgkAEmyDc4T5JQdx5wOg4JHQ96yWCL&#10;qIjwxEcWGLNiMLggfqR17Vc1CbSW25dNzcpSlr2/AlQLLaS28ZUlXZ+RsK8j/AnFGkMYJjcHHlqj&#10;SyFer7Rjn0/zxVewkDXNzuxtEGVRGO3qwBzzjgn/ADzVy2ilS1nMexj5RDAtwAzjj/D3FErRg0+3&#10;9fga0m5TS7PYurFLG27G5dhkXK4Yk9yf89K0LeNlEcmxtrNtPGSST15PufwqhZgyESKzhVtygJ+/&#10;jHQj3PH4CtW3cyFUD7SB8gPKjOSfp0ArycQ73b2PrMuS0U+/TubA2IkbhgZQuM7OOOo/P+dPWVCI&#10;wGJjKgBiMd+/44qJYndNivG2OuDtbG45980hTd0ZW2KFVVfJJ7gfrXlzjyO8j6XDyik1TS/zLSEK&#10;8QQgbDsBZe4JOa1w8tyI1jkCooYl1JjB5IAB68kfrWMuFeMuquzsqqBIR1yP0xW5GFXcQyMQcICj&#10;NtC8kDtnJYd+1Yzdnbqb0k/aON/V/d0NoE+SyKyySqM7gMFM7cZHfIDflTiqzsobBynybh8w6KQf&#10;pz3qtbvIE8wE7X5Ltk8YJIPf6d6mcyLHvDoAV8sluWU84J6d85HtXBK/tJc2/c9uk1KmuVq2n/BY&#10;5pPs8RWJvljjyxA2qSAR19OW/MVWkuY3iBaZVYoqiNSPlORznGcgH3+vNVpC6I3JbchVmRtmQc5+&#10;mQfX86it4nui7/MIQxjVd4GSSOT+n5VajeXN/XYhVWlJRer0NBXC26iOV42ILFEVkUHgliO+e3Xr&#10;0p0NyzN5DKqmZdr7f3glxwCzemOSPaq17ZTgCPeZFWQtIEOxQflABb2Iz2z74NX4ylvCkLeSHJBZ&#10;QTubfgnn06HAHvnnh8iblKTuZ1VVlP2Ulp0Ou02bF2nzMNu4AJgK2SMHjjJGfofrXpEd3AyIrtKk&#10;ht3jZAFySy4ODjn5geCOnp0ry/RIEISZZcuxO4rJgEErgZxnHQ4PHFegJb+eEdVztQlgjHdH2B6n&#10;ruwT1+RfXnzMb7ODa6n1mT07QipK2m3mJC2oTXv2tLibymPlIAxeRlwCHwc55P0HAA4AHoOjztbT&#10;ST3cdvfIkMlvDFKCsaMyeWGUKQTszvVWJGVGQRkVydrIYXJBV2UABQwkLKw6knOTls/UckYq3azv&#10;NcxGLBiP3WY4X5gVU5JxxzXjVIK3NH59LH1mHnzv2W9trnptlukQNMuUU+YzRnJC8FSeccE4Pvit&#10;a1uJY98SQT3CQr9puPKhJcQoTIzEgcAYJ3PkBeOBVTS4dsarOArMpVmdsKcbcBhgY+9zgfTOKrXk&#10;32LdcyOBC5aTy0YxbxjaA2eoGOfYCvCmoznKmlrf/hj6GhWm0kkr9jsU8RW9m/nE+TC0SEI77ypC&#10;nOOmDkFtvY4GT1NpfEGt6usNvpxSy0+6TDyCcGaYIxBJXqOQ33toI5x3PmGn2g1q6GqXszvp5lPl&#10;26N5bSKvyq5HuOx9ea7rS4zHM8VqstuN2EYkxTMh5HA9M9BjrWcsHGMfaSvr0/zPYwmLnUkqa1at&#10;73Raapf5n0F4EjutPk0c6Zd31pqGn339r2GqWV9NYahaTxSRXEdxDeROk0EkbwhkmR1KNgqVOM/0&#10;bfsr/wDBR7w94703QvBf7c/h3/hNNT0mNPDvhr9o/wAJWsOn/GfQ4cAW8fiCLaI9bhjMaRiQq1zm&#10;Vi0NxI81wP5o/DPiO70eUwRXmVurA2EpWEnIeSNjES3Uny1JwO+3kEivqHwm9xqyCCW4hWe3sn1G&#10;dY5RGqrFGCrbzgHnjAH8RwCTtrswOdYzKJ82FtKL+KEl7kte3ktjHiHgnKOKMAqeapqUdYVIO1SD&#10;fWMlffS61T0uf1+eIP2JfCP7QXhh/F/wJ+Jvw3+O3hW9iD2txY6nH4e8UMsxUCO5mgIjJCZyk4gy&#10;sZIQE7G+PfFf7IfxB+Fn9ojUvB/irwzB9nJhmv8AQZtS0+428psuYN8DhcBmVpEyFwdpIr8aPhR8&#10;ffiH8IbyPWNC8YahYTwQl4dSi1K80y8tzGrC3WO6gljnjILYDK4Cb2Azkiv0++F3/BWz9pjw/pCL&#10;qHxC1HxLOLV3SLxJpmneJbe425KK0klulxx8w3edkiMZznj62hnnBmZ/7/h5Yer15NY7Xeyf5fef&#10;ktfgrxW4Xk4ZJiqeNwyfuqr7s/S90tO9zlde8Dyk+H/tEujPHoxkkZ44Ei8xHkXa07Dc0rbsc/MB&#10;sRRjAp+p6C1zHqj21qrabbSR3drc3RKSEKwRXK8hFdjJhUJ3fIWORhPdtU/4Ky2niWwF/wCOPgB8&#10;BPFbs5OoSXfgq60y9nkY8vIEuJnbc+7ByxyT0y1VND/bf/Zl8S2zTa/+xn4Qu4ryQmK28J/FXxH8&#10;PYhI5OZEtUSZSmI8bVVVGwD0B5KmA4Pqtxw2YWv0lCSfl0XQ7aeL8UMNGP8AaPD7ko6Xp1abV93v&#10;L9TwTT9LvrLQtdub2dLK8voPLjlRVuTJ5gKrtRjjneynGfkc1lW3hS00e1trhrW+uYbi6SYwFlWZ&#10;YY22nzXBG1nOWVem1gGJJYD2jU/2j/2UvEmpSNB+zv49s7m0hFrb29p+0ldJbkoiiKNHm8OyY+QF&#10;Q0rAARHJAArm7b9pL9nfxPZa5FN8C/i7ottFEYbxL79qGw05b77NKjiGMxeGGJy8CMoXhyoxnI3c&#10;39mZM1zwx8Xokvdlot+3W2p2yzji/l5auQ143+L3qbv0VvePM9c8MWt7rN5r2ry2raTaiOS4t7e8&#10;KDUZpVcRmKN9sjReYrrkIPlA3BcYGRqnhGO70Z9Y3vajT0JtVCDBJjK/IVGdyKwCoBuUdwwyfSbT&#10;45fArxTpX9uQ/s/fESQ2kaQiz1P9ru2s72KIECNhGPBbk7i5UBAz53cYBNbkvxt+BWm3E+iS/smX&#10;3i2Gz0ga9Esn7aniW3sNQVoxcyxutl4OtmBjZ3Mg3RndG5D7TuZ1crymKU3jYOPlGT1evY46ma8S&#10;Tq+zeUVk42unKktO3x+Z4JpmiahpXiK0uNT2/wBirYYMjMuZWBkUqxAO7GI8HAznAHWvK7rR7PV9&#10;P1ieQ3P9n+H9KlntECNP9omUhIAQSAokdlBOOC/XgV9B67+1f4DuL6wstM/ZK+GenJqarLdaZ4h+&#10;OPxX8afYog/kKro2tWaOxUjMBiUEN82Pmx4dd/tj2Wl6rdadafsffsRxzaVeS2gsdT+Dmu+KnVQx&#10;ZPMa98Svv3CM5DoQH4IOM1lPDcP0dZY1P0hLftqjOnU41xdR+zyeUZK2rq0krX02k9zxjXbTS9P0&#10;rTYXurG2DzvJeS3c8VnEWVowhSRmAYuXI2jlsggkZx0fhf4Y+NvH0iad8Lfhn8T/AIjxp5d1qF98&#10;PPh1rnjG1iBVHAlmsbWWJQOvzHHGPY9Zf/tr/tLaddwD4Q+L/BHwi0vV7MPqNh8HPgJ8NfhobIsu&#10;Xhivbfw9/aCLlQCWumyRwxK18pfGb4kfGj43LdwfFH43fGjx/Yqtxfy+H/iD8YvE/iLwbppKZIt9&#10;Emvn01A6Lt2Q20a5YZXC5Gk6mQWlGhKc7a7KN9vU9XD5XxrX5freHo0Yq925SqNX62SjfW3VH0Tr&#10;/wACPGXw8a4b40+JfhL8A3ke2YzfHz47+EfAN9aQzKSn/EhGoTa8x2n5kh06R8gKF4yeEvdR/ZZ8&#10;OzJJrXxm8R/E66dI5Tb/ALPXwc1O+0x50cnyx4h8WnQbZUZcMs9ta3yYbhTwG+FtC8LaJbSW9pa6&#10;bpeg3FrKIVtdMsLfTpApR2jk2JHtIViM4GTk/d6jsh4D1Gws7y6EF1rLwQRPBEk0f2RS3zN5keQ5&#10;AXI3LgEg5JGCOOGNoxmpYSirK+sm27LyVvyPelwlmEGnmOOaenwRUU9ur5n26rTzPZvFP7SPw40y&#10;HVNM8F/s7wXVzZsDYeMPjb4+l+JWrl94KSx6RpcGl6QpDKyslymoR7WAGOtfG3xI/aV+NHxNsT4d&#10;1/4hapF4eiuVkg8I6CIfBHgSELvKeZomlpBYylWwVklgklGSC5ya6nVvDWp614bu9W0+xFpLpU/k&#10;S28UzsAh8tgoRFYr8ysyln2lYm5z18wv9EGnwabNeaHHNLqDultLDK8jupzkyDeRuyE52jPy9QDX&#10;TGviK11LROzSWnX+tzelkGWYNaU/aTi3rJ8z21d3+B5bol5LbXl7YytpvmbDAUn+a1mMkajKswGB&#10;tYY6dOmTXjupafImpT2r2PkF5irLHIJz8xByOgwQDyM8D3r1nXdJgXV72SNY7G1DEL5asxjkx8ok&#10;yewCjPX5eO1YIsiJ2MrLcKkYuI5Gk8uGQDk7mwTkAkZyRkHrVQa51Nu/ax1Ymi4UVKmrLTS3U4Ke&#10;3it5lSCErOsIdVkV40PUDPcYJJzgg9axbqyfeJ5le2B3LCyRlVwSRg+nQHoD8w5r0fVpisiym3EZ&#10;f5Fwm7zEyMDI74xzxnsTyK568DXMUjlWcxzA+UVyXAx0BIxwT16GtozSlotGeJisMqklOWnl6nBy&#10;6eoCTbgSrkSSIoATcABweMgnPTjFZQga3mZJZz5Z+cxBDhOSxIye+7OO5x0rtvImYeQjlbeU/u5I&#10;wwKqAd2e/OB6fe6VFqmm23kmO4DJOZCHMYBKDI4HfPPQ9M1tCai3C+r/AAPAxGFi/dczi5oobogs&#10;ieW33GjQqTuLbmOD0xt6ccGlOkj7PM4IVgNgJGGI64J556fgDzUwcW0qynDBF8mTcxHllcDA7kAZ&#10;GRTrm83xxqwWJAnluufmcAlhnGOMknHXgc12Rm4xUE9v8zkVFztJdvn/AFoYklifLdjI8TBQikHJ&#10;kAyPlBHtgZ6hc9hlum28HnSFosBiMMrZA28Ha3uc+3pWo9xHIHPLRxuN6rnMO4AcHGPxx+XFVokJ&#10;uCsBxHglG3bZM5zjOO/bPXPrXXBTk5P+vM0hSi5Rj1/q7HiCONwiKZJY32Hv5u5Sc8c9QM4ro/7B&#10;S6gdyBbFIQ8eB+8BLcgk+3OeeT6YNGmxxTu5ciIxD92TGxlkIwSp28DAz1x93Gc4Fd1aMk8BtrwK&#10;spjCosRB28kEE9cYCnv161z1ayjTVNa31uehTw3tUrLbb/M5NfCj3AheDbIsUDRywhsyM4Z2DYI4&#10;I3ImDjgepq03g7Wo7IXqJIu10ysq5hLPxgSdFyfzz7Gu0ntdQ0qZ5LKPzVntkEcb5ilLuXwy5B3A&#10;BEO7J6+3HbaGjax4d+z6tb3w0vzAtylswW4BKMB5YbGSXX+LJG4nrgVhLFSvyyh7rTOvD4OUZKV7&#10;3a/Q4TRfDV7qcNhaaggt285GjPmF8IQ3A47kL3wPm4ya998EaZc+G9YbQ7rz5I/tO+3hleQK4GMb&#10;o9wAywb7vPbPArsPCngHStc0t3ab7FcRgR20jzuhiIb5flI67SD8pOcN0xirXiLRb/wlqGiy3kUl&#10;4ZrhI7O/BE0ZAUHJbPyjG7OcABTzXkYqbnStRSdt7b+h99kOG5sRGhVVr9Htda6M+x/BE2nX12dY&#10;htTa6rZ6QztHIjKuoiN0chQARv64U7c8gds/ZPw11FPGcmi3FtdeSbSQxp8xhidXdFDMnQpGu9mI&#10;GcyN8xCrj4w+Fuq6veXUcP2Ewvb/APEwLwyk2dz8kiqqcjPK569QBxX0Z4Q1pPC2v6XZz2x0dtVt&#10;/wDRILqQW6sq7VlSPB5GWUknj5iATyB4eJlWgo16auk/e+9f195+lZZRvN0Kekopcuvlqrelz9aP&#10;gl4tW4LaprdukNh9oOnarefaHtbhYEt3jwqEbTwkTHerYIPHPH3H8N9QuH8B67rGiapH4gaInSP7&#10;G8QXQCzyXf8ArDEjKykfZ47hkOA6eXuJHWvhH4K6TBe6fpbWk8ES6r5ivFd3bxQM8w2Q4mYZVk81&#10;sFiCcHJB6et/BvRPEVh8Wbqy0rxWkng/UZ5ruGPUC9nZXCWrtBexJDH5jANtljjDZBVQWK5NerlO&#10;KnGVOPLdO6vezV7O/wDwD5LiLBYPHQxSjLklTUZ2cW4yUHdxt0bV7O+3pY/TrxBe3HjvwdNLoevx&#10;+Gbq31htVM0V+dJiJntPPe0R1ZEYlGeN9+cNe4yQgNdfZS3Vjb2XhDQprTW5rl5LTxNql5NMQkcU&#10;oh+0bkJW4YxyLGOWWM2xx12n5Iu/GUlt4Wm0LxqNPsLCX4gRyXV5o0Tf2kzkvazpC4AtmhjtTO6+&#10;YAzGNGAyQy/SNnq9vHrvhWwtNQvJYPCwj1Ozu4NQhaHWbOe2t5EtggZY4pHnSQSiUqQLcnlWSvts&#10;LjVWk5X1koJvrq3pbZaJ69bW6n8+5tkdfA4WOFUf3MZVZwVrx92EWm6is5LnkrQurN8zuk0dnB4b&#10;s9K0e4gtpra1vtUludUttWhEulSTlgPLd7klREjvKiqTtGSeTxnCt49UtNHjTUrBbqzign1Szu9P&#10;EVtaQRPPFCFWNS+8g4VgGB+fJ2hiT6BZ6jous6host/LZ2+qQadJf2Vm+pRahquj2sUJw+xRhGUz&#10;BizxnHlBcsxCnMjl8P6nq62CXV5bXlrpjXWqMtrN/ZcUt5dFra1mu408lJUXzFdCdwI4U4Yr6lbC&#10;0qkIxptLSy6dn1+8+KpZjiVKSxkJTd+ebabtrKPuyi9to8yvG7ty2PPdVF7e6Pc3LiW2vJSlxBYR&#10;xhotNtRGTLuyocyKSoYOcBQvUhjXN/YJA5Md2s0aSTwQtIQDcrGQsZ3ggfMvORnkGvSfFVhY2ifZ&#10;7TUnhm07xHHp0CND9oubhLuRA0KR7dzlSGBjIAO4kdcnzC4gjTUYNPigkt7qRpXukLnM0pl+/gEb&#10;Rh1G3HBAzycD5THQnDFWjv118/z3+R9fk+IWIw3NRfLFtu3LsrLe/S1no2+Zvm11N2zzHLOScRGP&#10;MUrEgEbVywAPUntzjJPI5qj9lhgRbiLDlLp5IFnIaNhsQJuGcMdxkIHqV64qBHmS6VTiLypSWIkB&#10;JH93PGOSM/7uK7LTtMN1Z3UFvPNFJcqkiuY0XylGGlGwHBznOf8AYbK56cOJw6qQtDVr/hzTEVo4&#10;P97OWjtftbbW1+jv+R8wfEaw1S+RrrSLCOwisIVErWlwC1rbxFUja4BXYrOZC7yE5eSQcA43fGGq&#10;eMJbXU5Wm1K1leO4kaKaIreecRiPKucMqEKxGAMnBK54r9Yta8K6NqlpZ2kkazxLbzzP5zrcR3Tb&#10;jN5aQNmJWZSw2yDnYuCu4hvz6/aH/Z91XxPdz+L/AArHY2OrX1nJeTaFbF9M0hCblYo4IEVCEkzJ&#10;yqfKdx4GAB8TnnDOIknjcJ71TRuK6qyv5K2nqfs3hrxrlFSUcrzBKnCzSk1d3vom3du9nrpbZq54&#10;nrnxnudOt00+LUXk02W6e7+xT6mIYkkZFiMhhjO3zNiAliCcYG7bxXNWnxQGoMVutUe2iXb5H2dR&#10;JEFjbfGhjZgWwQByVwR6cV+dHxsm8bfDrxDcaV4g0y90zUba4ZJbbVCbFGcFg4tyBiXDqygqSSSO&#10;h4HlmjfF3yJ0+1TvO8rBZo5JiqoqqpDZBIJDk45xx1r4L2+MoYt0MRBxa7t6Ltb1Z/ReA4by7E4F&#10;4rLnGUXrdKOvW/r5n6/2XxSv9MsL2aSeyMi2+y3uooZpTcz5wIxtO1GwQ+5sgBMcE83tQ+LLpBaW&#10;Nlp6XMs15Hqpuv7OSS8unQNFHsuShl2AhsxhlQlCxDEZr8yh8ctEKh4mclYvLaW4/dQuSSNqkgcA&#10;gEH1BPTIrQsvjnfSR28r+S/G0DziiW+SAXVjjphhlhgc45PHofWa0IKlF6JW0fTr+Zy0uG41KvtZ&#10;UU7NOztrpZfdufsRourajr/h6e51vxhbR6xOBLa6ZIl1qwneEhUjmlkkSOJFRnVQC7cNwFILe+eD&#10;fi74z0+2szY29omkQXkFnqemWniW307VbxpEVGkSGEJcRwqIYkLW3mrFt3MVy1fjb4f+LOq6lZx2&#10;g1S7uI23QaeXBMdjJKjoJFGQARlju689gK+h/DviSaSBbhfEVvPdW17DYXdtHHhriIPJ580chYBA&#10;MnH3izNu24XFezl+cVKKjVopxmlq+bV+t7/lrsfE5/wLg8dRnh8eoShzNxThdRTsmo8vI1otG23F&#10;6p6H6+aV4q8PQSXNt4a1Txdrl9cXI1GyWWxju9QkS7AluYIdQjCz2rB5JkeR97MoQiTncvC634z8&#10;X+CfiJEfEF5BFdXeiJqWm2t29vJqB09GMHlsMAeeGLN5bDczkMcnIHyLp3jqz8OXWo3WmXepW2nS&#10;ELYtNqDXF9aRmCPzPNukRDhpPMbJVSFJBUYNepT3fgDWPD+n+I0PiG18aWmrJGt7eXkeoaVrVs++&#10;RkkfAcTxefEu/LkmJum7j6Cpnk8ThpNTUKlN86s2ovleyW7dnpqumlz8dXA+HyrGKdak6+HrxVOV&#10;4RnUTkl8TTSjFSXvtRk3du6itPaPHtjLpmvaP4le4t7r4ValqJ0XSUEEIuNAiubaWZokQuZZgsvm&#10;sJCSokbJ2eZWRoHjKfSPEqeErrU4tf8ACt9aNYXeo2tpNeQy2V7FHIk/kXC4RhJDBFIzrldpwzbU&#10;A423i0/xbaXVpa6zBpFzAkupWUeo2pkh1OS3jQSwmZiFjkkSNkjzkltoUHLEcBd669pL4dbQ9Hjt&#10;7Sw06fSdSOkQTTXGsmJhLHeXgPzB4xEjBIwFC5Yls/LnXzJSrLHYb4ZNS0bbb0UoW6R2aT2S0ZeC&#10;yKlVwiynGvnnCMoO8VBRVpSp1W3fmq3unKDtKTvKKaufSN/qd1L4X1T4dfEmxuL6w8OpHYSeINFN&#10;vf6r4YaeSNrWbKn97C0kkMbpnIzyBgY4jwLa6H4z8P6x4Rk1mTSPFmkz/wBueENXJYTXQCbL+wuE&#10;LDKsqgqr42s4IIJw3EeLNQ0y70ubxIviCYeMdO1KG3uLB1S+srmOMKryi5SXAEb+UwzGd6bfm4we&#10;NsfEsOmaxpPinS79pbzVbgDU9shWO0ntmjOcbjkSBy2MLyjqfUuvm8KWJpe3SlFJxabvJwk7JNq2&#10;sNLdU9drI6Mv4bq1cqrwwknSrTmprljKNNV4JTlKMZXThV95SafLKL5Lc95S9vu7LxLaR6f4x8O2&#10;mtaha6dcBPHdrbXKXtpaNcj/AEfU7WHbuTePlmjG6QMA+B87DesPGyz3mvvpl/pOjokH9oT2skEy&#10;6fZOjIJNufLWIOMPtZW3CZUwXBI88PjOTTIpdZ0vUdQiiliS1vbdYmbTbaaQyTSxgh8PGFEUiGQZ&#10;DmQHIUM3F6hrct34jXxPprvZQXryefb3Biu2kmJbl9wKuWV1GXGSy5yCcVrXzehRcXQbu7XS2d1y&#10;80Xp81316iocPVswVSGOhG0U1CVrNO6n7Oone+t+SS2jaK2u+i1rU/Elh4phjl+yXFvK7Lp3iOFj&#10;JpviC3kSMXEMbEIriIPGg8wbgU+U4JLeyaT4p8IeItPtNL8UWdvvhkkez1KadrS+06eVAmHuEJKR&#10;hQP3YYKWYluMmvBdR8XW8egwaUl9e3FlZ3LLEZrhZP7OldFMscMYyYsOnzckN5SkjIAHEajrc2nP&#10;YXskstvZ3rvaR28+Jft7XG9WYHZ5jE7jjnOY+pAIrzaGc1Muxc5Ye86btdPVK+680n13tY9epwx/&#10;bGFpUa69lVhdQnBuMna9nps5LeOybfQ9m8S+Fj4V1jW4ktLi9tGmW8truS2VFM7KYjHdqAApZIwd&#10;qsM47crXO6U4020SEzK80gaWKSWKOEWQkdm+ZwAQqsWAY5IBHHArkNUk12VER9QmiVrQfY76z1OQ&#10;sgAKYljwC2V42sRwx7EmsKa81CwO8T+fFJuS8W4Rpbqdy+CFfGwD5QcoDwDwOM82IzCCxEqtGm0t&#10;dL7X1+49zBZRiquDhQxNeNSfupu1ruKte2qXW9ra6Pud7HqcbXUjFRcW7fJc7dyNcLsYNOmSHKll&#10;Y5yCO/Q4yxrMDagyRiFpHQJBJORA6qnJ3DfgAHGOed3tXEWV9fJrdszKLqO5hNpNcsX8u3QKQg+U&#10;HB5K7RzhOg4rbv8ASo4dRaS1mF1IdmZxbGK2jL7WkAJVWwBt5wc7WxjpXNXqVnRjOKWj6vWzPXeW&#10;4fD1vZVX8ULpq9tNNfP1tddDYt5ZIJ5FjlimKXDqjtJvhQ8lgpGcgjA6dwPU1sma8vDvKCJlZZZG&#10;SJZpHy3AVcbQRkcYPTOKz9HQXE5eQECHexaaVUibALHaemeQABzx361o+RJcWt7cwSmMKAseclJG&#10;J3KOeOqueOu5vfPHKNScXTjJrRvf0PMxLpqtaSV1ZXa7u1vmbEIhg0m2WNQlxHuWSfACnfgAkZ5O&#10;XP5jHTjvBewwaQ9m7RxO8KSRN9xWwSTgdzkDAz1Bz3x5xJDcSadPE08YuThIbgnYocGNt5XPPPI6&#10;dPWtq9eQ/Yka6LRIwEskaiV51BXcpPYE7DxgkHtVQ5acXOnrpb9P6Z81jcLHEygpS152+vS0tPnf&#10;Q0lEktv56u6I0rwPNt+dQ4IQcgj5jxk5xnODjFRiZbe+hhhQwxQxvZq3lAwBhGPmwcsSRGM55Jbn&#10;PNWbootpZW8UYeVLyJ5ElkCoioWd8kdfm24HX0OBzTebdealO1yZktcJv+XKM0ipISO5G/cSNxIz&#10;XFOMY8ut23r8jyKs+ZydtNUvm9DNcmS0ub3yVtmhkEZuIYSBcFVG8sOgO3PKk/eYkZ4HpPwTiMWs&#10;eJYZpll0++itbqVTISys0rwknt0APJ65Oa8/1DziL2GSF44bG0uBE6rmMuqhCAPc8t2Hy8cgHqfh&#10;Ckoa4kjhaBVs/PnEswlllPmImGPoDIxH/wBavRyuo6GLp1Ozf+X6nm5rFV8jxcbpJ2t8nF799PvP&#10;sKPQLKynKqqvHEd8fnOhiba20AZwCBgfQYPNEusabDHFE7MsoiNvMPMCKjYKgowOTyPoQRXm2p+K&#10;57dHf7StwJEaGT/pg7LgnbnrgDJIyC3Y9fPbnxo7SQ24AIbb9oIYBuxxx2yD36kdOK+6xvEVLCU+&#10;eCXK+m/U/JsFwrmWY/vMRJu3W9vXf/gansOsXiyoEgdmaSHa+45ZQuWJUHuccnvuryHxRo1pd2r3&#10;EsAdyhdSMNwARkf+Pfma6m21Nru1nn5dwmP9kjnPXHU56entXS3WkRyWVvEVLyNp6szbTtPy5Of+&#10;+sdTkA+9c1BPHc0mvddrHq4Gq8irQTdmpdN9NX+h+XvxW0yQnULN2kAu5VFoGLeUgAlYj0PLEdvv&#10;A9sV8/6PobxXcdjdSl40lQ2yk5jAyHwOo6k/TPavur4t+E76ecHyGdkkdw+OAvGOMEZ6D3wa+ZtL&#10;8K38uueVcN/o0Lbk3ITuIAO0DHf8uv1r4vNMA5V7ct7PT07H9tcD8QYSpw77ZVEmo3fqlZNHqOg+&#10;Eo7Oe5a6KxizRWkUhWWPcmQD37gn6/n7bZ29jp8L2l5a2lzsYGG8nIkEYZEO5GALZBGNvsc9eeFT&#10;T7grMDFKryxQJMFAcTnDBSvHXbsGO+Py7+a3ji0GK0kMzk3BkEMiknISNRk/7WOT049q+lwTo4Cn&#10;KdKNrXavrfyZ+YZ/j6uOrU/b1L3aWnTRO6afe/qn3PAvjx4nHh74X+J9fuXZZf7Ols7cRsYHh3oy&#10;g7sHrnv6MOpFfzweONeMus3i2l6buI4lllk/fyzPty4JY5A6Y6Y6ZI5r9n/23/F1zp/w6tfDVvJb&#10;29xql4qSR3DKglhhBYhmyADkBeeOvGBkfhXqbO15OD5IV2ZwsT7tmDkHcD16cj1rldV1l7WWl/8A&#10;gH4txzXjVzWNC+kElZba6/qjMYtLNvIALA7ikYAY5GcjscZ9ufpiNyxLiJmUAtllUK8n+zzkY4A9&#10;fmPtUuMyEKxZQScqRk8nJ/PP5CoXG0ZCuWI5jU4O7HAYk9up/wB7vxjmm7yfL958bf3JJ7J2/r1C&#10;fehYhSxD+ZhCUH3MZJBGefmA/wD1VWBdgwJVVjAKFfkPG4AE9NucnHzde+BVguOW3h8MULZ3IRyB&#10;tGe/X9OOlV87gqKzEFiAjcLgcZABwCQOcdcDPSrScorkWqZh7VuVlorNfkRNvD7idwG2LaUKqcHJ&#10;Pv7HscjOarqdmVQqHRv3kYVmX+E55PXp04PGcipXMbk7QAwXaY3YYbKjAOenBB/XpzTTcM8p2rI5&#10;dGKFm2h+mRgjg85564JqUrPT4u39dNSqqcad47afp/kiI4XLAgAkPGQgYuVZSFIPHrxUW1jhgSEj&#10;di+1yzgfebAOc85AGehHfq9WZWAaZG3Asix/eXdncSRxxvUjOOoAHHETupVjG824kFmlbeZF6/dw&#10;B93OOOw4PQqSbaV7Jig/aLToDbTOCSF8rO8gZJHI+U5xxx82SMKccVErK6rmSRkI2gbAc7+Axxyc&#10;begPTIxzUzsxDq332QsSB5YwwwMMR1BHGAcs2RnIFVWZZA20pksXLEbVVjwoPQcbUH5kY6VdnyNL&#10;ZWKjzOSl028xGULlCWLnY7QqCyqdqjaARyDjoBg89ec1pJRumyoXLgIrhSvOWOFJJIIySMn73J5I&#10;oWRshnaNOcEvgoBuxk+gK4yPrjtUYnVGDFDtADpvGWUBdoOeCWwynnn5u+appSv+HyRjTSfvOWvT&#10;vuNd2JZiDuGWPzkk8Bmx7kDpzyMA8moUKqARsxGMMAduSoGOM8+5OeuB0AqPzdzSh3YujgKVJwvH&#10;VgSR3+vA9c1GW/dguQ0hVkZi5Rug24XHQ+Z+oP0UHNO7Vti9LKbXX+n/AF6FgyowkUjcrw5c+WI/&#10;uLIZGKDAACjPHABPHBpTO7IxVnjKsCAeAQqhcbgAQCwwWGciVThhtzUW4DKIhIEkaY4EnzKFAiC4&#10;znLZZxjABAYEkkCnqSAixnLr8rbF2qhAKDJ5xyAuBkd+cYrS3K9GRTbu1F6FoToAjrvQA5cLmWNt&#10;pODjoSdx7c5OeMCp1kUFsh0hLbT8pzIVAzlehHU/Qd+cZwYO7sNvzrjO4OBuHU9NwbBBJ9MHGMVL&#10;mUnLOqo5AIkBnWIKMEAjBJBVcYI4fFKd4pu+q3IjyStfdF0zu0QMeXQSeY0ROPLyV3ZwDngKM9M4&#10;Gcc0fNkKiMocBcsSC7byxB7Yy+OMYBOAeKZACWEogRTtVQ7cmUjBGOQeTlT1OMkYzgPztAPnj/WD&#10;YyqRHgA5yeAOo5565wSMVlHmbVtjScnOnZa9O3bUAB5WNmJPNCsRxsIwRkkjPIz0yDjrzh+ZVzGX&#10;KZkUwl18vyyBzjOc5HHqRn1p0ZCZCI24F0IDZL7iGwDjgDaAOOdxyecB+5fMc73LKuHQq6Fx1Ctx&#10;jAODznnH4VFW1f8AVy72ipXsosaEjYs7B2Un5TI4XHKgLsP0GAen50qDJZHKIE6yh2yoJU43cEE7&#10;RnHqeaRIzJk4Kow+UDopB2/XOSAD7exq0y+YmQxUAl/lHmueFKjaeTxjk9PbtUYyknJPy/UUHJpp&#10;+f3kCgK0aoCpdiFOzCMFyV4OOBiPPuD1zxZERBdVWYnzP3WVyFUKoxnp1Ukk8nccdqBHtBkl2AIg&#10;dX3lh9/oe543HJ4+9683lgcH5Cx2sVX+InGR8w444xx3PpWjldJvRCpylKHLJfPyt/mQeVFy7ZhG&#10;RLEpbK8qw3gH2bjP+zyT0kSLduEgLKgcrtDFcLtwcnrkEZz/AHTjFWvKGQER97rukEiYQg56sOON&#10;5BI4xkH2kB8tZSylNznG0ZdjtUY29sYGeO3fpWafInrf+kRGg4ztJaJLruQRwq2GU8EGQb1x8xyf&#10;zIOSPc/jJGI5JjF5oyzEmFhlxgZLHPT5SpwODn16zxiWLJBG5gEZi5G3JIY4GSvQ/hg1KYoigLb0&#10;kO6RFZwpO7t+HqOOtTz3nr/WxpGLsu/byK3lvEu+PHmSnEjl9qxHAAcDGcgDsBnFSMFwY40yrqEy&#10;RgY9eenXp/Oj5/LbKs2xhH+7YCRgVJHy9TyMZHAyM0J8rsN65DAsWUgA89T04I9efypyjy2t3JlJ&#10;vWn/AF/w+5FEWLlSoKkeZ5mcM5G7oCox8pXvnrzQgjeViqvGkYDHK5ZR8wyBxk49O2KfIyFWQMGU&#10;fIVwC7jBJHpyufzOTSbyrr5YdgVU7G+ZgrZwDxyc9vpxyKpK8XKOzBK0WrJL8RPKbcwiJLPD86g7&#10;ehY579cqp5wNvTJJMjOpEjPKpCnBdT5ucDGSfbOTz25xUZchsDywwGWGGRWBKsScc5zz/MUqhy0a&#10;CQ7AWdtpypGVxt/3cMeeDkDAxkuKXKrbjacbQXk/6/MGXDMVO5WPl4C4kbBHJA6Zzx1Oc845o3uG&#10;+Y7VwRkkksTwTnI6DbyM9uO9J5pmBaNAGUhikxICsB0zjBwwJ6dMHjOKEw6tgsCRlQWXykUDgDLc&#10;HgZzhclevzYrmSak9/6RUowXu7vf/gEiyKB8i3JUklSkyBcE5GARmiq8hXef3wXgHEsp8wcDrggf&#10;pRUJuyv/AFsc/t09XUX9WOPSBHaMlYkUDYm1+gUHJ5Pp1xzxjrwLKoHeMFkdAVTcJMPnABJHJCqR&#10;vwM8CmKSqswBUoxXeyg/xA4PscljwTycjJppkLbMOI2BDYYgyJgkZ3YGcgHJ9ifSs3blvPV9vQWs&#10;Z2fzHhWbkklEBYqWDbc5JGckck5AGMBBxTwyCbCygBWPllmASQFh2BOD8rggEEFeAMnEWQr7kdtv&#10;zsGYY39zggYGcEdOvFKGxuLhWDbiIyN65GGyFJyRhWHYDcxAG7moyhPWOq06fMHTm370u/z2JQjo&#10;u5WAQH50DbcMx+c7scckHocYPWrGXBWN8gKVBD/Mei7Svr1bj/e9qrozYTzTlDMcRgkuN7gnB7k7&#10;lGeOnFWFVWVYoEKhWKRlHGTkcsCTx8xzkd19MgypWVuv4+hqmpRu9F2/D8BAxI+88jK7bG4cLnAz&#10;j2b144HHpOVQI7AhOTHGzR4zu65GeSu4cAnnHNBiLNJIqqpyz+SzgBCdwKkg4OQQMA5GPrT0CyOA&#10;d7MTvkErjcoDAkLkjAGCQOhIHXFKLTmn0X9WJiqlNty3/QVMBdpYkMG8pg27sM9fmxu5HsPSnMVx&#10;uCZVFO9wecDGeRk5ODg+q4xk1IoRFAVVDAeWCikMp+U79ucD7rH+LHTIyKApIdQChj2MBvKq20cA&#10;9BwMHjg+3OZV4ycorRmzhTcNe1vv/MWMtJKzd2kEYBzl1Vl3hOOCcsuTuABByTgCZEYspjyAAUVT&#10;8r/K5Lbhgep+Y574zgYijDgxyl0jOzIUxAxEqu8uVPUbemeCoJ55p6M8O9XQjY+9B5haRRkkjB5z&#10;xnj1PuANu14mcb8yVrPv9xK0bEucHDP5TkN0wDgZ6Hr+fPpSx7izouF8vCKCDvVTjHsfyHQ4qTMh&#10;DqjuTGHLSbAEOQDgc44DA8YJ44zxUmSrAphTgbDtEjPjBOec9CabbjdtdC4pRcUtv+D/AMH7yORH&#10;EoLMowoUo2VCkuWJA6HnJzjqx6ZJpwiChFSUBQpOVbbkkZyMe4bnI5x1zSPP/rJJMTlH8pTgscgl&#10;tqqB1IXgc9fekBkRpUk3fLufZG2/A44BOOeBwTgE9elRG8Fp1sTJxdpPa49CEjdSwG13ZQijdKEZ&#10;huGOcHg8c4cDrT45YgGKlvMwXZT/ABnOBj04JPTBx2zkRbV4Mi5dZOCRg5j5XA4xhlyM9MUwCTaZ&#10;EWNM4GS+5iuRuPIwOM9zx3pK8paq6/4JpKCpvljK9n/wR/n8qQqsWYRjBG5+AxJ45HTgdz36mZZH&#10;G2RUXYD5nAARwwwCD1yMAH6/lUYkFHLBi7EbSN4XcOgwQB0zgGpd4R1lVCpKK+xk8xmRSMAnp/EO&#10;Ov0xTi24csvQzSSjJen4bkrqQ+5v3kkjFll2sC2cfKBk4HXke3HNHmQFkZwFIcFgzDeCuGAYHoDw&#10;cHkZpqZADs5DhQMNyygHPOOxI6DjkZpzbSpJZmkZWd3CjPI2hsY56DrxwaucrRu3qhJp8v8AKv1t&#10;YdJMpb72ATvdhHgDbt3DA6DJ4OOct6Yp+5SwDEMowsagA5OcEn64HBPc1BKh3EK6guxUudyFAc+m&#10;AFGSeD/EegzmUvvmVcx7WcxsxLFE4znvzyMjnHtjnJK1ur3L6fh69bkqNHFhiYyYOFaQggH5gpBz&#10;jLZGMcneB7Uu2NApYquxk8vaBmPBUM3AyNo9AT+po8xFVG+cOUCvnG0fKGCsBnkYycEjIOCd3L/k&#10;MnlbiSBhtrZRflOR13E5yDjkHOMDlSKcYqO3mOXu+7fVWCMAYAAdWjJeL5Thgdw3DORnY6jI5LLz&#10;jmkmZsNkER/fUAjC4Axx2wMdf7p9KYC27dGm6HygzHcCSe2Md/8AA89KeWIDxlN5VySjZRQxUHBI&#10;z/Dg/wD181U7xmubYc4xlTs12XoOEgVUcA/e+VM4fqo9DgAD82HBA4SRDIjQNgDAUHcYgvzk5A46&#10;4XPqQBnGKaRJtRPMbnaGIT5iR3P/AH0xB9/arIHzuhCKqkbJHBO1cHPf8c9eB0FQ5WvYpRVNqL1e&#10;mh+PH7b/AMMX0LxnZ+OLSDbp3iOI2kxjDKsdxAFJzxjLbmHBP+q5r4RkWNl82SNhz8qA/ICOR7Yr&#10;98v2ifh0nxE+GutaZEnnajaWkl7pTYy6yxqzKuB/fI2ZP97PQV+DV3BeWc8lpeopkt5Ht5ICm0go&#10;xB9Owx0r9M4Sxbr4J4OT96nZr/C9vu2ObHS9m1XjtL8GrHF6hCqFmjIUgZwoHyZPUH61zfnkSEP/&#10;AAEKQDuDdcYb3xn8q7rUIFe3IiRGYLh1CElfT39a81ujsYJ8wwSWO3jGSRgV91glJys/I8jGSlOC&#10;l/wzLkrM5XZwFO4hyAy89vw5+lVIWDSAyAk4ALjoc/1ppMrR4wM9Q2CCSVHv64NRIzxTIAcKFDHA&#10;OCQOOBwK7uSKdkeUp1FaMlZK39fcd5pzKvKsDG5KASH7vGP6VqTwsQWXJULk4bg+hHoCT+g6VlaW&#10;ym3U5UySDK7lGF9c+9bwkfAifCmOPCsIxk5GOfzI/H6V5OJk1Uf3Ht4LlteS3/UpxqNpDhiobBA5&#10;XjJ/p+lR3DAoWWMNljlcABSTgYPvzx7Gr0pjgVVPyqynkrnjk9frxWYwyGITEJ+ZWbhgMDOR6A5r&#10;njrq9He/qdFZrkcVt/lYi3CNA3lrlWBZiMpFk44PI6Z9qykY3JWIRZTIVxt+YYOSc+p4/wDrVelM&#10;rxGIRsU3AsqnCscBlJ9s4NV4CYUaVcGRl+YbeQcjJx+ddsZ88b21PIxFGElFRWr29SWJBK7WVsTE&#10;sIZpGYZ3sR90nHYAj8ajS28oSqVRp5J/LchgXHv6knr27etaFsZtO3zuY984Zoty7vL9Gb2/HvTt&#10;Gt4Z5PNubZhNNIXaYuV8wsxYHHTvj8s10U6qlu+x8vi8NUk0oaP3tfuS9Ny41kbbTntRIwlJa5kZ&#10;mwiZKq3T3bGe9cnD5hlkWNGEcpHzbtzMVI3c/TH/AOuuw1h1lleNjITJDsOCAMdRwO+f89K5tkEU&#10;KTEFPIPlMuOHUkkE+/NdVGvePO+p87isDOmuRdOvdt/8OZF5JMt/ews6qogyJcbUI5OPqCKrWwW5&#10;ZGWeMStFhiVbY2MnGT1+nvUutMGwfNEUcseSX+YKQDkZ9eCeapWSQeSvlzBgFIYBcMTyMY6fhzXa&#10;r1KKknrseJUvTqtJ/wBaDbd0t55HVpH2yrI2wAIF5Vhn05Fb7sIDdxJCi70jlG7LNydx68d8YrI0&#10;+BTLdREny2QKVYYOTkrz+B/rWgqtPF9qkUbLaNoHVRk8N1b86JWlGz2sb0bwndvd/dp/w5NaNIUT&#10;eWJO5jkYdQQcdB24/OtO2AVdqFTmPdjaBknPGfz61nErDpiyK2Jp5QF3cZTGT+uPwFFnOqA8nao2&#10;kbvvE9c/jXnVYJxfMfRYCsqbUutjbSaQyKrKcr8uTxj05P5VpxLsQFUwGy7bgcAds8cZGf8ACsWQ&#10;eWyMSXMir8o/h4C9PQfzrZRi8KxnAlXDRupODznHv1xj3FeVUvZOJ9PSlaahSey3LU6nfG+AETB3&#10;gdgBn5vxNXLV13FldWAXIyPlGCOc9Cc5/OqdsSwO4lgjGPGA27IwBjt07elSKdm+XaiKreWNgG1R&#10;jIG32AHPXmsKlpLQ9Ok5Qqc83pf8rFz7Y4XZISw2k5DZPUEAEdB757003ZaRYGUoqBWjUALxg5B7&#10;/gfSo0hEvlPHtJCkNjh2B44H1x+tV7/y/MjaEMWOEk52MCO/09vrWKp3eq/pWN3KVKLUXo1oal1M&#10;0aDKKjuAwUNlgMYwP1P1/TV02NCnllHcgBgSucsGGPxzg8/1rmbeX7XKd5xHGAdpySCeo/XPFdVa&#10;sIIxI2z5ztU4JJJIK59ORRN+zWmg8NLms31LsqylXUMCisV7Ak7RwcfU8Dj+ZylKrOqPGCFO1Tu2&#10;rvIwCR0JxnB6cn6G7cTIkh8uMKCS7t3woHfsOR09qzYmM10EcZMjK7NjOMnIJ/r9azTVm2elUjFz&#10;hCm9NNf08ztNJg2rGiFjukDNuOFAAO4+vTjHSvQon8pYlVHYn95hsCR84XByOeVHr+NchprLGwJA&#10;3QkSeZgqMH/Z/H6nH4HrNKH9oXLSSOYAiMylUBUKgyij2Ocj8K8XFNttLa2p9ThZ+zUZJ+8jVtoi&#10;GEbxeUZG2v5i5KIwOQSeT97JHrmtrTLJkW2a2BRl/eNGzhlj6YKj2wB06CqcLRO0MasPN3Fm3ErI&#10;4UEsAMjk4UemBmul0wL5kLwbo4jhFM43FtuB2A4zk8YAyMDtXlVJOMdO3y6HtYaXK4tPonf8z0LR&#10;pLZop/tVsss8sAt4GkmaP7KBJG5YbTtZmCsvOQoYkDO0jivEt4l1dpZxxukMcgknbflSo7ZxjPBP&#10;5e9bF7qsdpaSSPbqN6lo9o2PnkDODnI9O+KwbOFZ5nlcK8sjDYWwy72JyGBOAAcjDZH0rjowfNzy&#10;WnoevQVp88Zb+f3neaDpMrWcTskQt7bFuZIBsUNu8wksQCcZP0DDBwK9Gv1a7nX7O8aOY0V5bWLy&#10;1VlUbcY5yMBQxPoSec151pKy7IbZpjAXuMvDwMMcAEZxzywwR2Bzzx6xD5NncRWYZJi6eY7RL8yn&#10;kFS2SOjZ61hjZScmunl6H0+W0XSnGqvX5ef6epo2OlxQ3Fu7JG4ifzLfzF3PKxyzEg5DYIXHP8R+&#10;tekaWl8dYs2iQGQMjqhjZo1YEEbx7HBx2xWPZahbMbOSSztyYm+zwAxlFkUEYDEHkLgnJ+916816&#10;ho01jLMl6blIhEzTiW2kCbG3McbWGMgEqB1JPByM15cm5yT2tbc+vw+JlCnyKF1b1X9XPTLm+uDa&#10;6TFeWlpE7kSyx7NzMxcMc+rbgykHOMkY4rqvB+sy2/iq8t3W1u7KOJ7a324lWdZArEJj7hUfL06u&#10;3JxkedRaqb+5ke6tkltoLULZp5xM0zMuzIXODuYFQeFwDnlWNdh4TsYrFXvwxhuwf3MZbEYaTCIS&#10;wJy2GXPQDaOSa5edubk99X69D0IxpLDOFVXlb8Xr+B6DJpGoHTxHJeRSG2UzfbYQYnBGUJJ3DIB3&#10;AD5jyR1rs/CzalpF5BEWW1uI9SltrSaBxdRwCRygJkI+6gCkOTkcnI6nAtJrSw0W5a4uLaOaFldy&#10;syusbffUANxgBjjdwcnk81Ug8SWS3kmoXnnw20cIaaKBfPgWRgQdijnYBjOcEYPHFRKrS5lOS97T&#10;1X/DE06sqtOdJPRd1u9Da0zxDd3GmXV9HqbjVLzV3DW81q0LvHE7KXUjCkP90Y5+U5JzWtrXiM6T&#10;4fuJdRQNdancwqLryUAtChkUuT1GQ8uVwAdiHB4zyNzqcaahIdPtXmgi8ySG38gRwr5auWy5BwAS&#10;MHpn1yKHt9R1XT7T7bDZzaPekT2E3nMsjupV4+F+8PnRicjI9unNGvOo3RptqVkr9LLv6mFarCcU&#10;5x0unbr3todT4R8Tpa6lpx0TVEuPIgGfs0u+6VjIQFfByGwXID/MQ6kdq7jxtrN94U8HaZq+ifa7&#10;nV/EGrXGlyzTym1bTbWeFAZIsZ/jLIrEnO5W2pgqOb8FaVomn6laECKaKKxDu0oEUNy6BxcyMgOA&#10;Adw77hEnUk16D4om0nxLfx3unMkvh7QNMiS0tDEtskTxz7ZptnTJ4wGzjBJJyTXpUE1QdDn95v7l&#10;u3+Fl6nizcJYxSq026a1d1v2i/nqeJS+IZIPF2kSamunW8s+mLcBXmeWBMply0hG4kFRnODyxGPl&#10;rxTSYrrVvEWuPc3Ut3Ld3MsjOkKNCqtIwSPPHbJwe+a9M13T4dX8V3WoTTbdNt1jgs4UTOUYMojy&#10;MsfmCn1JfkmqVlZ2cGqzxKssdnLG90J5JBFIWLedK24cDy2b5QCT+9ycgqF0pwg5c09k3Zevc9ON&#10;ChSpOpBWk4q+nbWxmWK2um6nLYu5i1OG82vvMkbDhnhWV8n5mV3YEcDPAOOeN1q5OgQS6jPDNdWj&#10;3bwXFwZhHO1xcPI+5lYZZSV2cdQy813q6fp7XfiLXbjUIxIi2otYnEkt7q88zfZzI38KxWyQpI+4&#10;/LuTAYE7eVZ7PUIrjR5fLvCgmldLq4SzEiFJWUK7hsMXwR6n5TndztJwpxT5vS35AknUlJK6TXN5&#10;97fejy3X5s3NrrUtpPbJqM+zTJrdBFaQrEuZICSPmK+YBzngH0Fd3peq2NuLqxGq3Hl61ZCxtpmk&#10;WV4wrRsXxkHbuiQ4PA3EE/dNcFLe6n/Y039pWM66daXP2WG3RvNigZyyhgf4dyx7jzjKpnHBqtfS&#10;aPb2MTPa20JjgxYypAsU825/uTSjliDggN0L5/ipUsTGnL3O99fPc1xWGUqH1dq62uvVPTz/ADM6&#10;6trmPxJcR6rfu2kC8R1a0VB5wQqOUU4wFDYyTnAJAziuaNlNLaXcUWqSWssLyQW0MziMyPtVkjQg&#10;Agk4HyZXB54Jx216NK1m2fTrOeL+1I2W4W9S4kg88JtOxQSBjeAxc/N8u3OCc8Tci5uIrqN7OKQ6&#10;aD5bSTRsLp1C+/XbhyqliTkDIGa9Oi5U9ZO/Nt87aHiVqLqRs07u2tu233ni2raGvlala3yvqUsU&#10;wNzdQEyCRsDI3k5IxhiSoBPGOtcXcaPAkN3BK728UyZtW3FWjCspAAGMkgFcdMkZzjFetXd3dyW7&#10;3UVoLXeyJe2suMSbufk9QMA7s8gn1rh55be/UW7I8t1CWaEAC2IA+bkgZGO2eMD0wa6qbUFdqz/r&#10;9DysTGsnJrX9DiIzDFaGB1TzIVIjlkbMiE8DcTxty3rwTXPWMQ81mvLmOOR7oqjj5jFwM8YxkDdw&#10;OetegTW1vKkot/skE6IWSRlV43GGADZzhiccnsR6V59f+XYwSJLb5EgMkm0gRg/0/DrWim42jE8b&#10;GRsmlo+234lPUo0gkYWzTGKUmRyI1HzbunH1HPq1cpeXj7WZoxI0RDlHQMfm4wOOvTg+9WrjVg7T&#10;W4nWOCM+UDJC0WeR/B1GCuSD0IrjNSu1iJeJ9yrKPNO7IYcjBGccHPriumhzp97Hz1dQpU2pr33+&#10;H9XMrUjcW81uu1pFyssywAmOEj1JGcAqB9ahnuEadUkjVkERlOW+bgHkc56+o61FeaoXkjYBG3jo&#10;TuVBwAfzIzjoCe5JrDhkE8oiSTmQHl0wY41Ifrn659PWvQowbv3ueI6sKNS0dn+n+ZfF4Id8agJG&#10;+WcsdpkA5GCfY8jPar0COl0ThijDAiDEOrMVJLDHTqMe3pWAwhWa6iglW6ihuWgt7tWZRMqkhZFU&#10;gN8yjPzDIz0B6akdy8CFs8IioGIA4bqF5xnocdK9GcKipc8Hr/ww8NXbquEVp/w51UVjcGQZADJc&#10;7iFxtG7O3bjjnJ47AV6xpUAMQ/dpuigCtvUMzhF3Hkj73HHr2ry201OBvs/lbpkjjDNum2MSw6kb&#10;cYwRzn1r1DRZpr1bi6sERARtVZMSMQc8BRwDgHJHHvzivPlUbbU0kunl5H0NCm4qClK7u15aPf0N&#10;m41C8uZobqExuCiQKpAVkVQwGepOC3OPU+ldv4G8S2y266ZcWbxXM53Qi4bywSAGLKM5yuW4OcY6&#10;9K4iS0lu7K2Fsht5RGs9xFlduSwAJAzg5cg9xnmvTPCump9os3v1iWPT4hc3csUTMQijcwjIwHP8&#10;OWIGCTkcVx1laMbbevc9rCUYzXK43tr/AJHoGkahqyX11btp86hV2CaGRUdWYlFfgnnBJGMdee4r&#10;6k0rw7aeLvDVppMzpFePqEF0DKoeSQslyrDPcFHUbQMfIrEZUGvk+y1u2DzNaXe2XUZUuWLuuWSO&#10;QOPkONxPzBsn+ID6+3+HvFHiDTJLDW9Mja4i8oWsi2yAl1Q4IAJwMDDMAcfOMAd/PnUpUYuVLVPf&#10;zR97gsuqYinFXUai+Hpr/wAOeu6BDrfw+8XrpkkUVxZtFFHbzWsha2aOSMfIx/vKWKtjHT64+xP7&#10;U1HxY2l6bq0FnfReH7s3dnEri4MBLxoZIyiACPyzFGEUFAB8vGMfPHh83PjfUtOlntoraJzEHuJc&#10;Fkm3uJJVPZDkD5ugBPoa9g8MaVq2geKNW0m9nspFsZzY2ms2c0t1ptxE7fLcRyYQMp8xQ25cg4HH&#10;Q+XieejTlKKfs5O1r/M+xwajyQVZJV4Ru2urvbp17n3poXizWfBGm6JdWVnDP4d1tpo7nTbaVLmW&#10;KIvGhD5Vii7nGHwGIL7ScsK+nfgH4k8N2fj3wpbeKdUurOx8TarHaW2tWEEfnq967wqsZkVokZpH&#10;VWVwVGMf7Q/O/wAAX3ipr6702S7h1SfTlb+zhEE2So7ssnlSKMnOQVyxKhTg56/YM01/p3hjQLyD&#10;TRpc9xrjJe2ImP2WzRY7o2zwy/ePlyOxC7j95GYnOBzYDFwhVeLpR+HVrfRb/eGZYHBzwssuqzSl&#10;WUo860kuZPlevVX+ezPs3wik+mah448Jaxr13qHh+z1a41PTbHUpA9tepb288doJrUgI8oeUFnCZ&#10;UImQCpK/SGm6DfWWpeFNUXXRf2tx4Rt9Eklu7OOHTbP7JHHbKI9ilpJI1a0lZ2+ZzIxAG1iPl74N&#10;6t4Sv/FOnR+KtDi1fw/rWlSeGZ7nUrh75rGaSx2RahHHhpFlR7S3+dATmdiuWbns2/tLwf4Wg1XT&#10;PEMviOy0AQRx6zp1nMLa1mQMHWRQCInAizsJLYYYyMkfWYTGJ4WMqcebXZXvHlaauuqs3+J+VZzg&#10;6lXMpYFS9k+SKcpQi6dTni4Ncy+GalGLd91y6Ox92aJqCeEL/V217Ro9GEGmOdL1nT47O8s/FKwr&#10;JHLJdXXkqzNJ50JaOUsIhGyqck1oeH/GPg+XW577TvDGp23iC/jW7tmFhql9Z6hfXFuJQBcopgTb&#10;DOGkklA+WYkEJhpPHvh/8VNa1/RG1DXr61XTLJ3i1GLxWtvHcKrI8WxuUnMhCNmOPGFjfeAOvqml&#10;/EK+8WajrUOjeH7uDQ9RsJpjr11PPbiSzjSO2J0yFljgcBUyZo5mBkZQN21RX2GCxcKzhOlJ2tpF&#10;wu9et+lnonptqfgGc5BjcHXxFHH0b1EuWpOFZxpqzj7rjJLm5leUo3k9bxtzXVa+1OSK4tLW/kt7&#10;nxBqPiKbW9HGlSMGkMpctPFAyO/l4CKzjGOm4KXJ47ULeWHVri5DExJ4nbQ5LyKRGKyyebdiPbne&#10;V2qYt4BBZlXPHHpHiBvD1r4m0yHRH0jz4vC0i6Zi5Mtpphs0YTNczod+ySKZolTO5zO7EgMxHnN2&#10;vmReKzqFxZPeaSdCNvPbRizspL8zxTvN5G4sWViyvK2M4bjBIrzsdTjCraTu02tOlo31fd2+6yO3&#10;J6kJwhVpwcFOEbprX36qp3jFaJR5tr78zs1qQX0wvru8L7rS9cFpUVwjQMWJeMMDwVORk9No5yeO&#10;30O9lOmQynCkmayxIGTGJV7rg5+Z2DE4OV6jg+Z6TMr61f29wxTUr3VZbyZ7hHkjk85ijDpxsJJA&#10;C/McnOOR6F4A1TMl7pd0tukn2hNRjtt5Z2WSMW80KNgn5F2Njn7vsa86gubEct+r+ezO3O8PKjgW&#10;oxuqajK3k9HbfTz6LexqNFtut91ZxWtlBB9pj8re0EwWQgmWRSWjYAr8w/ukcYyPKvElpGsk5iu0&#10;ukSMPb3olMscUr7fnUI3ysBsz93lcEBhXql1PbQlbK7Fybi3vY1uDNbi38wh0EixSLkJGVV1IfGM&#10;AjGMDP1ews5LmJdPmsba4dN5aVlbTdWCkjzN7MPKyNqMz/xLwPmDHvnhIVYqMWk7r11tf+v8zhyn&#10;GvB4iNWadmv+3bKzvd3eqer181ZafnD+0D8JfDfjjQ/Ekmq+G/8AhK7VLJzb2V1NFY6hDdS27iKe&#10;OUI0pKEZZRwzAAsoOa/mA+LdlqPw78VX1nGwWOzTa0wQoZXUBGUKQflBP3hndnGTg1/Zr4w8Mx3k&#10;07W1o9iz2xxbNKLlE3I4MkbhtpVyTjJ3KGH3uTX4Ff8ABQr4DwW0A13TYobVYreSOZ7dEtoY493m&#10;MrooAZmkwwYnLE9yefzzifKOZury2lHrbfX+tz+qPDXixRgsP7R2moqzd7ab6Nxfqvx3Pxc0/wCI&#10;gmvtk8iq6qVeKUAYB5Jx0G4jvn7xzmvQtP8AHFtcNAbuRY0kCwxPJcsolxkqMEf3Q67evzGvlnxJ&#10;BHbamywGJ3EagLFhGBBw4BK5A4K4Hr0JxWbF4jv7CWEy3MciJAWVg6u0RGCwZOD/AAA444AI618b&#10;9RqRi5w1R+wYTifD0qiw+I92WlvXqfp1pPjmwnSzSO/d47JvMhlguDHFIVCKSNwXnjHIH3eK+h/A&#10;nxYnv9RgXTLloUs2WcyRx7UuGkckMqjqQQNuOuAR15/H7RfHkrNG0TK4QB445WAhJ3c5VcZOec46&#10;NweufpTwx8U7iK0jkW7e3uJnH2yaxmZ7jaxUuDggsQC3QgcjkjFeZVw1S8pS01PdqUqOIw3tIWnf&#10;ReV9357/AHn7VeD/ANoKa3lmsLHUpLG8W3ksbqWMiFbqOePy5Y2XG1lYMeGGCQD2r1Hwl4yi1WV9&#10;Ei1TT7YWkxuE1O8uJo7EIYmuWUlY2csPLMQQLjceuMtX5F+EviUpgW/tXnle4KWgiUHzVDAq0hY9&#10;cEryf72cmvpXwr40FraG1ikkMssiKWmdnik3goQrA5OQSCeuHPPINXHGqUeTEK6V7dvRfcfJZhkm&#10;FhSqOglGcuqSumuut72vovM/TnTvFWuS6NFqsttqENl9rktkvYU+y2Ud75RmFrJMBjzNimY84ZWy&#10;etbVh4413SfF1tduL60g1SOHUUKtIlpHNaq8RlDg8TYupwHBDFZmwMbs/F0HjqXT7XT1s8xQRoZb&#10;kkmWS3JREBAHP8LcE46d/mrYtviBqWp2ek6sZXbTheeUsMpEl0rnCbkX+IHKDqdoGQOTXVTxEKdN&#10;SoyaaSd7/efDyyZ1JyjWjFwm3G1uj1S663V+h95aj4cm+JN1PfWmuWS6zrN/b2TQvPMmpSXUzkRy&#10;3Z2OGiOMNKz5HlJ8n3tvzPPL4j8I61qGia5Dt1fRb6XQ9RntP9LtBKm5RLBOuEYMESVHU9HBA5Fd&#10;Z4b8VxeZC8erjSY9SWOCS+mEklvbM7DcNqMG24Uqwxglsc5OKPi7UNVutR1C7uBYDURHHJegQpI0&#10;j/ZktxIGUjKARAxlcthhkDHHZiJ4bG0FKMWqyb95a30vqu7/AMzz8rp4rAY54SrJPDOK5YtWcWml&#10;o/5bXVumh23gzxRFZzTQ3t0bvRLu0jtdR0yZkX7TvLl2RifvbAGBwNrMePlzXUwyeH7HUdT0zTBq&#10;eoeGLmI3Oktr2LXULJLlSyIk42hnthhRMAPM8sEqM7V+ZtL1Cz1GW408wSRXw3WQVbxbe1s5/vRP&#10;uc7NyoZT+8I5lGA33a76x1CW+s4rGe4vQ0B8yZwoWOJY2ChklJYuWIVSWIBA6E81NKpKGHjTjZ8u&#10;q66/y37O97bXPTzLKY+3ddNxlJWkr2VtLSsvtK1k9HZs6rWNSj0+drZbdrufzFO+dNwJwmWBZdmQ&#10;RvOAfmGTgkmuv8Oa0lza3EF7pcd7ZpEI7W6lY21zP8hYyDZ8sblj1HDDOQAdteZ3l1crbaVBe6wW&#10;023eRorN1Q3Mc0iL5nUB0bhd2QA+ME7QpD9O1yGxmNnDNJMJDH5cKjaxOcFiASNvXBzyB60U631e&#10;pKtDr033XYy+rxr4f2El79902tnvfR3/ACPQEur66ZbSR4QVcFpoSI96iOMO+GO3gJz0LFe3FY+o&#10;w3MDBbQsfPLyxNPIIzGgLbRnAycLwQOc5GQRV3TIFu1SSMS+WZDGruxcqVVC+8tyTuGQTwOfx0NZ&#10;sLi6ubWXTkLSRx75HRi8cg4xnA4wVBDLz1GSMgpU/aUHJ3u7Wa7XNqNSFHERpxaSs99r+fzK2kI+&#10;nWbibLkMRJtZ5I0OTtyzAtkblAcjk5OBnA7ixutIvIraOaRI7lbcwworgO6nPznjIG5nJ3c4IGcY&#10;xwtzJc29hsnlQfPtnJUK2QAxLN9Que3X3zlaXDJZ6lLcuq4I2h8YkkOCGDD0xsQdSQTkCsaNR0Xd&#10;q8dnf7/wJxGChjac60p2ndtW66W/ryO8uFuHc2cBKBpETzbZzGDuZFCsw/vE42+xz0wehtnsY9lq&#10;5ODCOdoVcttKqM544J459elZlrdl7Zd/lNl3BkjztfBKKQcZP8ZzjjpjqKcghea3uJI0X7MAqRK3&#10;y43Fd2M8DqeelVQcZNVdLvv27Hg11KovZzVrdt2/6XyNG7hZittFPJPEoSNXVDFIzlxlsHnHzEY9&#10;Mc10Vr+7tlKO7S2shjSQ8sD2II5GTtA6YPv0ZB9nWKOYW8D292GCtcE+ZnDbCADk4AySQRkVUtUa&#10;F3V5WMcdsXihZsGZskuMZzgbyT/v/gXVtSqL2b3/AAPDq1FVg4y+z6a9Ht+P3mnbLK1q99CtuUtr&#10;l02yy7VjSNVRcdSepyDg5zWbZzveMthbu8j3WoCOUoN8t2zyFRH6cO0anPAJPSrOm2tzN4cgnkt7&#10;hLLU5ZHS/fCW2pKl1JHKFcdlaMoW6EhhnhsY8EMttazNFCySM8V0hMg4WOYys2Dg4GY8YJB5JxjB&#10;5KqalF8utlfpukzxKlRSlUUJXd2l5NO2vo73/Ev63qNzFd6vpl7A8kNtbvaiF3EkBEzTC72xBfkK&#10;P5g9WJzkYGfVvhHpDi71C3V490Nikk6E4l2vIilm7Eb2jx+PTJrynUzcP9ouZ7czTT+Zf3eozT+Z&#10;O3EkjoQTg7mO5jjcNq4znDeo/CDUpj4h1tLY24tn0KW3uY2A3yr50e0IAchgx3gYOQhPrXpZY6dT&#10;GwpWune/6Hh5rTq0+HcQ6dlKyv2eqvb8bebNXxe0sMpEayLCxLAgYYAEA7vxBH4GvNLZWa8QyMVZ&#10;mDK7Nv2jGDx7EMPwNe86rpy3VvcNNCZFTDyHy9pU7kUHIHctjnI/eepFeT3CWMMlyo5nRSI4BINw&#10;5Azznj5j0747V7GJwfJNVKrsvP8Ar7jPh/HU5YN0IR99aNr5f5noGgxO1sI0zIkhAYo+7AGCw/IH&#10;J6c817daTpPZIJpQwRFAjGRsAXap646Ljp3rwjwtcKtrcLJtSRHClVySV3EZB9DjOT612tv4gSKS&#10;C0ZiqyDZ5jIODjIGCR/dOPr0r6PAVKVKhFt2uj4niHAVsViZRgtYtv8ABN/h2F8RaHpWqxuJ4U3R&#10;/uwXYAg4J4OOh24/CvDLr4d6fZXckloq3Qd/MOQHkAzyFOOOq/T8cV6zqviKGV51jBlU24EbghNz&#10;7gWz83Xkj8D2rgIbvUI9RDST2rWaIZGSNi0yndkbu33Qx4z1HSprqhUqJpXR9Fw9POcDh5QhVcY2&#10;+Fvfr/W2pbs9IiNtFa3KJHLvbMojELyKQgw3G7oMYB/+vzXibT3jvYlaYS5VpHAAkkTIBLkjrgA+&#10;vPOR39YtFttTtyY2jVzLtDPkIhzgqBgnr9elfP3xaFxosV3qPngQ2cTNNISqMpjDlhliBnG4cHua&#10;jGOnHBc3LzJ2/M9XI8VPE5pKnWnyNKTaa/LsfjJ+3x4ltNV8Z2uiQXsf/EqsGhuxMpbbLKSzLgHj&#10;A65Gfufh+YspQyjZukVT9/bgIcbgOp6HI+mSMV7p8dvER8U+Ntb1Y3d1Jc3moXE0vmzgx7WYgJFn&#10;kqoJUA84ArwPYI8BiAGAJBYs6jaAfmz39TXzVRx3vZPSx8HmWLeMx1bEX1ber6bDgzSRmTeMqVII&#10;Aw5O7Kkew2/TaRgGo2VkO4JKyMCCVGPMJBkBJJ4wBgZ9h35ljAcMWxsEbMQwKOudoIJ74KLgH8Or&#10;ZhdghKuzKiJsRQm9ZBlmy3Q5w+Md8DA5JrNNp2jqnp955lpySha72/IiYbwCVbIb5iykoeO3HPUH&#10;I43A+hFVZAqRqwbd8gdWbJi+6Ao6EjCqp/769eLMbsrGExBGTKyLJHh92XO4qT7D8c0PhwEVPMEm&#10;N5lIcnIXcOBxyTxycE8kDNV7XlsnvfYFCElzdXZfd0+fcpusisSiCJApJyNrRkh1xnrnHYdQMZHa&#10;DchQME3S4ClnQkBeAGAxxkHg4FSO0ZkZpcl5CpKOcKNu/khWONxLdMjpz3qBmEmcBGbJ3DaXfCjP&#10;YjGMEnrwDx3quXmtZfMj2kUmloyIOQSSJGdgFMaOBuC9AFHBJP8AFznPXFG5cFgPmfcoQkBlGSA2&#10;fcLnp3603y+d/wB0W7GZiSCi/e5A6HIVsYx0GexqGdwCUjVnZY97RrH8qnIIbJwCNpYnAIyce9U7&#10;S91LVDioU0ox0+d+n+QwEPJKssioyPhXYc5cJ8oHTkovJHUjsDUAchGjhj2sjl5AvzMpyxBAIzww&#10;HTHPfsQuCxJGCGM0rOcJuyzjAOSSHO72OarSqo8whwokXyleE/LtJKk4IGPvA/MPlGckc4qbk72V&#10;kS0+bR67frcZuAdHInKiNUTf8hIACjaMdQ7E856gn2qh0kk2bjgHaxVuAwLAgfiD09KnnKuzSouU&#10;aMBkYLiJd4ztOevKj5eSC3YVCokCZdSj+XhCBnzyEYN0OMbl447j0NCjOV4x3M+X3o30l/wwweWn&#10;mYWINIfLIiG9FC4IAXHA4GM+1K2TIVwxUgmQNjZGdyEtxyeFQE8n5PfFRvGWLIE2s5AMjEKM/LuX&#10;PsSTgdcU5gd1uimLau6TzWcrgpkEMMcKM9wOCDkYzTpK15S/rYa0i41FqJtBL5VmEKgyKwZmIYk4&#10;H68bu46cGnBRIpKn5gBG6kNtIBVj1PHXHbHbmnuFLHay7gNknmD/AFZZs4HI5yCOCCTnIHeNRHhW&#10;iQschQrHiV8DcVIJLDIyRgE5IOOGq7RnFNf09A9lZcq7XFhGYiEjDbn85gyjPZR24xuAzyMke1XG&#10;wJZGBLqspVlWILIFyQCcAjgLyOvC8VHHBvjU5JBLQDAADAuUO3G4dQw6HkHqSasxbGkDh23TMryO&#10;8Z65DkBQehB7dcds1nOSd2vT8v8Agk1HNUk09NPlcWOJwiNG0YMSiNACPLB2lducYJBI6HHB6g5q&#10;cplHO2ENjJEablU5wMAc5AAGcjhuvU1Xj5VFBXa53yGJQN2BuDFj68/KeOTwCTV9NwAAWHcFAwWC&#10;op+UHb0B5zyMjCdaifLdx27/AHlxlFw557f5jNuxzysob7gII2k4XOOMg7hweT7YyBEdHLMGkBAY&#10;h13o2CeMkduDj1FTqXbARlPmg/JgryWbYORjI3evG5eDnidYn3I7lvKWUKB5fysONxPvgED6mpS5&#10;buev/AK53Jykl7tvx/4P6DBG2C4O9sFkZseXGQE25AYE5Yk4HdSeAARMiSEyD94jozOAeY4lIcoO&#10;BySBglR/CenFTsgDbVVh5YwBGocTZLHbjOc44yB29esyIrvEURAMt5e0h9wzn5sdfr0Oe4qoO0b2&#10;0ZKi3Ubu7r7vMhkiQtDIyyyeYUQseApyQSRxgZ6kjABzjHIsjoyxfKqRiJGPAGeBkfxAZH5GnoCV&#10;P3d4VdnJwgIGRwAOwAJ7L+AnyA6KxWN3XKgsCHwVHXqfvg468H0q3VvFXRMbwbknvsMJHIMipGE8&#10;pg6fMuQNpz3wCRwCOTTlUyj5G+dhtdZU2u5yCxII4OT+OfepGjzhWJSCRtxKgbkDZ47cA454pWHl&#10;LviULyFCsoVVXAA/kOO2O9NyT0itb/I3bioNNbdSMI20bg524Mg2hQGG4nLenHXAPT8XMVw7hmY4&#10;CvIU3IcAnkjudpz6470xkYkKzqgYZMgdWZx8p49idw9sCpCAzARlYyshTYEJwd3YdMr0POQQc81l&#10;J8tn0M587Sa309fQrpIWdt2UBzvfOJMnhcHOQfnJ4570FBK26ZYZncZAcBQTuJBxjAPJIA9BSyrv&#10;jEbuko/unhlzgAY9eG/pQ5Ib543QrwZHwqMCpyQc9MgjBHfv3pq9mt2Sk1vt+tv0HeWpQssRI+UB&#10;S+EU9Bg+2WOMc4x6YiYfNsVWQAqAXyAduDgY69eSeu1ucjFSnc5Ekm1mUbV6hF6kj16ucZB5prL5&#10;gJAIYkqMALgAnGT74/h9e9VycsWo9P8AhzSpGPOmlZdfMSZkWLBUKzMEAPcsxQDnjOSAB7r7UnmR&#10;b5FyFIONpHlle/H6cj0PPHER81y+5Gd1JzGzECQg/KPYbsNz6CpXiEvlmPcqKS+3f0GMHtg8Menp&#10;2otFKNOUrX18yHzSbtLVW+4C7BdiAqWOCUwxHJBYe/A/EHgiq7QhGRPKw0uRIQuFGflIHYkkrx16&#10;+maspuKjcSgZdwCtgxFeCwYHGQWGeTTVkXzSoKFDIQDw2cAk5Geny/8Aj3vVKVnyWv8A1/mSoSSa&#10;5r9vwKrIMn/STGOyGIkr/wCOUU12kjOwWzsEUKGLIxIAAHJbP50Vrz+hCoxtqcuVXCB2BAdgFCBg&#10;cg5PQ8nGcn1HOc4k8geYVwGwQSuSzrwmO3IOFIAHBkYknjEJjCuFkDARkoCqAFiBznsSAzH0z9BU&#10;zF1UMQhaPl3jIikkCKQpaQZ2g+Y2ev3cjiuOackknqTyNy5mtl9/YaYg6hQHlkjZcIXyEGcHGOg/&#10;hHbkDvVjzGbMe3GxASq/OBvfZwSBkAt6evpUCLlWkNxlsAtvDRnGRk4OQQQo6ZPC8mrSq0MhiJ3l&#10;NybURiQM7TznPJycn1+taqUIaQWq3/UlxcYqV/6Y6MkK4ZY5GL7eHwFViSoByfXaQewHQAgzWyJ5&#10;e0bmcrsj3FlwSAcA8YGA3XrnjvhixMzMYwoJGRtjJkyQxVevHAIz7HHPFICsa/L80kTMhZ04yTgD&#10;b6HLZPv1rFxjypRe/wCZsuaTt22LUglKhAsaZKqUZd2wlgCxwQMAMevPH4UrMseyZskqp/eI2+VQ&#10;oIBx1znPB446HINMxgoVcFZnMTuSZGjKqSAOuN2Sc/7GOOMvCESFmBaReJIgAQAQNuB1BAPGOPm7&#10;8YblFSjZ6v8Apic+ZRbXT5dixiN9wAHmbim0AFU4BxyfYHjncT9A54wAozhmfcMR/LgYDEn344JG&#10;Ccgc5qJQpSJdxEq9MtuXC4yQe4zt/T6GwXJZ/nBWUASq0fyodg5x9FHHv2xym1C9tjSVuRS69vx/&#10;IRPLBZShUh97NGu7bnbluDxkkn8+lT+W0QEmYpZZYzhiMlTg89M+vU9c9BjEMEaRqS+x9hwCygyc&#10;5IyScjA9+doNSlUIkzlWCYLAFFAOSrfXjoORkcjrUSs4pSeisxKal77enT9fxF5wqFQ8RO4YQuiL&#10;5hBXg9QuclsngE5pzEJGm18SKy7HVNpboCFB5HC4H/6qjKsF3I6qrsVKbMBvc4bpzxkcEA5JPCxl&#10;QA5DM64HyD5hkZGABjqP0HrircZzs5NW6lw5lJyl933E6hIy5Zd7A7syDaI8EAA4HXqM+pPoKgkD&#10;yTGR9qpJwGLhShAGCVzxgkHOOealYSPF5aE/PGIsAZlwTknPXI/Hkn1NVzu2mUvIWy0pidCQnUhR&#10;jhQASuwcAKMegzpucXbysvTQn3uayXurdPv/AMMKGwvmcMm0bcKdzEDdg8cjAYepzjtinKI4lcBl&#10;2bd8SLgsBvY8nPY8f4U0NN90KoUosjsMkKTyq+vUhR1PPPWlLLkLIEYlQzq3LqMH6Z5HfsOtVFyv&#10;FPbX+vwLlJwm9PmKVLHY67ZI3cu3AKgHHGeoO3n8M8U2VS8fDIyKVOc8qcgDGcfpzSmRJcOGYEMY&#10;gVJLe/I7fL3HcjtimrtYSLHgINpG1SVT5QdwGeRkdSe+evAI7czX9aCqQ55P+tBY0KSB1yrMux+c&#10;gnqCPzI5yMEenNxkj8oZZXcDByAYzuJPJyeR6nHAFRhlUqVjHzEj5B8q9Bt47ncQfr+FEbM0rAbs&#10;s5ZgXyJCT8yjjA28YA4AyMDgUnJOXM9n+hUKcHea32t80POWUDYrFfmBBGSSQBzyCAA3p168YqQo&#10;mVcjarqrEEbthAAYD1wc4z60wqPlMq7Dv2RFWAUkDv6cZxxjP1zSl+AIpAGDnzFYj5QoJP1GRj6s&#10;OMCk58/L/W3UIe4nfbp3+Y6OMmOSP5nwGkGSCpbqw7bflPUn+E+hpX3AKAiOE+aJSQC2WIHX3Pr/&#10;ACprPyQQoGQFKL8rADaG5Gceg9x9akVjIwDA7MDarYZyhUcFQBkgkgn1z0yKILmXLLX+thOUeVxW&#10;1v8Ag3f5DgiElQQFXcDgHLdSTjuMjGexFKZIvlKEsAMnkjzARngj69uufSoyZNu8RIPvbiMnBPQ9&#10;MAfyzSjPHybVZCquB5cnzccf3SckE+hqYqMql3tqVTq6cknqSBnVMlSu5Vbb5uVHygAn35HUA8Hg&#10;Glk3pE8h3ElTI20/J1x065wfoee1Kqkw88OPmYABCBliueCf4h9SPekfcwbY2AQSq9DwQMZ64DBg&#10;Dzx71WunJ3HFK7k1q/8AMqyRtJD5ch3xSKY2j24jUEljuH8RIIHHbHcV+IX7VXw+Hgb4natLbpss&#10;dekXWLeQgCNvPUSOoB5H3l4yPve1fuCVYoxZmIQhgDnEhIx8p6HH+e1fD37aPw4i13wQviq2gL6h&#10;4flRnZI8GOGTPmZ64wFjzzzk8cCvcyHHf2fmcKk37srRfo7fqc+Ipxq4aWH17/1+J+PMuxVkWMnM&#10;vKrkLkHbjrknv+fvXA6np43yNja29h15PI5HPTt7V6NdhIIsM+52IYeWvIHTGPb9a5W8ljYspDNu&#10;JwSuCSFGCfTkH86/X4VHBpwv/X9M8ulTdSlFR231OBw4JViWUNtC5yVz1qrMNjjIOSflCHaeOuR+&#10;tad4kgdiuUC/OSFyW/lxiqUkTyDerKvG4KBu35YZGffOK9ek+dJs8rGUZU5SttbT9TsNHlVY4xuD&#10;bkzwcZPAwPw/lXbW3lrHgtnMWASMsM5OPzrz3RyBECqNlcg7CV2YwD14B5rrWmDwqNxXIA+VjzwA&#10;T+B3flXm4yCdRxe9/wDI7cuqQlRUmtP8uhbmZWCqWAUqGywA8vqf8/Ss+5Y7tihSNp3Y6/j2HfpU&#10;zOSSx2t8gJ3MWAOfXvxgdO/rVeQlHXejspJaLABBPT07bv0rlj7sldnrykpxdtrXEgsZZsOqsqAi&#10;SWRgMDv1I646d8g09lhhk3wbJjGSeoVF5BBUd8c4+o9KrTSTks26WQddh5H5fh096CMLt+RWBBzj&#10;Dj1/DgVvGLktHseZKCpN330/q44r5zyJIFbaWLqpzsU9Djv0Gc981ftbiNp1giiTbGpjUhvuD+8T&#10;9KzC5RXbYrAk5bbxwCMA9+v6iq9ncAzPzs/ckHjPOCTj1PaqpJtuKPNxMFNe1g99/lsLLcL9tjkk&#10;yiqFkYNwSMgnIHtVK6uUW5FrJj5mMmSpXcDhlK9j16Vk3N2XeQkl1LlFIcggeuB0/Cs69vXby3dw&#10;0kUe1d+Mgc9B+Vd1CDcUpo8TGUZcqnBrtr63JNWuEiM8QJkiZgWVOWQ7RkgdO9T6LbmO1C7kYm5V&#10;FDEMhUk7jXMF8uImGfN+bLnGzd7/AEFb/h+6eK5e2naNV8s7SFC7SASSPfgj8a9SEYxpKm35/kfF&#10;46hOnW53HTpbzZPAxGp3ds2SMHG7ghl7EfTJx71v2sCSfaY9wEOoRlcKdpBC4Ixz05P0rKu2jF5a&#10;31ueZsxyFwcuTnLehyPT0q9avhzEu4PGwkUEDgBCXx9QR6fdxUc148j3S1M6bi6vvdfuMu6UJFDb&#10;liGhjwVcZyx5Jz6YwKls4x9shiDM5ZlkRMYVjwCD+LCjUGlmkkBhWNbVAFCjbvGQB069c5FXNBCz&#10;61p679ilXUt3yI2cc9cfKB+Nc8rytzPR/wDDnqw5acLry0Xrt6HTzW4iEcrKEJO2KVl5lxgNgdcA&#10;1SiuHj8sPjbIcbj1XkZz6DipdQvIp518hUjghVIYwAI8KoA3YA5ZvmYn3qtCjS/MwYYiTL4wOeeB&#10;1wOfzryWk9be6fUYeajUSl6u3S+prQqQ2eUypA5wpA7g9z/iK1bYKxO7bIpJLRDncOCB054OKyI4&#10;mC8FmEWSXZSMDjI9KuWk2PlO7dgBXDgEZ5BP+elcVRuV0tz16VSbVqju+r+42JTFGVmQBfLQjZ/F&#10;zkAY+nf16dqzLouN7xHGOGR8fMVDZGeP5c8U9mJ8wBgpKhQfM2txz1/AfnVbzSVG4/6tW8zPyqow&#10;e/5Cs4Ju8bnRNLlS6P8ADv8AkTaWytKoIILY3EtsCqBk5PXGB27Doa6mWRYVMYxtK5BcbMY7gfU/&#10;rXMacxeRZRt3gFzH/CirxkDuRxzjvW+14kvmROAHYEICApyD3/AfrTrpSaglr+v9XKwKhGmnJ6dP&#10;QjlG6OMuSyqDw53DLHopP0q3YRETByxZCpZnYbmXJJwPpjj1xWRJu3rwY1wxXDAbgcZAOOOnb2rb&#10;0/EYDZALEBkZvm6qcZ57j+fvWLVoSknoenh3BSjJ9tPnZ2/I7GAxxQquSrADYR8wHzBuw7+ntXRa&#10;fcbWdPMwSAgUjcwbGVwOe+OK5NgxMRjOQrHzFVRsXuB/XtitTTZ8yEgxCQsUIJCjGDu7+hPt6141&#10;ROV5M+goVFBLn3f5XPQLZRIqJJIrYYnz5Mgr91lJPcADJIznI6V11jIqIIyI44WgLI5Th89DuIyQ&#10;duM+1edSXMjnEW5vMClo05EfA6/U9s561qXd9L9khXzSsoIG1gcpkHoT2O7p7deDXmVITqu19f8A&#10;htz6DCVoxho7rr5G9JcrdagkMk7rCgKISgLRKMEkjI5PA5OMGuigugqBNzNMIx5b8AcE8c/Qn8DX&#10;FQ28968aq5xGPnUKpUhwANrHk8AZA/HFbYjuRbqnzuXGFIQ427jkNznpjHuKxlT5WoLovv1PXwda&#10;mpKp1v8A1+R19rctGiyRSM7+ZmFkBOduCeh+hP0+ldRJrrsVgG6O8csWYDIVsDlWPTvyM9DXB6XE&#10;6RRl41yZCsaopDseM+2Bj9cc11+m2VnPO0944WQKfKiQATOwPY8447ei8DtXn14VUm599vkkfVYT&#10;E0qiUYPtb+vI9O07VJWS0jupvLAUGJnByx4yOB29T7dcV6Ro+s3iia2t5LedTbbpJQN4+6QseMZP&#10;IH/AguTgZrw3TpFe6KAtIkSiMxtESIic8+pxn9Bzzg+t+EjBYS+bcyRv+8YRxKx3b2IwCAcDlCBn&#10;rtNcOIpyguZrR2PpKWKdOm4PV9D2PQ9V+xeUt0jXjSRlYmcMFB5bIB4IHy4x/d+lasfxIutOke2m&#10;nELTMUt3VxiUBmWQYGW4Dovb7p4O6uXsPF+iuZJL+E3F6qNHE7AlgMMS4I5yNoOW/uAHjOcePTbK&#10;/RtSuInFw1y3lGFtyxggurOoxlQVOAD0ZeRnjz/ZqpFpvRfl2PSw+KXM54mL1svnrqj1jSfF94Wb&#10;T7m2lC6m4kZbtHULHtJRwuRglWJG7sR1zXs+kXEc9mHhilkkUyuPsUqxt/AI1JdSrOqnock9vQfO&#10;ui68iS2Ul2lu8ySrPbSMhkWQGMKquxUEqARx/tDgZr1e01ey0WGONJrZ7e9hZpIIIyhkmnL8RA8g&#10;L8oUdASOoHGMaaoxbjrqtO19joq+1rzUKUbSvfyff8D0gWl1qNrqNtbZt5b6zdY7oMyDzCpKnaGU&#10;7MhWIBXcBweudjRZ4LCxsbC+tDFdWd8ba2tEgH2GVB5RZlTduwzMRg/3TjGOeIg1i30zSNJvU1Sw&#10;lMs8wuIxfpfX0KpsRFdAT5eAdwJIzuGN2ODT/FajWLjUJlV/NintrC3ZFukty/BbaSdvGCrc5KcE&#10;4yClh6UJtvRv/h/+AKGEm1NvbWy81oekLav4l1mTTluW0ezldrcNZ3BAUA/OpOMqzkDIU8kDHHA6&#10;HxLPBZaBF4X0+YQXeoyxme7jJxHbwCNQqdj5jJISTnJHB658S8IDWzf6xqkwuVisf9O+0/aFisbM&#10;gYQyuzBV3NgYPdhjk1u6lf3WrIl4BcBtJtRaMxk85ZAkrOMPkg8yEZBxgKcckV0RlGlCUrXf6aHR&#10;Vw0FiVSm04QS2/mtv52f/DG3r2n2T+HPENzHPEljHDIxKOJDaSwo2xWYckEjnbwSfvAcjh7K9tpN&#10;OGnPcJItxYmya4ZCwt0kYFhITy3APz4JHPHTO5FdWseieLY7u5EP9oaYLS4S1VmXaJXZXUZJDDdg&#10;OAOAOvFea2NsbmaKK1a1d4VaFZIoMu+1txaQA5cHoTjAI9CQKc5V+ScN7fk2Cw8XQnGV3yyun8l+&#10;po6Hrd7Zz3mxcSmze0RYyJFQEFwwQAPkhgd3XIxwRxV8V3d/our2MN7psVvDfaXGQ9pIuXLPJsdD&#10;gcbXj+UY5U9cgClczWlldCHymNw8qiWMrt8wK2RnOeMke5A+teo+J7Sy8dab4Osrmx0y3udOthBd&#10;3ULyM964XASV/M4Axtwm3AQDrkmqU1UpuhF+/G2j21M8VBUasaso3jJO/daXXqfP3im7v/D8kdve&#10;SXd7o2sQLc2zyWcgtCSN+5WGVEnyL8wxkPjawU1krfafqEM+lNp2oyNd2h+zSeWkAWSTyQ8ZJyTx&#10;xs4AOCSpJr2Xxl4V8Q2R07wDqFvPDa/2RDqegG9RhY5uEAVolHRmVo9rHqGXkAc8joulWpgt31CS&#10;OO9iumijCW3mNCMGTLAAZC/ImcsTgEE4bGypwhW9pL4dVZr0ucntI/V1Oes3bVeezt8jwnVfBmrR&#10;214+m6pdWskEiS/YZM+fcMkq/MinI+X73UHOD0BNY93p01nY6dLrUeqmSSZjDcRytEMIFDEcjnLQ&#10;jBDAgHPavqTx9osUdhpeuaRqbvJaxR6dq2lyWu1LZkCxwyJKWYtuwQyuoAyOeteTWDfa9RW31qSW&#10;RAyxQzpdpHJbqMKrKzLhcjAzxjqc9a7YzUanLHZJWd/yOSGKr1aKrVHbV6W19DzzXDNJZW2oRWcE&#10;9rI6Wl2I2UOWCDLEcMwK7iWx1I5GOfNb9tMglHlsDFcRs0iFQjqxbtjkggjP09K9V1bR49M1K/01&#10;dS820UBrK5nAuVaGQBgXIHzbQVQ4A5Vuea8s8Q2dtcQyWsmm20l016IrPULeZofnDAKDhghUhiTv&#10;BxgDnt0e/WnZO3b1seXiI04x5pR877aHDy2GmyEXG4R5G/yS+ViLjqo4HXfwQMYrjNTne1lNski3&#10;EKgFn2bCvzcDPPzA88k9sVseK/D+reFry90++EEgiJY3ljqUV7Y3CqWVQksbENz1AOPXqceSySzP&#10;AZFlnE3mmQgyb5F+ZhtB6EABcnvurrhCbTT06fqfMYt05fvoPfo/wKWqTwwSxzSMQqtiAbTuAAOO&#10;MAjPy9eenHWvPNSvWzKXQ7A+3buwOc859cAHjpg1uapqDMkrTeUW3EBerKC6jJ5GCCc88YA615nq&#10;OoYEnmSxsrqqEsmQDj+FuhPOCR6V7eAouSUWfFY7EqKcObV3t93/AACaW48xkEJ2qygHfnO3huB+&#10;A/KqMlwylc/KCcbzzkg7uByPU59qyTdySOiDiONMrg5MvOAGPb8fSojJOGyFWTcCI2dtpUjIJI9v&#10;mNezDDulLY+XqYyL9+XT+mdTazKRh9yc53DKF+nf+ldBbSRzgpIxASMCURk8kdCc+5/WuFs5JXVz&#10;yiphCyNuDZ6k49MHr9Paul0uQLJlog6EMcNwCduB+nP4nmtJRTT7ndgcZGpUUafSzd/md3pkLyTh&#10;ArEhNyrHy7E4G3PY/eXd/tdOK9p8Oahb2sEUQQoLlzbyKcCQEl22gAZ9Rk9AOT0B8LsbjM8kmREr&#10;RFt31II5x2IPT/Cuz0fVntYjOzb2yNzMeEJyBgE8E47e1ePXheKtt/X6H09Ctp7NPW+n6nrE1w0D&#10;31wn7pkyqxD52WMt8xXk9snafXsea9w8JaV/bPhzVWh1GOO6jsGnSdwrHcwI8sqfuqpA6c4JPGBj&#10;5n0e5e4YJOVk+1EbSWJiiY4L7u/4c9PWvVvBt1PpVzbQvf2sf2i5a2LSMziOM8hsfw8AjBzg9Rwa&#10;86VlJXWlrP8AryPtMrqp0/fdqm/q1/wDsbDwoqWVoHkjF3G6hpSRLdReYOYlIBGR5YZgD1XBPSvV&#10;xrHi7RrH/hDI/Fl+NAtpm13T9Nji+1RQ3E8FuDJLGpZPNcJGuACSYlDAHgY3h2VdNm1TP2m/CxLq&#10;UT7fMZJCxEolYngDgA853EYwAW9dPhHVNX02412yj0d7yN1ils/tG7UrFbVkV96EDDMrEgLvysQU&#10;43EHzpqlVjKH2l+VrH6DlmLjhpweI0g7b93r8rHrvwj1LVFktmV5rkqUJuLwNaQlXO11QqpXGCQR&#10;wSSABjNfZukeGG1SC6WTX1tJ5SbzS7mU4jTySGCPtLFNwVlxsYfMMg5zXxz4Y0LUbSbTLh78QQxF&#10;LdzbATQIhkAeRkzwy4GA2OB05Uj6rsbrWNIthLqFvNJADabr6ztf9HtB5QaJCAesqyK64PIZTk55&#10;8jEuaSS1a1/A+llUeJqweGmldfjfud5oPhrxX4Qt9M183oW4VTJcWKsWcqPLDSsMncuWA7noDniv&#10;vrwj8QdV8VeEY/C+ntDcWz3yXaW0tzm2luFiki3yYVkLIC5RjwAAdyAmvibxnNBrXh3w9fy6pAps&#10;4fINqt3IbglyWbzgVCLnygAAzDAj+6eD6Z8KfFreH7jSdIutLvDa3SLK32eJxbMnnKryNJnCnD9C&#10;RncfU15saawuOSg+WErXtrfTd+R0VsFPMcDGviEnWhJ2volZ6Jei1P0i0Cwkk1TQdX8O65Z38Vv4&#10;YW0TQruKDT3uL2xBWSGOQH/loVjCscSExj5skkaHwi+LPjbw1qvjDRtH0fVNBF6wnv8Aw/olg2qa&#10;tCNPFxC6pZqkgRz8zSIE3nCESBJGMnDnxBrUNzfeIvBMEdvcJ4Wm1OCKyvF0q1lEStBcNNLO6xgm&#10;NsvJv2/MoUdccvoPj3xbHcDxZpK6pYLYXaXWqxWeom3u7GPezKfOj2SpCZJR8seOUxg7dw+jpYmW&#10;GqwxFByjZyvy9U93r/Wp8LUyp5pg8ThsVTp1ISjGKVTpNS5o8yXS6VnZ3aPtH4W+NNAvfA2oax4g&#10;0e08Sz30UGvabpdhpFxdiyuZVi2opgwYHjKsHjxyY2RSF3E/S/gL4jya9pE3jDWLO31We38KPHbx&#10;RRfZdQmikmhEkkxUbt0JgVd0UasDPgAlWYfAGlfE608K65ocdprNv/a11eOk8UF+0mq3HnkvLHOq&#10;yDaZFaRS7ru+csCOSfpzwZ4HvINaXVX8X2yWqvFdx6ZY+H7nUbjR7l4Zbt4Z4yoTbDiHPRAGK7l2&#10;AN9DlGPxsqkIYdaxVmnZb6xld7+n+bPzHjPhrLHRr4zMPc53zQl78vhtGpTjGC/dqVo3ktXfW/LG&#10;3ud14i0c6lBHDYXV/qF9rtv4Q8P6FoU8VvY6PBPAYpWmmEYkMSuZ3kkZQu0qeCzqKHimzW30nXn0&#10;5JHaXWZ/DiQ3lys+o3kVrKClxLFtzCEltmii35kbAcBRkndbw1B4Fhj8U+E9IvNa8U6vewaNoUGp&#10;3bfa5Z7ki8la/KTxoA0akLCWVQiR7zljWKdU8Yz2fi/TJtJ02zuLCFta1JfDtsL2a4vriOF9PtY4&#10;WZlWC3aNHurhWmALuispDsPpqmFqPDuGJ1qNO/KtNr2vZatX9Fa3Z/lWFq0HXp4nK2vYwcE/aTs5&#10;WlFN8ibfKpOKUrNym5Nu9pR526uLCDctnepcX0ehW19shDyuL/ZGl6GJ+cKpVpDyFGE57VHFLd2c&#10;cGsxXCx3dp5F2/2BzGsZkVi/zLgHAUKQM4zg4xir/wDokYgcXN3aWUEEdlq5trUyXkL3kLW7CYuA&#10;GWdrMBwTgBkYHg1wdnNqMWga5fxCM2Udwuk3UzEHzJWDTbYBjG0FFAYYJ246MRXh1k41Lrf3rW6W&#10;1v8ALb5dz6vDYdV6Tiujgnz7vmfLy3slqtbK7fNe9mm/f9PuYPEEEF0t69xcXcMt0lu0aqmllWRA&#10;XY4D7uQzfeJJPI3E5b6fYiGSae2a8kn3RyxeWtt9tnXI8tZ1QgPuDbcqpZYz0zxz/g/VsabLbWqo&#10;l3G6TWzbWm2qzbHG1WGA4wQ2eCBkGuqu79L5po1v7hY5Ll2a9eykt57aaJyqStBy3mxOBG7jGVZW&#10;C9WPp0lCvQjO6b/X5/P7z46vha+Bxs8PTuqafzS3+yuzVrNSbi7Xd5HParbWt9bXFrDHcweWpa0k&#10;uURLy1UMQ0bDJLYG884JKrgAEg/A/wC1d8GG+Jvwu8Ywxy6da6l4c0K51Rbe81GPSoL2OONZZfKm&#10;bCtIItsgj++2xlXLcN+jepqsi2l5dywTX8N4iXFwzyS2Nw5B2ytHtAxhAGQDPHT5c14f8Q9Fg1S2&#10;vbSa0ijt9T3xTosheISbPLBAbJxhlx/uADIGK87NcLGtQlSqRvo/L09Lf1c+v4NzavhsZBUJ8jvf&#10;mfvWaavvbmTWuyet7Jn8EvxB0R9G1y/E8dzaRQz+UGa2Uu2C3VCDwfmOSe45zzXguqvAWWb7GEjW&#10;MPFHJcKApG0k4B/3+OCM9eDn9Ov21Phbd+CPin420mwgmubHStcml+3TwNaxXMYAeEqspLbGG1gA&#10;rZGOgNfmdrXh6WBJY1t0GAZfLjhaURseCXY5JzxnHtxX5fTozw9Rwn0Z/R+JbxtKGJjLR/1qc/ba&#10;yltcq0UsbglIhbRNu+c4HDKSMZ4BBIODgmvXtE8ap5u/zIRPGoRkmGUH3QVbnpx159sV8vS3mq6f&#10;c3cMQaU8bt52su4sxKgAZAGfccVFZeJbjzWLhIZUKgSrIEG5FVTkMVAzu447fn018upYmEpU173+&#10;dmy8r4ox+VV/Z4jWjt59O5+jfh/4jXuntbxwCBbAxqgZgE8jOMbTwMfhkfpX0B4f+Lc0scUiJ50o&#10;wsipJ5m4ZUKw4yCDzxnp2Gc/mJ4f8YQ3sRtZrgcgOQ0gdcDC5Oc5ydpwOcE17j4a1ZLBEaNoxJId&#10;vlB28lgwbkdf7uD9RXzWMy32afMtV0P1TDY/CZlRhiqSTbS/Tfsz9dvDfxRs4dBRZrgGa4iZHV5A&#10;DmRWXhwMnOT67cAehrq9H8eyx6bdR3SyiOJAlrCF8zzH39Qisf4eQRyd44FfmB4e8a3lmQElCLEy&#10;LsZmmldlyQeOgJCMc4xjOR1r33RfGchtRqspuHCxJDFHuZIGGCSwAOM8ZI7Y646eTKjXg1GC9233&#10;HBVwtGlOUn9qSZ+lXg/4hxXN1bxXFy8M+nr50myXy1mSUKpj3KxBXaD9Q7DnIr1FvHdlLfXRZJ4D&#10;I4IhUi4RT5gbDFsZOCVzs5xnC8V+b3hHxHe6lqNneQTWiReXl2BOJ+mwO3X5fMznB+7wOa+idI8V&#10;W80Y8+aKK5NxGxKSZBQksrAY+YHdnqCdoxmtnCsouUPd6rzt5Hl4rD4SWJ5oaq2qXR3ParVtcs9Q&#10;vdTt9P8AEGo6Npkyf2xrNppE13pfh2W6lEFu2oXkSeVbiSXbEjTMu5gQpPNdxpXimKx1q0Q6qVst&#10;UiljuzLH5ItJAcKrEkAhgQPk9+cc1yeieKrx/D2p6bo2sanZaH4ksIodctbTUprW01MRNIwS5hjI&#10;V0JOVjlD42hsZ4TzvS51k1OCziZ3tLWb7Th33SO5RV3NyAPuooC9Aq+ldTjSp0oyot+9rK/81915&#10;W/G5hhsRXr1MRTxNuWOkbLXl5V8V/tKV7W0ty9bn1haajpWsWNxIl7JcS6VcmJH2jz5xLOgVgCRv&#10;CoJjkA9MHI5PQ/ZtQmtLG+sIIkljcp9hIWVpo0dw+2UAZYsI+SBtAYZ6geN6brGl2CGVZYzGbdbm&#10;4nSTcske1nYEjIK4UlscbWyCK7rw7rr2726PPKkF3GJoYPJCpmRpcpk5PQZPQcjrRQrxUFTrW7XV&#10;++l/wPMrQrJvEUV1ur9b7r79T1DwdqlzHbTw6jKwt4rhpY4ljYSrIrZMRwOMspUhiOhzXoA1K2Kv&#10;duzI8EYVofM8y3ztyCT3JGD+Jrx6S6R7ebJSBJ58BXlwqfM20qcDnDYPXkD8ZdO12aXU7K0kgRLd&#10;WWWeTzd8LsmX8tlx/s7eTgmUdADlUpVYJWel9vmYSoxxc5VkrO12lp/Vz0P7SY7lo2Ad5xulhZ1j&#10;2uzRjzFXqxwrDjoBk1p6utva6cXijh+0zuEEhTzETIDA4Bz+HTj3rMXULdzHLJD5Vw+Y84yg3Fdu&#10;OO3T1wp44NOvywsjCZIvMXdmRiQ0ijAwo7YJH1IHQZrGfN7KUIed/UxV5zhJ6JPXXexN4Xma20lU&#10;lnSaRpZGlZZfOVFLsQcjpyeFB46c4JOxLP8Aa3gaMzC3hh2XM7ShyvzEoO2Pv8ZwBkfhzOnRW9tY&#10;RW1kn2cAYMSwESsOQRjcRg534xn5CSTmt6ztks5XtwyNDHGAYkk8xFYhlAbt1zg55zjrWdNe5ClD&#10;VWX6GNZ0vbTq/au2vTv/AJHeWbQLZ2kqMXs7eRxGpUBySQXIPAJO449N7f3jVEa35WoyfI+RC8ks&#10;W7KtHGCJFOAeAUHPB5P0qO0I+yPaqTcB5MweVleV3yE456AqPrz2xWQ1hNLqN7LdKgFoX/eQzgxT&#10;hyrHcR9Ceu4NIcnNdUpudOLUdW9/T/hj5ep7BSqKp5/c2v1ep3nh4IdFeMHb9nsvtLs4YCJpHeTJ&#10;45O1wWxnuDg5p0qOQqvFOsSXQgd5Hy7ZeJY2AXAAO84XAOR3LVc0xZHs5TCT5VxEkpyjHhAMZ3cn&#10;cQGON2M9cZNbDedtSJFCFphMcjBkkQjDEnoBtB/+uTXPZpShUfTR26nzlafLXny2vf8ATX9TiLue&#10;Vr67gSQrC0KRSJKvmrGrSALnI5wCcgHnI9K7HwLKlj4gtvsktxFfLE7yOXEcCqiswQD15cjGOQeM&#10;1mxW9smoNLJtZriRGlVgwaQ/ew5znk49zuNZFnqhstY1C8tYYyyTmSONuVO3cZVVAegx14HSurL6&#10;kaNaNeb0T/BdjavQWKw0sJTXxQe+zbVte6PqXULOfUY0mgvTHaSIS4Ybtj7QTkAnpuAyPTODXkOs&#10;aZc+fLd5j27ypCD94pJI/I4H48e1em+DvEcOsW0ZYWe2+hMlvaH96IgHc7XUZY5IY/NxjPbAqz4h&#10;sbeG2SFpLVvMBvHkiTf5e4ISrNgEhOuBkc5BIIr9GnhaGNwarRe6/HdH5vl+MxOT5i8vrQs07bdO&#10;uy1fT8jm/B9rLNYL5gG6bKKM+Yck4w2Tnv8A/XPWuQ8YX11Be70PliOPMkQbhmVAX9+eoz/9evYv&#10;C8VqF8pQd5XzMgYjX5lU98nO48cdOciuK+Jml+RNFfQxqYp9zOVBO3hgQcdiAv8A30PWs54WKyxV&#10;J623OrK8ypVOJZU6sfiva/5f12PCrnxJIJJ0gkMqK8y5DfeQnOc9jjHPbJxXSeFIv7b1S3hQy2kF&#10;3MJ7mSIMzAbthGD1yTu5P8JI4JrxfxEl7Zal5nzyWd1dKH8pllEAByDgdgjAE+ucA19F+DLq2s7C&#10;KVopFcjEEoHKIm7fnGeTgYP1zycDxMtbxeLlSntHXXY/TuIMPTy/J44jBxvKorJro7Lfo2nr8jtj&#10;pl54YvTZzyO6TZEcW/zGRSFYbnxjLA54PfrXyL+1/wCIJtM+GOvxxPChmT7MC6EA+ahBCngk4Unj&#10;oCeQea+rdV15Jbt5ZrgPKp3xylQiABT0BPPGQM+lfnB+3h46trf4X28seowWd7c6xJ5Voi7mulWE&#10;RuNuQQp3E8/KfmHSvTx06NOPs7+5q7dbdvyPzaH1zD4GpmeIj76hZySsuaXup2+fqfgh42nZtZug&#10;sc0YhuSsAyVMfJ3EucsMEEA5/EmuNDoXIAETR7U8tht4XO/GTz1x9FHTBJ1tYvFu7ia65YTOXXc2&#10;FUk55PTGVxj69q55ZCx2n7rfI2QMMDt6Hpz098dK+flKnJ3hte33/ofEVnKU7K12XVdVdXHzAY3B&#10;F/eHPOR0z146+/FQrGxLszL5QUEF8rIW+Y+uD2564BHcEPikJeUbHRmQZG8qyHGSCx5P/wCvrmok&#10;j3JLICREqgGIthsZHAX14B+gz2zSTUU79P8AgGUfa83Ouja/G4Mr7Q0ytGUUYEeC6lBjIxnvk8E8&#10;E4qGVpArKox5agIRgM2Bkdh7Zz7dqmIjAEaN5S/MoQLhFI3MOOw4A57nHGarK0hBhYbVxhplyAo4&#10;ORk4IPTHrnrwKGot8z/rYJRly3Wy/Qr3CshfeqbjG0iuQ3lqm47VJ9QSuecfN7VUJVxhImPync4f&#10;BcZALc4B9cdcD163jHJswQSGUxs52B8EbeO4xhD2J2+hJqNY1aR0yVRMsASxTGMA5zzk449hntWi&#10;k1bYmOsOZOyv9/f5FJirZYqVkICE5OQP4gc9Afl5z/KqUrtGgChCWLKuFL8AheW+qsSenXtzWi4j&#10;2PhikgkKOCu2NsYXcAQR95WJK/e3g88sa2V5j2xnzExIMBFwwJ7DphiCR2kHuKhckUpRWt9/uFy6&#10;qd7vp06FNl3lwgCHHmbidhBUKuSc5PGDg8jA4HJFVw28RnfwASQxB6kkepGHyD6ce9WJVfahiZl2&#10;xGMOq/MpGCQB0By/5OeuMF7AlFClN+w/NGCoZewJ4JGA2Rjrj0rRQlGN4v8Ar+tCVCUpOontqUik&#10;ezaVUKzAbWOGA2tkuMYGNo/McdRUJUBpT5YYeXvKxjLKcsWQDscnr15PBNX3RyqjarAMqogT5QGA&#10;yCcHocL7buOM1G8YSNlV8SMu3c7NuwgCAHJ6kADkAkHI65pwbhdz3L5b1FGWv9blaVXMiptLtKoZ&#10;nX7jYzuXpwflyWPHoewaI8ujsu4kApldmMkngDvyO/I4xnkTopUqR5okUY3rlRIQzJtXgbirBhxn&#10;oR0FTyLIFL/KVKiTC5DYBJyM89wMflRGUUuV9SJW5uSbv/S3IREhKvlFV2xK4YlY1PqoGeh7cgBv&#10;rT1t2lTcodxiMk7ApJ3KenVcozMpzycnHOTJsG4iTA27mKtH5ZJ25bB2lscYBORznpnL1i2xLG7M&#10;yFf4UCHaQvBHGCB/FwTkZ5yacUrqMNHsv8w5m727W8/6sIkbbXDBnGwEJJgg5yfYYJP057ZzUi25&#10;UMMttVf3e7aFQgrjDcd0UcE4x25qbbwwRSozuRY0A2ZDE5JBH8KjvyyjnNWEDpJjIkKswAxlyxLj&#10;HfqOcEfwds5pRU3Ny2f+Q22o8sfJJlcRhVw7OXOwsrICzZA6j6jnGB97BU4q4Y5OQABGSH3SMPLD&#10;EgY6Z6cZ/wBn0xQLcZ3YLKwVgT1hwcgde/A6Y+tW1UbCUTAxuKRYVXPXjORz0I9zUQdnrv8AqDvC&#10;m0noyusUZhRQjB8lI2kxvUAAEkE8Z2gEg5J46VPHGN4VPmUD5mldVVW3ZU44APXp2HXgU5UO9QW5&#10;ZA20jbtAUF+R0/iAJA6dAKm3IFwrh2JMoZ0JVsBtuOuD0xn9DjFRc0/zJ5Zvlb2EVXeRgOSyjdsQ&#10;neecBR0z1ORwasiI5z0QbhGGQLtH3RkDp0A69+nJNLGHBVsgsXI3AfIuCM88nIBHfqfwoGZGQsGZ&#10;kZiSgygC5LAdMkcdxjPvReKfI9rlxk6d5c12/uE+ZcIIz1/dB2AYr128ZyOgzweOnSkDFWCkSFxJ&#10;ucMNxB3ZBGMdAy9fQ1OFZwZC5EcabpRuwOByAB1I3D14I4pkoVW2lT5kYKFFKsAV+Xrnnv3xkDtV&#10;bxUY6W29SVyt3T/ry/EcyKYyHQNvzHyu9QCM5xnqew96GbzNpciRkzswQGY9uOpOecd+ajbeoKI/&#10;Ow4XJUMSfy4P4cDr1qNkCSlhkgxjYcHLEjccDGMALk//AF6m7px529V0+4uUnz2m+o+Ro/mBJIU4&#10;Y7eAc5PPXHPPp6Ujbm24dguPljYqFXH3jnbnBB5zx9OcvHmmJS0qqI2Dk5JVQ3BxjpnGMjAyaUnc&#10;GZpAgKtldrNtIwD19iDu6E+4OE53j7vX8yXCopXk9XqQl1LncSRG/lysoIZwDuAP+7lRngHaOvSk&#10;cnaruwZGUkbvvA54BAByRj9alD7kyYxvdgrI8eAh+Vh9DgdevfOaYFLxxb43iyoDheWXOM87gDgk&#10;521pyuDU5r0GpXny2vH9WNw2InJLZOQn3wFxyCCOudufxpS5VshGIClgVcFjkkEkAcdCcYHUdBxS&#10;OJD5Z3gfPsdAu/dkdR0OeMZx6Zx2XazqNjeYGkDsDHhjx0BzkkEDrQuaMm1uK8pSst9PncNgRwEU&#10;qzfvcqQBlsAlsd+OnanlyVBB2ujElSN6sOAfpgFj1xwO+MvRF3ANI/ysnmAHqCSM9eSBztzyB2xm&#10;myKUKsTn96xAP+rVflzgHhumcnoCPrSdpT5pfL+vmS3Z3fT/AD6leJgYxIyyBgUZIgwIAGcL0x2P&#10;4kUSYaEM4fHl7QrJseM7nAUc88c/j155k2yNHuVRIkch5L8E4w64PGAV/Jee5LCUZkYzhzODKFB3&#10;MvOAGz6H5voVqlp7yX9IqpPmTvvYZunwMLKRjgrlgfxIJNFRMLktkbCCAQSoyeO9FNSTSb/I5G6l&#10;zlljYLjDKgJKl2KquQQcqQRzkEcg5OeRU4DGN2RFZlXD/KB5fCkcAbT3JzkHJHTinxguVePAIJIO&#10;8txgDJyBk4VRnGSBgYzwgO92RcIC6YxtYsQEwOewK5ycfeb61hJ1E2n2Bpxd5f0hViBVSQhUKNz7&#10;mXK5RsY6ckNk85DN0IBqyNwLjC7SBEcBnQkrzuH0BI78mq4V9wA4LjywdoyAAcnaRz29uCM56vQr&#10;tKRgjacEP83qMg8nI3cfQcYwKUeZQs+m/wCBpHmThy7bL8hCGjcMiOZjGxjd2TCAKFwo5wflzjG3&#10;265uQx7cgqVkfaGDSccHkAdeAvVhyPQnhixkMvmZUCRlVdx2rliuQSMnp7YBFOiURAttyjBlCL8g&#10;bcSy7icYPXjHfHpm9L8kVqVZuSUnon+e/wCQoJyynfuj+4nI4XnJJP1OT61OkU2FECHDcRhW3zqW&#10;ddqrlT7jB56cNk4jLBvlZnJSIiRc5AJA4Ixn17jGOnepowIpDl3KKQAPKIIXbknJ685ORxxjsaiK&#10;tFOUd/8AgIck7cq1VrfkKoWQIYxiaVtxAXywykLg+oHIzjkEAdQCZ8Mv3cyLKwWNZBuWUYyOMHHf&#10;JI6AfSmKsUUarHkNhAygEfe5OfzUgdOlBI3lzvMcbEbQCS4JUlQ3bIyN2CRjnpzMn1krJ/0iuabb&#10;5V7qau/lYUI4RonKHzSTCYzt3ZPf+719eTTpg3lgqJPMCySuyndswAzMBnoBnr2ByehAxRI95JUh&#10;FCovG3GSduOh6nrnmh0XeIwwKsvmjhmXOCQqjkdM8HkY4wcAkXazbuOVNX5em2/oKhYyhXQYUuqB&#10;mBR1B7cHnp+Y5GaVWBDLu2griPAxHxvJBG3jnBHPb3ocgOqI7glizhmyYwAAO2Ofp2piAJJGzBjh&#10;fnXeSjnBG4N168fT2wKahFq7Vn/wdxWcF761LOxiYygDlHxGdxDJwQSD36gfn6GmyI+9xt+TP3uA&#10;gG0AZ57HOSARknk93FpBCwjC8DIUEquRk5zjsMnJz940ku6QKp++p3lQCqv1AB9u9DavZ7fiNJfD&#10;d779/QrqzRSIQhmCnaOjFz69x1zUzfKQCGkYykmNXJGQ2SDx26Y/2cUxFYSMjAlFXIjPEag5KAd8&#10;cc9eDnrQ0EzPOrNsVCDHIRtjYEDIGAeMg8ezUuZKSjLbf9DW0oqTlshWzskXgbyCHDEPheMfTGAM&#10;Y+6PwXeszKo3DgHCEfKVx14x3zyMEZoKxsQXYnYQpCgrI5xkYP6cY5PXHFNEal49jfI+d/ygtH/G&#10;ozwoOVUY6EHBx1qWoLlUf67ESU3FSe2n5E8eRHwrJGkW5U4yDnJ4BOc4J+pB65oKKJSoyjBjuLMD&#10;Hj+965YEHnsR3pwjBwhLcZKtIu1pDucktwOSrbRnsgz3JkWN2SZRlSS0ZPy78suMj3645B+nBpp3&#10;ak9LF80b792/1GbUOEby8NltrOFzgkE8/Tp+FHzDLFjvYOXCfc5O5j69uABg46U1Cp3Mu4CRWc7s&#10;A4ZTkcjONvG3jk/hQChUqHkjAcuCQ2FOSqpu6Zz26gZqdFe//AJi4qTXX9B4KtuAVVkEnGz72Dng&#10;D14xz6VPkK2SxdsocgKGG7AHfpk9P9nrUKY2pIVy6kHO/DjOcnHpz3x26gUBmKTiUEExhiAQfMwR&#10;kLgHOME49uM1EG27w2uEIz5ZJLXQsqyKCJBK2AeCd4Zh6j3568knNJkZ+dGRUViDI25cbcjKkdM/&#10;p26CoOGGHbZmTcznAKjuucjg4AyPT3xSthjvQu20ByGYkoCMA4H+crRF8tRxWiHK8b9Oi9CUMEki&#10;dldwSqurHMmThmIJPOD27AdBTVZC5O8jaFBLqFJzyRnGQCcnHXnkk808ofLV87i0gc4yAcgEDHUH&#10;HY9+oBFNEaybgQjNw0hK7iwJ2lsd8ksCB13dOKpy9okra9fQqSm/flZdLevX18hxXnKPsIIkIABW&#10;TcSQSfTrk/7Rz2rkvHHh+18U+HdY0C8i8y21W1ktpFUZM2UIPUEZOeMDqa6pBgMqbnI+UmQ7lXCA&#10;cH2AHtTJkDCNGGApBJZMhjnoCcjOR39PQA0Ky1ctL2B3u5Q3dnbzWh/N1478MXXhPxbrWgzfI1jq&#10;U9um5j5jokrBHHfBUE1xzrETslCbuQ7E4VcFjx785r7r/bg8BJ4a8ZWXiy0hUWeugRTvGgRI5UZ4&#10;xuUY4ICtlucsa+B5/mlYndgHeGA2cDOc5xzz71+0ZJjFjsup1U/etZ+qPOmo0a8qctnrG3a9v69D&#10;C1W1y0mEOFGN6EhcD1zWJEgKuEyNikKDxn6V188DzRK0fO8BmxltmAQc/iD+Q9K5xoTbSImDgfKc&#10;HJH+eOa9/C1Wv3cjkx+GlKHP1Ra04mIOmSN2V2FQNxxnOR16V1dkPOUCVBgKDj7pz0wPpXNdJQwB&#10;KOhDHqBnA49s/rXQ2hYwI+8qVGUA5GAuTjPU8HmssS5SnzW7HFhuaMvZrZPr8mazRRrGYuFcjDbT&#10;ggAjGKh2qfkZwC7H5jyqgY6c+o60xpt4Vcq2VALM3KryAQOueT+VPlmX7oO5duw7SQAduSP0z+Nc&#10;Ki5NNdz2480pOz6FaQeUuQocE8kjLsO59PWqiPEofJEhX77Mm1iOn6e9NkMv3ix2RtsVSxG5TyAB&#10;n65+tU5pN3z/ACrhSSF4CgEZP169f610wvFPmen+RwV4xm4u/wDTLBMYjl7KF3BAuck9h3wTnr/+&#10;rJfFuBLjadwXHYZ5P8/1NWBPiMgY35+bjEjDA249uOlZcsoDMGOCeAWPOMnqO2MEfhWtOM5VLnFN&#10;rk5JK0X/AF8jJuPmeQo4IJ3glcY65GfTj+VZE6FpCWbcoG9mH3SuOmcd+OK15l3blXaBsHXkjvnP&#10;+e9Z91OyRiFdqhhmSTqXHUdf8816dKdmmvI8TERcouL0Xf8Ar5mBM5kcs3GXBVAMAAE4Ht/Kti3D&#10;Nbx3u5RIZPI2jOWxyTmsYKJWJDHeT8pBwOGzW5ck28ltp4A2wRKj7RuYOcMx9ucDnsK7Iu0Vff8A&#10;q/6HzWLpufNGPb/KxuQOs0f2WRTujYSx7McA53AfzxUqzurtMXIaJiqlVGCoJYAn1wcfhV20tndI&#10;r6MBkRCjKvzEHnJGfwqrYRCVmtZFV0uDhd7BUVx93B7ZP4DNRCrGdSUW/U8qthZ0FF2bXclv5drQ&#10;XUTeZFMn7t/7rZHy/UYHB7UWZihlhu/LbKTbpUUHClvX2OevpVKBwivDLEGjd/nikRmSI4OHHPB4&#10;P51bt5NhEARVdgWkcnO9Tj5efx596mfKtHsXhlKT5ZO347mhKoZ7kEZBZVQ8hMEbgfYYPrWpaEOg&#10;fOBjYgHG4ckZ/CsyRg7RCLIdUERU/Msi5GDnrkgYHtV4xyqAPKJBIVMH5x68da8qsocqjHb9P+GP&#10;psNF35tbLf13+41EaVZDE4ypO5iAcjIGB9f8KkhDRSPuKvkAQlQQARzyB2zgVHC2yeIyrgMm4nv8&#10;vQE/1q06shLoMtgMnIG4g9v89+a4ZrZJHu0LOKTei/4BdELSwM7FOSWDMdxIOeSRzn8O9Ub5VSNV&#10;Zd6yjYdjEqcZ6/57Vfj8ry2MmRhOoyVJ4xn9BVeZQUKYVo1w6sXIKAZyB/ntUXvJyff/ACN3b2V7&#10;6v72VLJ0M42gKVj8sDGDHg8E+3A5710TRMZopAI8qhIOflUgM3XueAD9RXPQB/P3IyHOAfl24Xpw&#10;fX6963RcNEBhQUC7xltpTIxx9MkcetOs256aM6sLFOKUt/LsiJpSZlViSRJ8rbRtTb94dyc5/wDr&#10;VuxThyqFMK7BiF6EAnJz0x6j2Fc80i+aJHIZW+dDjcx65ye+eAavRTli6ASKAgxwdvzAEZ/MGsGv&#10;c1Wpvhp2rOMn7qt+C/pnTx3QXDOxaMPsXcw3NkHJ/Hk1s6dJF9qdklEaSKxjWQBSUIIYn1yOuPX2&#10;rjiA0cIkViVH8PzIzcdSOhx2q3ZllIdJTHhy6lzl48DCn16cE/rXnVKSm3L5f5fkfRU6qUIqTv0O&#10;8s77fM8imRol+RgGbcQvCk+/Tr9a6a0kjuGeadcyfLIruFfHX5Quce3Xv35rkLAQpGAuPnTLMcxl&#10;nHJ78g7hyPX8t23uUt7UAB3kkXdJtPGBg/L1zkdee44648+pTjTk/I9jDv3Ulsd3ocj+cXQhg0e5&#10;NrHDKcEFiD155GBjOK6ZZ4C7O0aLG7eZI+dzOVbGPY8t0x0Hqcef6Zdra205wzvKpUooO6MfMSfX&#10;AHzdTjk10Mbxi2jUFWwmQ4YMgGMkHnqM4znjmvOqXfTy/wCCe5Qimmk7vR/Jf56nocd3aGGA25Ik&#10;UBwAgyMbck9x0H5GkS6UNJI0iB8hlw37xTkHn2xnr7e9cda3vnFI7ZW+QGYOTvnyxLMTng9iBxgj&#10;8K0vskpZZ41ZEaQIQyeaN/zHBz6hT04OD71z1aMlDmluz6LBVYQ5ebZWO4t9QKQ74o42Z4lhW489&#10;YwshBYbQDknhhwABtBz2r0fTEt4kgSLVVa4S3F1dz22bprB25KllYnapIGWxk52g8E+WjTYbuy2d&#10;CkTsVYEb+Dhd45Geg+oyccjX8IxW9hLH9qSd7eW5Kz20ErJFLg8gnkYXovBIzXNKMWlKWqR7NGpK&#10;rLmg7KOnqekeGry71PUGt55dkYkMe5iI42BKnkdOdmRhuMHk85920aPT4bS7vvspWKCdrKKOSfzI&#10;5AkiorFycjcV3HHA3EAKMAeDpe2hjlt7TT47SeG4LrJI5yvUlGGOeFGQPXvgg7MviO8TyLIs32ck&#10;HKGQREtu+XYdoYkkNyDyuQcHLeZVvzctON+h7VGmq0LOdnf8D27Vb6PUNRtjcxW1vBa2iKVtLQWn&#10;CdXZVJ3klVUFiSoQZGKzr3W7eW0FubedJLfMcDyZKOo5Qn5tysdzZByeBxjgeX6fqN0C0Vyyu4K5&#10;mnBSUsisoIA5HVh0xkjNdlaXljLaXNizRljIZ1dVPmM0nAHmDHIDEnOcfMBXDUqJvVWZ9Bl7lScd&#10;b7fd/TOosNble2WK3VJJY5JJIkgwIyWzuIB6kLKBuYdOBwMD1rw9qTajZSySWCx/ZgwZiY4JS2BG&#10;dnQt1JAUc7VJJIBrxS2ihja1tWSSZ55ltbeIERKzMeDu4KgBe2MAdOgr13w66Rw3F7p/lC6ithM1&#10;rA7zxI4BEgZ/7vQH2GTk4AjnSXK1d/qe5VhTqYfmjv0fqegabLLLpWorceXPbyjMKSbpRs2lcEE4&#10;Y4JGVz3GDnnY0WzkSCS0lu8Je7UlSSXzIrdSqYO0cnorbcAg45rjrO51eLaJo4Fe2jCyXUcIWARb&#10;trNhsnapkUqMZ5yT2bqbq6nXbcadIthqP2gzrFFidYAvlgHkYIxuABySV5GDXOudy5ba6WuZ/Vpf&#10;CmrPr27GlcaBZP4cnuFkt31MXxSeSEYE6ZQxowxv4ztBJxlieahj8OSNFd3WlRqZdO0/7WsCr5KX&#10;fluN6lc5PCI+GIA3YBySaoW/iJbe4t9MdQqtERIlrCVgdy6s0soOWZsMmAABzyMgV3NsWtllWQjy&#10;GiSXznuCCxJKhMk5JGOVJPDc9q6oOStJqz2+ascVeniKdoUtb6rs07HEa9pela5c6S9jpMGj3v8A&#10;Zca3F7FI4e9uJFUPcyFmIBO1CFUBep+XPPQ63pOh3Gp2kuhT3NpNZ6TFDetqVz5sCTsxLkFEBVSr&#10;W4CrvOfMJYfdrQwskUsax/v2RYnnSNVdVUEh+BkMDnB4xt9OKyf7TS31iS1vDZWsQEcUl7MpmkKl&#10;MGSVXOCGKMeNowBlSeusq8G/aSSu9/UwVGu1d3tC+n3f0g0oxQ+Koh4ms31KwWRY/Ogf+0Xig8sM&#10;zKWY/MWLAL2JPA5rlvFen2FjqV1f6MsRtdTv2ikTaiPECsaRBlGSu4qD3GVIJ5FXdRW4XU75rLVI&#10;Y447Vv7MkVd1tLtYbipJwONoAO7LADB5xw+uXNzEbC4mms2gjzvtom+fDEZEisDuUup2t05PXcal&#10;YyTouNVfC739Tmnl/tsVHEKWtrNfijTv/Dl1qUVpe6clhqMd5ItnqVil80lzE5KhSY8YBYn5csS2&#10;W+UYBbxXW5NN0q9m0+ezZLyz3wXESz7HBAVv3iEHDAgsAeMEHHc+q6dr9nHHAY7pbR0ixuUFgz71&#10;ChZFGTtyRgEfd74qj8S/HmheOrW9vPGK3OpeMorKys9E1+31CWO4tbW1V4hbXkRUCTKlArSEsDnn&#10;Dc2qkK1Jyi7O+nmkeZKji6Nf2Uoc0H12a/S1t/Q+d7/V7C+jRljuHvbS2MdtJHbEyyFeAHOd3VCS&#10;/PLE1wGuSypbxXLXNhOblVkl2xeZNbhgMRkOi84X+EsPlHPSt7WbyI2bWli7M7SCdmRcOm8tli/0&#10;A6Hox7jFeda1G0enFkS6imiUJvedXgBJ2kDHGAM87jkA49+/CSqzV+rOPMIxpw5oP5M8s1u+Nwbk&#10;edIZIwYwzo3loBkEgfUkenYmvKtUv3RxGLojhllPlgBWYg7gxHzNle3QFq9B16/tru0mjacxSRRi&#10;W7FvAT5hJUAA455PIBPOcZzXiXiG5hMheJ/tL2K+SnmDyt+XdhhSclgDyDyMAHoRX0OEh7qj+P3H&#10;w+YSUFKUt0/1uchq+pSymUMnmMEEayGXYxA4JYADPHr6+1caSC6sV3xq4VkHMak5IbHrx+taF5cr&#10;OWCIqocLuWTKgEk9OpJz+NaGkWUMqSmTIRSSV4LMByAOPr+VfUUFGEf68j4TEJ4vEcsHvf5MyYds&#10;twVO1IkjKpCxw0nUkevc/nWrDZrcSKCiJHvwoGVdRnJ6DHOTV+OxWd4rhY0VY2KMCwLtyRjn2Utz&#10;/eHTBFb1pYIschXYY1bd8xy2SRgj19ea6K1Vx23Vl+QRyxSTjLVrr3/r9TlXtjFgRhYwwbO7Klhk&#10;Zf8AX3FPtpTE4Dl9u8cByvy89APT09zW9fRKXeK2UIXJycHd8oBHHbOT+px0rAZWQ/IVZolCgsPm&#10;ZgSc44BPPfvms5c8oJdevoc0aUsNiOZJdv6+46GCWTCRR4CDLnfyGJHO7j26Vfje8QI8ZYRK4JhH&#10;AlBJVtucZ+7geh785rmFuWhMTwrlxKPNB5DevB7Y55/KuiOurLFi4aIm2k2ggHaeMlVXjgY5x61z&#10;zp2fK1oz01iOTllHRJ/gekQ6tOI7eFpY96ttTYCFAZzuaTgZOe59McY46HRdduV1jyIrl5plQvay&#10;JGzmVweF5wMknauOMj6V45BqiX8v2aGSRUYbEOQxU8fMx4znJ/M10eg2Vy08gnYxyMrIhnl2IWAZ&#10;kU4BIO4KuQDyR0HNedPCKcbyWrX4n1WV4+VOa17flp959t+AtZeKC2knv5vtMjv9saPa8hjf5dqg&#10;452iQAZwdwGOM19JeFNVl03XIoIb2ez03VlJW31PZYBGfPlgscACRFibLnJUhumM/A3hTUYdKkjj&#10;vbqRU81C8gJ3ptw/yZzjBB5Ix0yMcV7d4Y8WQ24t5brU5dQs9MMl5Zy3rMxvV3yBG29x85JB7cdi&#10;p+dr4apBOTXnofe4TFe3k13XXrc+89A8RW+geIore+jl1C212IypbTnzLKMpj5WRTkDK5HQknnjI&#10;r678JeJraSG7zJCn2y1a0nhV4ntZoGRUZPL5UE+ZkHGeA2cjj89/D2NV8IXOuW076he3SJdwZXzp&#10;bdCqARhduVACDoc57Hkn1X4S+I7uC3uV1t/MgSYW8jkMcFAwXA6HknHfjqBivNq05Uazt8LXrY+x&#10;yxQrYWVSbtONk1322R+h2k+EvC+vaNdRS3VxZ8xSW11bOLmJU5BTyvlMh5QY4OVOCM10vhe18SaT&#10;p0FxcQ31xY2RlthI8c7QpEFcCRkT5vlXDjcDhlAGSK8T+F/i+yuJDZ2l1aR20TZEk8jFfmKHe54B&#10;x/s5OR05U19PQw+JNQ0lPFOjxytYaCRf6nLHbzXaH7SsMKx32xG+QuIo1MuY1klILANmvOjLDVtb&#10;e+r6rey/y1PaliK2El7KpL3ZNfF3atZeux6K3jiC20iOfSJb/wAO/wBr6XPYXNrr3iC1i0zUV+zR&#10;LKC0cSyx+aySEJKpByFXzCm49b8IYbrxB4b1C/vnu59d8O3d5qrR2FkHjlhgZXu1bUQ6vMbZSrKV&#10;WVSJTkgZzf025PinQ7LwHr/w+tLDw94luJ7XTPGFlstPFehQToEuVkukjQ3FqP3UjwMWG7awCsFI&#10;8t8GeBNT8CeMvHfh+18exPBpOoXuk6R4r0yzNinikK7fZJDavJJJHBKsolY7ndEYrnIxX0MfYYeE&#10;MSpXjNcttrO17pfjfY5MBKni8NiMDFezrxanHRzUoKSSvJbPW3K9bJtbXP1s+E+r+Dvih8JvDVj4&#10;vRhpfh7XYpf7SkkGmzwXN9b3Qku7iaVXLeX5kcSlEVEjjOWIxnJ8A614v8N+OtT8PeL9GlsvCS62&#10;fDyeKtKtXt9E8S8fakSK9cqzTTpOoV/3bbFAwpDiue8Ai31nwJq2l3OvJp2ppaTzavcaUXfU3zC8&#10;tokfylG86TyoyAytgSn7qZHa+FPA3g3xN4Ci1LxDb6ZYeINBl+0XfizUNRuJr2xmtpJPLsIZGk2Q&#10;75YpAz7SxXALDCFfp41quIVCqmlOMbp3tzKNlyy307Xt11PxbMaWCy6rmMcRzPDVqqh7PlcvZSqN&#10;yVWm7r3ubmdoqV7w93Zn09e614G8KaBq9+PD09jpthptveatoKadc2ljqd5JAUAihlUxKpAg/wBI&#10;QCaRmHzOzHPLX914f8X2VlZPqOn33iXXJ5LvV7KxF1pOlWFpaJFKmjzyFAyRoimPyUG4t855K16d&#10;oqaxqXhfwjJpiWMmgtbQXGsa5f3MovLie2kRbe4EaYbbAIvNXLqHaOJchAA881qI9SMF5qmjNo1v&#10;psd/ocNnZSW7arJKHjW5tLsTOYpJZJltpVcvuQMVwGc19ZWoOpSvzJxaW6SXdvft7qdrb2Wp+FYf&#10;H0MDiZuHP9YhKWvtHKT5bQUWuR2anafLzRlyqPNJKFl5pcXmh+Jb2zu2SRbdPFlj4Q1ZmlijtIWS&#10;wkErAbRlIZI4VDsTks3Teqjzy1tALy20g4SS6kuI2t3uT9jV48x7wBkEBgCAODsHIB56z+wY7HSt&#10;a0CKcwPqWsxai9xcCNDeT6YiQanljxJtlchADnLq20Vx7Wo0/VLe5WCWTT7C8e0gKO0bOA4kALg5&#10;QNuOSOSSccrmvj8Y6zxFNTSXWTXm1p92vzP0HLI0IwqUcJUfIopQTv8AZho7tpX5pONv7m6Op8Jy&#10;Cw8VGwsc3C3dilotvNGI45JXCyAKOSCHXaDnoOeCRXp1zaGe+gitdhjvoJbyN5WCRQiFY2lSRgMk&#10;F8RDIP3lwMDj58mvdQ07WNIv4pYgElN1F5SuWhaNnWBXfudp4wAPmUZ4zX0BdiAvYWtrcCO2tLwL&#10;bajOHcNBL5kwkkh3DcymUKrL/tdBla6sradOUGvhl+dn/nc8biTDTpYuhi1K7nBpuzesbpt7a35b&#10;JK7V90YF1cNPukuvNsbe3voLTVIYjL5MAaOdvP8ALJwSpU4IH8RHHQ8Lrckd7bhXCPLFZedIjgbJ&#10;JFD9FwP4Mdec+9dN4uu9rahOsqXMskZhmYMUgvyhILFWAyWYtkEdWPWvL727mzPAkswumuJUc7hN&#10;GxZFAZcAru5cZUkEEYxk5MXraMnp/Wn9eZ6WQ4KVWMMRHTay7WSv52vpr05ex+Mf7fvwB1Hxl4iu&#10;PE8Ghar4kudQSKKx0qyd7eAuI55ZiJASfLVbWeUhQ3BOQQM1+C3xR+HK6NO9qLOGJ5XEdwtq/nJb&#10;bVIcZA4I5Qkg5LDOck1/VL+1Zpmk6toGjJqekDXnVS9vZxLPNMzbpX8141yNuBghh0Xj1H5HeLfg&#10;/wCA57A+IvFEmsWVm8bfYtCQQ6dNq8rrthkmu5tvlx7pIZOEx5SOSy8Mvw2OpwrYn2cNHu30+/v/&#10;AJH7llGOnDDNYhXtokl2sv07adT+fjxNpRtbqRYgvmxthJbmPGMllAyQAeMfj1HQnyvUNHmnMpSK&#10;GSVHLLI4UxKvOMpwORgDp909a+/fi38LhYhhaQX2qLNfzEyGIR23+seRoYnIw5ji2ZPqrcdDXyFq&#10;OizWtxcR2vlI6KUlbdufAIzkDA6MuOK5IVPYT5Zen5M9fE4WFemqlN6Hlmb6yW3leFFWEhkmR1tx&#10;AA2SOBjlSVwecHrwBXsPgvxw0sX2a98hCr5XzJAHdM7FxyMEkg4HQZ5rz7UrHzLeWa9uY5RAvAKA&#10;BM4PzEccnPI55OR0rzty63JkWGQFn81LiCUo7HocsTgdem3qevOK7KlGOMpe/wDEefluZY3Jq/ts&#10;NrBvVPa2mx+g/hLWYf7RjgLGO2uSZpfLbkKQATnjHfrn7x7HFfQltrVlFp7WmJJm8t4Vt4ZwxZ/l&#10;zIq853cEfj2r8vfCHjqWxvILK5Zo3jcJDJcMHD7nRSFx7HpwOO3Ar6Z0fxPI9zbTRTTiMR70IOZI&#10;yRyQw/ukDr2PAGc185jsFVpO34n6Dh84o5xSjVpzs1uj7c8G+MJIYDaeY8ANuWEiyESL8hDLhSTx&#10;xznk54rqPB3j29tJNQF3LfXUzXHlCO9YrDAACoKZODgFhnk5LeuK+Q7XVVt44YVuQoOHgWIsA4+V&#10;cAdgATwey9RnFdiPE0qNHatNKWukbakRC+a2wkbnXsGAJ6EBjg+nl1MOpRjU/lv+Njuw7ipy5n7r&#10;t961P02+GXiZnF7cm9uXmAkUxSz7bJQhVQiqON2UfJYnOABxWnc33inS9WvDJNFJbzStGtoqOzox&#10;BeRpJIzu2AHPyYI2tz1x8s/DjxNCsQsYpJGktIRDKMZilJVcOpz9QCQOnTufZl1iW0itfMmuGkiY&#10;yIPLZkYmN1kZ3A4+VmBJP8XByeeTkdSjapFrlf4amKxTp4qV0m337L8j6H8OeIzqawi5z9sjfDNH&#10;8okUIDtJ+ozwccfU16rpOp3cdu63ZuJVeUSWpDtEqjeSoDDBUcjO0g8nBGOPmTwVqVybvYisyXT+&#10;dJcxbfLiXJLKgx8uBwD7DrXuWga013dGyeBJo7eZSyO5gSMeXJtfcDl9xc7hjHyDkYIJQpe3wzk9&#10;GZ4rESU5Qp2std9tv1PoHR9SimtN6bGFufJCTyNcXSMzAsuGyqjDZJPI7YOK661k824tDDG7XZOQ&#10;XLCILuyOMdw2eMklSCa8ZN+8cUdtYQozFVuLlzGRJbuRvOTjLbW4bru25BrtPDHiazml0+FSPttu&#10;5ae7ZMuiZA+bjhAR17gAnJJzlTjOm1KT028jxalOpKnLE01179Lfke42rCceVIwkktmB3ZOAy4OP&#10;UgjGDn156YjTU5bm8kjaKSVo4TbqxTKpkKpIB9B/Tr1rEtvEjJeN5Ns4jUrCbhFws7ZbG1QM/wAJ&#10;O73HHpE+ttb3jiHEUUkAkEiLudQV2FF9hhR171q5Q5Xbf809PwOXDzqt8047rTXZ9Tro9R+wTysA&#10;Z3kmC7PlZwFAO88MFyMLkdD+Iro9LQSNdXkxgd5NhUb/AJ+CGTcCQQN2WAx6HjdXl2mTIbjzI0l3&#10;SF1CsCQ4LHaSpyQFCBuxzJjnmvVoIraw0yN3nRPOTIKN5hHJzkgdMAgf7p46VnFyqxU4q1r/AHaE&#10;ZhKlQajB6vf8DudBkt9Og8+QrKzF4nmjkAKlmRAoHJOSSuP6cmzFfRX91cw4SPz3jmnijVQIo4lV&#10;OB2O3aDnuo71yFgqW8BeRmdYyZ0KSbjcZIK8A+sZO0nn0+XJ6Hw+bOK+na5lkdpEWaZ5kAWJyoUL&#10;GFJyckYBAJ39PTaWJVlRukv+BqfH4uEfbVKsld/8E9FgUvpdiYssFjEeDIXGSdvHrjaACPzxzUKI&#10;8W+MzNJfNckRWrEMGjABHzDngyYHXOPertrcxSxWcZJZobcyOuMyE71GzkAjGCR7LjtWJqE7xaxd&#10;CICNtPnjF2UGZoPMlfOQThs4YBRxx1rllKM6bcbNaHgQjKddxem7X36fi+nl1M2+tgUikmfdb3AM&#10;kz7j5gCqgVt2QQGG4ZH9zkDOa5KyYGW7Z5V8xH3uG4YfNyo475JJPPzdeBjvfFE1rF4fthA4VIby&#10;KwkaQBQkTNl89eQvIGSB15xz5brGoWyWXia+tIkhhXTpZ4XRMmIhU2qMDduVVxznvx0ztRqU6E24&#10;9Lf8H7j6DKozxcoNpr3uX8Ul+DPZ/Bd5baU82pJ5KmcL9naLEgJcjcQPYc4Ocj2HPr39t2Gpxohu&#10;YW8hsvOTlPnUgH6MQB/wEnBr4R8GeKJpIfLe8CvDJvtyhAgkJIBLnpwDkn2GBzz7cvjq0jhaOSyE&#10;xMSPNcRIsUiBiuCQByvJIwP4j07/AHmV5xh6lKHs7JNbM4+KeCcV/aTlZyqXtdaWWiW++nnu3oz3&#10;Pw7riRaleWRliUjEtuVIfIb+EH8G/Ku8vLiw1nSWt5liu4UMkeGLPEZHJOR2OMA56fL7V8rWmpRn&#10;WYbm3nKLG5McySbdpPXbjqSATx/tV6XNfyxWg1G2lkCy7F+VsRZyOdvtgjPv+FelSxnslOTV4dvI&#10;+EznhlQxdKtTk4zfK09veWn4/wCfqctqHha3sbyX7XaK2nSZNooIRWHQKOxIHOMgZq1b3A0uKOG3&#10;Ikjt3WX7Pc/PEImAbgdSDxkHjBPSrq61FqML2NwsZumlEDRXSeXFITyCr9hnb834V5b4m1K60x54&#10;LUCTyQd8s3AwAcxkEZBGc+nTg1x0sRQw9q1KNoyf4vp/Wx9bgMPjszmsFjH76tv8LX82r69+vfot&#10;TV/EsVyl40JdI5laJ7gDaYSG3nb0xjZtGP4civwo/bm+JreI/HL+EbSaIxeHIBYXMUMoeKOcH96V&#10;2kgjd5o687cgjPH6MfGP4vWHgTwTrms3d6sFzJBMmm2xHzyyNFMixg4wT8ysVHcevX8APFHiG68S&#10;a7fapeyEz39y91OxO52Lb2GHPYEjJP8A9ceTiqrnU556u/3I8bj2vRymlDIqDV9JSV9dLJI59jtD&#10;KxUEOfmUgJnO4tzjHQkk8cevNSGOE7tpaNCxEmzKMhYsAc9/4eR07joWjQggDnKErtkG5QcFTj0z&#10;jGOe3XpTokjLqzsSoIZiPmZWBBI59Ox57Y6VzNtc0bf8HbY/LWpuXNG1rDSNio2WZ2CoeuXJyCwG&#10;Ohwc/Uc0rK7vIFGN6sGCyFBggK2CMckFeD6Hrg0n+rxIyu7IoDeWwRWIBJwvBwSo6A4J7cVIrZQo&#10;4UhsJnfhlOSPkz16scA96TSsmt0JuU6fL1f9X/roQbAWWPZ5fzBXYkFSx/hHPGPl9sEAdDhjxlIy&#10;XkdGZ/LId8oV2bcL06LjjGMg/Wnk7gpbar8APGS2QdwVugycr+h64qPKgRMSEV1UMjdU67lGR2GO&#10;ucYHWtLJxtJ62FVdl7u+hBIXXKlXVx67VJ+Y7Sp9SoVuOmfaopuSFDZYndIfvnG4ZXr7Dn2q4xiZ&#10;hGrFnbaApYIgDgEEEH0ZR68nngVS8wKija28ICrKTnJOAck8deCcYxyeKhNSvJLZL8TJtxdmyCWQ&#10;MyqhCuBlCzkLxgjaMdMHlscY96hkVDHuMat13BQQmGLFcD6cbueelWBHvVl2kguu8AghDgFQAOuT&#10;n6Zx71C6bAV3CRlyzkjnPDjPOcZYnA9z3NEeV/u4PYbhGDlJy3tb8ymo2RLkO58ve21/3APHzDdk&#10;AHA6dgOlRBSDJw2Xj3AFFUNnbgZzlerH6nHHNWpNoLjylljkYuvG3BfBJC8k4Hzbe+3vS4KyFowU&#10;SQ7pEVgQcAkg8YAIH0OAOtaO6g31MpTlB3T0ZSZUQIrI0p3ZKRIzMV2cbXJGCT3J/i+gpzAs2WEY&#10;mIyhdgd3Qrn0GMdeDk5HSpTGQQCFQOSiqWDBRlW5JBK5KqD2AU9AckCBZcgsVDZDKrOV4wwUnnkL&#10;068g048sbc+uxpGLjNyWy082uhEUAG4pgpCWRSpO0BVBBJHdg2P94elEIUkbWGZABlpSqHbwevAG&#10;Ap9sfSpinmKVyfMWMpkENIWQoGIHXPzYIPfFAi2oswwAjA79vmKVO0kD1BU4PfnAwelN2WuyEpLm&#10;U4r3ba+l0M8lVJZV2qW6kBoiu5CTgjk9Rjv71bgjMqOGJOZfKU7gzxluu49DyWOMnO0c9qhEe8Am&#10;R28tQAFUkjbtwDj0GeO5Uc1ZiRQQzMXdxtVMbiRuwQp7dFzz/Koc02r9PvHGEm3NK66f19w7y3Xa&#10;VDSGNsBWb5GHzHacgYHOcjjP05BGC7LH1LBQzhTuXALFiDxgFuWxyPxMuwRhIlYk70jCycbgxypP&#10;p3GT3BNPSPzJHUIY9oJV2iYgAHgEkfjzz0I6U+Zyq36vYhxi5cuv/BJYMPGuz5QpCAhdxyOSMduG&#10;Xk+pp6Rxh94VkiChfkUtEBhWJKnIU5Oe+OeBng3MQ0iAy7BgoreWhIyfx7D8OvFWogkkkxxmIBWQ&#10;lPL2jnOBzk5BJ/yTDjyK0/n+BpCKlBQjvuv68yFIhGWCnAxlVOd7ctyzf7pQA57deasiNSYI1Rvl&#10;fLOgDbV2tz16dQMc5pAnluzfOyyriQSDZ2CjA6YwvUZ5A68kIGK+YIijHfgPIrMG53ZYbhjv1I9M&#10;5rRtX7p7dBSd0k18uu1yRV2OSoTyxyWJAOSeM+np+J5oLtIrZZYWdfmLElWIwcKBgnkZ9u4NCoHV&#10;tzE8Y2su7nryMD/eGOlH7kKUbDPJmTcGDA7QRnPfGDzyPl7Vn782rq1txKkuXlTsxYWEigNtIWUs&#10;x25UlgDzjjHyDpx8v1pspQvJuA27dzMXIjwuQSW44Ofp8tNLLArspdgV8xwx+ZQFy3p26fT6VGfM&#10;QLM5VWWXYFj+8yj7wBxgHoRzxu64HOrg2+eGxdl7KKtqWPkUBYWEqsfLDPIFHyEqqhjxxyOp5P5V&#10;RvyFTYEJ2rIVxIcjByef7v6dfSxKhBaV06oRIo3OinBLBVPUjODjr61G67UZ2J8tyTxlpARzjg8Z&#10;IPB7ke9JzUfdWt9Ljiozm5eif3X/AEGmX5XJBDKoXy1wyqSecn0GScgdjjJpA4V4wXyBkBiBjGOu&#10;M8ZBzSBZIZMhl3FCCSoCvlgCW7g7c4wccEc8ESQRkbkOHL5V2YkGM8YPqR69M/pSbhFcvUU+ZSal&#10;v59LDT9nUvvbaiuHJB8zgAE8E+xIGOakleNDgKSBJkKTkB93Ptj68HPpxQXSMgOoWMKN6HgMT0Hq&#10;R/8AXpgLAKxYCRo0bAxukIIBO3I5xg4P/wBeku9tP66EuS5dXrf/AIYcHxsjA3BAfnI3EYGBuOOS&#10;cAZHOQPXlGkjiwxUAFA+cZcnJJxzye5HtntSjEOzz8PulwgKkggj5hxgE4OOOOR7kRyMVCmL94cE&#10;4djvUYG7BHcZP4A9MVUU7+87bFK6tJrRtDV2pNgyZ6eYhOW3biQFzyMc/l7YqRS0okVgzFgCzZCZ&#10;IbJIHbOMHHUMenWml1bzFwqAr5m9wSQeg5J9CcewPrTFXzVYhw28ZaQthZPugH6jHXv1qpRclbsZ&#10;WUo8ogLp5ismJAdmcgb/AJeFIxweT0Pb3pkRh8xG+fcEEkUYJjJBJHCnn1HT+VPVCBJhmLkBm8xw&#10;dxBXhR24XO0ccE5yeYygkkil5Qqqq8bDkAYJGcegPbP86drwv2E4OTUU9R5VpcSJOqI6hlVs5AwM&#10;ZwCKKZJLJvbyzGUHALMFY+vG0980U1XklZR/AFCf8v5+RhqS2VKnd+8lOBtyRglcMBySq9QMEYqR&#10;YmLgJj92o3gKNpxsJ/HBZSf5U9Q4VWQbGaRYwV+VlKoBtI5I6OcjP3wOARhY9i7hGxIkzvWOTcq4&#10;wwTn2GOufmHXkjnqe0s0v62MpJSajBf1uKuxiMRjJXfvxhW2kKcc8YHANAjPmjHmEsNuCAYi5ztB&#10;5JyQB+AHHWnKyqo2KDvjIVd+zdgq2CmOMBOq/wB2n5ZQfurJuznAIcBeSPXG4emcjkZppvnTlqmi&#10;ly6U38QNuHlFAAI495BQApjnOOOvGSegPQ9KXy42UqSuY3MoUgIF3MSO3XIJyR2NSowY87ZAEGGD&#10;Fdo5yMdiMdT6dKsMIgpPl79rYcK+5052n+nQ4xiocpWs9PP8WUlzy97rr5FU2xHAUIVBQRkKqx8h&#10;SBz0BIJ47D05dEr4clQSPmYo3lbQxzzjoxHt0AqdAVHzNmR/3krFAoQEsWDKO5Y/j19ahWOLG4Eg&#10;ru2sGAlQ9yO/8WTntxRKUuazl2saNwctH/ViRVki8rHlYSFV+ZxGvzEZLMemOeO2MHmgedNuQiNT&#10;HxmIhkDLu3/hUpQsqs2CV2sh3MqgqVbc3y5xkngDIwO/FVGAZGYqQ0bqsbKSQwBLH5c8c5B4yRnk&#10;jFNvljyvUVNSjeGvVenW3qWPNUkxbdpU/IDgqQOgA65HHanq3yxoRhcHgtlwCuVAHbJUA9hmoW24&#10;3SbkkVQCA+ETOVySDg8lQBk4OaU/MVYylULeaqCM5Q8nGe454z6DNTy8y9xaW/GxKUXJuUra/gTs&#10;wUDGCAwSEqpZnzsXAHXc2CAO+FwM8lssRVmIfCSbDBEo3JJhUY7vl6khiB2U4yTjKnAkj3H5VCqC&#10;flExPUnHXtkHA69Kn81ZAoVFwgBVY3HXqMDjOe+PX3qqfu2kr6/oaVOVR5Xrb/gCEtjACMrgSBmY&#10;FWIBKg+4x2pQJA6yRxhCH5YNnyyvbbjHp9CO+eIYiodHVmO1clEkOCDu59uuakuWKuXGGXARBvzI&#10;u7ncD1I6kj6c9KmzlJO9htvmjyrTt2JVZE2JIzEyqqnP+yOABgckbTgf3jUbbn82RizkIGjXHQ7f&#10;XoM5z35Xj3jHmk78yZALh4yGZNoy5KjnjBPfvzUmCCgBLquQFkJy4JJG3GP7xHJHBpNQUtV6fIOf&#10;SSqJ+hAMiSMEDlSJm2hfKPG0YJ9Q3Pt2xzJ5jAgYAZnw+FwqDG7PoSOOhHH400IQoJGTkkxlSIzz&#10;uYe55x/nmSPySnlhl3AbWy2SuMD6f/rPtUttpSS00Rk25S5neNu/6DBIGbLBd6gKGL4aUAc9ORnH&#10;PsT61IVcqURdvzBlC4BbPGD34xkY9T+EPlqrKWypZt0gAJwMjpxyfQcVZMvmE7vO8woQrMShGB2A&#10;7DcPyPqK0fLay7mk2lT5pddQEbRNJIzMyCPaw6mMgANj6lST16+1OjUyIrb02nGcuuXbKkk98gZ5&#10;OAM9T0pqnayvltyYQFuhBAIx2yTgDPrTSA42r8zs4fdwZFAwTgYxjCqCe20epwpxUkwcoyqKUVpb&#10;87aEobgI6vyzEELtHAX9eOhGMt2wacu7CYRDJ5Q2sTuILKN2cHBxk8gnnFRqDK6xb1Yo2H8rny2I&#10;GAcEHOMnH+1nGcEOztJMfBQhQNu4kDAPHTjH0/lWcYptX38jT2ihdQX9XJG3Md6BcZMZKoJXXBU7&#10;cdcAgHpjO4jPzVXVYSXZvmHlmIiRdu/cOhzxnC9PbpmrEeMgq7qGJzIhIDZXDAkdsZU49c9qBGuY&#10;0faYAcLj/WKAxGWI9iD1J96qzvo9P60CKjJcy16D+VLDYwJy6kncp4IOcDtg5Ofw4zQC4bLfM5Qk&#10;qABLlc5G3k8n17CkPygNtG3cNjOx3DknKg++fbr3prJukLIUjXaDHgYD43c8g+o691PUYJcXZ3k+&#10;n37EtN3iviTHBlVxxtBy+4nbgYJ79z69tp60rARKFLqNqkgOhAwTkcA+4/An0pNioTuwMABgGUgA&#10;YJ28gdWGfw+tVpSjy4b73mAELlAHzyDnscc9eKjV2jJXHflu0tj5z/ao+G6fEH4Y65Y28X+nacg1&#10;XTw3B8yKRSy7gMlsZAwB9OmPwNuknhmmgnBjnjm2SIxy4KsVZW7dAOPx71/TlqEP22CWGSKGSJ4y&#10;skTfvBKsgKkcjgkEZB7r3wDX4VftRfCZPh18SNQlsoCui66W1PTzwNjuW3oxzgENnjP3dp78/ccH&#10;5gqGJngZvSeq8pK1/vX5HJi4qdOMoJc0H/5K7N/c9fmz5sij3Qk7yFKEsq9TnqP/AK5wOtYOo24E&#10;ocBBGAAcj5gT0IH+NayOzeXHEBEVJ3PjEeMAj8utMuIWnBZlCog2l+gPOMg1+i80otT5tTOk3NSj&#10;JNt2aRiWshAkDIroSQAQQBweg/L8qsQyFWDAsdpPOP3Yyew/D8hVKQmF1CHKAlW2gEED/P8AOp1n&#10;iBBVSNpAyWIGOOBzXdL3o866nm11GlVvJa7G0kE0sqsJTHGFBLADeDwQeufbJqQ274Khwp3Es3RS&#10;RjH4cnmoYCZC6s2W/iIQEsS3QnP1/P2rQnfACqpRlGCT8qt8oyDz0x615sr86S0PRoNOk3HRtf19&#10;5kM0gQ85WMnLAclgcEEfX0rMZ2VBzvOcEnCM3B5Pfnj8K2ZW3cFVZHAKsBgjtn9PTtXOXEi5YqGZ&#10;geuMEHgE47961hzTlZnJVjGEeZvV/gRPMx3b2C7sgbcE4B4wOnt+VVpPmcy8t82WB4I6/wAx/Oom&#10;lVztUHAP7wL94nkn6f8A1qaJFEZQkMygEDkBASeOvpg11qLUvd2Z4kpqSUZu61/Ajm5BIDblGEIJ&#10;UkA4/DOTWPdN5i54y7YxjdnHQn/PrWzIrYO18FgxUP8AN7/5+tZUwVSAq8EBj7H1/nXXTUluceKk&#10;pSbKlhEsl2vmRjZEGdz90kL+PfgZqqXle4aaTcXaQu+DkdzyfzFa5P2ewdth828KojHkhAcsce5G&#10;BWekYYAhiAHw4A2EHPX8q35pL3r3X6nlTpKpFxvZpfqj0fQ5y8AxtEcfMmBt6jrjpg8imfYFkupI&#10;oGdJMboU27xIOcA/geKd4YSJoTHkko/zBj1zx1+gwK6aWKMTZaPDhgQ/TaMHHpXm1KzhiJ30b/4c&#10;7qeFVXDRhJXWj79LfI5V7F2kS5yY3E3luhwy/McFW9Rzz/nFq8byWAS3iWaEmK4lUCVZeP4R/COn&#10;Stg+WhZWUHCk+ZtwGOM5z7/0rOuIlZgy4xIvQAgSEd/1NaOupL394nmvAUaM/aJW6P7ygryltqts&#10;IjIzweSMAD+grZWOcQKDl2wAQrbieccDrjFZ6ZZ3QA/c3CTGeQCcfhmr1vOChUgkHO9s8k7gD29N&#10;1Y1ZRnFOPT+v0PQw0knZvS3+RbCq7D5cyqSQWJJB9P0/U1qw7ZN0e5Q6RholYYGPYdOxPHtWTGsK&#10;ySFAwaVQwJOc/U5qwHYZaMgkJhWC7ehPpz0x1riqxvpH+v62O6lKPLGdtdvxNOFmL+V8oG0sDuHB&#10;z9eDU8yCONt0YVwpCE8L2OfcYz1qjbXCM4AXDOo3HG1T1JJ/LH41auR5sLKmGJGSCduRgjdkemR6&#10;e9c/JODv/XQ9CVSlKOi2t/mUiHCq8ZXClWyBu3DjI9u/6Vdlf9wzP5jYXaFUdRngn8AeTVbTFLwO&#10;si7pBJ5ROcggEjj/AD2q5NEskeShCKmAM7weMnBH4fkaqTtVafT9bHRhZS9heEbNp2/UpbUBRTlh&#10;ztY/KGXAIH1yasQybZAPmKEBT/dI5GB/u9MH0qCZyksSyIUDNkKzfKQB+QxxnnqaV4t6qUCrhucE&#10;dQx4P4g/nRKcpJQfoRGpbELvfVelkbsLsyAqzfvGAWL723nt07dfxq9bFU35kDELtbPOcds46nP6&#10;VQtvlVdzIGVCwLHcARwTu/MfjT47hfMZI2I3sXKsAMFQTn9enf8ACsdFrI9ujU8rf1a52lmRGI5Q&#10;x2S/OqkYKEjkHHuTz9OBnFbGxXMSmVkLv+8+UbWOcAk5HX17e/WuZtblFjVWAUqeCXwASBj8Bgfn&#10;WlHOkrRFSWUEg7jgAjJwPbAPb0ry61JuXLJHs0KvJFQb10t29TuZrNU8sRNJnoF5VYzjGSxPIbJ/&#10;P3xWhpqPeJIFDLtcecxIEZG0D7nrndnkjp9TzPnSpCvGBHiSQvJuYqOeg7HC/Xnpirem37CONfOO&#10;+ORmjA5DfN69ABnoPT15ritKScbe8e3hmopqPp93/DnpmmCOENJGI0deGyu7IA5YLn2zkHt9K2o5&#10;p8+Xuy0T75ElbzSCQ43kZyAMYweRzzzgcUdajsDAd6MSzECPlkUgDBJ9s/mavxar5zCSHa4SRoo0&#10;BBDn5T3IIznr3wcdMDgcKkpXkj2sPWioWT+Z6Dca00dq8cMaLGsbEbpCZp2Xn5VxwPv5z0JHXGao&#10;6Hrl2LpBLE6QZDKJZGVM+ucjluhOefxFYIvIEVGaQyPPud0cKIbZSzFVx0BAP6VVN8VZvLiRIfuR&#10;KmJAmNq/OTnByWweT905zzXPOkuVrofQYKrCClRnZL+vyPoPT76d5I5d7SM7FmG8EsDjJJHucnH1&#10;rort3lg89wNiArHceYMluQMeuMnkkfdxzXguka6beLh2+2bTGATwOSMAHjHB5PcGu007Xpp7AQX8&#10;gYp/qyfnV8g4JOckDjt1Brza9KctVHt8z6bL+Vzumn29DvdOltLmCSMTfvVYRl1IMzg/M53N05IJ&#10;Ix1PJ4rTP7zdbI0skpIlnuVyyxgNkYPbPfPb615XY6kYWllgZ0lBK7GTCx5GCrepwSCOnUV3a6wr&#10;wRwJ5YkaNmkDTmJ2HBP7sL83P8ZOOB9K86tRUlZqzPp6MpTqNUlt/wAD+ke02JtLqwhVLiW4SKNG&#10;jeKYveREvglAT3yT82ASo7gV6VoN8jKkq2YiD4ZUM+6L92SGdlHQnaOD6da8L0LULtIbaW1tI/Ll&#10;Ty2t4LgC4wFGC4wQCA3GefptAr1vT1C6VPJboLZpIyzRY/ePgcc4JJPGTx359ORQnCTk9v8AgH0M&#10;HRnQjCK1v3/D0PTRc3v2y2ivpIYo5beK9gKEztEkhyhZexYAMBgnBFXdM1CNr9JNWjvYIDfR3E8/&#10;mg3MojlUudwGBuDFdx4G88EkLXmHhuXULy0aTUbgSJLMJWliJRyEI3AA8/LjAJwDsJ6kAd3drd3d&#10;za20WkvcT3Fgbi2e7kWNbOM4m85gxCkqFDBRjO44GSauNTkbn8Vn2/A7nh4RSotp6a202PRdViuZ&#10;J7K+uLOOQLbkme0hN19pVGJCnco2lMqnGPlVTznJ1WWEwCUEPG9gZpI55hcxsACNwCcJtP8ACecn&#10;tVS2v5bzTYoHW7t3aB5ZoY2ztk5EWWJOckgE/wC03cg1Q/tKzm05bbzVj1BrSS3jWMiN3d0eMnZg&#10;Io5LluSMZG4jaeerWU6sp30ev4HDGLko6Wtpfy/4BqfYo7fzREs62UJadoXmlvZEYbSgVODu++Ml&#10;jjjr0OFcWt5d3M10k0ZlhiNq8mTItzwr7Sdo+bMYXGOGzjPfQtZbmSxdLVYi2FCRzNNcSkkDzSCo&#10;X5sRncpcFS/AIB2593qT2FujhJpDO0aS3LgKikxqUaRF4ztUEZ5+U/UVKMVTfNHVrTX7zmqydJSh&#10;TknO/UjvJBDCzJJH9qkj2z2ijiEjCs+4fdAKEbiP4a8o8Q3Om3F09o0zG5EYUSElYFycSRmQkKej&#10;Y2nnK9+nps1vFIJjn7PtdWXDq5ZtgctjJyDuHI5UsBweD5H4nsbD+2bVre+hkhvvMnW3iWPCTwug&#10;4ZSTlVKNng8IMHBNU2pUnF2t+mhw0ZXqyTT5rNq2xkTPbra/Z7WYHyZDcIqOI9m3fk9eP4uuee/r&#10;wXiPVJ7/AGs8QRPsqrITFkTquCNrYzkgKD0PDEnnFburWg0qYC3njkhuIPMco5k8gNJjYxwBu2kD&#10;HTLA5rjNRe7nivWBmgiEqx2sSgKrldhxgjJGPK7nqMDqaqh7t4PTVf18zCvUXK5rfpfz0Zx2qXht&#10;rJLs28wdnWMJHlMJgEZGMZwFwcevHJA8v8TavNcpMbS5ntpFkG6J8KkgGAqh89SWG4nj3PWvQ9b1&#10;jVYrANDbWqSumYUmUPbrwW37TklgQo78L7AH528Q6zJI7idk+dQrogMJcqwbDe2BxyCcda+hwcYT&#10;Smo69EfFZlWlFSlJ7HF634h1CQ+bDGgVtrukK+bHdMrEHkjkAg5PQY74ry3xJLPeSKku6NyDK7oo&#10;ABAzx+Pc569K6vUJY9r3AMhjETQGNYz5LEnGN3Q44I6ZwOa881PULsIzys7pHEI1kcDenAHygcdA&#10;cDtX1mEpLk91afkfmWZYiVSu6bno7/pY5dHjMuxAg2D5XHRAMEYHPI57+ldNYbRmFMZlJCs4BWUY&#10;3EEHr+PriuSicByBk7myc/MeSeeueePWuu01lDxxmMrmMhmxgISMH15Prx0r1pRkuV9/+AeThYKM&#10;veXp8zpYoozawrsCyQpuclf9Ye+T15x29B9a1bUmOJVRPLaZwQXXiPGGyPrjn6dqowny1hUoZTs3&#10;K5OQoBIwT/nmtWzliKCd1EoY5IzuXOASBnGAQT/KsK1W9+ba/wCJ611TipR3enyexQvYwJJmIJK8&#10;MxO9WwDzjPUcjnt9BXGsqsRkdH+fb8gYdcknqfrXaXM8bTMqARgkEMgJ6Y656dR+fPtyd5skm2wq&#10;3lk7S3OCe5A79ev8q6KPNUptye/5Hl4lqNRO1ovW5nTyiO5VcqqEFywO4nC4I4PPXFNgkhkdVaVp&#10;FDcHAwQQTtA7Zxzj8qoajGdjhkMk65zjOF69PzA/E1DEQBCUyDGmWQEZLYHP9a2owSi5N6o82vXn&#10;7VwktDs7KHZdJ5NzG3nAKoZ9gt9o4Utnvk+o69M12djcSW8kC/vHhjZW3RjdIMdNzE+5Gcgc1wum&#10;DzTHnyopWkLCYpiM52jtntgc+v1rrIb+ZYjHHMqKISpljDFhyxUnGSRk7eeMY+tcddRleMd7afge&#10;5gsVUjOy2VtT1zRltdZkIe7Md4tvm1UxMXkOVHzP24JbcxA+XuTz0EEF3BCIxM9tJJiCOHblGC9O&#10;cngbRxxkDGcmvCtM1K805o5TOsbP8skq5aIkAcjI7n1x90ZA6V7b4G1e31mRY9SlN0yup850MKKx&#10;Odox1PGOMfeBGO3kYmCUZKaP0XKsYudTTutD7k+C3ioaZbyaEly0lvqE0d0tqzGSSVyFARsLkkRm&#10;Qrt6l26Fq+zvAOp+E11jT31C0sPEekFEM2g3xeWw1hI1JkjnVCG2NkhirAkfr8AWXhnQLqGy1LSt&#10;Xmt2jg8yeG3YcycsxJ3H5uV5AxjGRjr9HeCdC0+21awht/EV1dpDoT3t2qfJJZ3SvMj2rSNlWBjV&#10;HMi8YmC445+ZrQr4eu5UprdPV309PQ+7wlTD4qnKsuZSa1sn081+B9E2MGheEL25a1Fxa6LMTPFp&#10;iSPcPZj522CRhvK4YDJz8qdepr3HRPjzpmmamdItrm526zbi3s0O54pUQAYlUZAwYSNzd1BzzXyT&#10;qt1f3F7eyzXFxcrK4hge6FtG0RK+bHCWjA3H5+WAbaCAx4UHDhgvbq9k0OwvFkdb1pCsEYiN0IwM&#10;SLMSsmwhSTG2Qd6nA6V4FbL5SqyrUpa9l59Pmfo2S0MNiqSeZvmsr69NtX53sftx8INXv/GSJNb3&#10;9zBqcMRutOwY1HmKAYoyrDbjIPHUnIznGPNdT8axeGtRXWDcG4k+33BvtRmkM2mXKN+9R1YAu5DN&#10;Iu3I3fKCVADD5a+E/jTxboplmvUey0rQNPNzf2dzJHqNnfwFglxF+5l6MGkyocMy7h0zX1zq2gav&#10;4x8E6V8UfBFnoWkWfhDxVBYTeBtTtoJTcGd7u5W6SMpKs8MK2zLLHdbiMKMMuUXWWHq4jCckOZTg&#10;m9equrtX00tt8upzcmFynNnUrTi6NVxiktot35U7fzaa2sr3Pq/4f/tAeMvHFndeJdHs9Bu7/TdF&#10;fSnn0Tw0qLdWlmFuTJeh0wssfluiM3zsHKrv4A9y+CHjjxjceFvE1p/ZHg/VdPmjMmqWHijULUab&#10;Hi7kZHtkLfvpPlZFMR9XLYINfkB4Y8TeJtCTxxpNtptnFBrdq7TeG5pnuNOjh8yMrG6lg7Rhwm3c&#10;Awy2Mk7h9HfBvxPea/ZwaWbWGy1GNo4bPTdLu54YJFAJSKSV5AJWLbPmk+QgLkDg134HH13XpVJu&#10;cmoyT1dru+nVa22ObPeDstq5fiaNCFGFKUqckmk3ywalfRxbSb0adk3fyP3Ek8Y+KLK38NeKfCNk&#10;0vwya4sYdTsba2e//su5Z28yKK3DEywxyDZ5gaLG8I3XcfQvGmo+Jr6C7VbXRvBep3MS2OlpbRRR&#10;6nOFbfEslyDuMQ2SucLGpaIgPwcfnb4F8T+NdLlv/AHxDXxX4VsTAsTaECJopLuCUskUkDOyKhkZ&#10;3d4G+bajBmJyPr3wF4K1zX/7D1XTbjRW8E28iy6uyam/25SkZmkRYoYnKHyRGpd33ZYrxxu+zwOZ&#10;4jHN0IQl05ot2cWtJaWuo21S0trofy3xLwngOHqsMzxNWj7ODbp1FByVWm0pQvJy5Z1G01J8snJW&#10;tKLudPeX50HT9PspZtQvdS03wfcaixn0mKxbT0u0FvtMEIcxOXaN8zSMwdY8lSrA8zeaZNZ6VLEJ&#10;1e/fQoGaCwePVZ40mKloncEhHeUwQM4J2h2O4jrrSamutaV4kubWK2tNQfSo/DstzdXMr3kksMst&#10;4ieUqdmt1Q7hiNV6E5rj9V1L7BfXYub2eezu7ewsp70lbF22wWxnWILnapmRsNzyx6duivKnBqsn&#10;eLVo+W6s+vRanFlmFxHtPYqNqqd5Ky97WEvdSXKlec7Ld9lqc/eak17qGiQpA+y3s/sksVwS6Q+V&#10;5nmSKQChk3u5xjadgJzXr+rXbW/hvwtdR7hPHYxwXM9sRbpKZIfPQs2MsykSKWH/ADzXkluPM7u2&#10;hsre0u/3X7/UzFAuSotdkeHiZCd3Kc8AqQp53AhexlWe90zS9OI89ILQQEjFvHbMtwclWHGCAw3H&#10;t3wBXHhqk4Va0JO/Ml+n+R6OaRw9Z4ScI2pwlK9/SSl917atXeuuhl6xqIa1F89pKPNvRdT3k8Bl&#10;hUEZVAQpAI/eYAHXnBwNvBPeXbTRATSRtJcGO3cbfNQA5G2Rj8v3gPlxw2cgdWa3rIjmuFlnUl0F&#10;vFF8ojtsEgtnlemSAMZJB55NUvBVivjvxJJbaabW00nTo0bULy5uVstNtkxy7SMWGT5cjt1JCMSM&#10;EVhVxH1mtHD0nq9N/vf+Z7+EwVLLsunjMWlGlFNuT1SWllr1u7Lo7WVjz3x/4c8M6gNI1HVI9f1j&#10;WdHQ2Gl+EPDdzAlvrN4XjxbajK6sfJjJiLooztYAElvl+JviH4O+IFvcW+ran4O0bxJ4uuL2eCxe&#10;/u7Lx3DbbikSfabaVZoXWFC7IShIO3ccquP0s1fwTpuueK4ZotB13xxfadJJaWOk+F7qw8M6BdPL&#10;BAF1G8coJWxKJi0wBkcFONxwK83wK8QaBZ6teWnhzxut7FBJbeHbDSL5Iba5uZoG2SszBlS3jnWb&#10;ak+xipXLKGQVrDLJ1rTS91Pdb7L8X0a2+Zy0+JMDg5L61USnJJqM2le72inJSUdbvmSv3dtP55vj&#10;B+x58XNe8crpmseDdcRNCty/iRbjVrLTPDnhy4mEM00oa2umtbe3826IRRKP4w0eVYL+aXxc+DOk&#10;eCobvTLdZLu9gVna8vnSUqrsf3MGF5TDKSzMSeD3OP6U9Z+Fvg3xPpjap4w1Wfw/eeHra60xvhn4&#10;b8Qi68QXN+JyPLjh3yzXMl2fMLzwgRB5JOFCIX/NL4p/AzwpLKuqaq2rpFY6Pd3t7o7SSwWl4rXD&#10;CB2vLiMFgqlAfJQqVXO0Fvl8XHYOnOhenFJ3ve93bz00Ptcuzqq6qhjJOXKkrRjZN9er3/Vb7n86&#10;fiXw3HHqckkawmOEkSIQdy5zkDjGM85HYnrXDajp2pATQQGe18okEGRDCoI5wgUBenIGckk55Nfo&#10;J4++F1ppct7Lbx6ZPGJmhurjTLoXNvIVRZfLUL0wrfMMsQcjJI4+Z/E3g/fcs080sEs7vcRw+UIj&#10;dAnKqYscKRgA8cH6V5NOrUpTSn3/AKR7+PpUZ2nD4X+Gn+Z8uXzTKjRRxNfNIg8xW3KsBUjPlFeh&#10;JDcjptB+na+D/Ht5Z3SWN99pihTAjuDKWC4I2qzdejHk+tP1nQZQJIoYPs8keXeVXZTJhlAGOmOW&#10;6c4zXm9/pt5EJhbTzNLkofJQleu0A+5I4yOcV6cY0MVT9nJXva34HzsMRiMqre2ov/Jq+vkj7s0H&#10;Vo71beRpVDRIw8rzthlXqMN6k4HXBzzgYx6BY6nh4Jhi6woQeYNpt2ORlD22nOe+VJA718JfDzxx&#10;LpFxDpeqzGbESi0uZmJY8dWbOD13ehx3r6n0/XYJ7EGxuo0mldplk8wSHBAwCox649PoSSfm8bgK&#10;tGV47Pb77n3mX5nHMIqdKVu6v16n1X4S8RXVjFDcRb1iaRjLKd3nc42hTk9SWGR0B64NfSHhfxWb&#10;uCR3kWVFUpG0hJcjftJKn+8Qn4Emvg3w74muYLKCAzQzeZL5ZLfuioOWxkHodu0Edd56YGfUvCvi&#10;S5t7ks16ioYkMQklVXGDtxt6HOGPA7mvMqYeUZOUNtLno1pSk5U6jV+j8tND790zWjo/9lm3aWOC&#10;WQoxY4TIyCU46AgqfQJXvfhfxrFbPGjqLl7yPa8kRfYRlHKOwGACQrYYdeQMCvz50TxY832O2ubx&#10;fMiicBZJslHTbu29MAnPPA69xivX/Dnj7TtNktdPmllmN0DhhmUhvvn5j/ssPXIdegxnFU2kk9Ff&#10;bsEb1YOCjzP89+vkfe9tr1jdCX7MsQNxbyuxTMYGzk+oU4IxjnB74rb8PXV7Y37eSuba8QjZuDs+&#10;35tx5OVxtIHoK+btO1ISS2Z02V2SVDJPK7hWjYbduBk4P0zgqeK9+jvrSPT4WWSZ72QbyIUDiRyB&#10;kq33iOmBgdcEdKdSj+7lBrbr8/1MHWjQiqUXpLS3oexXF+kdrZ/Z5Rbu7xiVEbLMR8xAweuwP6Yw&#10;a7ESWcWntZSFpbiWMtGVYuIC6q3Jxg9ieBnaB7DwSaJ7rNpJcrFd2BBCIyQyI6kbgz57dMnPQ5xx&#10;jqoZNZ0m1sZZ3MxnUqY5GAllA+VdoPZdu3ocbevOB49ac6dT2nRWTt+Kscc4JU401K0m729dUeja&#10;Zrv2d/KNtIoVkhBeMyMoAK4LEdSNxHQ5BJ5ruG8QPK39nvDujgsVuYv3e7nIGzHXqScYA9CM1i+D&#10;NHh1O4jF4hbZGZQpG4ySunyk8jhSRwuCcEV0o086b4jlsbgSS2UkwSGdVAFxld20Z7jLYB6DAwel&#10;ZQ9rSoRqwleLlb01/I8zE4yg8RKmo+8o3WvUt6dc/YdAuPtdzIPIhea7vmj3k4eNdwQkcDdwAR1P&#10;TDV23hdzeXNrbgLiC3ie4xhI4jLuwrEYOYwgdieowMHnPIXdtZTTfZyyx2n2cxXCOqP95WywUqQD&#10;tKkN94cEcgEel+E7W3s7aG6sGKtcus8ZLea0jbW2s3UdAD1HC1z1ISVRJvRdvI8CrivbRlJr3m/l&#10;ex6ToUCy6/cLMjxxlBiR1ZN5dyckHkEbV4PPDZxWRr8DDWNTIJtvthi3qkaqJlicbQWABI3E57ne&#10;30HSWVrPb6vM8iyPE8SSPME2r5wTBQnIJx8x+X1HTHOX4rhc3bTwtsuZrST7MrsH2sm3L4HfhWA4&#10;xg9q66kG6DjBbP0umeDhqqlmUXdNOCXzVn+n4HN6xBNcJbWlwrf6TFFfIvmbpEkO11fgdgeRx970&#10;HPDatp8EGm6lZS7vKls57hwr4W5CwoWUEA8/KTk9wBzXZDVJL6XTNRcLcM9qkMTIQF2oFh+71I/d&#10;ACuB8XavPpGjXV3PGzmz0y6V7ZHCiZPLlBKt6hn5x6cc08O6TdRx+F3Vz6bCKrRnTp21ur2f2k/0&#10;skfIvgvxnG1mvl3BdoiDLcfcWZSqgttzxkgcDON3XpXr9h4+hW5VpwW0+SMpFMk2wMASA5XnIDfL&#10;65U8DrX5yeEfFSLdBTcssc7O3luMDGSAB0AxjjoME/Svqr4ewv4gktbVXikhjBluHSVWZEADNnoQ&#10;uSF/DHvXHlmJxNOEaNF3ba+7+tD+qs94cyqVCWNxO3Lr5aatPvfb12Pt7wvPbS/vI7lTCrrPCVTs&#10;Suduf4euRx97pXt2jXdvfaTd6ekoeWFReWjRsGYlmwVz/wAB+ucetfKujyyxGSCzlTZFtQqkmR32&#10;g/hk4PpXpHhXxCtrqfkvIrFI8SAPtx0xn0weK/RcPWvGFKa0s0/mfzXxPkNTEKpWoybcbSS66Wtf&#10;1287nX6nqQVWhuWSJ96tkExspUfMR3P48ckY7jxv4geLrDQrJ7q8mWO3tYC8jPMCzYJbccnPp+IF&#10;b/xX8TaL4W+3avqN5aw21tbNeSyvKEjiUgnOT3OB+LV+Jf7Rn7UN34vur7R9ClCaYkpjlbeQ9wBk&#10;YGOce3tXCpVVKVDdXsjwp5vlnD+Ahj68v3jV1C+rbXTqcL+018bx8RNfl0uxeT+xdJmmOmvKjCOV&#10;mAVnOMYLeWgwD0A7nJ+T5HGIpclfmDyHywxlRhggnrgBvx2gZxUd3cS3UsrzSESlhIS5Cq5ypIBx&#10;zgDrx1wB6IzKNiv8rgjeAuxTgAgHPI+h/vfTNNrnSex+D5jjqua4upj8Y7znr6a/oWUwECDILOFb&#10;ChsggEHr398dOvSnMX3gbSd8bMzuMRE84BwMkY9eR1wAQTVCRRpuMkiu0nmq2GKjdweMewGO3HXt&#10;OzFZIBy3ILGNgqg4JAx3/wAF7Hmn7zmlbozjlK3vyX9aEkjpGjhn3hG2HHzE8HG0dTnC8DHap/LZ&#10;VBbCsEAXGUKgHPb+8Bkd/WqkhViQpXd5oYM6/dxuAGPzye4x6cWUZGLFspFsHVRvUhzgkntjfzj+&#10;76VkleDnLo/6sZU3SkuaL09ewzGOqxghNjtj5yrOxBbjk8j/AOtzTQBlieQSwjEoGxACCCDnPt9F&#10;/ASyrGFFuGCOF5LYYZVRhj68Bc5681UkIDSEKZn2qEVCBwPlPbtwehPy1UI3s5v+tCqilG8b6O3/&#10;AAxUbMbvMCXACSqYV2ADKg4Y5/utzgDOPxjeQ/uykjF0Uq5IZZfTO71J4x6evFTTL8saDzNhT985&#10;O7fuY5yvbHBJ781GwCp5qCNPm2tCzAN2JPX+Hlvome2at2snDReZDT7XVrAztGypwpySXYAq/KhS&#10;eevGBkc7j7VVmZ5S4YsCYiroCY1mIBBB9jj1/u8kgVMVHyshAwq/MW+aRecMe2R8xOSOW44xmMsx&#10;BcN5iqpZGJO72IOOT9Ocnr3pNcqbW4KUUnfW7/L8hGLgAlFaL7qhj5fAC8nAOBk4+qntULNhQzYR&#10;gN5CgAsFIOTgDqCp/wCBH0BoHyPHEqv5ShQqqA6IFBzkZyR8y0siDadpUsufLaTa6k42rznODjJB&#10;PXd0pU3LVVOj/wAjK8Z3h03+61xoOFMYKM0j8rKNpQFtwXb2xuYk+h/OKJ2RWCr+7BOGXO3j5nxk&#10;9ck9P7wqR0CeYqbuHD8HEhyGAUkZz0xnI+83XPEuAplaeNVnidjINqrsYFhsI4HGMbex4IHSmoyc&#10;U76MrmnGpd/8MVn3SCTypGUxhnYKMhSFHA5GQT1xySeM5FSKoSN4ZHZQxYMcF4twOQwIA6ceoyv3&#10;iStCLHujYAryfLJbIkxwFOTkjcDxx+PFTbhiNj/GMuisGRcHJwAOTyBkf3RVRTuk1Yh/u373nf8A&#10;AYhBkUMSrRNtAPzE5LcHI/2CuT1ycdKuxJMQWOOQMYwh4yAdxGeg59Tu5OeIfIBPzbUZxlRHgMSA&#10;SM85/iI5/WpII0AEh3sfK8obkKMOhGc45wG7UlJNWj0e7NYPkSlHboWWE21ZCo8wxlFwAEfaN3OO&#10;FC5UYAP3ScnOKlVdwJAUbvnOW2ouPlILDHX0z+vQCgK4kVSixeY0hBeQZZchQAW5KA8egyBjIljX&#10;AkCbVYsdyqxV8gnJ6g9xwDk+2KS97VDlJKoub+tv89x7IYWwQkamNAhC7nfcN28/UMhAXPX3FSAg&#10;MVExIZPMEQIHlj5iMgHjnknpx3AppBkkEbMhAbKodseWYhQS2M4445x1PXNKxDIrDmMKB9Dk4yfT&#10;BHHv65q2rwulqS05Tkou1tultvwJWRZEUmQyRxjcpV8B1G3OW7DJI4J57CmjfsZZPmDZYsibllY8&#10;bSSBkHBHTksc0GMcFQAwZvL2AgksRkenrjqaRWC43Ksiv83IKZ43H+Y6YNZwp8urf9MUZKKc3ttc&#10;HIALOwKbyMhsCI/Lg++W2j6rQ3yzRqXdcEtHjDKTjksvTP4cUmxNoL/KgQNnjgA5Bzjj74GM8DP+&#10;0TKoBKhWXc3KseEOD1POQSM4/lVymovze/YIyajzuW9l5kMqQswwJB1EhLCNcjHGCCOmP16VGcIY&#10;lXcIY0+WMDerckAcdfut+OKkfa5LOxYkBSOcIAAMjOB09f0qBGxDuCFyn+sVD5hbB5GeCO/X096q&#10;LuuW9tLW/ryGrNLXb+rjzI0wIbIjePcQymGVRjGWUjcPm6+lJL5gKgNEAFyVRypJOARj2yOmP60r&#10;kj5U6nA+UkEKTkKQSeOB+I/NqyfvHLbtjkr0H8JB4HI5559qjllCPLHoCcXJq+qfXyX/AAR6Mihh&#10;IgTIEcm7IIwQGUBjyCdoz+HGTTACp2Iq4cli3JYkADn6AEfh0yTTlZFclmBAJcswLqc4A5I+UDae&#10;mOST35bIQ0sjoFVyhZgFJJA3Y4x6EdM9a0nBVLyf9epUJRmnUb0vb7xyo0aqxZSQDsI+dSG+bOc5&#10;POfcZ/J+QSGRiEQEqo+cBucnHTsM/XvVYusZIkBZmG1GD4O3oRjrjB78jLDPJzLuULtjO8EBvmbb&#10;Lhgflx74Iz2+vFQnZ8q2/wCDqZxikl36D4vKKglEDMC0haTK8AnqQBjnHQdemc0wMS2EXaXU+Ygb&#10;eyEAHb26kAbR149qRY0R2CAIQrCE7yoG08nHr79TkH1NOSXapcRsTkA873ZTjcRzgnIGMnGQOaqS&#10;l72nYqMqailPf17FYFACgcSbQVVmAG/Ge4HfJ7cBsc4yZTvj2HAjVlIIQfKQOVK/n09O9KkR3sCE&#10;WNWJkIOJWJwQxGOcjHr1pkztsJ3vGGkK7WO1OApz0IXqOBg8fncXBRbu73/MhwcUlfbbzv0FLGKN&#10;5D8hOJSXwQNu0HPbknOB9AMYqtIUVYxseMnaVVGCrGeGGemRtGPy4GM1ZCwnLGZJQ2DsJyhI6gH9&#10;PrUbApGBIjOYwwJOA3AA54x6j3pXl7S8dXfX8BzqNT1WpEBcADbZwuCN253DMc8nk8/T2opORgK8&#10;IAUDDW4LdOc8jnNFR7ZrTmRUa0lFXZlsJJSctGVkRjLK2WVQOTnpycjJGOntVgBTKWAQEt8oYBlT&#10;jAAY4Cjj6DHSmI7+UV3eWsIzKwLIjEBWAB+9jgqR33nsRiwYpNxwQSqNIoSTCuw4VGY8jLNnC54y&#10;cfLgRLmUeXsZWjDVLb+v8hiHlZGI4AAYqEIPJGQR0Oew79qUjZJtUmVTlwyoE5J4GCOMDHPWkJjd&#10;5AuZlc7tznaQQVKnHb7rcDuc9uZFLyBVba8fmZwxD9PmB68cqBg9MY61KlaN39xNNRqaR+JDwVYb&#10;dhKNJuLxj5wNrAknjjgZx6DA9Uw7bQQjMu0suN33XHI5zgjJxkZCNz0obzEMhMZDPtCiPiOIHdgn&#10;kjkHrx1HpigRygoXZVO4ElXWQrkE7R35Ckn8M80+aPM4vZ30/r5FRne9+n9fkAZt0jzMQGJUjYGY&#10;Yzxz9c4Hcn607LFNoklciTJZslvmCqTuJyR8mSxJ4bI7GomVjF5cpG0JhgGMeWHUgDpyAw6e3HR4&#10;KLlw8ibNsyNGdwByWAGPQnd2AUfhRTglJqf9bGaaUpNdSRNxMckceEb5d+4BsFVO8ZzkKJB/3wT6&#10;VKVK43hlZWB27sBuQMgY6jJP0B9KrRhlxjBVQwTepym3p3PAy3NWWjj2gLJvByH2v5eTtJGD9PXv&#10;nFLVOyfp/mdMJW96/rrvsiOV8MAgGAo+9gxrwDliOc9iDnt07tKqGWVYmyEJJRwACD93/aPJODxx&#10;64FKhYgllJdV3FGQAA/NgFunc9MdTgU5d2zY5UhnymVaQtjCjAGTkgsBjB+cGinLki5Py+fmFSad&#10;raN2FdWGMY+c70XdiRThiAD2HPOPSpfNAkkdCGUMYyu0RsC3Tn2GB6c9KhjEiSBiQjAbdpm4TkEh&#10;SOByScj+5wOlN8uRh5oEZlCb9hl2q2BkZPbJXqT7VXNZaf1cuLVryX+aJEI3722hix+TbgJz1Hc8&#10;84zjjjHNPVlCNgqjxErypCgYB4HsMAY47dRTCj70jSULIxydww6jAyM/RgRnjFErMEMbITHFmX5N&#10;xLEBVyFGQcBQMDrjvWUr8zd9jGhpCW97/nqSRqZdhVMRjhV3GTaFHy4PXtjv0oaVgpLRn5pCqtGC&#10;uAWBXCndyMDOTjk9MYpsbK8kCiIkht20korEHGWAPp6cdMcipVlIKlyQSNoVsAsSOgz6g9vTNaU+&#10;ZxXX/PQqT91KN7/8MR+cQDkSsYgDvb58tktk9yPl59lP0I6pgkiGQyESKCF2xg4YdO/fp1PYineW&#10;wAliJjkx8nzlgCc8kZBPbv8Aw+9QiRpXCRYGyAzOzIwBTcqZ/wB35sDnOSetRTjzRs/6e5UlBSUZ&#10;b/8ADE527lQeZvjVjznbnBPOOMcfX8M1HtjXzTuiAQvIwyWMZYLkntgjaOv8GOAq5XBYh/3ZjIOD&#10;t3gKuBg8gg454yMD8aGRXzERvVgBK4JiRuoz169eV7D8aUeSOj38vwJSfM+b8e3+ZZKF0hXJLhQZ&#10;cxkrI+OcY6jjtnt06BAgYyEBHikQKyjlBwOd2ehyD179RSI2WjkMbKiMCGB5TJH4nIX/AMd9uECf&#10;NINx+bErswPAHAC57HHQe/c0Jcq120sVZ8idut1+g8kwKrAHduwD6E7iBn+uOuD9JGXlTgDDlS2Q&#10;YyQTggds8HB5AGNoI4ZKjkqxV8mPeTu2sScfNuznHJPPYjFSqPuJvHC7ZFyBjHQZ9PmJ4POe/SiL&#10;SSa0SuOLlLVpW0X4iLGqE7FOH3I45VUHynaR16jPAx8vPYVLtViF+YsMEIgKvzwMk+5HHfAqJ8iF&#10;gssWEG6TLY3Lknr65I47jjiogvmfvGLuHQESRMUXg5wMMTg8DJJzjpzyrNpty6/5FqnB6J27r7iV&#10;UJ8/nO7ojkLGOMEjjPQgEdODgAkkrHLI6qpJwwIRgAFTavQdTztY8989OBSF5FUDcFVwygFWBznJ&#10;XcPQnr7iowPKMhTblVAMaNnjcVAAbJz6nqcHOeamTcnZrW/4CjOftOeC93TUfPJCGDFg6j5DHImW&#10;5YjGf++e3OT06VWkcjEYiAVSrhlXAUlvmJ5zwDk/Qg98PMhYkhArMrKWJ3E7kCkEd+ByOnHuaiaQ&#10;/LsBZI3XcrAseAOCR9Dn0wK0h8cVLf8Ar/gGdTlfut7v/IbNIqowVxgsQ2QWJ3ZAz6+3rmvlb9qX&#10;4Uw/ELwBqclnbwrq+io+oWk4y0jFMCRME8ZHbpx+FfVbhwWlBOyRQzuQSM7lUnH1AzjGfUE1k3tv&#10;5ttcQTYljuHkikjR8KofJPABPUjP0Oa3oVZ4WoqtN2kmn/X3BG6i4NXWt/NbP7z+aIRtazTwXCMJ&#10;o2KSwS8eUQeQQO4I20rTJ/qWLBH+ZyDvbDHP9B+ANfWf7W3wbk+HnjRdb022dNE8R5vIvLj+WCUk&#10;GROM5O5iA38QUnAwa+RJVyshjU+YB96MkMfUn6iv2PLcdRzTA0sZT2a1XZo5Enh63L0S0flv/XmY&#10;19HEm5w2d7bVAG4Ac8HPfj9KoRysFKbQVz1bkk9OPqB2rUuYpgo3YVDmQhDwMHIOOufasYghs8fe&#10;+6SAuD1Oa9WhreLehGOoupG8dJf8MbtlcAEDaSrHk8jB/wAelbLAMyqrZB7HlRkdPoev5VytlNht&#10;wD/MwxwTn2z2/H0rqoXMyGM4QcOFJ3EA8YJ/CorRpxlz9Njjwc5NNPTb/P8AErXCeQAC+DneyuN2&#10;B057VzVy6kyMAQTyrE/IMnIwepx/WunuYnV3XKErgh1JweoxxwOmfQflXOXkEiNnA2nnLDDjGKVJ&#10;33YYm8m4x/pHNTSyecrk4+8xwuPl4HT3zUikKjsSvynGeAvTioLoBGJ53FiSNoA79voRVZN2AMlz&#10;IckfdKc5OP8APavWUVOMTw6ijGcrb/0l+JfGEUljuyuVPb04+v8ASqsoLykKApIwQTnOM0hkcytG&#10;u44fcXDcjkdvwqV0AYsrggoSVzljjpj9atRUE5t/1oc1S+kanRopStLMqiUb9kYWJOxUEg/rk/jS&#10;qg5L8Bht2k5buelPiVz8/dsgBhjb37fn+dWyhicdAFwSc5YDjOfXkj8zTlK6v0OSdJOk7762Ok0A&#10;osyAEDJAIJ4Hp/I16AITuyqqSDzngk7ehyc+3FeY6S6R3UbbiE3dj8xPIz+uM+1erRyqU3ZdmyFY&#10;n52AIxnr7f5zXk4+KjJTf9LQ9DCP937jv1t6meVj3YZBE7jbn7oK7hwB79RVC5h2KwTLDBJGAV4y&#10;AfTjgfia3rlFmkZVJWRV3AIecZ5OR05yOKoTxsR8/wAyxja3qo9+/Hv7VnCpFsWIpTUlUdrX/q6M&#10;CIgKzjO7I+72yOcUxFLncFzuYjaDhGyck9f88U5X2zb5PkiYHO/ksQcDnrz16VaU7UUYVhswm0ZP&#10;OOT78YP610Ws11T/ADPPhBJupDYcibkZWR0KcxknZxjkEegz/KpUIjVmDgYXYWz8pBxk+uevSkDn&#10;yzlV+dei/KR6sfTovPHXvTWjJTaWYJH8wO35icE8nv17ispJperOyjKdSapvWxbtSF+YRGRkG7aV&#10;wRgg8/r+VX1KhZJeGRlBKpncecnj33dAaxrchAzOCmV6Kw5z06dM47eprWmZAIZIwAWjxs3jDZB3&#10;cflXPUS52k9Njqp1Y8nN9rdf15EtqQWYqAF8wBQAdpz39R1/rVsTlYpB5ZLKTlSoVWzxjOPc9Owr&#10;IixDIQACHw3ykgA4BIPpwcfgavCSSVSY8+XuAyQVLfN8x+vBGfRs84FRVgkubo7W+86cJUcYtPcS&#10;4T92jFhhXbIJ3dh69Oh6etRMznAVThgGkUjgY4Bxj0xUl27hUXcWUMS+eCegHH502MfLtIwJDvLE&#10;jCZBAP15P5/WpilKPM9WtUKMnGtdvXT/AIb7i5FICieaUCLlwpB6d8nPqf1ot3jmcPGyHZwybsnA&#10;xzj6k1WhiYyOkrBohyQ5wG74Pp3/ABxSWpW0uJAqqquDjABDZ6D6jpn3/CpjFSbiux68+aFntZ/h&#10;podQkp2CPC+WQAk3U4xjp6jNa1mVWHIX5k3MVACqgPGOPbH61zVq8sm9DI2DjZwGk9zkcevNTW8s&#10;0MjIz7Q68Fj8qgEcZ7/p04rgqQlLf+rWPVw1eNScYtO35aHVte3DtDtkPlIcGLJG7IXIP1x0H92t&#10;22uLeQEhRGgCkEn95827dhec85x3+XtXGxyKFVwcNH/E7biQVA6fjn1q+k4tpokXHKDznD7VbGGO&#10;7t1HSs5xhol0/r8j2aNZt+50audp5yOVRXVmEXLPjD5GM7vbIOfUH1qTzJYniMFwUdVV9ykbm2g5&#10;zz057+pPvXINPKuWhlkmLLiPaTGACTgk1oQ3UhAIbzLg4RvMIAJbPLd8HI9yf055025PyuvmezHE&#10;yUeVWsrP5+Z1wvbt5H3qznG9/LP3mySSDzj1JNbdpNJ9lRWOJC5kRYyN7szDIZsdBtXBx/FXGi/a&#10;3jZmJ3scKrYOchSeR05z69epPNWrXW2kSQFoy4JACEYGDkDOOQMfzPWuJYVyp862PYw1duooNX3+&#10;e3+Z38ZUSqqSFmwWlcja2CzFQe3bHBwecYJ46PT38qVIxNJK77fNkzsxvOSxHHQDoATwcDpXEW7y&#10;MGaWWJ45OUXeu1mAzhgOeCQCQT+fFbmm3Mb3MZEqx9YzHv3IuTjtyeOeT1Y+leVVpycrLY+uwOKl&#10;ye69bHqaNDcRRhiTMzk3MmzyyHb94SMDkZXpjjHsSOgt7WaaJvLZ28lBHFcCRUEpPHyf3gQeeBxj&#10;ntXC2V2kMiIygys2FkDqsYDpx85bGOSMjnp0rt7bVFt1jy9uZJpisTbssCSV7ZJOeBnv07Z46lKM&#10;4vm+8+iwWNnGF46bW9LnceHNY/sq6jW6u/JjDB44vLKg4AXDc8np14wPYV7Bo/iW3v8AUUg8x2j2&#10;FxEisR8+CoZFydxGABjrkEcV8kapdznz50uJZYvOZ8iXyzvZs7yMk45YgN13da7TwTrYa/i2PCGk&#10;hKvIyHfng/Ic5wNx+Y+p4PWvPjS9o+Z7f8MfTUK9CVJzpt3t9x+knw68NxeIJreFbdMwgOzsV2MC&#10;DhQpBBzgjafX8K63xf4Wi0rV7MpYstukcdpM8rBkjbGGTI4woAI5O4Z5r5o8C/EC88PXkb2d0iRq&#10;2xpIGzK6qAigkj5RwxIyRhh0OQPou58a3HiCzW5nWOJJCI1m8wtdysWHAQDGCTgsMgAg+tZOVNe0&#10;ja1tn+ZyRr4yhjo4hSvB6W9R2qPFY2jKJoZ4jHlGhXZFEuPurtJz8q9QDjPPAJrx28GpveytA882&#10;nzExR/ZrIWkspkEQJBDclizgc5ARskHFdqL3UZ2MFrArBSwMd3JwizLGtwzMCVwBGgCAHJGDtyc1&#10;5hZWjw3JZ0kiOyOVJz5e/OWIPQcBjjHBz3ry6sYNxjFWPcp4tYeKpfFJ+Xmh9jrM0dqtjJNfWaLb&#10;eQ2bycLK4VUVI5Nw4jXAJYHI3etQT64Fa5t5wsdqiJvMy/vY5IgAA+TgAjJxzglfTNYF7MkNs6Q3&#10;gjWYlTayypJHIZCse4RMc7gGUBl6bVPGCazb6QowmE1rdPbqJZbVrjaoBMZKuRkdJT93kHt6aUZR&#10;5U5y1/Ixr+wr1JyUbNq33f5nQXV2VtiyMuWA+zAMAkisEbKnILM64BIGB+GD5m8sJvPNgZkunKss&#10;MEIjhgBQbjvJwMjIIH93gYIJ6q+vre5tXYQmNwQEiHBwyt+8HzbuOCM4+7nGea4k3dtaGYyCeUzz&#10;ed5Srll2lYixYk/KBjBP+yepws0oLnvUfp/X3HnKE4QlHl97Tr5XKGvXt1Z2YmXyLgKg2W5DRzyK&#10;pGAMKRuJA64HOc5rjpdbtbixu3W3mg+yYcrOeGJPIRc8ngrlhx+Fdf4i1yAQWxDJCstxttGuoxyi&#10;yFC6gZCkEAZDHBGPevFfGGsT28d3B5lyUKKm3f5Mb8DYwkzuORzlu/rXpYai5tXPHr1rU0qsfe6a&#10;/wBX2PN9e8RqlxcXMoW3nljNtEskpRLJWCqzN6kjI7nDdMivAtZuorhmIk5n/eSMZcvwRjp9MnP9&#10;38K6jXrlZ43njTy1LhHbfvV2BbJBIHT2z1FeWaoGncxRuVMkYZTMCoUFmBOR1GAPxB65r6TC0nGS&#10;sz4DOcVu4vczZUKuFUuYiRtRG2xSkLtYZJOOSxA+nXrXCanG37yzLmQCIHzBGWU9flLDvXazxXMF&#10;u0UMcIwCzr3iJY7cccdRwuTznuccbOrmU+bGi72CZLBCrEgAYPPrwf0r6XC2hDbRn5dja0qtR1oP&#10;X/L/AICOOEDRyJJ88bI2Q6j5yR0OPrjmuvsLp0RLhmyeU2CPB4AHpjvnvWPIP3qmSMkuQxwfmPUn&#10;r1xx19K0lLFUUZ8zBDEAgIGABI5xkhRXfvCKmdeW1HWlzTV2rejO2spI5raFJSMTFUIAwxzzwMAe&#10;nX1+taVwPs0TGLErSMSx3ltp7MM/Unkc7q5XT3cOiPJsO9Gh+XoRkceo55BwPY8Yv3EzlnZWHlSE&#10;spztBBbOB6/Xnp9axXJ7TleqZ7knKKulounrbYfdnarGNQZZCApZicZB3ZI/D06VjywMirIxw6HI&#10;cEEjjBx9M9KuyyzNu2hnRTtfDHCkYIwoHUjp064+udcTSASFpMqrlmVzkHPB29s8c5reLStY8mrS&#10;5k0tn/X9ehj3KqxaQI+5kEUaj5lOCTj06YGPTHpVM2uwuqMoaM7gVGQ4wRkdwBx+BrXilil8wBcK&#10;AWQg7gBjn8eMf4VmTiV5iUX96WAIjAVIxkg8dADwOPQ1pGctIf1ujya8OaKbXz+diyJnhUFmwyYw&#10;Awb5vmGePpWtYzybCyhvMKBRwDtOT09sFufftVLT7LduLljKTlsnIUk8gZ5OPxxiiZmiMlvnagjB&#10;LRAqFI5HPUHKjODngdeKjk3kloaRqzw8uV7tfLS1vyO0imWSM29xFIl2jARs+UVCVGR9cBcdhn3r&#10;qdCvLm3lcWsaPKkO1Q6lk3r8ysB0JGwglgRyTzwa4ezu4EazeZmN3Im2IklkOFABb29SfSuj029/&#10;shcwwtJcBy7yb2Kxlsgjbzxg+3XnPbgxaXIrx0en3H02U4qonF6qV0/yPrPw5f3N5otvEtytvNE4&#10;dtkm5SdqlhIp9ST/AN84xwTX1L8PjfXOlR3iXi3N3t8lNsiReUEI++WGCoJc4U7jgjjINfAuieI1&#10;hsGd3nUTbXe2hJJjc43HqRwMZIx077RXvXgLxzJp9tawpqIES3IDB5C80pYHJKrjsACc46cYJx8Z&#10;mFHmqX5dLWP2PI8fKeHdOlo7rR7WVvzPvMahP9q03UryWW7e8kzd21vCZLpFDFFWRlXaCVj4YDgD&#10;HfA7LVDoLTTa/Y2X9hRLeGG2sHmluZb4Ehn2Pt5WFEVS8hUuzcZ4rhPh1Y218lhJHqMNzd6tdOxt&#10;vPnZ4y8gAebIMaggkIFOQAOOefWD4dmuprXRDFdQXVvbKs6iN/LmSUgxqsbcgcMVIA3iTd0IB8yb&#10;nRUp29x7eT0P0HKsxw1SrGlV0cVZ9Pdv/SPqz4BeO7zwpNO9ncNYW2uQvpOsoLfzEuLW6wZYAsm4&#10;GLCZyW3fIvzZ5Hvlz401hxdWOg3mmnR9V1OTULy10idLaRHdJY2jhRXyQVupA4f7/mnc2RXgPwx8&#10;P6VpkkCTyyavbW+nIgivI3MTsEj3QmPfjaJCE3HO4AHJ3c97o/h69hvGhtdKjnso72K4mXS4lWa3&#10;jkfy9qRyPEhUyOm6R2VRjJIByc8RKpWw6am3ZW39Pw0LjHAVcxqTlvZXb62/HQ+pfC1n8MNc1bRn&#10;1Hwfo1kdNt2uftOn293Nrd6bmaWXy7qSeWaKVoUeJUIjjBjBUoGGW+stZ8FeKvGl/b/EPTvHOm6l&#10;r2sXkcHiOC4ujbeJY1htjZpctEtukQXyokjAiJKhFyEBFfDvhZo9d0ZrnU9S1TTWMEMdpLpixXSW&#10;rRM/FwjOpMZDShdhHzAtg4avqz4deLdR0mPSNGubl7k2cgNvNFKwjKMFbbLHtJbcHcOgORubcCQc&#10;b5dmDUfY4qzjK0tNGn0btbVK6+bPns0wGIVWGKy6bVWlzRal7ycJayinK/uuSTdraxj0Vj7M0L9n&#10;PTtVt7PxS3xG0a50e00uK11DQ/7Dk0q9hWOLypHCxSTyyGJQrsqIvms5LyAiRD6FpaeFvh74e8Sa&#10;J4W1HW9Ttdfnzca7qF/LFdWljA65KoERjINr5YbMDOMgAnwnSPG0um3V1r+jCGyuri2ZL65tLhYt&#10;QeJ2O5VDljs+csSBzgAg7ea+meM9O1K21G2ljbRtOW3UFEuZZ7u7Yr5gBkZWCtJgAlVVcL+NfTSz&#10;bApQp4WnGFSV05a3fezeyet+3Rs/J8Rw7xLmEqkc2xVSthIyg4wSgkrSTSlGCTbjJJxa0ktJJI9m&#10;jh0Dw/baT/ZF9rI1LxHLf3V298ySQWMLSs1varMVWSRyqbpsZDsOSCABU1h7afU7fTpZYpJbCxW4&#10;kmtk/dzXYUukasRlsgKoBIG7BLbetG0n0W+XTLmaJ0lEii0hUsq2+4BApZhjzCCexwW656Zyfam1&#10;y9+zIJbZbqO8SaSQtFYIyeWqluC2Rtz/ABMQB3wL+tOVRSSVlbRbaJW09dWcVDBuNadSpKXtIqbb&#10;la7k56a9VFPlXe3V7+h6v4dTT9G0qS8uDqE89tFqDl/LLEENGvzEfd3jcVHUKMcUwu2n2tw1zdLC&#10;q2E5MUMImnknRn8uF2OAA7HO7kLg8Y6tuJ7hIYIWdnKiO3a1wWdx12nngDy41246k1geJLq1lK2l&#10;1qllpCgy6jNcyyiN2AbISFN4Z2kLAIgyXYqgBLYOaqKpWcaUddLX/E8Sn7acIwxU+Zc0m2ktt9Fa&#10;33Lt6HAXul3PilbqWKa28P6TFB519r10JtRiUKiSFY4reF5JHJiKoiKzZdBk4IM+k6f4f0GyltB4&#10;58SrDZC4mltdGiTwtc65fyLGFe9u761knMS7hHuVUVXYfODkn03w7YeKbBIG0HxZFcywwQXWleGv&#10;H2nRWWj+HTHa7bhgbR0kt2AhAEsskqjlsA8Vo3vjC28U+J7iKL4naWNO8O2cVvf6H4f8aN4j1NSI&#10;0ae8ms0juPMViGkBhLYRtu5Xrpp4ehRXOl+8ulfTbr1tZenb5Z4zP8TUrfUKllhlG7jd+it+7c+a&#10;V7XuorVKzV3iQ39jffDfTYNa8ReHvhxp3iHUQ9skvim4i1q+lhKL5l1ePL9t1CQq3yrHFFEMbiVC&#10;pG3m+uw+FftlzBc+N7Kw8OWEs2h2+leG9NufFXjTxZIY5jd3Ae8ljW0VQyxqQh3DOzeu0kttd8C6&#10;jrnjW606fTtY8PavBfPpkl/4U03xdbQ2kADRxnTp7ZpjIBmTylRN80qK3CMreNeHPidqfw7S0g8C&#10;eBpviPexXdwlv4R1rwpLNpsOlXHkQXs8t0Li9kt5mNvbRkAPAokZygyqp0VcXh6ypwlJdm9enVJN&#10;aPfRbnRTy7H0KeIr4ZTS0qRj7q+NaqTlGVpRsoNylLS7tGVjxr4kzeEdX8LTXngnwfeaTaadC01p&#10;qGuyX2reJJLuGZEdracSlA77naSEIF2xOMgyFD8jQeC9Q8ead4g1XxXJrGhXVg/9hDTxfS6JcfaB&#10;5FxPCyPG6ThEktWaKcYAKt82zFfbttqUfxG17U7m71WBPFqTz61P4Y8Jafb+GrfSoNMh8mcmAoEa&#10;xtzFAmEjL3EcTfvFcvIvzd8ULjx/qviLWzrukw+G9Q1e4Gm61qJiU6nqsdtFauxuLgDzJvIiS2AB&#10;OUWNUGFBA+fr8igsUrvdLSy+dtFvsfcZc5uSwLspKKb95ykm7NpN6vZq73003Pyo+J3w/PhC68QL&#10;BcWvieS8SWa+urqzdrrQhHPFJE9gyMu53H2iORJQwKEGPBINfHmp+DdSu7rUb+8W80q0k0sXWkS3&#10;9o8T61ZzmRUKhR8gZYZiM5A8vbnPX9xLrRPhdfQ3GkeBtAv5NSt9dRvE3ifxstt4n0l9NEcxYo8U&#10;TG0laRI3Q28hc7CqyuM18B/GH4f3V7rOqeJdN0jUbzR4tPt7aeLSQ08WhlHW3W5klSIKI7mZliUF&#10;VYs6k5PJ8ypThUV1K8lso7ba+v8AwT145k4RtUg1Dq5b9LdbK/8Aw5+W/jHwjcRwPJp9pMsRlxDc&#10;JDlF4ZsZwM4HX0yK8O1vwfNHpwul1cG3kZkuYlhZp4nBZj52BgA7eCuMbh0zX6G+MPh5q1vpMfiJ&#10;4YV0y8SSztbqe83OrrtA2QAM2SWAG9QOQwYAZr5n1zwhqenm6OoiGWIyNJBMI/LsbtVUBpYeRuwX&#10;OSnOHw3G6sYSqUWk9Fp8tvzMcXUp1ablTd1t/nb8D4h1exldS0RAWJnJLIG4xhST6Ac/X3rsPh54&#10;8Ec8Wn6nJEZInP2dyMNIo25B+uAcDso+ldz4r8KW76f9og1OzSFLn7HcxLKIJW3q+1o14Z1G3BwO&#10;Nw6ZFfPeuaC9lKktqZQFO+CWTKsS3AK4H8PysD9favVpunjKDhVW/wDwx5OHxtXAYpunot9POy6n&#10;37outRzyw+TGjt8nyTDKk4IAB9OowOm7p0r1HRbuJrhIXijCxhWkSVBJtxwQJCeucjOPQdzn4Y+H&#10;HjWW9tY9O1GbbqEUqiOQPt3hcAFWPGeOh/DmvqfQdSdHSeMmSURo7hhtUAlRzyeCpB4/vfSvnsbg&#10;3hpcvRfifcYLMKeLoxxCen6JWPpPS9Rkt9QQyWrOzFYfPjKqTuYZVj3GWY7SMDHc8n0+xms5zCv2&#10;2BZUcrskQERFsllbrng8gjHJrwyy1mWe2jlNsjLOolM8beaxODngnIwcHPt0Ocj0nSbQSxNJbzwx&#10;yI0bHzhyTkEk8Z+bpxzg9OMny6tK+q+49OOLlTkm3Z7P1Ppjwp4l1lJ7KySR7nzpfLzHF5qISoXe&#10;RnIJyAMDA3Gvsjwnfwy6VCuoPLJNk3LSGNkZWbKhcdACWU5PTC9xivzl8FXt/wDaoZTdMiK5jlWN&#10;yzhlCrj1UEc85yWGDxivsbwRrdxKbNltZLkJKGeeefexbcwGB2OSOG55Jz0x4rnUouSi3fqultDr&#10;r0pVkpxa07d9z6b0zS5maHULaR8kskQDKj5LMuQCMKAzEHA7HGCOPcNJ0DzVtmltjPbxQm8R2AMs&#10;oI2LknohPzYwD0ySCMeP6HeXuru1veNHbzSzRrbpGQJpCzghiN3TB+8QFGD1xk/Sngy9aGytNPws&#10;rLG0k8kjbd5AWRzjP8JlAz7p03VEp0nUcZrfW/meHjMRi5U4ptcy/K29zo/Db21jDJNcSgyy5ECR&#10;RkFBtYspBxkg4GR06j26O6tZtUbTp2kEjyzM8gfYsxbaACePugLGuT04Gec1asNGh1G5E9wrgQtx&#10;EGxx91kPGScHvjhcYOcDum0yU2ii3mj222nzXF1FCikfu137iSckAov4gkdgK+rThDlnrHy+8+ax&#10;WKp03z7Se/loeNapA1hJC1xtdpb+OKRUj2KFXc4kcHgqTGByRjcB2r2rwnJFOYma3EiwB5o4GXzF&#10;XfuXcAemA4XjjIHGOK8T8YB7nTpIp4ov9EnWQpE5iHyyARMzj1Zo8+pPT19L8Li4trDzI2iM0kKJ&#10;Jc3UjeVjABydpwBgHuMHHBxjy41ZuvKENmk/Pcc6CnhOe/var70v0PdDOkG1wwO5VwVXcgzuJbt2&#10;B6cVxfi+GWQ77Y4ex3T7QwcnzUAZQAcEk4OQSDt/Gr8l5bubW0ldw8duXmIbdhQ2S2e52nOSfwpm&#10;pT2+EgRpBe3NuqKpXfGWT5AN3QH72Px9a63Wi4SpJ6de/oeNhaLoYiFRp39PNa+lrnDaXCqRaTYT&#10;SKqRXTxxSEYffO/mEycjIG44AwAAOM815/rcHmw3lzfRtPY3CXhitkXMQiFsGKnHJ3GRs54O043Y&#10;r0TUJoXe2ntR5ss0yNCSQRAfJcJ3671HfHXk1zmqrNa6JqNjdW8dxOjXcSwRsRG2+ylXYx2nAZnc&#10;5IPDAgAggdOCpRtyx2t/kfQ1qvJD29mutuujbf5n8+Gnao0dwsguHiUOuI24MQJKksPVQSCec7Mj&#10;qc/R/wAH/iTLYTpGzuyTS4UGYwEqBuIOMHB3dTj7tfAMPiiSG8uoL5za3Edx5d8525WRS64xjr94&#10;YHTkdhXb6d4vNpKk1vcrvdNqrHJsClvYcj3+vSud4avgqkYqO2t+/c/pPhnxG4a4uyr6vHEJSSSc&#10;ZaNbffr11P2f0D4n6RYabJK7xw3c2eSd7MzHGB64Azxyea7nT/G9lp9tLqepXUNnDs8y4mupQpj4&#10;UksOvUyA4ycDp1z+Ovh34tx6ZNA+pTb47cBXUztI8x43FeNxGenGcEd+nLfGD9pDWfGc19puiW93&#10;oWhSXW5NKXUTcPEACFDPgFsBck7VGSTwOK9jBVsVXai9I/1+Z+X+I/FnC/C9GVDDVFVxFRfZ110s&#10;n2R6/wDtY/tQ3/xA13WPD2g3LR6CJzboYnLSToo4ZmGBjPbnt1zXwUWcTF2dvMmxuVkAGS3XuPbn&#10;riqpmlnkDyNKZZky0hbe5YgNja2Wzkg44IKc+lSLzIqAtuCZQAiIsw68YAOA2cDjKj1Fe1Kag/cf&#10;9Lc/j7NMfiM1xixdeV9reXl9xZY4QvG7KAcuQMtgONwIOOGAOe/PfNWIfnLCQSRglHaTAlC7FVQu&#10;08EnbnpjqD3zVZmJCquMjJmRyuSSoPTGOvIz/EcA4ybRBQFFePKnPGM9QCF4I9ccU5SSS7nny1nd&#10;6XX4lkMCj5O5eWfaDGeSckEc7sscknnAOTTmAMpZzvfcVOxAFJ5xj3JI+gH4VCVdxtUSAuHZQfkl&#10;AViSwHB/iXIIyN2DnqXRlWC7FIUNlfLcgIG29eecI4OD/eFZ2ldtS3/AKbUopf16fMkT5ldixYso&#10;EZA2lmwxUc+2Mt+PPSnHAdgilEYkSRy7SXGDzkcZOF9eOARQD5RYBTgOGG5/OzkuVyOMHP8A6F0o&#10;zES6B5FTy/LDAnchwTtHQAjnrjOOlXJNxunuJxs7vRdyUkySKAQF3ZUOBz3JJ7c46nAHsaiGAQru&#10;zo8+9m2kEqxOBtxjjJAwfX2zJiQZ5Lg8GIZxGQoGMHp2Pqefwgc/KpUIxkiEkbo5KED+LjqO4x12&#10;+9SozjK0v69R1OaKd3oVw6xx4djuV2Ea24wsB3EnB65PXBPVieagcA4PzYkBCE/KSq5Hp0/LrTn8&#10;4ttyoDIYlkUb1Lhhux14ypyfTHOM0jMIw+xpFLnDEFnC4OSOnodq9/yq3ZxaVr6ExkknK+jdv8iu&#10;ApuDtC7VBZnXOyQ7wdoBOfQgd9pz2BMMu/5gm1SoyCP3bgMBye2WGPapUieJCTIVXDOCQDgk7TyO&#10;ccn06Z5HBjdw8YAcyEorYBAyFIEZLEHnKnkAkA556BOLu7a2HK91pp+a/wCGIgoaRt2AyLtV1+be&#10;xHfk9wWAGDgjNOa3JaAsuGJOf3Ybb/ERnORt3NgHng9M1OVxGFDZZGYbAS4GVJIycHjnHamsgQ5d&#10;VmY/vFdGI4YYHTt16dM569cZVI+7JadGOlBQSct9Cr5YBIkPlq37pPmwoyM8keg44Gcgj0NCRgmM&#10;BisYcsCSu0ElSQeD6Z9skZPaUxsqrGwDjOWDOyo7Ft3Xr2BwOgBAPXIUZS+WYgyNlRyOgHcDB+Ue&#10;/PU1pTbmoum7L+v0MpP320tfz/pDiBtbglmQKVI2+Wy5OcD+FgVH4YpxSN0yZDg9QTkKFwcquPmz&#10;lcr9MYpgYeYC0bgELvLyMyZ+8OvGNrnBHZcc9rB8pYgxZA0g2KyoSc7iF7E9EHJOeSCeeakpJJvb&#10;Qr/l3dvR/eSxjId9pIgx/HkgD5s5PXJbr05AxxToIJFaRNsYkZDMCzEM3zEZA5xzu57fiMtSJ1Xc&#10;zhZFbCpv/wBXjDFvl2jnqTjqAAB1qZNycszl0jDc7SgBUYA/LknoW9KcHFyt8vwQ4qy/edO3Ysss&#10;uwsWVh5flqjAEMM8jkD1xz7Hoc0+PZIF+UssagINwAI4ZunUnt3OahjO4PIJEmQRhgWYDhgVUYzz&#10;nJxn2Papo12Z2uqqgxtGBtOP4RnnGO3b61GiXL1Fa87pb/1/kWWctGY8BePMAkGc9R8vuOee2ai+&#10;RTsXIbqf7qDk8HOeeuPXp7pIs7EjdnJUqm/HADA4Oee/5d+KerNuVi2VI5Dp1AK5I/E4yB1B55xV&#10;U/hbb0Fzxctetl9/9MTA2hl5IPCtkgjGCpHfqOPbvxUg3kEb1y+QMksF+VsFRwPl49Og9KJHKhmD&#10;YQuWIGWK8BuB7hTjvUTI0iPJ8y5w33ikoGwjII6YDE8YPPfjDfK4qCQ1fkk1tpb+vkOyAjbz5qnI&#10;LKRgjnAHBHHH4A+opU3eYjgkskJ24TYSBtChce+0AnHb8Jt7PjCo28F3ZnUFeSMs3XsfwPrSKgUF&#10;iAiBznD/ALxAfmPJI+Xvkn2z6Pm2uaT5bJbuy2K0mxJXXcGjGdmA2zbwBgHueTznk+lV2QAqqIsc&#10;aEh8YU55PHvyfzq3Iqk7nc4WLIhKt5h9h64OCPXHes5iyl3jMiKu355NxYbgCec49Rx6dua0hFSs&#10;n2OeaTvTjsrevT8SUkStI6Ar8vVSd4JUkHpx1AxyfxzQywRRbgAg4BDAlxkhsFSc8bQOckc9cmpl&#10;U7FcI37sZVlQbpSQCRzx0GR/uk561BkhyxQsj/KysCfmGAu0H8Bz7fSs0024xTvoaK0NJrT/AIYG&#10;MaDALNlSoyOxGcFenIPrj6VayfMcrhFC/KGA3DoPnyfUr1z39zUMbF90TI4cKDuJG1txJHT05H1O&#10;faiVlVH8rAKTHhTlxuJbIXqRwefrTvFz9he769iXCSpWjt0XmIpG7c7Odgw5GMAkbgSe3f25FODJ&#10;8oUFQ7D5jjBJLMWJxnA25OPT1NMUgKGB8t0jAfJ2mTnGWHvkcDrt6UpjcgpgFScrvOY5dq8cj0DY&#10;56c/U0lGPvdA5pc0Wtl0EYyMSUjCyBSygj/WKR/Lse1OVsbyEKbRw4ON3cA+w44z/Olldw6q20Fx&#10;g7jsGcDrxj3BGenbIqFw5cgFgC42gkRqRzxknjtz9c+8q7kuYIyjOcZPdO35C7Sr+Y6nAUEFWJTA&#10;/QfMzNg92JxnNT+XuD7Qw3krmT58HhjkcDPOBjtUXzMrtFcFSUIbeoIxxjJIJzxk46jjoeVLtw0Z&#10;DOJMLjoG4JHy9+eRycduBVJRenT+mJv2cVCauk9PPsMiU4KGN8sR8pA3Eg4ByOO5IPv71GhUKCTv&#10;y4MkobzA4DNgbexy2On8APOasSgFFHmeWSgCPtwPqTjPoOwGe3OIyuQuXACxsJVX5CSoDA/qOcen&#10;NVFap3tzFNWh8On9bkDW0sjGSJwI3O5QbV3PPuHAP5UVMyeUTG8gVk+XAwMAdM89cYz70VjzeX5f&#10;5jdK7u7XM9twDLtQs7DKr8jMFxk8Z56j3wB2zT28twkZT5JFXaSDGhxkH8iDkg4+nSmISXjkVljw&#10;STu5UYC8H6hj6j8qeWeWYSnaQ0iphnJYdVwcng/dHPbjtWcV7ilIwk004S77kcayGMh1zBnYoyfM&#10;wxRAo9BjnjoTng5FTq7SM0cSmPYfmYOACpLhjtJyACo+u6nOwURbXIdeAzfLuyzBWwBxkqPz+tLG&#10;pUgxliilkUEB3UMFDEg4zyq/hjnNXKS5G5f1/X4jTjF2X2RZFXywm4kH5m5+Qcp8zHt9OvJ9Kj2e&#10;Y7sNyuylxtf5VJIGMHGQOu0Ac4xVkNtiYBMq6kc8sd2Tyeh5Yjn244qBpBseNQWwNwcFvlAAyMjH&#10;YfU5P0rK372yWiX+QpKLlFx0TWo9SyEs5UgsWMWQQnCjd05yFVcnpSHaF2rtRkZQXQLuOfmJJ5yC&#10;OxweRzSiQOSwxsCZTcAuCBgjPfrx+tQRhC6EybyDuVVQAYGOFIHQYI/TmnGaSvLsdXJCMXy66L/h&#10;yV8vIVDxjzAqrvzHEMnncQPTPqeSeopssZKqqBZMqxjVgxVR6HnsO2f/AKxujYE7Sy+cMRhlV5CX&#10;BOeMnJfacd17YpxjI37QBG25UHTeSFzuJzwCWOMd/ar99xSsZtRlzJ+T9PP/AIAssbSNL5SlAApk&#10;bJbbk8cYz/EADzkn2pvQhXaVU5DbmUtwxGWGWwCFDAZB5XIByKlWTy0LlyFOUK7sMOoOSTgZ5J9M&#10;80mEGS6RtlMuASSRxtGfw7njI+lQpezg/aLUn4lzS/rtYWPCFkBceZMXVnfafogJ6ckY/wD11Gki&#10;xqTJKpkkKYhlKkkyAIoAAxySAPcnninjbMz+aVjd1YxlhuZxmP3wucEjHp05yFVFZVt8x+WArBid&#10;rnGflyfcDuc+nAFVHlSUZBFSbdtr/wCQLGsUTKEIjkk24JDsxyMjP/ARxxySMUq7gWynmRlgqybs&#10;L8pAYHA7c/TcBxzSGQpGqu4VgPIG45cjAjC47Y3DpzyaTBUo5ZnZZNm0DaeQACKUEr8y69/OzDm5&#10;KmvV9CVVBBjViMESKoHLZIAI4xz159KGeNyPLALHcoYD5eA8T8DIXqwA68AjHBEayqNm7IdGPzAE&#10;sy5UAHGDkM+PwJ7GpCUcOOjKD5ZVSSGB+cseuGznAx3yTkYmMPevcbUbaP8ApCy5ZVjfG0KGcqMk&#10;+gI9D3/yQPHEY1lVDIwIwxAcDGRwM9cEjBPGfzecf3k27QmWJLIDgHGOedoJ4ydo9qNxAYqFCoOM&#10;IcHuSOMknGcAd/qKfvRakt7/ANf8A3lrF8mrdiDdGIhGmFBkYDaCqyAKozz7Y6Z6EU5kOwQ42Kjh&#10;mBPKEcEeg529fSmMpO0qZDlFZ1YgoM4yueR3wMdxnrTo9u7Kg5yU4bhiORuz0HU0SUoyst3uZ83K&#10;lCWqa19fUlO9nZRIkm4l94AkwM5xkEfNgYznPeiLI3SMpDK2Nu4HA78E89O1Kj+UNmRGWlzI0jDA&#10;YkE5HTqRjOOv0qSIsyOjqSzMxU5wxCnJ9RnGSB6Iazkm5X6CUZSd3shWLKpDEM+Q0ZAATbuwOD2I&#10;HORwKRXU+WCqssnziUnYkgYEqPxyCCOuR1BpMBU4DIWcqHU/c6n+vX9aft+dFjkVwSVVmI3Fmzzn&#10;6nknjk9K0heKlBdNvwBJyikn7q6fiPTEjtGCHBjHlsFGSe+CT6n0AwRmopHyoCjG2NT5Z+XPUj3/&#10;AIeuO/0pI2MSttwoEiOsrgFl5B+bjnnjn+6AfSmrnYAMyKjqgdwMEKRnv7HjJIz1NZ6xqWv6fgOE&#10;rS9nFf5/eTyCRQZC29VZcqu1eDnG3PXvyOB+OKiWd9yruLkStGycHBKng4x0wzH0wc8AmkZzIgJE&#10;a85BwMKO2Dz16/j60oLeUCHjd8FzluoUZ57Hp65PYGq5rNRT/rYd3CrF01ot/QrSgruWFtqSSEEK&#10;cycucEEjPQ4/4COOSSheN5iTuCqdgIy3IONpGMYGCORweCDzh8zI6mRSSxy0JzlsgHaPU9Rkfyzx&#10;G5kkBeF0b5RKoeMbhgEA5yAQfl64HvRNXleTu3YJL35WXa3z6fIq+YQx38xnCnc+ZCMqxyc5IJA/&#10;LvxUjeU8OxCV43AMM5Xbg/pnjmo2MbBiuWjm3FBN8hPA2lFPcDBII4IPpURO3JG0KFBXaeAM/wAP&#10;0HfkkY71rNc1lLba5E3JQSX9ddTxD44fC61+J/gjVNCuCgvY45J9Iu8FpIpQkjxYODkNlBgnkEdq&#10;/CvU9GvNF1PUNEv4Rb3dlctDIrkCQEZyP6jFf0cXKrLFtkKvGkan7u8MoA4K98EAEHqMg9a/LL9s&#10;f4PHRdR/4WDpFuWs9Rw2rrAn/HtKxCeYxx/GwPI5+fHOa+m4UzB4LFPB1Ze5PReT6P57CklVglH7&#10;Ouvbqj87J4o13qBuDgrjbggnoSaxbqNVABwVOGVRxtGeR+PU/Wt/zC7uuMKo+Qc4JyMEg9+O9VLy&#10;HzXx/D1AzxjAK479z9K/T480NGXGdKUW4O7/AMznYyBISoUkybSi8BQO5rbt5Qwwrjay9BncPYfl&#10;/KsWWHyNm7DHAJ5+ReOR7/8A1qs2kzRuMAhBnBxwT1/TIrsko1IJxPCmo06nM1vp+p1Ra3dljCur&#10;Mi5MeGOAOufy49qzL6FWiL8kBtqhuAeQfz4FSxvHvjkJbhtqLjaxB5J9e55rReBZgEYBARnIbOQf&#10;Xse3TrXAlyyUex0xiq6bjLW2v3L8nc88uLUkMRH35bnavfkn8OnoazXgMfyqpwOAw7E9z37iu7uL&#10;IJjYWyshwOgwMZOPxrnbm1fcSGJLHkEghQc46Yrvp1nKSjI8ethZw5pRWvf9TACZk3sOcYZs4weu&#10;D+VWYwmGBycHnB+VT2P41IUAII7AlUYZBHr+v6VAweMoSSFcYBYAOccjH0Oa7I9Ezz6qs3rsWkCM&#10;xDBzuk2grztJJGW9B3pispLlkO1RhSV5U89Px/lTN7kS4IXPB2/KBgHOe+cUsrhUUEg7kAOR3X19&#10;/wDCm4tztD+tjCpKMpKC7frYRJPIkUlto3bsgfMDjgHHb/GvTPDmoJcQqZWUvGPnRiMuF9D7jn8a&#10;8pkk5LBRzk4K8Ecn8vvflWlpGp/ZriAhmGSA43ECRSSBn6VlXpKrTcV8RFKqsNiE29O3zR7FJK0Y&#10;OSBkjsMqOcA54OOaZOgZSweMnZh8cMT3/QCoY5VniSSNTIHQOpIzt5BHP6evtVjahiKn5nRSxU9R&#10;gDkjv0rxVCVOfKelVkuXV6M5a5jc8Y+dIwS23KnJyMCmQSOrAPyxIKknIbBwT0+v41euuGUKCI2J&#10;XBHPIHp35znnFUYyGk2khlxtbOVIyT3r0Iq0Em9LHiNKDUae10XVYtLPsjHdS3O0479Ov+NPDHzI&#10;wTtCkMHIyHP/ANaq6bRIx3KBnoTgHH9fc0symRVYHaVA2ovU7gDz9QRURjzTV9rHdSfNBuT97/hr&#10;/hcnLqYSyfKSo3blwPT1x6flT0+eKN8EPGcHcuCp7r9B6n2qFI18raZDtZTsYcc7sqOD04HNIztD&#10;EwMhwW34GWDHuD7cVE4wSaWuxWsVzy31NOFN6o5ZGxlgBjJOcdfQ9Kc/nI5MJOS5ddgAH456cHpW&#10;XYyclslAHDMn3SFP6fj7VtbwRG0ZZQRjeG2kkEY+pwM1hOEk7MunKpUhzRdk1+uo2UBwhkyGfIYE&#10;AAn05+p/Oqhbby/3QQgzkFwAOnbt19qtiXe0hI3gjcrNhNrjnufrxVaJjK5TkBuAuOclvXH4+lEV&#10;eLt1OuUFOcXHRF0F3MgVyMNgAqAG7Z65rNZJHlUyEh1nyzD5g4HUke/v6VsYUIoUkTb8kKQCMEe3&#10;tVfy1gkXg+bN/rFU4PU57/5/Os42T5mjsUpVOWNR3Xf102Nq2kRlUAMhKhWJwrKOQSDn3NRyhxKS&#10;jqQR/GM5Aycj9T+FVlk2JIofJMm8b1OF9GHOOy8+1IXkJiHKBwVU4O9O3T35/AmsHBJtvS561Oco&#10;u0FqvxOhs3Viq7SrF/mZRlcAdDjqfetgMC7md/uHO5OY3XbjH15Of8mudgDIFRmkVWUAlD8zk7gC&#10;ePb+uKngLxFiUBUyBo1YZVeAQQM9cZ+mKwlTSak97WPTpTcYJ1V5kzzSo0YBYRbi21M7+w4Pqcfp&#10;xW5F5ysqn/VuNowAjJ97JyRjHOMjrVSCO3fEZfBxknnJ/H2/nirrxieH50kYKhfy1LMcKc8MAOBz&#10;9QR7VjUkrxh9/merSxHMnb4dF+RFdXizZijmDYfYzM+FOMd/rn8qtabBOgeTKmFAxVF5buM8cng5&#10;4NVbZLdEkiCKEVNwwgbk/KWzgHk7evTPpxWpGVdIoYflJ/dhgMPgZIByOmMn69K5bct101/r8D1Y&#10;VmrSvex19ncho4k8wMSxO5A29zgbR24+bPHPA44rZto8/v40MbRKY1819rK24jfs7fdIx1A2k5Fc&#10;lYyqjxup+VZlKtKpCuCV34OeuFwD2PPtXVQSqZAYmVEaLBBcruLlt5J4zncwOeOOMc58+vT52oU+&#10;p7uBxM4pRjLX8WdPo92rjEkhU534Yq6xMMMBhvTA4wRxxV+71UxyiSOYiBlZm8tNxwRtKMMd8k54&#10;6V5ob+OK6JilDYPmFlV/mchScDPJBOMn73Xiultpr154yEDOyeYiyjywACDuYYwRyOpyffBx51Wi&#10;k+ST2PqcLjHaCmtNjqH1KJrMRxOziVjLO0zBAu0jZ8xznIJzgfwDrnFWdL1g6ZfRyBi5Y/MIpvLg&#10;Y4yvzYJxn+XAOeOQIvI4z5mXmJ/1LoWjXpu6evGOlXtOby5Iy5cwqSixOPlHXBIwcf8A6uTXJPDx&#10;s7f1tofSYXMJ01+7tZv9T6K8KeJLotG7TPtZGZIy5RVPVsN95sljjgda+q/D/isf2Xbq19mVY8TJ&#10;tKoFAQgq/XJ+ZcdgoOD3+FNCkvZWj3CNI4iCJXT75G3gLjodxH4dele76HqdqILaYzvcTKhd0Qss&#10;ZUHLKQOSQEBwg/i5OQMebWws36dvRn0MXHEWi5XPpe28Sy3BeOGcBmhUpJ5ZWNXxuOeBg52nt0zm&#10;sm8ur2PWGmljMqPbsFmK+Z5bEFtsagYIHQY9ST7ctod0Y4JJmdVhCRyxvJCyuXDbZAcZ5GSODgYO&#10;D0roL7XbS2tFmkO+KElAYpS0kSsyLwpwCGMgPy8DDZxwTw4ii0k6mkrf8A7I4pYerKFKN9N/PQ3k&#10;JvZIh5NuuyRblt0ZDkKGRVU+o8wEJ2yvB5rdzLeRtDcM0Yt4gtmTDHGTliVZThckkKcucjbk9OOc&#10;sNXhNrP9mYzMHWEXRy0YZyVIwAOMAn8ffFPVLjfJI8jCWWHdg58iTLg55wRlQ3fqvOK46VO05U+j&#10;/q5586inVavaP9MzzbJaxKXddtuR+/trjzZCY2IAIBAIwDySeQOcVzchsILgXOoQRtCCDBPMYgwX&#10;5QXSJScc5BDE5GMM3bo3tnsLSVnmjVDLtSWP5XchAo7ZPAHBPIz0zmuVvf7LmMlxGjzYgO6TzPKR&#10;x+7xyeg3MRxjlepBOeyMeWEe972OSvXjJNxd0+xznijxDpephEsLFL8ncA0eVW3jjAcyEg84Cs5x&#10;xhOc9K+fPFOo2M1tcRSXUt1cykxvbPcF0t1PZVB2YOQSPvfIvTBr0XxfqlvAs0FoET7XG0YgtQ5Z&#10;tw+ZyxH8JB7DtwTk180+ILkXEiW7yxCJYTEvIzydwIA6n5j1znb2zivYwcPcU46XPmMxqezSlDZd&#10;3r0/W5ymtzAx4WXKbyFCEeUqsARtHuF6gYrkQYZBO/BZm2qznJiwc5XJxjgDPJ6Vq3sqbfKGD82y&#10;EY2FcADdgflj69q5ae4j8hYWhcKkm/zgQSxIzkY5wAOhr6bCQdlJ/cfmWa4lVpOEHpr+HYztSlaH&#10;esdw8obcxLMRt3ZBA4wMkt9TnriubUIVV2LN5fzsZQxII5BGTjGMdPSugmlU/MI8q2GG753kYA5I&#10;B4Axgc98n6cxcJIoY7kjwWJickMMtkn9cn1/SvXgnaz2PnJNK8ZK3S3fVamFfTqzSShWHyEF4mVl&#10;6kA4PUnPp2ORU9hd+bEXDnMUmZFAKvwPTp2x+IqpPbgJJGEQHbvHmKWRCGHPH04+h471mRXE1nKj&#10;TSb0kGJI4wFDMOR/Pr713Qipwa6nL7SdDEqtF+5fb5o9Bt2Iy2SB1jjD7g7dc9e2cY9jSSTPO+yN&#10;iOSqMHHOSOvpnJGMUtlLBdwRyQyIZBGH8kDbKpI6+uOD9MfjWjFbSqGG0bvvcffIJYcE+n4Ywea4&#10;pLkm09H+lj7GhOGLoqdJp6brcomVjEqbv3yoCcHarkYXnPTt+lQxR+eHjn2CUHbuR/lwCTn9RyMn&#10;mtdbMqF3oTt+clScqOpOfqRzVeeJIpAQwYuMB0jKlMcDjHQ5GPrn61CdoJ31vp9xGIwlnyrp/Xz3&#10;MKeEQqUAx5r5GQQ7g8kHuM/hiqcbSo0jKEBlcRhAwXB44P8AhWrOpchgGEgYo7uwAORtGDyCOf1q&#10;hqEa3EoCQfZolVERImJRyAMtuPckfT5jwa3i22pS2/zPnMRQcJSUtr29DasVSRV84vG6kxGQyfIo&#10;AxnPbn/Pao3jijMkbJK00cZkbzDgrtGeR1z8vQY+tYyTsGZmJLIdqAD7owc8dOv8zWnbC4uMq0sT&#10;s7BZA7FSV4Gc46AHPbgH1ocJRej03/4BjHWbhPZPcliu7USwu8LyKq+Z8jLvI6kAn/Dv+Fb8V7Ed&#10;Oml3MkskJWUudnbGOnPr/wABNcsy2XltEzbDHhx9nyNxG7v65PHPrWXJJdNFveR44kYiPcu91HcF&#10;e9OUVVp3em35noUJ+watJ3S/Kz/I9s+2WusQ28MDNa28SLIXkdd6rwcOQe5O3HfO2vTvDltqNqbC&#10;5jlV412ySvFKpMS5A6fw9PfoK+cPDmoT2EscjIdxmV7aQruSMoe6nIb73Oc/w4HUn6X8HxPqUqRx&#10;4lMsLu0U+CY1WPcz4GB/CxweBkdcYrxcww/Lay1Z+g8M5i4cslqk7t/15H6VfB/V10e103VYM3CX&#10;Lm0LROJriM7EeQyqOVj2NhWPDNuAzsYD7ei1ufW7201QWiQ2Vtp5NxLtEKRFfnR+AWAUs4A5/wBZ&#10;zjFfm/8AA3XLTSbpNN1mIJbm3DwMJ/NVwGA3uAD0IAIAz265FfpP8NtbsbK5uDrdmlxpazmB7ZXW&#10;ZnV4mAEjMwBIDMylSMMF64yPh6vLTqOnJtR6rz7/AHn6gsTCE+eFPmm1ZO+600+R1Pwv8TRX+rJF&#10;FDJqWnw3HlW0iSLFbx79gyG7LkoMnqccY5H0hrFxa6tfT6ZpE9wlxHHJpupRW0wkgjdJEVkMyErO&#10;rgFsLkEEMMrivNPhpo+hWXjGW8t7SwGj3N4dQEIjj8oksHZFjGBtwM7FAAGOMYI+4vFlz4f1fXbP&#10;xha6J4d8Km5uPtgstCtxaaRB8zySSQxY2qpkaVtqDAL4APGOWEbYflc0mpK+m8X1T/A9DG5lThmV&#10;GVKi1Fwet9paWTXXr9x4vqXh/wAZeCtF8IeIUEV34Y168l021eC8im1COa3+W5Wa0OXjLBkcSOoR&#10;vMXaWw6r6vo/ijTpkSa0uZJLlNPEk9tPbFFsm4jBDhsyBiGfHABWQDOeeRtPEtvd6vqsNveWv2KG&#10;NI3snd20y7a3Iidoy5LeY5YsckLzwAc7vQtFtELQ3UOhQS6Nc3S2st2EkXyTKoYOfmKqCYwAM87V&#10;OwjpMqMK2JlUw7tDtvt1W1rv7rno/WJrC0oY6K9pdtNLlum72d73aWl76vXTY9v8Fa1DJo1tZRNc&#10;ajdTRyR2Wk29q8t5dRJFJNNJHFFlsRqQTjOAvYLXouoXtpqzQta2VlorS2YjlksbRYo7iQMd0rue&#10;S5LEsNwBYtkenBaXreiadpd7oOjeC/CWtaxfW6Tya7remwa7e6IkcssZ8llCyRs23Y0TsAYmBKMr&#10;oaoT295dw6RaG9ksbcuLWdrBAZEHlOFMfRQfMCMc8lR2wM+nKNDkjRozu3a62Sd+/wCOh4dODxOM&#10;nWqQ5Epe673bTV2+Vba6JNXum9mrfR+nGys7bzv7YlvJbayVJVjP7iyBYKmR94uQGBJOOOh61uaJ&#10;qIuBewmFUt7eNZWuXVWS5CgnJXOfkC7yTwSR97nHnXhbRG0GyS2muWaGaEZaaIbyzuWEjsM7nYoQ&#10;c8ZX7oBAHUvdNFC0drcpdEI3nBYh5jfOWLAn+EHI6EsWwTkEHok6tCo29l5nx2YYejKdSEZ892rS&#10;2SSfZK3y/XU221+W5vorACaWfUrR4ZJS5R40BAaQnIILELznI6denz38Qfj3438JeP7yytvCPizU&#10;vAujXpE3ibwhqWkQeJE+yoYnxbO0sjwiRl+R4vnERYKAGFdF8QfiFafD7QdW8aXc89wdKtYoorSz&#10;iSy1KaRpvKRbZt6jLY3ZLKQVyTXwvpXxs0bxNf6Y+h/EZND8SancSXs/gz4wadBpt34jupJhHs07&#10;xJYwT2Ymkcsqw6i8QO5FWViSKPaVqa5oS9+90r66fn+Z8njFgpVVGcP3cVZ6O136a6JLX5s+yrzx&#10;xbeILvxF4m8BePvBnjaQ2qwawvxW+GWn6d4mnmeOFp4bNLAo0EjG3WHzvKunQFsMgII+itD+PesW&#10;FrD4H8caTq/wo8Sa3Mlha3Ghra6r4YSzZQyLp+sRsirdEyCNoJoYZmO8JuwTX52eK9d12/1e40iw&#10;0jQNI+INjNZ3934V8c6Zb6Ff+L3V1fybqUl4EZ8EJe2phLJ8x3ALXt3wo+ON7rOlRaN4x0681Dw/&#10;q3ieHRNRTUrV77SvCTz3Ajmt7XUo/wDSLD7KUlLLcCdHWQLE0Z2xt14fH1J4iU+Zwk7rrbfVPqt9&#10;7nFi8Fl9fA4fnpxqxjbX3eaysk1pyva9rJaWVtb/AGF4o8Map/wj98y6Fb+IbAyRzP8AEm8sbGfV&#10;pJ/KTfpt/EzK1tMxbd5iJvVgCWZXVK+fdS0HTdT0i70jTNa03SbuC7hbWbI201hrelPIRbW9xBcq&#10;SZbdfM2n5kKGYsFJYk703jnX/h1d6/4Y8HOvjHwcdYg1XxNYeM7mea+1rwtdK1uZGlQiLNtO4DXa&#10;L50YuLabozhfLr9LPwlrFu+h/ES1sfh2Lye5mbxbcWtj4s0G9Qtc2EE92SsWp2zTxRItzEXZUj+f&#10;7rKvTXUJzVWC1tZ69nunpdet/MxyetiaDnRqSsuZShKzu3Ze7OPvcsnskrRf2baxO3g+E1poXh6y&#10;TxB4l0KOx8OX7voNz4P12PU/HU02onzd1hqAiKpGgdnIdhFMh2Mz7yB4LdeFYn8SXGv/ABN07UPi&#10;l4H0/VpbO+svAEtvZ+MUMpkgtDqdjvhitJP+PT94jGB96jeh3KO68WeH5IPGGn6xol3f+Fr++aPU&#10;/Fmh2ljBo2i+JFaB3QaTLAtwsa3LtC/zM0AL42qOK1JrvRviZ4f02Lxfo+leGfHGm61/ZXh3x5b7&#10;dKmtJkZDJpfiG1t40S6hWORcygK4Ln7ylwOeFSMptSjbkd49eba1/wAEltobYiWMjCOOVVylPSo4&#10;2i4prXkW71Td0766bJH5333w08XSTa54c8OaTrg1rW7wWdzoNgLqF4o98kht57UqJJSEhk8t5NpX&#10;yclRkY86sNSvfEXhGfQbK9ktdN0owSvp3h9E0W88RPFcBhPe3aOktzLC4jKK+QDtMYTywa/RfVfB&#10;HxB8B31pHr97purR2Cx3urQ+ONJvNb8Pafb+ZPIE0v8AewTrmR1kjntpIArOA25GyPHG+CvgD42N&#10;4m8U+A/D958J/HPhu2j1/wARfD218RvP4d8URBlE13o1+8eLdyRCJbS+i/duXPmkE1x1sFJcv1Z8&#10;tV/Ze7Ss/TTt1PZnxRSrzdfEWlhrRbnHXlloldfFZ7XS03bPz+8XeCPCvxO8Dr4QuZL/AMOfEeTV&#10;57iw8R2Akvbfxk883m+Re2xPm295mV1iuIv3UqoRJHGcyr+dvj74PeIvAAvNA8S6RqyeKtNu3kNv&#10;cXE1vBFFlWT/AEBsMZHRiN7nvxkHj9ubzw7pNyfEGq2ls0HjVby+isvALte+DPHvh6S1s2KXMN0s&#10;FzZ3dnDJbyvcB47aeK3BBlkJ+0Vxmt2GgfErwdD4K/aW26N4+0Twws3w9+Nlhpj6vr/gjSppH8tr&#10;+eIhNZ0qF4g8scZmltInBQhhNbtUcM5q1R621008k+36dTyaubywa5sFG9Ju8o3197dw7paXS36H&#10;80XijQgZ5JINOSytPtDyS6Xuee7twGYrGGfLfKo2nJYnuSc14hq3h23y+oyWsvmXM2xITcLGclSN&#10;wTvt2Z69D05r9pPjn+zh4o+FNzrWneOdLtNXuraGxvYvH3gxF1DTNb0vVBM+k6labHEdzp9zIwh+&#10;1Qs6q/lp+7ZNrfFPif4Fa1b6fPqNhc6Tq8cUS3sw0yR7+506J04+0RnDIcGNy2CqeYo3AkGsfZYn&#10;CtuUbJI9elmGCxtONVvR9V2VrJ+fe5+c+oWNzozpfWLkzQuXAgl8vcy7sIR26dx3z3Gfc/hj8VFv&#10;RFZ3LeTqEQSOaO4lCrMFV8spxkEEkjn+LGMdanir4f6jaT3MWoW80Lt80G5Cg24yWTsw4bJHpXzT&#10;qEk2lajNPaySW9xbzGaOQ5jQqgAXHOcEjnPv+HXCnTzKlyS3WzK+uTwGITpyUqPZ9PQ/U/Q9fMUl&#10;r5E8DQM7Fw7ZQngsAfUiQkfSvY7C7vdRZWtZVgITeqrIGbaMDkf3SWOMc5UV+cPww8dnW4ILd5Xj&#10;vbY4kjRssQM/dB6jqfqT9a+y/B+vNE2mkvJ5SqFaTzCCc78Fl4z6Z9R3r4/H4eeEqyhUVz9Gy3E0&#10;sTTjXi9bH114SvLyzjtpLqVHmlcSHy4hBBGDtCLNMRkuzEbFDdcgA8E/afgyZ47WyluY1tzJcCUv&#10;ZA7XTaMhhyc4OcH+tfFHgjXEit3TUTaymWTKKsQDlOdp454A/wAnivsbwHrmnXiWfmT/AGe0EgQi&#10;NGlwCq5+Y9yFGfXaCOgx85UrU1CS5rO27PSm6kfjheztddUfb3hfSINXFhNps/l3TKIjM68RLtGc&#10;nIJyQ2M9CwwOePf/AAr4XGpNJBaM0N5aSPHJvm+c7VWVwWPbpnPH3snPA84+HugW406OeymSSJ/n&#10;tWimQ3CurMqkgckZAzx647V794Y05oY5J9LaSS5Qj7UHjx5zEFNu7A/unlecY5PZuMHGE2lKX5rR&#10;nyNXEWqSjTm0ltfp6/kdX4OsLqGdo7uGR1GWE0aFQ5BdQMnnAKZOcE4/3a9Ngtli0vVHuQIrjUIJ&#10;YbZ84ZoxtP3T37A+wNZOmXT29paxX9v5V7O5RYckKW8wsoPfGAAQCAT0wcCuinsxdQ3Fs0zqhtCq&#10;KsW5kZiAAT/CMFjwM7s0pVUnyRe3R9L/ANaHlY6Tqte10Wmq62fT5ngt7p8GuW11uhXbeW+VQ4ch&#10;omjkiAB6YZBg54wKraXq95Z3505N8McSCK3mvJWjiuHCF2SMHnJACYAGSD2+arsGprZ3un28aIUt&#10;rWe3nuJkJAYkgHaB2AU9Djy+3NPv1ieG1mlYBEPnLLDGPlYEBiFz0Pr0JxkAGvDq+zqfvIvWOvr1&#10;PawrlTl7Ka92X4ef3Ho9iJkjFzG6O93C8CvI24owKlSvIzkeZnuCO3bY1KcvZQZlUJ5jM4KbhGww&#10;CwII/nj6GuU0/U5RaWskgiMFu33Cu2RlBbLN75UknvtYCtTV5t/h6wnhHkO08lvc7lPmFpnjKEn1&#10;JV1/76rows1K8469X6Ox5+JhUjioOot5Wv8AecRf2tzYxwia9kLx3Np5flkFvNClRuJwuzMig56Y&#10;6cGsfxNqpuLjWNNhnaInS5lefDNMWcyo0nbgFXHHO5MADnHcXkEMl1cC/McNvPYqQ8YJMkkRU7Tk&#10;nJAYNjOTyRgGvIr8SnxLf3FvFDHJNoEaWqyzCO1ZYHm3OzAfIB58ZYnpuY9sV6lDlpVeWHl/X5HR&#10;ipupQlJ/yv77f8A/mI8UR3Fnr+rRXPmJcQazc+YrSsqxlZSXy3qrMQcDPQ55zWVDe3YAUSlZEO1g&#10;JCAPutg/99gglQfmPFavi5nXxVr32u7N/I+r3LXF4GE0V0RK6tKHVQT5jFSCRgjaTisHeibCGckM&#10;G2bSS24Kudo6DGMDj7vfv9XF+5d+R/PqqzozbpT1W9mXjfXEkbvLLI8nPJky7NgEHAPbce/VBVUN&#10;5jMqHAY4WUA5YeWSTwSCQGYDHbPvVdv3jFUbmOFlLZPzZyHJHJBKsuMYPyjvV6LO5n3sCrkoobcw&#10;wCWJBB55yehO7PPWlF+ybSsrf0jCU5YiD9pey631Hqm2FizDoYlB5yfcfivHovX1tKCWLtkSK28f&#10;KHxgErnIHPzDp1I6VWREYupBlLSYO4jeAQxOPxIUYBPIznBNOTGGJYMu3ez/ADNCcBMnAOB96MdM&#10;gmhqTjeWj0En7NKTjr/X9XLsTjgyfvBtw6kFHiyQemfbkHghsVZiEZOchigLBiCFcg4IPf8AhFUh&#10;HGQNjmTeTvMgIbAIZvxOF5G7kA9yasMQASHwrKQ4XseSSSDg4+fHcADk5pe65SX9dBKPOvaLXy/A&#10;uxFtvnEFTu3l8nAAXGMZPJ3HpwcjPep42DF1JUM42Lvyq8E9M56kY9+O2arREmIxhwC4Vzyc7SST&#10;yOOucgdPyqwNuYxHsJABHIfJOTz6A4P0oVruTKcYyjFJ76/kh20CQ7Exhw/EYQAkclj17En659cv&#10;LgFfliUqrEFTllycDJ6kjHp0br0w0bV4DF/PLeUWBeQIXIBJ9du3Pup+gQIoBIQo4OTI5yDgLjoc&#10;jOCDu/ujtT1lFJ9H/kRKLju9P6sPMTGNwsm1clt6DJTcmPcds8jv0qFiMDdk7vukPvLE8nDd+Mf5&#10;OKsbogQ244wAHHy7iRghRnkdRxUChQ4b5WiJLY+8G7cn359OFPOcAkdrPe45qLjGN/e/PyIJSHZV&#10;ZWKquMMSVcnKnnrk85B45HQVCQ2CFVVyTJEpBwRnacdT8oYdSfryTVrokhckhWYDaxRWPBA+m3Iy&#10;OefWoncq8MpeTcWKq0ZKsnRQq91OcHI4G3mmlzTjFdHoZte4ox21v96KwiCg5DKyllUDJJG44PHq&#10;oBGeevqAJNpLxqGfciBypIDv8vCnA6jP0PHpTh5fygodyvjY4KqDgHIHTHBIzxn3ppSNdqibaNzf&#10;ewssQ3ncMdSo4xjjnNS71tV1u+2xqnFRvb5/cv8AghLvVHeQbmHzFFHLEKwKhuv1PHXIPeoxllcw&#10;go0mBsCHCgA/NzgjOcnueAQTTzGDjzJRvRvmaQsqqSu19wAJIPYKuee+KZMZGlLpiVhkuq4diAQO&#10;Bjjvx0+Y9yM6JQ0he/V/gZQvzyi9V/lYh84rFlcnIBLqSS64wCuehJBHHHHTrSgsMDLyqC6t5gwS&#10;CCCR7EjnAAw64HanEx7AR8rksMGPDuAcgnjJ+50xyM8GonZ/LWM4XfIR8ys7DA5DNjnkEk5zkA0o&#10;qM4tJbbEt8sbRe35aArHbIg5WLOSAd4IJAxg9D8pA9+fUSjaFTn5iGVoyhwhwuOvU+h75oYTurNG&#10;C0kcf7lQ2CeMDjqeTjvz2I4K+YAx2g72fdskVwRk56kA8kn5sc9qjmc4vT5FtQi043T/AE/r8x4Y&#10;lmUMSCRlwM7twwDjoBxzj0qZImEZVxxCAdqkuzqOWwO2Mfy9KrrwUKEsUeQYClcYAyADjueBx26c&#10;irUAEpMzzACUkMm3zFA+VtpXIOeVwCeQQc8ZDTcJcq8vXRoqMocsVN+9v+pKquxREK/In70sA5wT&#10;kgnryBjrxx0xViAhmXGSCRvwcFv3X3h9ecH0xjsagBTbhVxj5GydoHv+RH8/YzQgAiRxGHdVCqo5&#10;H3Q549NxPb7p74Buore6vIUbbL+tf+AWwFbaDnDsWRgdowPvfz/TpQx3BcBVwwCOcDK9sHGccHp7&#10;4xUYDfOGP7tlKLlTu4XnnP8AKrEHEbBgzrEoCg8AdtuB9D1qLxcVbv8A8AbhGcGo6P8AUgXaIwrq&#10;SEc5lcpmUgHJwAAM4zwMA59anC7sgHAYgAM2GGQSMEn/AHQc9MZBwcVFGEAGTjncpI3scL6dT97G&#10;Md/ankhWOxyOQHVfl5GMAKODnBOfUCrg3K7Q7tWTW24xCSYy+0RMpJwcSKRkkeh7nHT6UsgBwihA&#10;yLhlRvkY453H0zn14/DCMg2Oyn7+4IQ3Df7R9B0/L3pkm0oHI2M5wy7RLwHwynHBBGecn73oKfuy&#10;VmtVqJLmu4u3b+u9xkoAddr+UzDgrgNIPlAyecDrkdyF54IKPFGEMgfaWIbcikq+SAfX65J/h9Tz&#10;Oqne6NuWRzlstucKTyMdc5A4PHFQIQxWNBmLkKxJIJG3/wCsT/LkEEmlazIlJNXv/Wmr+4akjsQG&#10;zCpVGBIww3DO0kdw2fQc/WmI2TIh8xPmBKFxujwcZ7nBxweM+1SblUh1ADb/AJyTgqCSeBz3988/&#10;gIopW3ARbgqBRGrL5kWM8E5+VsY78Yb350jGUXZP+rlNtta6r/gbiNGWz5IHygiUhyjAbCMBhg8h&#10;iDj157YeFkO6QbQilggJO3b1z0PUKM8duvHCGNY1UIW5LSAMWdmOQWHPbOMLnjA7EUPNGUkaSQsU&#10;zI6Iu5415woGMkY+pypxzxUpSvfuZxnGMfe9RwIKs2NqjaORg/Ru/wA39KT5nUmMkAKwYIflGcE7&#10;j6c/kOM9KR2iEYkbzQGlUhQoG4AEt/NeQD3+tPRVcMd05Ug7sgoU2sQflP6nPO0dqHeT72/AtwVJ&#10;2vt/w/8AkICh3uBlEfeFkX5mzuOARx2OMjjHSmlxIuXYo38IYEHOD1B6cD+efWnB922ArtUHcMZ3&#10;MOvJ9PlGMjPHbJqBVSTOAUbJUuGOBk45OOvT8VPWoinJOPUycGklH7+hKhiLGMFHYAPhTgNuBBAO&#10;c/w43EY79qVgTICzOc/MiE7lB9SOOO3XJx+aAq0/3QFiXeQnLOegwc4644J5GRx1qJy7vMADMyq8&#10;ijcPnZcuwPPPA3KB3j4zkCiFOTiu2r9TSK5nzT3vp8v+GJXMZWLopZcgMSxJPOSfbB/Oqz5I2YZm&#10;EWADgDbggEjuByP/ANVS7SArb0dgDJwrfuyN+T/3yo6cjOKYzMjFApCSKdzSHgE9jjqAT/TPFXFe&#10;8ora39fgZ2jUnJt2TS/TYiaCVzu3KBgAb5hu4GMnn2oqVllQ7U2lQAATKB2FFZOvUb0WhHLDqynv&#10;MuCfLKNGGBVT5e1gxdh2KnjGMAjuM8yqiMqgsinaGUHhdwbeD1wMDgk9cDPpTmXdsXam1cvuJI3d&#10;icEcrgg49qdIoO5SCMRgtvOGbqTnIBHPpn0604ztaEvL5FzlOEVJK/8Aw5BtyHAdWkQoMyqUUHI6&#10;AdQVDnjjj8Cq+YjSCXcG8zymDDDIAcMcdj19sgehqdhtKoixhWOfmkJzyOf/AKw9aSLc7EOFCcE7&#10;4wA+S5bcDkgrhOQdp9T1Ivg5WK15b9ENkkwBGSV8smPKKCwI2DjPG4b84yCQTnjmnJGkkjK8YjCu&#10;roMFiSfmAUnI4IPBPakYruHzSI2/e5YFkP8ADgcnJxtbkAcuc5xlzDIfasJwh2nPUggIcYx/ez1w&#10;DQ+RJtFX5rU4LdfkRs21i23crMFaVUIcsSMZ/POTwPzIfbghXlbcoPyuqoEyQMdcYGRzwOcHn71I&#10;2VEgVFZeZNrfcyDypGDwcZ59RxmiHy0YAlsgEJGPmyC2SPTICj8AamUV8XX/AIY2nFRkoX9fl/SG&#10;O+0IyKAGCszHJyNzA9OMnGMZ/iB5BJLjGS0iEohBCrhdyjJJ5PfpnvTgWlClGJZcEryNwIyM4yeg&#10;9uM9s0gKuxLM7ZbYxCqdh5/hPBzhyPYHngindzV2mmZSjZ7WX9dSMjbmNmSQxsUkc47ckgc8EswA&#10;z0UVMuTuVVAkc8gqu4Ke2PoCB9OtRIyhtkvzDYcKqgO21cnIHJJ55/lVoFlf5wqhlDjJLRxgjkAj&#10;rjK9D0JOODSleU0lsvxHFPWOmu35f5jD5YeRkUBYn3ApwSFVePqPxpjNGXKhnYAM6LtKYOChGPUk&#10;kc+nTjNNxKULoVTLlwwJ2uoAPT8OR0wKkUxu+FYp8rK7Bw0hcZYbR1AwV4PofpT5W1vp/wAMXZt2&#10;tppr2tawzAI3OFjXzEYMc7s5LKGPUHcDgnj5SAeKe52ou6QxlUMobG902kluDwB6jpj8qWTcnzFw&#10;hbKgj5lzy2c9s7f07VEsyEfuywcp8rBeU5PzgEZGMEbsYJUdflwSm3aW5jyyU+aTu11LKeWgP7za&#10;inCAEFmIODnrkcdT1oKAKrhwuwFEUv5nUMCfcdOp5+WmLKiJkANlQ6K3OCeSTnHK5x68Z7UwHKYw&#10;7pgEKBh3LEABc9OckD/EVnG6k77lRb5Eum4NiNWRg0ZCbmAYg8fIMsDknA6Z7/lPiNfs+GkCEkmF&#10;RkF+CpzyCOh7d+uOWZzK6O20Fco+05lwwVtvBwPTvTX8l/s6SEllwVKMQjOOSG9uST25Xg8gVVlK&#10;D1d12NlD3Xybr/MkUmOQmOVEjkTChmBwV5G04zgf0FIwCiExorCPCsOFwqgKSfpj8qR3cRxhcOhY&#10;Jt2kFDgjrjgfLn/gNPZwxXdJs2J8ysxZioI6dRx069GXjiiLU2uZ7W0ZjVStyR0/W+1vvAbAu5mR&#10;g7BxsXIYbRy/4Y5HrTo2m3Id2c/Ky45AYDBGDyQePqp7EU5EGxBnJjYOIguWY4ZTgDr8rNnt83Hb&#10;ETOBtG3zEJI2kYTGRj39Rjtxy3aXFtpvr07aFwSdk276C7iz7GUYhXcpDGPzACCp446huO4JBqxu&#10;DKApPAAAypjYHaQxPfP4cEH1xE0cI4ChTG+CxcoELDJIY4IByPwxk8UrMPldlYEoSux/Mx644GMD&#10;b0GfwFaxvKnddy4OU4csfmyYSAOqqV2ANKwZchhnHbv84APoOORzCSxaaPIVT8zBTu2hgQQfbDAe&#10;/wDNsG5llbGwg7cuC5fbJg8544B+mBSs2WKthWBz8o+Q5JwSeOOD259ulc6p2tJ72/yHzynNVNvK&#10;39bkZRlQyIBG4k8uMs+4Lj5skZzzuX689cGkJId1VlyqswZXzjjoRzjGffgdKarMBIu5gY1VhIOm&#10;cb84yTznjHrjGab5sjFozsPmkuHKsFfaqA89Cd2704fgcEnaygm3v/T/ADCbUXZLcVztLhjA5YkA&#10;ZDOoOCOf4SCARn+7kVFvhRlOwfMxf5VKy4UJhenTLHr/AI4kmdxgboyoJZvmJZSoB49vv9Mnnoar&#10;s6Pg8GMsImyNgZggXncMdQV/DPVjWcoyum+t7/oKnUfNJSVn0Y6YRoCpKqA5RN5xuHJBPPP3envV&#10;YScfdxkZ3qGVUIxkEDvlvfIHOOlPOxiXyS0TBZAGIjPziMEncQckoo4znp1qCR3VHGzdC2GWML3I&#10;+Yc8DGST9CBk4BqMG58j2I5uZOpF6Lt20HKYAsasV2KwKu4zs7jJwCQAeh/ujOcGuF8f+E9P8Y+F&#10;tb8P6ksckWo2kkC52u9u52sjg84YMsZHH8H5dq0hUh22uhk+ZyxynBPUnIGdwxk87ccAYZvVVIbc&#10;kiOwjSSQ4ZypIXGRkjDHHI+XJxiqUpQnfqmra67hBKL5pbvU/nT+IfhHVvA3jHWfD9/GY2srySGJ&#10;mGUuY8kLIp6MGGCCuQRjHFcp5ZXZuADSAMshJJ5J/AV+tP7X/wAGrXxF4dk8eaVZImu6QubgRRkm&#10;9j3jdwOpA2kEkYCnjmvyWknO/cdhlUbcFcKpHqOx4/Cv1rIs2Wb4FOf8WOkvXo/mcMo/V6ynGXuO&#10;9l+nyuZF3b7TwVDDou4EdR0HfFUFiUOy5BDMQpOXZD6/rXQXMMy7drbtykAFApDHAI/mKomJRMAQ&#10;qLGuVHXJ4HPtnP5V9HR5UndixFJTjeW+n+ZJbSbX24Fw3BQH5enQk1r2jBg4YFWZdsYZiVPfH+fb&#10;2rCJWNyVYbVJ4xgc5YfQVes7tYyokUFcE4A4B9AfT1/ClOmmm+v9WObDuMJtuWrNm4SNNoVBjJy2&#10;7kEYHT0NYc1oJ42O0LOzk5AO1gCQMEccgD863ElLpIwBEePmBAy2QeM/iKqloxGDufcsnyNjpxng&#10;fjiuZNxtF79f1NZwc25vqtv66nJ3Fgxc4YMqD5iQWz6Afn+lZ11ZCPbJtOFHytnHOMn2xzXWv5fm&#10;nYAUdd3Q545APoaiu7ZXRMplQu9QWBU7sjBGen+FdlKo2ve7/wCR4uIpx9onHqeaXLvDI4IZAQDt&#10;OSQc9D/OnibICtyGznLZPQ4Oev5+tdJdaW8pDqAcsGwq8rjI5rEl0q6XHlQkjG77oOOvGa9CFaE0&#10;rvyPJq4OrSlKs+vk9rlFiyErkKpA9CT1PB/z0qBSIpS5wW2AsmMbRjrnr3J/CtJtNvI1BliPyt8v&#10;BGOcfpyfzqgYGUncnUYyVPIGePwxmt4OLuotM43GSXLO9139T1bwtem6tTBIQHRuX3A4G0nOM4wM&#10;Y49a6IK/MhVU5O47s8YxgY56E15d4YmaG48gtgMCDggb+Dzn8DXp6lXAABaMA7mLYIwMEe/UflXj&#10;Y6KpVrxW/wDTPSwMZVaCptXadyrdxu5IXahVtxwAcDg9ax3UqUUAYHyMMjA5xnP4gfjXQECVCwiY&#10;HyxiPGAdvTJ/Xv1rLlUAsVXgdAVGACQQMj0OKqHNKFmc1SmpRlyu0tSrCBuZnUsE+6u7k4OR2+hx&#10;z1NWgdzyZBj2YUHIySO2fwxVaIbHld1YD7y4Ax7474B74q2URl3YKun3iQRzgjJGef8A61TPmtyf&#10;0hUFy1HrdkUvmGWNztAVQjjGAuMY6dBxn8asyhXVAxVQwIPAYHPO3/69Rh3Fv5ZyACcEEF0JOcfh&#10;z+VOXa6I4424Z+MqxBz/AE/Sspqblyp7P8DqpqEqco+W3b+kVYoHiG3fhSflBIO7rxn6jOK04nfa&#10;BnBC7sB89ef6H64NVJVkcph+AykqwxgjJ49sfzqwH8ljhSSRjYrEAYzn0/z60SUZR31uOMfZJKXS&#10;464LI7bTlSgYbnyWGeR+v6+1QpM3mp8wZFIY+XgYOSRz7H19KmuWEo2htxKAAqCj4J6jPQ9OPes9&#10;kZCGQHBGGGcnjOAcdsVEIpxS67ClUndNPQ6WMSK2S5C9HL8t0zgc9v6VY8iCRhKoXjcQx5znGMjs&#10;OT19OKzbXMybtwDSE7FxwGwME56DPPFaFukiOWUAuAA+49SDkEnsBXNUTU0m9b6HoUanNCMoq6S+&#10;7b8R0kXlxKZPmyBtxz+eO2e1QxQyMykl9kSeao6NuBAHp2rSvRJ5ceSjAkkBR+7XjJ689h0x+lV1&#10;fbbspGJX4yo4AOQWP5HArFc0k+729D08NiI3VKW9r/O2iJ2d237VY4HA5yM5z/j9TWiqkJApx28z&#10;gKyk57fifaswo4mCBiM/IMLnJYEYPHTANX9zCRVxu8tFBwn1xn6Z/SspRknrr/SPYjOE6PNL7vmX&#10;LdyJBdv8hQYKPJwnOcYPsOp/Ot+e6g8tihA3IQCjjcueGUn8DkD161z91NBDCPn2jcoJb595I4yT&#10;71Qt7/d5m5QYzJzngN05A/Pp7VDUqju90dNGSpRutb2+R0kfkqjbl4YAgj5lzkdD+VXhKLpDFAyJ&#10;KsYjY7Bx8voeM4557jqaq74GgicOFR8EjJxk4x39KmsgfP8AN2rGARlVwWfPAOevAzXNODtbU9zD&#10;yaiqm97adjctxIQlvlZNjE72bavAPJzzk4bn/arU8wQCSJglyGGwzRtsG4ghefQBScd+eayUnQyv&#10;5JZW3nzImX7wCkAjjg46D35ApX85AgB3AYEhKk5ySQF9enOM15z53P3lb+kethqrg1OMdLv1LNu5&#10;S4d2V1UupKohEW0MTz7jPPc4XOcAV2MF1GkiXLq6BIgNzISrYH8JYYBYKOp5JJJyTXL2xMVtLLMi&#10;spBBUNiXgHgZHsOlW7TUVZGiKrEWjCsytgDOD8zHOcbjkeuPSonSjOXM12PpMNiIcqSW+v32OytT&#10;/aEkZD4KuWUeYQGAG4Ev3HJIX2HWuwsbCGF0lkwuAdgkh34xjaCAThmIwOo55Yda4DT72E27yIwg&#10;YAoZEXOwAkHjp16n2rt9LMwztkJkdMAFcrHwSMr2GSv4n6Z4Ky5buC8/yPcp15NpN7LY72wJeR7I&#10;s0Ssh3+ZEUjYf3FGMBcgkgYHJ9s+oaMtpbSQ/alwhOyzhjdoYcgAgjJyCDubBPOMH28isEkii+0v&#10;JIXETLJ5ZYxgthQRwMkHABweOvSu30e8edJDcxJcIGZFiZyw4IyHU8kgjoB7mvMqQcoNp6s9rDYl&#10;03zLZ307/wBWPZku2miWCOVHlCeYtvD+8kcNtLZC8qxGT6fNn+LJhuZbq/gFrdRJKzOkMYBGCpBy&#10;/GM7SMnBPXoa4zT7uzN3LMGjjlaXarRLyP4xGMnJGMDv0PzGuztb3ZMFe5XDqHFuF3eXn+8enTJP&#10;Xg9eK82rBSnaT9LnqLHzptxjG7te76bHU6eZLY/ZfJeVbRMGVT++nKqCDljjG1WPtn8T3tsXltZJ&#10;bhvJnWEmGJf4yMkh9uM5Kj65PHOa8/geWeVp1tR9ihzAXjJk+0/IgRwuASQCMdz0wa6y11K0sbWa&#10;S4URqpErJJcNJKgICqgyxxjjnqAGJ71jGi+e77GeIxfNF1KSu/L5fmcvPLrobytXMCWUUa/Zpo0A&#10;RiThQEXtjB3cZ3ZPqeJ1O5udJt5IJbmGfzZ8rbohVkUEBWds4GecjngsM85O3qfimHXtTniAEVnb&#10;/PD5MZZZAFwSGIxjIyWOOuM9K8X8W65FCl1FDcG8kffF9qVGZEOZFI2t8vAKjnuvSu2hSjJa29fI&#10;4cRiW480/de7Xy0/U5bxxrqvcPbwT2xmlXzXVQVhjDIp+8cdOAccAj358Gvb0XM8mHB2HljhEOfv&#10;E84HTgfTjJrV1vVDdu8k7yMDlXzIdzkfKq49jgDH8q4K7u1hQIqOk7sZNjqr7iORxyM4B/E/hX0O&#10;Cw8eq0t+J+f51mahGVBPX+v1Gz27cs07RrIdiNLLmB8h26DuQCcA9AfSseWdl2x4Q7UDEgZLHrkc&#10;dzg88gfhVqaYzRlLhJXeQcGRwNrfLhBgcZIJJb1NYqXk5kZFRQoXZGONoHcAYI445Ne5Sjpotv6R&#10;8XXUvZqLkHmICxQ/6zKu0jbAp5ztXHYZHB/DpjnryfCiTCTPKxJLPwABg4XtknueeanvLhYgxLyz&#10;OB8+TuRfXjAXIx2J6jpXO3M4mOG3JEVKqWwQDkHIOee/4+ldtKCb01t+ehyV4Ra5obtf0yCS4QmU&#10;ygeWpwVjzvfnAwfqRWRO43bmVVAbYysAcngjj14H1xS3FwIFZMnEz+X9wZIzjH14H5VkXE6lg24Z&#10;B+UbR8ucjp64616dGm5a2/pHh4ucUrRZeg1a4tLlLm3lKlV8tg0RKy4OTn88V6RoHi3T71oIbuQW&#10;dyRsCzEeXLkctntwW+9+JyK8ZkkBlACqybeSpxtO7Jz/ADqk7Msh6ncC2SRu6EkDpxV18HHER5bn&#10;Ng84xOXVuak/dvqnsfYVpa2d/EvkT28xLbUZZBjheij15HpjrnIrLvNCuIjGRGxGcxykZIBZnB3e&#10;2SAT0HFfJ/8Aa+oQuzQ3M9sqfNvSQqq8ZwSOecmtfT/iV4s01lkXVLidFIIjuy10jDIbJVyR1yen&#10;pjtXFHJK8dYzv5H0NPjfDtqliKT1tdo90nsZVlkicuu58qwTAycsCemPXHX0rMu7ZwhUhQEztbyi&#10;c5Ycgn3z07VzulfFu3uDHFrdipEp2NPanaIwAeWU574yB716FDcaVrNr9p0y4hnVjsCI4WeI4Y5K&#10;9eCRnOfrWEo4nDtRqRdjshmGV5pTcsLUSnu09/6ucUbVDh8MS/IGNpQ9+Pr39qltiIHd23MmflYc&#10;BsAZGfwzn2NalxbPCy5UYDjD4KnAznnGeaqTNCWVWU7MbSQ27GMck9fTvVKonDV/1c5qlKydt3YL&#10;ZYpZA0qbGcgxLtABGRkdeP4ufWrNxFaTeYJIomb7jZdsoG9RwfUc/QGqHmQxeUrIWccbgS+CW4wf&#10;TBximmRQFkeORXL4IXkZDBlOR9f0rVWsuVkUVUa1at/VzZfT5HSF7WbbFEo2x457luO/GOe5H5e1&#10;+D9VGnTWvmyk3H2cQiNtyzMpUYLKR37HPb8/HbS+eZSsSdNxdlRQXY44249z7dMg1v6RcTmfKec8&#10;u9Y8u21WAzkZPI/rntXl4+LnDlPrMjqqmuXZXX3eZ9u+B9buYYzNGoa6nnAcMGAMbtn5VH90jPU8&#10;hTgV9+eC/Go/4R5orqWaRYo3upBGu2ViEj3YU4LufLA9Tkds1+Ynh3U1tls5rZbuRhaI139s8uJR&#10;MGbd5W1j+7xs5bk4bjGK+tfAvi9bW1gmvZYY7h9rMjyhLYDcCxVRlmOMqRwcDdnHT4TG0XGu3KOn&#10;U/YMpxkatCNt09Pkff8A8PPi7Jb6ZI4g2i2t5rWWR1LXUUjgQiTY2cMo56ZDAcAg19L2fxQbxHpX&#10;9nzahbTNFp/yxyzJbrIzOkgji3Kz7/lT5UKcNIM7S1fmDc600dzE0KtaW9xGkjpCWRLjgnksOB8h&#10;JJJ+bIr17wnrOr2kthfuJbVLiyivoLefbuMRjUWwwGPzMNrgHGc5IO75vmq05qbjBNrax9YnhqsI&#10;VZWTbuvJ/wBXPv8A8E6tO2ptmSJ4Cd8rkDzXiGwbCCck/LnAJAZsBjnJ+6/BNzb6ha2lta3FvDbT&#10;TJc211NJ5MdpNGY2XrwqrjGDuyA5yOK/MP4eeNNOhktrJp0OoQWginhaIm5mBJZmPGCxOBxyPlwA&#10;cV9QaX4w1EXFnFp149na2kZQgq8U371hIr71PG0SbQO4bB3fLjqoVHT137r7jHHylj60Ywdmur8u&#10;vz7n2/4Y07ULWSd7+70Y+RdRwWjaYQtu6NljICM7hln3HJOGAyc17IdFt44PtFgIrp/LYS74QYcA&#10;HLAdQCTgKxJAGN38VfHfhzxNd3ZtdPW5eOOGb5LlBvSVud+1T0JZcEnIGNvPOPc4vHk9rbR6dPMo&#10;a6vDZiQI0e0IiSu+0DaqMx2A5yWRgQo2luuhWhSjKTVu3zPHx0ayqRmp3l1Xlbr91z1G4164uNDZ&#10;oZkBsCiXOJw0zhZEjMZwQAcMQRnkPjp1zL/xBY2qRtG77bs+bKsRCPKIsFVI6gE/MWyeSMA4OfHd&#10;Q8Wp56WNjJAbVmFwyh/kbktvlIBOfl4Ujv8AwgmvJPiH491zT9I8Rat4StLzXdW8P6XLevo+m6fD&#10;qt9JHAG+0XEVpKrJOtsAZGQRzH5D5iFATXdF1cSrrW1vM+PzXF08JT95KKd7K9tXbfy6+RofGXU/&#10;DHjiOPTNYvbNbT7S076Xquio3hnxNHLA9rDEl/saS1uUK7o7hRIuSVkVRIsieCeB/BHw1ttavLf4&#10;f+M/iB+zh4j1PXJPCus+HLrxJK2ga9JYSvCLDUbDURPaxyGZWUxxSrARMCsaZ3N2WheMPE/gTwnH&#10;8SbC08M/Er4FeK/DujXHim6sfFGmfE7w/pepO4S2TUdMaeS9tEdmhMgaGDyZ2kRJNhKj1rxD8P8A&#10;4efFnTI/GPwm1rTPg/8AFbQZ01aLw74pmv8AWvh540gjMZNtp+puzy6dIxUiKG/8yJtgQTIjZTuh&#10;ShCpyzmuZJPllpf0ffTTzPzurmtSOri5Um2nKHvcr0Wsd7Xers7LXQa/hb4srJJpfxk1zw9rPhPS&#10;Xu4fh98Q9Y+G13onjv4fC6cOBpWt294rWqxyNE0dk8Zt3PAVY3eMch4Kuvit8MdS1rT3uPD3izw9&#10;cahe6DqMUc5nm15RbQanHPInlxyFbm2v8+dmUQ3EYjLLtr2XwPaw/ETTvEGreHNG/sHWL3RbrQ9J&#10;1LWfFMb6ZfTWTXdtqPh2+t9whiSF4GNuLiNmEKeUsjo0Qrs/gxoupaGBpHiOw0+80zUbjOgxw6na&#10;+JNL0HUoncQyWt9ZyyW3lTiUxS20kqN5ThgilThSpTq4hN35XqpbtLs+60sTg8ZRw7qtJKy1pu1r&#10;780V0td3/wAzK+Et7rfhnxDoer6Nf3Hj74fx6lLo+u22pK//AAk/hvRoY7Y6vGIgSZPO035JRLly&#10;1jNnceRa+P8A8N/EPhLTPEXwxsbqHxd4TfxYviHTNEu/IsdI1VJpTd6E8WovFiJzBc3VrI7v5Kru&#10;AUMwZus8W+HPC/gy78Xarqt5caLJqOkanp8j6RbXiXvgxrXTr2SZWggjuUbS72K7KveTY8ry0DOi&#10;AO3XeJdI+Jmv+AfD3xKsJm8T658PfCVpovxA8PaZqEPiKQxyRS3ttcwsWlt7yFIpEV4Q/nQpCPlB&#10;B2et7CKwn1SlFuWtu6VldLrsr27aHDSzedHNY4mrUSpNKLvs5J3pzvsuWXu301kvI+cfh58S9L1i&#10;8trua+Wx8CLqi+Go/B2u3dpcaBFGsIt5oNP1klXtNRjngVHaaPyQblCrqqhT1HxW8L3/AIfgi+K3&#10;wlTT/FnhC9ks/CXjddUgtYvE3hu1juXnaw1aIlkiujvfyNXtcLOAhSVBhZOD8Iw/CHxbPeeJ/hnp&#10;U154iu/EaW3iv4a6I32rT/GmlvL5s8VsyIbqzv7b55cR/vSYmG5wWU/V/wAO9D0RfDPhzw3f2Wt3&#10;Xgfxgl7NaeMruxW51z4cXkW1II78t/o+paebZoo7iHHmKiMxiV0JGWBpc0HSk072tLrfT/OzXQ0z&#10;XH/U66xdLmTg1enupx6tK921ZuLWr212KXhr4p2ereAfDOqa7441rWPD/iLxmPhto+t+Jltzqnhb&#10;V4tJh1C0sdQAAiutPvbJJoriHjKqr4LJ5lfMPi638Q/BX4hXHhzwhc2bWWqWkGq213pkRvfir4Hi&#10;1FZQbGaydhFq1tZ7LmNoIXS5MLwyKHjki39/458P+HPB3w51z4bfFDUbyy0K6+I2v+PbKbQfD011&#10;daNr+mWOn6JBFfy7lt1sWjvUuoJoizNGV37TiRvHQnhvx94Z8P67quoyv8RvBVoPDuuK8DtpviLR&#10;ooWt9L1kEq7RXNrHItq14fu7omKsQDWmPqt1IwulVUU076p/aX3bLyZhk9OnWnUxEdKEpyi0l7rW&#10;8H0XSza01T3bPf8A4ofCbRviT8PbG68KGyv/ABt4S8PSN8N20RzKNctdOsw+o/D3XlOyeK9gt43u&#10;dGmmxLLbq9qxbysN4JZal4D+IMmk/Crx3pHgvw74m+IFrY3Hhzxjpj21toHim8tIjFbWWqIVWK3v&#10;SkwhnX5I7hZdkqiVY5j3el/Ff4gfB3xdb6f8R7zUPGuh+KNAi8UfCjxfrMttba5Y3WgubrSYLW9U&#10;GC4S0uWhhlhufMxFLJsYK53V/jr4S+D/AIt1ZLbwP4I1w+F/F15b+O/FWjxmxkl8Gz3ujWmryzad&#10;Ik5vUTytUQm3SKXyxC5iJQKF2lOFSLxMVaorKUWviXR/Pa/oedF1sBOWX4luVKXNKnUT0hL7Uejs&#10;nZ8r+0pPS6t8Na/pWifCfxNq37PXxv0jXNM+GeoQ3Om+DY5fPn1b4KSyyq122n2+RFNp7XEsMtxZ&#10;Ko8yMW8yLFKoB/Mv4v8A7Pnjn4T+L9Ss9VS01Axw/wDEv1Pw8DPpviG1uxvtprS4UbWS9jzJFuwJ&#10;UYAYYbG/enxxo2r/ALRvwS8TaTr9hD4p+Jn7KUFpqq+KLW3FzrnjzwpffabdLaaUjfeSwW2nve2t&#10;0u5jHakSFWLBvhfxH4UHxQ0jR/GfhDxfZa3baV4WX4feIvCniSaaw1S4OnvJLp0VnLIn2T5badx5&#10;UksKukK7Dktu48dRk3aN3TavBvez0lF97Pb0OvLMynFtTtGafJUS1i3a8ZrtzR12332Pxn8T+Dh4&#10;hnexW6/s67Nw8em2OtTLaw2lwNzGII7iNHPAZQwyxA/iVa+A/iz8K77wjrl7Z3sN5FdafcyWuo6V&#10;qmlyabqNs/Of3RZuCGDKQSpVlIJGCf6IPHH7Nej+IbHRru60XVLPUPEemNqOnM8lzeWFz5TvG86X&#10;Rj+zuHCtiPzJHHlsSxPNfDn7Qvws+Isfw8TS9e8NReM7Hw1fCx8LePL/AE+S28Y+FLBcK+m3F1H8&#10;l7YGXCRG6U/Z3A8uQbmSvOw6+r1JSi+V2T/r/M+phjKGLhGFJp9HfS3mu5+IVhfz+F9ZguLVpEh8&#10;3MuWKM6E7VPqOpFfffw08Z2l9b28nmGclFIUtv465J7EnGcdseuK+WPFvhGO6gktDptxbanDMyMH&#10;VWyuByvo24MOuCADnqBc+FGoalpM50i8laC7srgKnmnZuAIKttPODx045qs0pUsXh/bQsmt/zPru&#10;GMXPD4h4NS32fo9uvdH6peD9XuLzyIp1do2YRxxNNsibKj5lcZOcEEYP8Q7dPu7wC2hpYRO0N80k&#10;LJH50TGXYwDEbiCCMMAvGMDJ4wa/LHwJ4gne6e0uXWIiKNVuomJYIWBGQOnc4A4Hoa/ST4CeJLYT&#10;w6XPK88RLBZLhvtDSuA6oWyepwScnOGbGe/5njVH2ii1o/nvofqPNVlhY1Zxu462Wmx+rXwOvdOe&#10;Czm+2wOIohIsLt5Y+UhlGM4bpyMHIJ4xmvt/wvrViWmeKARy5KqI4BDuyhZlCrwR8wGTwMtjqcfA&#10;/gS4gjms722sbe4niBWcxMVkjD4ztZsdVC85PynrycfeXgO9s5IkMcE9quoxBUjmljMhYyBWQHZw&#10;+5CR0HIGCK5sO5UoexcrO6s7d/8AgHxeaxhKcqyi7dVfbXU6V3a/eMyxhZLWVZYlZ2jO3cM5xgkZ&#10;3dP7vHHNdlpk0VzOrogZVffNkZZRGpXIyD6t7c1zgtxC1xtuXdxI1uzxqNkeDhU7BiOeuPXArZ0y&#10;xltVupIp57csqNONguTOXHAViQEU7Wc8N93kc04KaxPP8Xf0R5OMnSqYeydui3trb9bfM8U1jT1s&#10;L7WkHmXBivbhY45GIUxySHciHGMAsCxHB3eoArQOgzSx6bdW1vJJFb2f2aW0afdEN643thmBYAZz&#10;0BHQEVm+N9TsdK1i4UykecqSMsqvJlshhtwMAkwnkkDBwevO94O8ST6tFFarB5FrOzObksokjCHG&#10;1gezDpnpu61ywhRVR05tbWt8/wCkeg5Yj6vGqk9La/I159ETTrBrh0VraztBvgkcnzCqbmIA6E5z&#10;9STx2sXMrXGk2cHl+SkzosSg4ZUBypIOT8oTO49SM9+Nu6njNnPDcmNRM2ZECKCigMoJ46ct1xx6&#10;5qC0sopRDd3EhAim2NGUyJEmLRxKQRyDnIHXg8eu6p8sVToNJPcwlVlKmqlbdPR/L/Mxrxj56XgY&#10;vNCnlwxTwGSMt5JC5Ug5GCB0xg/l5dq8NtYQS31zFIjRaXepGOS83mCHJDHqF8lSQT1XjJNdtd6p&#10;J/b72Yc7TdHiQbgCSTnIGAclu5Jye4rD8bWst3DJNDKIzeWUlxAqnH2cYkV1IGMEEAdegPORWmHa&#10;nXutbb+e2v5HXXpr6rGE+sd/lf8AzP5SNczLqF+rSI86XMil3fcGeN2Rip6EfKxBPXHWsfBVyMhl&#10;Zg6qyhjkM3BI5x820kY6Dpiuk8T2zQa1q9luLMmrzQlvNGHzKBjP3SCS6YGc7zjkisGIgqioCylc&#10;u6yAmTeD5e3jJDHIJOMZGRnivsUuaFtl/wAMfznVjCU5PbWwRy+WqogV2YFHI5Zg+0FsAnGAF9sD&#10;virSZAVVUZMZeJVHzE/KGwOTwezYLAjoOlVDHsdyI3XzAxkU70IjGDtKjGOmcnPsTk1LwJVZQgwG&#10;WF9wVWK5LKCAcf6sgLjqfQg03GLvCTuiFUcaVrdtCyzlXRyBCeqruLsmcMOD0BXHXJIY+xNqJFZC&#10;QI024j2pGGMhBIbewwcHp8uSQTzzVZNm0EsXKqrkhQilgSOOc9eOnQZHGasB/LdfvvyNzISQ4yeB&#10;0yARnOM8qM/dALNtp9Nv68twk5pOL6juNpZ3VFVWLMCRysZJIOAcHI9gCcZIIqwcs8jKXDPiMcDk&#10;AHjbxycLz2296rqMuVd0QMN0ZyVMRVlZSTnJ4HIPUMQeKvCUYTcQGK5VicfL2z2PccDv1OM0Plbt&#10;bXYiF3dQbXQn2sUi8oAvuV2UkpgAEYOCOCMkg+ueozUiuScwspDk7CAAUySMAjuDg8duc9Qa6ZZQ&#10;vmqSVEbeST8m3hdoAHYAkdCc5zVpGRXClmIMhCBSC208Zb24/MjpSUHFty2Gql4qm1tp+o8l+ADw&#10;rgsQcBcDOM+nTjp97g5pd7bcF8ySBwrhSwTB5yOMAc8ccL6UjTDCK6eWsqYdXYuYjk4xjqM7jj0x&#10;xxShABhUDqzFgNoJccdMjHHOSAQfT1lzlyPsXUpyez0X572GtkkrLgAzly7ALt45PHbdkeoxS740&#10;kym1Qg6I27JHBy3tuHB55xxzSrIpJQmVi3zhsF49x+XP97kkZz0x+NImxm2uE5ABlBKhsZxg+xYH&#10;GPWtJK6u+q/yM0nFKzuVJvLcqBFlVbbEnEbAswXp6YPftu7c0MURdrRONrM6B+N2FIY4+6TkDPXt&#10;7VZULjcFdzvaONwpdcgjJPf2xUUThvMMbrJE7M8bABo33RqVGcYKk4OeRtkPvRFNJNicY8rs7Nq9&#10;upC+yJm2AAyOB5jBTtJHBGecYxj69KXPmuJz8wjdi0SrlXwSSODyeF9eB1OeH+S4QyIW3FwhyANx&#10;X5sDdx8wJHJH6U15AXmwxEYO4MVyGIAGe4GMY2jPc554IttXWl/+B/SC8klDpv8A13uRF2CvIqkF&#10;QZCzFiCCdrZXgdc85PQ4pfM8kKdwjMi72aPJdSMsPywDn19OKVVCLKow5BB2MxeNd2ASC3IGVyCS&#10;TwvNNePYyBGC+WrFWC4BZgR168Z9uQOMdVdbJii5K84EUxfeUABA4LJy+7ALEAAAc5AA7HGagYOH&#10;U4DEliVLBCoUjHUZP1GOvXpUhHyl1lUbhlkY/OOq7gB2Y7vU8d+wGw0iIZYoolKo4ChnOcAANkZJ&#10;b06enFEEklJ7FRXOueWiJGZgz5B3uCgKvxkAqxDYOM5PA45Apj5kGUZW2gkuv70o2TyR7E5HUevS&#10;kVS742mIxttO07VcEts6jkEL0PQA4GcinxlY8BZWyWZMFchzxyF7AYx+ec5p25XaPUJ2fvya2t95&#10;PId4PAWRT+6GGZ4wd2doPpnoM4x1JJYuX5keVWjGwDYpQyIGAOM4HfJxn1HYcwod0rABmZiF3uxP&#10;lkgDJAydmOegwU5yCRU+WMRQbsK2FZgMyYzzjPoBn6Zz0qZqys9whaSlbXzLEYC/MgRjOSWEgJDE&#10;AAjj2AwOxJ4HU2YXMUqq2zzApLP5pAjBOcAZ4HUd/u/TFWPOVAZmPm7wT1Q7WBPHHSQ4I/HtV3AR&#10;Q2S4CiOQBMrgkDceOMFvX1pa1JKduhcXDTnSv5lhWcggkF8sjk8EHjj09fz6VEhC7sjYoOZEGQGO&#10;Mk+uc4OB1yeOlKEPmMGXaWJAkBLY255BA5Bye3QU5JA0DFgV2x7wzEkllJALZ9v/AEGiME9OujBO&#10;bmox3QjoAyKxZHY8bBkHkHJX/P61KiIil1KPLnJkUbzIVJU5yce31X61GVZcbWyS+CoJ3ZAGOD68&#10;9Mng9OKm2LhXUyANwAxASMk5Jxjvk9D3rVpLZ6MSnJScbat/1+hCEDtIGYFVbaAMgOD1PryB356+&#10;2UZckEqdh4DLyG2g4X3IG36Fx71K3y7ldM4Rio53v1O4Bh36DvwPaoCp/dtmX5XMp8wqVTcGPOeh&#10;5bp7exoi4y92e7uXC7jfZ+hEd8o+TIOAj5IGMDJyTxznP0/Kq6gFJNiRt8uUcqWdehY9iM4GQOMg&#10;ccVdEZw/l8FnyrcDeOVOT3xkfiKjIRlAjBKxvgseGAC/Nj1PGM88ketHup8y21/r8jC/Muf7L8v6&#10;3K52OxiYKWEe9PLXyxkNuBfjkYJ689BnjFOVjnKqCEkMeNmWcckjHVvQZ/ujtimoTkOPKkXcwVio&#10;cKwBGM9COeD6EHipE3JIY+SVQiWOQlDlsEkj6AY47+9VUlKny1F/XU6Lp3vovx6EG84DbY3faNoy&#10;SuCSSefXBPrzwcdZkXdFIgXEoVXcDcFBwMhVJJGOOASBz6Zp7rtCDeUTB2nHzFiw4AAwOv8A6D25&#10;pYvuBkkOM7ggXaxCk7sH14PHOSRgdBTqO6S6af8AA/MlR952Sva3zGhsTBisiFhwR/Dxg9vTt9Ki&#10;TO0kyshDHeSNkgyeSM+hzx9KsSLIqbg7PKgyrRg7cE54HttGM9ajXG2AsFQtGF2MQWXkKRkZ5ABz&#10;jqfpSTad47WsYuFSpdXv/wAFgAMsrBQAduwkBg2ADnPfOeP/ANVKDH8qsrBvMIKj5lXtggdTk9fe&#10;mSAqwYZKTOXYsMhiSXJwOCCzFh67utPSNf3e442yqzSIAXC787lXPOOdoOOcZIHRUnGbat5XBNtP&#10;l2ViGSM7HRQWSRl2kHIb5g3zfgCfbsc1M4Eew7iFYEbjxvzzn8AyZHbcOadlzFE24fukVX8tc4xg&#10;YJxyM9DjJyabJEznAaONkUbmdt27aFUYHUdMDP1zk1Ck5SvHT+kU5uMeeD3/AAI8nbuwC4InUbcA&#10;qMAAAnsQQT357VWG9VaNppB+7Kx9N3Y5PUHJVTg1Zj8pmMkf7tflYthQSORg8AliCMj/AGe/FV2Y&#10;fJLsTYkfBVSXLKzDJ7Z+YYxjHHHJNaU4KbV3bQzlBtWei/MqkXhJMMKLGSSi7Sdvt1oq1le/DEZb&#10;MJY5PJ5+tFTdLRxNFSnZalb7QSdjFcH7qpH8zgEbiceg9cYxjjipOFaTewAIAL7SNwLFuvT+Iflz&#10;moHQeYgjbaGTorbYz8ucnOAD82MDpj2OJoZm+SQqnlpsRSPmY55yfrzkdOPzzlzQlZvf+tDmhFO8&#10;W9d18tyVXVFZS4LPgRjbkZG7k5/3T7fjUe1o1aRgBlsFlLDI+7jB46jgDJ68dMpOGkjUqTF5kR2O&#10;7Ybg7VGM+rZxnoAMY6Pjdlxg8LlcDhhkjGc9iMgkdPwJFL3X62Xy0HHRpSd4tdB7IqKUk+6pIG0b&#10;2I35bAGR1ydvrnqTRGioVVSJNudu4eZjJOc9sDpx2pszFsJCkbPKSdjOxRTydpwBx+OBx7EudVZk&#10;3NsTd83mOGKkEYGQMHGT2H3TxSTSjdruVapCSfp+IcSqxaOMjzCZQoU7hkK2AeMkAjODgjnPdXVU&#10;jChFZhhi5XcQT94gc8fpjj6tALupOTEX3o+c7dpPQdhkY45zn8ECkM8Y8xyACxzsEnAYgA84ySB3&#10;4FTJKolv0f4m90pOa7/5Ad4iwIyH/wBcq4VBuVsqCQSv8K85xuTPFDs6qMbwBK0gTPm8gc/y+ppC&#10;FSNhG5EYZQ7yMAmATuyewHT3zmh9oABUrIZNkgyzSxkZLbwcnjvnk55zwK1vum9BczblTbGPGhQn&#10;JVwQWfGCxClRn1yT0xgZ9uHLgoQVdjIreWjgIxA2jOGGeMnHrnPNRyCXICH5UXztwGQ4xkLtyB2x&#10;k/d3E46ipiZQqKrKRLGzLghlIwMNnrjgjI6hulZSmo2tuzNxlKpdeg0qMuxKqrIPJcgHYdoU9eT8&#10;rFcHBFPibB6clQFK4dRggqGBPPIB565pmGUPHhTIn+tkViANgTG0HvkYx6YpyjGVKZLPkkDeUTvw&#10;emQeR+WetF+bSO6T/MpSnH91fRf8AGILgHmSJASGwVUjnIGBjJ3YznqRnigF8EAbhhuOip824A+v&#10;B/TpUaFhBIsYjRlf51dsYUkEA+mMjPIxkdiDUpZdhPAYZJZW8vIP8I4GCckc/kuMmbPVJehagk3f&#10;XZr/AIIiKPMaUOFO0Rcru+7gjGRnp029c4HpUqoEMsAbDMBImTubJEakZPA4G/kDJZjuOeGleJFk&#10;K5ZcckKDweQccFh/6Fwc8h7SqhkVQDscFmHyA7lQhTxggYPIx83B4HLbveN/60CKvJpbdBrEoJMu&#10;hbAdCE2hSNwBHcck1DKFKh/MG4APK67SvPOdigHp/KngvuAO1d4GZd24jbgjtkAHcPwHFMkJaNwh&#10;UjOxYxgGXK4UH0HUEn1/JxlzStJ6/oO8FUlyvRltNoVlbAKZRzHktJtYnPrzk49gO+ctiCzTNGxB&#10;UpvLuAmBzkFuhxycdt3GOBTI0LSByItiLiCMkRyEEZO5TzhivBxyKfGwjdWCMpLY27MTRkgnBHUH&#10;nGDz8vSs501D3kuhLtaPN8K09RDKkUUG4mNuF/dqZlU8qpVBnA4BAAOM8kdmRRFJSqo5XIXKgIik&#10;gAoAOMAopwD1+goMZklJxnYVChickgcjB7Zbbnnt6YqQnmRI0VldNyGMlemOcf8AAj1x1GKc3Ka9&#10;1dBSu172je3ppYXeQ0kjKAW4MQIkLZ4GTgA5IxwO34VCZMDATzHTYqsWAypwOe+euc85zSRsZfkL&#10;hwWUGRRlEwSVOcjHXBPPDEe4VVTY0inhzkZG5wFO0cdO659wa0b5Yt77X/A0moRhfoy0HZkkC5AQ&#10;ZIOMfexkHqDzj+neqbMWd3mlWMr8uVHykZH8WDxkr6ZxjocGThAE3CNfmk2KN5bcSx4yPVjjuQfr&#10;TJAsbOWXeZIdzAArJnCsc4/3v4s8+/WJTlGThb/hiZXcEpevyuKAsSN5JOZW8tVL4HQ7cZ9B+gqN&#10;3JJiUrjBfy1TCptx6eoJ/wAio/O8rymYYAAHAAUELgc5B5xgD36eiSMAZMRKsm7agR/MOcZOWHHA&#10;Vj9MDk0+WUZJva36/wCREpydk18I7cTldmyE5XBIJKKGBb3+6R16gioeqptV1BUOWbKuRndtHGMY&#10;yc85z6YNCu4lkLbOd8g3YVk2guF4GCOWOAM4b1BpAC3O0EbxuGRtAC8Ac/gDx0POCabjolFa9/lu&#10;XHlc1Cfkn+A51/1vlhQCcjeSrKvv1wMAZ9cH1xUQYrISuCfuhlx5kgUDJYDgtu4/AnjjI5P71j8y&#10;gkFVBBcAnoMZPTj04HqaQhWZpGQZ3EKgJZSS5YKCOBwQpHcIBntUyV6do/FsEVC/udbgSVi8mXYU&#10;MpIGNhcYwFPsMHn3qrKsmWjLxqQqB1QYZwXVWYknGOmBgEEnPGNry5wS5C7j5QJ4R+5we5+RTj/Z&#10;Oc4FNB4m2ErGY2UEgEu2UIOCMYAz69T1IxVRiuVOL1JppWtLy/4Jm39hb6hp72t5BBcW9zB5MsRj&#10;3RHcSCASDuHHKk54GT3P4m/tMfBuf4Y+Nbm/sbLb4Y1uZ7jTpIRmOF9zB42w2QQQpwQDhweQa/cW&#10;Xa/lgfuIskgBjG0f3dq4bkAAoOcH5SDXjXxr+Gmm/FLwfqOiXYUyxxfa9LuCT+5lA4kzycnaq4zk&#10;l+c16OS5nVyzHRxC+HaS7rr810F7KNTmw7avun5n4Hw4lVX8xTkkheAx6YOeB3/SpJbEiJyGJZix&#10;6gntg/l1rW1/w/eeF/EOo6BqkP2a8028ktJo3+YgpJgMc/3gARx0YcCkEe+JfMY7JQVBHJJyQMds&#10;jpiv2GnVVSMasH7r1+TRy0pxk1CqrTTf4aHKNG6suQXZQFfI6AHtz9fypjjaVY7ARhDt+YKSe/at&#10;26tisZyGEjNvQ4wxHOFP4Z/Kswxb8gpiXJY5bKOfQ9vQ12Qm5JQv1OatSUfej0QQy4j+cjJYoCrE&#10;b1/Tgcdf71aCiFQuARLnepY5UEAHAP6/1rEaQjBlTDqTtVcbc464z+BxViGdmU8FWA+ZweW9h9fT&#10;3qa8NEcVPEL4IaPR6/IumMIpZVIOzcpI+ZhwOPbFXkt1KRDhS2BtGMrwPw79qzRcSuEZZd6r/ESc&#10;kD/9Va9m+9gPlBZfmQDA5Hf0PP5VCjNxcmY16kVUTgrt6L8CyNPG594X94xGWyGA+6px3yB7YyOK&#10;YLVImZSqEbfLU5+U8ducZGeT14rUKgSfIu3CBQc5U89QPQHHPtWdMGaPowBIGQ2eeTz+v5VhOVno&#10;7LobyUqkOWT12f3HKXyLHKWXhOgAUsFOPfPvz1rkLwRnfgbg3I4xnnn9eK7m9ieT5CgySUDJ/F05&#10;P5muWvLRohk5cFNw4Cnr/wDXruw0pPd6HFWpRjQSj5nM2cotriMgGNg4YZJJGD7fQV7BZSiWKF1L&#10;Fdu9VboW79unHb0rytrFwse1A7btzNyCCPX8Dz9K9J8PsEs1jlwTCAqlgdwwCRg/iOa1xkFUpXT1&#10;Wxw4RVKErSfutammzje+11VmXBRRjGSMjnpwTyKoMdocFlGFAVicLyQDkfSrkvzTDZhgSCcrjf7A&#10;e2P19qjm2AJLsVyUIKkd+STjrg4x+dcNKbUU+/T8gnTldy/q39NFOMJIrBlAO5sgDOPx7DHP41OA&#10;hB27TCqY3sCCMZJI9Dn9DVdSEbLYCnnaeCpPv9OlPcKoIVwEYYCsQFGQRxnr1z+Nb1IxauYUHrbt&#10;qisJQ/mKgVflJ5bHmZGCMZ+h/CpInV4wgLkqACR0PB/Ln+VMaMALlAUWPYrKDknpwR646e1PQoqA&#10;shUKctgBDkA/nnPeoi4tXsXZ0p8jlv8Arp+BHxGzEkgSLwxGcH8+oyR+Jq5v3IjuEIBYBjkKSMcY&#10;7nkn8aznZbmMwkeXhVkDKwJPAOfX1/KiNTGP3xLlCUBUgg9OnbmpdrNvf/hjpbXOrfL18y+XN1C8&#10;WXRxxlVwxwBk8cHp245NRxiUBI2QsVIVJCwG4A45NNDgN5kO4BB8mflGewA7/jSPPLtwhxghQJOQ&#10;x5Jb1p8jkvZrfQxrySjy22NmzKqrgbQmME5JGRzg89OvPSt2zkjjm3OCysCWwMDC44/8e/Q1zVvI&#10;qiRS235DllOBHjrjHfkfl3rQScspjiJC7QfMkYLsG33POePz4rjr0mpcu53YWUVHkpo6C5SOQ+bG&#10;67CdzBRljwoUD06f5NZtso88rjYhBG49jyu0fzz7VLbmMxqsm3zApJJG4cc5BJ564z7fjTnUmFpI&#10;kDkEAHBLDnJA/wBkc8jnk8VjBtuyVtDvptyapbPrbyJ9qbzKzNlmXYAwYMF5PuM5H5VqwLFJGdkh&#10;Z/L+8gyyjnIPsOeT61gLG7sGAcBGxISMhjg9DkEfhnp1rVtx5MDzn5DLwFwPmO4AY9iP6VnUUoxV&#10;nrY9KlUUXydGyjflljkCDzFKmQqo+RcEHj/P9Ko6WRPGWlG5ySOB5ZY8EEtjgHjOfTpW1uVpI8eV&#10;ceZ8o7AdSTx9O/6dRNHbBGbAIaRyRhchBgHBPbrmsFU9mryvqehQlzTjGSsvwsTxRM0KLlnfd97n&#10;aigng4+n4561tWVw6yohYRhQMkrtz36fSqyvKYDGDiZnUYJJUjsx9eo6etOlAimVjhD5Ajb5s4ye&#10;35Y/A1hOT+1uz3MNOqlGlf3Vr/X4misyvcSkSK0UZ3ueirkevcYH61uo8e6AuG/eltrKP3ZLMSSW&#10;PUkk5Oc/nXLwQj7jlmSUfIFclBjBYfhvH51t2kLLCHjYOVOEIbgHGcFenqf+BVzVFFWTZ306koy5&#10;nqv+D/wTUuvNi2mLDB02jk+WQASePfP69qsgRZnWOKFZpioSNg22EHJOOc8YH65z0OG1w6QpIoZ3&#10;U7UBbKjO7Jx6HOen866OG1aWGKNB5bsCd7HYz+hA7gHODn9MYxcY0lfoe1gKqU7qWlrfiadqkfls&#10;IixjDBQhzggEg5yBwCpHAAHGBXfadKsRhSDmQRthiFLqfkPJzyDgccV5nBbG2P8ApO9I5m8rYTtz&#10;kAAjGPfJx3rsrKeCB4BAHRCFiAdsMvyn7xxyOmBXDVTWvc+gw+J5F7zuenWl24mgVozOCpdgkvlM&#10;BycdzycDHQ+tbNpfG4uf9R5NuGDF1QLvwqgbWA5A9fbnvjnbUG+tjJuWWQw+bcKeJCAMnJByRjPA&#10;/u9zWtZM/wC6juIyqRqAio52Kc8gLnPQr26547V5tSLcbrToezhsSt7/ANP/ADNvSpD/AGgiozzo&#10;xZWYN84J+XcfU4Y8dOSM817l4b0maSGe9fyiGBhTzcyShSH2OMAZxwf4fvcDB48j0izs2k3+cixQ&#10;uZH2YLvhS3PfBGePavWNO1iWNY4lVo4SCsUckQVMgc5Xv06ex4rilTekqi1f+dzur4iVR2vva/yO&#10;me9USRIXWJEdIEjQhDKQ20cDIJIVQPc981Rvr+2CBr1hK18jNEwb5m3ByCAQcg4PzY5qhcXzNviD&#10;xgk+bctBysWM985zkZz64PauD1q8+0KttZb4GRSy3M8nlqyKCCg6Yzg8DkjoOalUrNwS7s45Yl+0&#10;SjouozW/E1haw3NjaJh5FMRPmAsseTiMAL1y5z2OBwMYHzd4i1kqLlRLIkgc/vM7AHLEncBj5R7e&#10;nvW9rki2935zyyySq20xKcByQCTgdcnJwefmA9q8V1rWZ57kxW0YbDuJg+V2ncOCR3wePpXp4XCy&#10;fLZ3djw84zelh6Uowfr+BZaSGaMy3l26qh3o0UZaSZnQkFOuAOMHB5Ptk4V9IsigRRJHGsoY3D/P&#10;LJxgLgdjgn3I78VDJbSZYS3gkmgiV3l37go+XC46Z+YdPTHas6WeNvLlS587DknOUiDAn5gOuQNv&#10;P+17V9DCnyqz0sfnFfF+2rSnPVvuWHmlEaLChWMjbvOAICCAQMDpyPf+vNXYkjiDNJuVRtZWYbz9&#10;3DH16E1fmeRwWNzlCpb5RtZBk8H04PfmsWd49j5cSEkE4/eFQFJx05OdnP19MHspRjGN31FUnNRt&#10;f+tOv3mM0quMIUUA/vELg+nO7vyRwPy61kahLEmVXBKsG+TG1Seo/LpirlzdRBnCptkPzZwABkkb&#10;h6j3PrXOX8nzjbnKwgnJ3Yxnkk/1r0KNB3Upaf0jy8TjIQpKMXrrf020EMyFn7RmFpHmJ3EOeQFz&#10;7A/ljisW4aOQMwkJLDII42gdc++aSW9ieJlUAuWO1sbQeQC2O/UGmRxjFuq7iwY5Jx83Izn0+ten&#10;Si4q7/pHytbE+0mpuWn/AATPOUZFLFvMGSBktgnAB/8ArVFcusADc+Y8QYs+Qqg9MAd+n+c1NfNH&#10;A29QWIAGAMBWGFxnv+Hv6VkgmSV2mIdYFy2FPzMRzxnsAa7KMY8ySWh5WLxD5lBatvf7hZwTGIyS&#10;XJ80sx2seB+nNU5XACSRbpMqdxPyLtHt6VsPtVGO0FdoKbiQBkDj/wCt7ViyrNKd2SkZ4CqmVG0c&#10;HFa0U5O73OGrVndO93t+SuVUacNujj37ufMK4jTOSPetzSbq/sLgSQXkqXB+YNHIQijORwPpj6Gq&#10;bpvxGjuOcMoOC3PAP41atceYsSBFBbMztjCgjHB/76q7Rne6OeNSrTaal7yPdNB8bW+pPbadrZWO&#10;eUg/aUJ2YGAXfOQOv6dOa7EaRFMDNDsKSLukCMGRRgkkf56ivmLzWXznR4wVjMSyLnaFyeV/AfrX&#10;YeGPiLe6JdJZTg3OmJbhJlbBlUEgcH2GOOnH414OKypyvPDrW12uj66H12XcUxpJUswfutpJ9V/T&#10;PXptPUrIQpYFsBsbS5HRVHpk9fehLZTG0EaHeQHCOw3r0IAPpg9vSuo0S90vxFCt3ptxGyOAWOR5&#10;qcsCpx+HPt7064sGtZ5JIUDtkM7opLJzgYJHXkdOwNeR7SdNKE9Hp/wx91Ro0sRy14S5lZO6/rY5&#10;6OOKBXj27ZGcAksUB9QPx6n3FdZo4lEEDHY7RlX8xWBhjz2GRnuMYJ/Q1nQaY028OXLM4blfmQgh&#10;lUc9MjGc9D0rq7JfKiRVPmIjiGeA5Lrk5xg9gcnmuPFVVyPlV2me/gqHs5+0g/d63O+8MTTxXglE&#10;1zKJVVj5YKhCTswuSQCc7eB/D619ZeHdQnuNDtI4LFp57aQCRbc7Zfspw5EhAJOHWFgcAgg54wF+&#10;W9IhiKW8UatEqSghmcL3bAx9Uznpzj0z9AeG2gaxhhWOcTvLGTPFKY40RdweNoQDuLlo+d3y7Dwd&#10;2R85XipTfP10/E+7weIjSpwlF9f0s2fT2lvdvb2UEjSsqR5jAl8+FdxclUQnKhSj7j6jnqBXomn6&#10;haaP5ST3IMlwq7INhlM0wB6bvlBA38j5RtzwM15J4QvZJ0htRNMZU3kzQhlBDBduH68Fj6HJBHIG&#10;PV47+2s2hS602SSRSqi4mhjuIY18tgXOcFMtgq2OORnvXz7o1IybcbM9ilmMpRjSnrq72631ue3+&#10;CtUW5USRzzpI6idXmjCSZPXauB6nBOeG75Ar2jwz43iF4NPkmIuLaUNJ5T/M3T5ckcfdPb19hXyF&#10;p2vXl1fpa2BUSxFoVnOYUwoHzsM/KGyCpYYP8OcHHpOn+Ib64VbKG1xIu+SWO0HyQsSBtL+u0qCf&#10;Y9MVyV8PKnJSt7z2PXwuKnGTdRrlf3pH6J+FviG1gkFwCouZAx+RdgibCjCk9GGCfxHpXW638Srm&#10;Xy9Pibzp7mDc8skKrJbl8FSknc7UYnnkZ4AOa+GtBvJrNLQyXD7dyM0cspuJEw23epbkttOM9cZ6&#10;5Ncv8U/jmvhddS0HSrk3HimFkUSpkrBDLGjefEr8HdvQKVBH7sgnKkGKGG5oSVZ6dzlzPNsNQ5YU&#10;7Oo9un3+SPuLxr4q8X+HPAesaj4W0ifWdUa3FzLb3lrJc7IGWWJroywgzC3jlQo6wruG8Ebtkmzx&#10;/wCDXjNfiVeWMuv6Z4ci+K+hJJJ/anw3luPA+o3r21vJPbjWGWRM3UCwIsOqQYCRgiVZAmxPK/2f&#10;/itqfxl8PWfgRbm7tfikdXnu/h74y8KXT6Oft0KOJtElhVz5p1LyY0MZCr9oAc43MTzF78ULHVPE&#10;WkeJki0a11g3R8P3DWE9t4O1zT5ImYXVjNfiFYd0yebGYdRVlEkciiRSxI9+hGGG5J0b+zbX39T8&#10;qzGtiszr1MPi0nVu2rdL3tbunZr+kfZ1tBL4R8dSGx+GUPiPXNV1J9K8d/DuwvNN1fR9UmtbW5ur&#10;+58uG4WSQX1gb2ea7svOjM9qJYWKuor2C0+Fa+ErK0Xwprt3ceAtf/e6NLq4Ora3ptjeqbiytjdx&#10;liyKj7PMVtyvburqpKbvlrW7XxDrfxN+B2rfDP4rJYftAeE20aTwJ4F8RyW3g7WNa00SRX2g6fom&#10;svctpepTIZrq1ltY5Yp5tvleXcJsav01svG/hz9omHQtEtPDGtfBL4+eFtfn0z4hfCXXdMg8LaNc&#10;63aFr24h0e3mcSCa7Ym7OmCNo3E0zQysVKP6UsvoYyn9Zbu72S2W62fdN6p/I+MeaYnLasaHRp3f&#10;VWva8XvHezV7PR7o+brP4k+PNB1VPBmk6JLrF/qiWl1pWoWljHpYuJIo540FrLKVjlnKRzw+U4Mj&#10;mFFXkRg/RXh74oWus+MvBWvNq95Z6xrWlJfahdX0wvzdyxhrXV1jtBtd5NPaKL92QJES5HHyYXwL&#10;xb8PdX8X/Gb4lfDiyvl8QQWd1Z3/AMM/ENld3cGnXhg0Qa7faTo8BbyjqSXWpZkDN5x/sC4ChfLY&#10;V51dat4g8Q/Dvwj4p0xpdV8ceAvi5dzxazpErweKXbSItHuNaukLM6zvH5pWaDaGkiWXd84VDwf7&#10;TRreweji7LtZS1+5O69Ue1RxeHx+GjUSXNJava3NHdrtpZ6aNM/Wv4w+N/BuufD6LWPEWlWet+I9&#10;f8P678L/ABD4v8H6rqHhy418CxnttMSe1ifyJY9RjniV/tMKlWguIg6qy487/wCEd8X+B/DNnq3w&#10;0+Id94b8FxahY6HJ4u8L6m3hjxZ4M1t2Fh/Zmv8AhqSQoztcb1Ct9ptHWTILgRkZ+heOvA/xf+CX&#10;gTw1cabBca58VvjamsWGhHXY/C+k3k/hHToNf1mygvHwlna3UVyscePlWa+CkKCMfI3i34xWv7PH&#10;xU0fXbybRNb8B/Fe70rwX+0B4B13TJJYkkvNSs9Hvbua0QII9Ut4Jba6WSJ082XRmdXjMxVfoqtW&#10;N6Vas01Lls1dOLeifmndXvrrc+GoYXEUp1sBhYv3ZSvCVpRnFP4dfhs1KMdldba6elaf4ps7PxL4&#10;u+K/iX4Sw+HPEPwm1Kz8Sa38Xfg7ezeFvEsEpv5mbX7rw8wGnanZ52fb7aaO1ntBcFhJtDbPpn4q&#10;eJpLrRbf4+fCOPw14i+GniLTY73xPrVpbXB0Dxmt3M0WpaZr2juPM066s5ZLhIcsJRC4HmNJAzN8&#10;VeMfEHiP4afEHxn8NfEvxOhkk0+/+0/Cf4tWJj1nTr/Rrp5BJpXiZRuW8RbVtuJ1Ms1pLEyf8tEr&#10;C0/VtY/Z+fRvEXhGPTY7HQ9XkuLv4fvOdX8L+JdN8R2MdtcRzQMHiuNOkuY5/JEhbat38pwwKc1b&#10;Ex9nOjL4Yu91bmi099N9L+bsteh7bw8atehjsMrSkrRjK/LKLivd11jra1tI3l7vU+h/HE9j8RdJ&#10;+HUMGvSaRrOqGbSHs9Xvhq154djF0lvZJqFsY/Ou4ZljhtxcxFWRLZC4dzsW1oNnonhzV9R0VdO0&#10;rQdettHub2LQIlkudPuWgtibtrCXLIUubUN9ogLGKW3k85NrxlZvL/jHpreI/hn8Ovjr8J/A+s/Z&#10;Phv8V7m1+Knww0qO41vV/AulT2WpRLqfh+9z593ozTXdhMoTzGszP5e5kVs8Fofi/W/i3plprPgT&#10;UyfG3hS+gbwusqifxBFc7wtj5MqoiTxOweFo5I43Jd1eNA5B48Vz4evCE0pqVmmvJLVP1u/XRmmG&#10;qSq4arLDNw5JSjKL3i272dr6bK+qas02fR/hnwbpdtq+k/C7xXfeHviH+zJ8dNLPjX4Sar4y1N7f&#10;U/hVqvk3Acy3EWy6tBBdoumz3toWQLNA0iAsEk8G/aa0LxR8JvHlr8U/hb4o/tPQfCGl6H8OviT8&#10;NtTudPm+IHgie2sFtLeK65EV013aRxJHfRBYruLaP3Z+Wu78L+J9a+NvwU8OavYeAbDwH8evh/8A&#10;GDU/A/i34beLtY1nwb4IVLCAT3F7Zz7PN8O3t3JNZqnlER3BjnVo3JAfgP26P2fQdG1X9ovwKNZl&#10;07QvFCaR8YvD1/dxa5ceFrmeOCOx1zw9qLrGdU0e7xcDzcB0CYCKBIq+xXUnl9R0YqSSUt3zJWvp&#10;/herXRHj4LGL+16X16o1dyg1ZOLd7Ju3WcbJSVryS2u0+81/ULODSbPUf2bfFkfjq58ReNfCnxr+&#10;Hul6ZpSw3Vz4cstJ8Q6jrvg3WISSbWf7Zf4WzkIcRTxso2cJ846Vo/gy2+KPxL+Ch1iTwHLb+L7f&#10;xH4Ms9etfIFhpupWCXmk2uqLGGcFbLVIIhdIZMG3bcABxY/ZR+LFxrOq2vwW1+5sLu28e6Y2ueBr&#10;mXUTa3/g7xJpayfZPKuYDHc2v9pRp9haNC5XzYJAjqFJ9N+MXwp8beLvifov7SHgCDUfjP42vdEn&#10;0vWvhd8S47rWp5o9Kt4LVv7M1CK5tZdUuYmuy0cNrKLuEofLiLIixYwrSzDCwrQWm1rbfzfmn8/I&#10;TvlePnQqTfJZ+91dlHkb0svhad7K9+jPnjUvCviD4G/EDxh4Vnt9Q0t9b0n7D4m8K3Cpf+G9VkeS&#10;BY9StHDmJnVJbZ1lVWEtvJuyQCB4t8TdB1/wF8VtK8Tahe2EzapZQahpN/p1jEPDt3Zunky6dqVg&#10;itbTW0qmeGRUHlOHY/JtBP6batd/CT9q/wCFGn6bP4ib4O/EHwaV8E2k2tQza/a+BNf02SKT7Drk&#10;zY1G2s3+0eTG86T+TDKBu/v/ACp8T/Bet/Az4i2ml/Hjwf5Hg7xlCt1JptvfQnT7RnVYJ7vQL+JW&#10;jubWcNFdw3EbOBJKY54kYbI/Dx2BrU4qtSlenzLX+X/Ev6uetlmb06ldYSv7tVxtZq3OtLuL2f36&#10;XVz8x/2k/wBiL4Y+OJdM8bfBXxj8P7G2+IbDUrb4Waz8QdK8EeMPhhq8YEV9psc2sT2+nXdnJNMj&#10;WEVzf2s80UjRKsphZz+afxq/Y1+Pnwr+IfhvwdN4L8U/8JbqFvb6hD8PdX0s+G/EUVvqF7JY2Oo2&#10;gumWC5sLuW3lRLu2uZ7VJLWUeeQrNX7b/Hj4GL8FvFVleeINXiv/AIO/FjRxeeA/iJrPhhvHvwe8&#10;Y6Lc/Jd6N4i0JS0kc8JkEUq25M0Myjy45WaJV/Gf4ifBxPhl8UL+f9n34X+G/iB8NfEtlNos/hLw&#10;F4ul8fXVtZ3MLJf2Z0Znh1gWql5ZLaW8so5kEqgyM8Rmbrp1FyzoYij+8a2Wzvvb8/mfQZbjqtHE&#10;U8TgMRemu8b2lsot9Ozv23NifwB8V/hPcwWnxY+FfxR+GOp7UQRePfh5qvhDziU3DyZbmCOOVMBs&#10;GNmyASM9K+uPgxc65dNZShbJrOacI8gIgkCgKMgklic7iSeAc4AGBXxxrnhL4pfAzXtd8BppvjGb&#10;4a6Ze2l9o3ifWfDWu2vhPxXp13bW13p2oPb3rPZwyyx3MaNH1jlZkHfP0z8IPEOpajNbRX2oSzqk&#10;hUxO628AQszYghQCJASclY1CnaODkV+fcQ0KWHxPLQg1F9/xP6C4ex+Lx2VRxE5Rk3rdedumtn5H&#10;7VfB+7vtPa1muvKv9NcJH9otyTc27ISMOgBPUnkdN44r9FvBOp2ZtkkSdEc/KiI6yM6qnK7OeF2A&#10;8dyT2GPyj+Ed3qtvHBDa3AlheEIlukhd0UbVAGOATwDx0z6Zr7k8C3Or2t1FCs0llHdIrm3Ybhcu&#10;F43LjggZGM+vB618/wC3WGlFqLs/z73ObGYejiXK81zfmvQ+w9GltbhSmog2slxclrdpQssjIyNs&#10;uEUYyQHVsEjlMYIJJ1YXkktL6FXuZbkR4RVYRSIFlQllPBBPQ5PAZvSvM9Mvb22YTzJNdBEEQ3sq&#10;oUxkSEffIYjjJxhQMYOT6BpzXIvHkaEql3FDNIwYAhmXc+3jAxuUAdRnmt1UjUhy2s0362ffofM4&#10;zBuinPmutGtVumrpddnqeNfEXTbaXxlp8Ug8mF9F8iFvLDLKEuHVmMRHXbtIORnLDGVzXT+HbS10&#10;qGyS1kQICsjMFxEwYk57Z4Y/rgYrL+MBmGqaHPbxLvFrJBM6tskkxLv+8MHOGY+nFUNIuYliCWqt&#10;Pb/YGjRpC+6JzkRnqcjGDyQeOeprzPaUaePnRmvn56M9jC0518qpSWz0a+bPR9et7S9jljjusQz2&#10;oid45FUrIzu8fA/iJyTnkhfYVX069Gmu9rOQmYRNtIVnJX5FBfk45ZvqOua4zR9XN9qH9mKR51uw&#10;vGVoiEZxHjfgkngjBx0GTgZ49N2xT3V4ZJHKz2wkijd9h5bbuB6E42jcBnjnOAK3hJVoc9J+/e3z&#10;7HDiKMsHSjh6uqav+Ohxl/ZJNqEN3Ennfb5l1CD5TiNd5KBSO2VxnqQp68kZfjEXN5Ja+YGhhmhk&#10;t7lgihd0p2OQOABh2wOMMD25G7qTG0drOON1EUaSW02/y5I1i2xOFA/hzITnAHOeQSa5PxJqbzxv&#10;Hby4SxEX2jypFK2wfYEcntgsRyPmP0rejU5atpO2116GkqTq0ObpZ29NP+G+R/Kz4zsf7K8VeJNP&#10;2ELZ6/eW8e8CAyLFcuoJBHy/Lgbf9scVzSKVYli5XjZGhxsA+96kNxz/APWGPSPi5bXFt8SvHkFy&#10;ksFz/wAJdqCzxEbJ4mW6dZCy4BJJXj2Ge/Pmo86LylIMqqo3ttypBCnGQAT2yeMDPAxX2i5akeR7&#10;uzP52rU1CtOE1rffzvYViGYsHnZk2eUxO+IBVCgAg7uNqqD2CjjpU52qxXDI20rtDEiM7VUADoAA&#10;2egzgjk4FRFZNjFgu5SqPtGPNOMjn6hhgHo31qxHkmSTy38zl1L4jbJDc5AHQtu69T0PIqfhne17&#10;f1+RhHm95y3/AOGJ4wNsiBkyFCo2Sm0ncu7dgZAI69t3JqfJDkgBi8m5HC7CAwDKM+mMZGR09qp/&#10;OCQy+UrupAXAVMtIRxnqWmY59WHpVh2eGPe+0ru3bsiU4yMnOSSMZ5HHHvVtRl7yKhNT/hb/AKv/&#10;AIYn3F1EkZDfuk2rggYIZsgE4HD46AjnOcjFxFQqp2Ksm1UJYCXG7/aHI53E9OnsKqqyoSkmHKpg&#10;xou2MYO045x2zx6jmpVVyZNgVXRgQwGWYkAKSMZyBg8djWUFaFpPXb8h0pS0qO2ur9XsWNpYofkJ&#10;aRXZgAdgBwDjt/FycdOuMESPsjEhZQPMcSfeyGdiScfi3TjnHoMNiYRsSrb3A3FW5H3jtA/AgHPf&#10;PJpqHzCqM0a/dRoyu8jcpUFvTd8wI55z1xVK9tX7qJnKak0/6f8AS/EsswwqgLtUYDyHci8AnBH1&#10;Yfl6UisczEhsbdsIXknapBxxz83Oc9F7E5qu33pC4WVoztSNk/1hIIypPy5BGckjqPwsRB8RAxYb&#10;fjjOY25+bA9cHPFTFxlTtL/hx1W3JPRXX52HSyAoVhjbbvAY7QA3uOwPt6Z78mZEw8mQihlAU78j&#10;kfMpC/RfbIHtTCkrzKq/cfDrGMdyfvegwh9uadOhVXcxt5hfGc7N5BYnBHQ7ixJ7k88itIxlfR2s&#10;gsou8vL8CN9ol8z5gCc7VGJCMdvxH86hLRlyI8GNpAzOpwy5GOnc8LwcdT0qQyhBKhIEiqCqrlgp&#10;LFQQOMAtjnHH4VHmMuGkUIWO5ow4YgdySDkHIp+9BKOl3/X6mcqsbNtDGUhjhyJJAGdUcFlBDgfN&#10;2xjHOcE/WoZ2kCcpFlmxj5Sqk/dI6dDgcdh9MP3AJvWF3I4h2lQpXdw24nByBz7dM0jAYklUs2MF&#10;0cYCbTk4OTlhwSeOpHYU7yjLX+r2KTkqS53u/wABEJfzGjDneCDnBI5C9OgHX+npUbfvV370kilA&#10;ZQrBmZeqjPAyRxn17cU5Dvbeu149pXDf6xsYPOcdQPzPQ4xSRkHG5mVclsupDTMGxuLMMtznJJPU&#10;55qLzTs1/WguVRlGPRvf+vQglAC8kBC4dVVldpCXyRkdu+eowO+aRZG5RVdjt3NukVTujwyqcYwG&#10;KlflB7j1NORWQhWMbJlo2DnBPTgHkjovKkZKn+9SBlwqBNxD/OwIVJsbtuTjBIyTx/eOOtReTkn3&#10;IUH7Wz0X/DEgXLMsUYD5GBu3MW6Ee2SyEDr8vJpo8vgkBvLyVOCXDMCcq2emE+6ASeuRT8tEdxEa&#10;MXYhieIhtDKMAY9R17c96SOV33FdrHdsbac4AYbj04IO4/L2PXkgbRSTbv2a+bNpqnaMVu/yHRqr&#10;gL8o2n5doICcjGSCORjPbqBV9Sfut8wXhWJCyyh+MkAAE8nI7HoOBigXbapIiyc4VdxV844GBgYY&#10;8cc4PIyTTi7SEEHYiqitIv3VwQP/AKxx61MqftJOavbT8Bc8kpRh20/Bal9Ym3mIJ5ilfMWU/L94&#10;8KeM9hzj+I4zUgQvvDK2cFXJf5WGAMj8s/8A6qgEs3P7oSMZApAQx/3SMt/30DwecD3N0RlCEY5X&#10;bsCs3LNgAZYcnkgU3CKi16f8EPZpx5ZPTR+mpOfMLMCM5baCzZbpg4PbPI4p8ayuVUExggqI2GeM&#10;5BxjpnsO3fniJpD+75DM20bgTh8HBXHXkgCnl2ZpUAPyKCwU9F7HHU8j/OM0e87W219RRjKlDV6r&#10;9P8AgEh/ebUG0MrBmyNqgA8FgD27ccfhzCzkkIEjVFfdkP8ANtXg8jPrjOOMigLGryOeQr7HIzuJ&#10;5J3Y5654HTJ/CU7Tgv8AK7sAAoxnAIzzwB1446DrVcycbNarYWs4ef8Ansn94igqqgKo2g79zDYO&#10;zY+pB/M+tIowMMfmyBtVAd3fAyOp4x1PX14VmbawKoWUhckfQduCMDP/ANcikKNsccrJu3v83mMR&#10;japAJ4BCn0Gc96zaatH7Rb9y1KWj0GsoG8Ap8uTG2BGM46nPfkZ57cVGFQZysiOSMr5nCHkjaMZB&#10;5yTnk9gafPgqzxq22Vtq4yyjIY4J68AYweuO+arysFj3gncISS57kL29Dxx6cZ4rSSlyqNJ97fKx&#10;nBR9n+H/AARzgF28yJVBjZPL5YLyE6e4UZPXvnHNNG1U2R8lSGkRlCFBg985xkH8eMdaaQd4VgAG&#10;Ur0DMmASCScZ6Ad8ZGc8mnF5EBCKwLrvCg8/LyQD6kAj3x2wMxKM4VEm+lyUno3dgrKz4k3HhtyH&#10;BRQRwCOcg5z2weR7qXVWkjJUHaQzAEMdxYg7h2OCPX5T+EZTEplki2pwW2ydR3z0J7D8vepmwSrE&#10;LmN2Yb2OJAoABB6g84JHOAe/ApKN7S6Fqb9k5SXV7b9PzFVgQf3ceGbcyKfu4xyDgDk7vTp09AEu&#10;VRyFLjblioA5zkjoBjp/unjGKYGUs4QoryNsOXWNCSNwAJwMAHoOvAAJOKcuQRkkgrudmYDJ4BBy&#10;euVzz7+1aJxbttoNSlzJN3/Tr+Q3agDrJIwJBAWUBCOBjoePbJ9M4pZOF2k72KAjHLrtyA3Qc43+&#10;nX3pHCfedFeRxuj+9lMhgGGABkZJ/pTyzDLnaVKiTDZO7bgndk57EHjvUc3vK33fcZtrWKtfW33+&#10;nmQecAZHjU4ZQAS3DKwBIJ7nGPxzT9xOYyyDZhxnk7cAHJ9evNQJuDLE5GQhcnbtOQdowNuMAc5y&#10;fvGrELM0km9Npx5SMSVydqnjPXucDp68UNP4vMKSlF2qvRbfgQSBJAQijfG+WOwAcFWABPGSRnt0&#10;FMljVvKGHVgfJZmOUVQ5YL09S3H1wTTlziNXCh24cJyuRjIB98+hpWVZCGCNjcHKBwSwz3Ix9fyr&#10;RXi1fSyJvz21vbR/18is0UhJ2xOR0BSM7PoMHHHoKKmAkAAUDb1AJHFFLfVEuck9E/6sZ6xrI0oI&#10;DtHIcMy7HLD07dAuM4ODyKsokUgXEZMkZDBsjLjhSuPXrx/tDHtAmwblCrtJCdcghlG4E5wDk47Z&#10;5qRZo8sCuSz+YvOBGGYNtBx2zj328cdcJz5mkttPxsXBvnVtb7otKsJiUoNrA7RFnaJFbKquTnHO&#10;OegwarxhdskixRkRkhWZdoAHseAevPseRiphhU3Aq42gxln3hh0xgcHrjrxUZWJSJZjE5miJbDBn&#10;iGTHyexIU5BwOenSqUeT3eg2nHX7K7f1/wAAR/lYl2VjC7kBo1VG3ZYKzY59i2cYxzjiJQhARYzF&#10;yVAMhbGAGyFJ3DliDkDlDxginllKKVLOykgSbsKSCTjPHXJ/8ePamlmDpGYztYbVEKkH0wv146/n&#10;Sak25Lb8kY1akZQU10Y7IjLYJiWNcsq9XwckgEdSCOnpnrUzbSXkkC+YSwXcv7xhn72Qfrg/7VV8&#10;eUqCIKtu4DhmfKqMdR6gswXHHJJ9i9mgVEYSRtGpJHG2QBinygdMdcDg4yOgGFU5mlyq7LdRwsmu&#10;n46DnUGAOiLvLAqi4JyduAxHvvHTGMY6mmSBkDOiybghxvbBcEkAKQeDnP8A9akOxxuzhFJmES5w&#10;wjK8jHIwVUj6fWpXmJkKBkMmd7BWCygEFQAT14B69MdRgVKhNz5V1/r9AbdlKWkl/wAAYkokTiPa&#10;TGFUlQG+VdnK9jldxzywcHJzwgfcOXeKKID5W+RiMdSccYGT7c+9JEC5IOwK4IVH+fP3cEngkYzk&#10;HHLDoByqku27qHG7oY029fukdT3B7HHOMUOKjHlXUuopOEZfL+vUmODgKGPAwxG1JBxz15wOOenN&#10;MiYFmjVWGyEuFAA4Qj5e+c7lA5HX24cDGwYozLvnBbcQpjYsx46DHy8kfpT0dFOxYm6k/ONsjs2G&#10;yR0BJJPPPPIB6CVlZjTm0pbIrFlCruIhVVYNuQPnlRz7kquQcfmBSvkvswXBw8DE7QuwBt34ZHB9&#10;QDjNPAWJUjaRGjYNsBHBOeCPwBGRwck8dKWaNFfK70LJ5ascMELAdDn0APPfgjArRJ2ck9RSjJKy&#10;+fmMH7wKfLUyMVMisQ6jJxkjJHUkHPQ1OjrtIO7zF+XLZ3PnBDAdD16/7NMZRE21CBhVzKJRGMY3&#10;gjuDu3KT0+X6U07xEoJjdtpDyI4wu09iOPusBx3PPpWFmm7q/T8jWmnFa7/1sNZytxtJ2RsGPmBS&#10;o5OMdTyQ2ewO0mntuUyu8ODgOHUBjtXdjA9RjJP1GTzhjxBkKrJtVlJBZd6g4IIK8YPyggjHTnI4&#10;LVVoyzoF2sW2tu25AYnI7/3evOOCO1NQlGPNf+mZSk3Ubklq/wDhyeR/TzNrbmZQ5ChsldxBPQgr&#10;wDj5hx3pnKs7QgrvQABBwxQDkdexPXgkH0NOwmGKg7J0U43DIxnp2x7kZ9zxhrqokIbaQBhmHBGM&#10;k5PccnHXofSndJ2W/wDwS3ZKMk9L/qPU7cLtIdWLybQVZyBkle+OMn655qMTDaqqrOd2ZAAAqgBd&#10;wXg4JAQ4/wD1UkbONz5IdG/dkNjjjA5IweF69KQoiF0U44EbqVBj5UKW54+6o6dB7jBc5K7m+mwS&#10;cZNKK/4H9fqWiwUyfIVKjdno+S3rxjkH/CmsYQwLBjyzhEKkZIPTnvye38xUckqhJUZ3dTuXhvM7&#10;bQV6jjHBGOnbmpC6PIHIUCRQFORnOeCVx0Prk5BGPfOKbhyt731/rsEbuDV1pZa/IZv2M6IHHIky&#10;FKq4JP3T149zkHHNNXEkgR1J3A/OmQr4HB74HGPXkdeahkSTDFtsnmDAw+8rwAxzn7uPTHf1ok27&#10;lRGQnIZVZQqREFkxn2/ugjPtitL7+fUzhUlBydv6vuIXRlK5KopWViMIq4PJOSOmD3JyCOuaQqwd&#10;lcEG3X5mUkuoXgZOCOfw5x7ikaSUMvkgOhPzBiNysp4BAXJ+9nqByTggqagLKwVkxu8tXUOoIbPL&#10;HPPHQZGBkHBp3nJclT+v+HNVN895903b5DwNrKRucbiVYAOAGOeBg56qCCOtRIQoCgZZQGMgc7MZ&#10;QMc8knLYJPJPrzh2VdSqqAWy+DIH2+56Dv8A+OHpxUZkDbZVzIYwTgvhgqkFdwxkcEADByFqbtU0&#10;pKz1/MU1G6lF6Pf5EjNEsnlxqw2tgyKAU+9ztJPPQjqOtMLKJMs2Y8iIKAryEfMrEd+mzGTjG7pn&#10;JXKoxz+9ZkwCQNq7WBIyONuVJ/LnkVVWQqpZxtMc5LtLhm5fpjI+7gAZ7AVcIpy5pMctLze3/AJw&#10;VGXMZUMAMggbVbOSoJzgDJOAO9NO8qWjIYYUNlgzbRgbgMYycrkcClkDu5dsMJJ1G4KGBBznOB8o&#10;G5frk+gyIFcNkvGSFBUsVYHcCcZGMg4yDz0xmo5Y2Uo7mcabg3GSu9PxEdAVlDRMUTDgKQ3mfeAz&#10;k4AJB7nn6VBceWxJJiCLI6MoAkZ2BZe4yeCPQ5Y96nYIZU2/LLEudzIP3g54PHbGQD0BHWkyoUR5&#10;McbckohG4LkEhQTyctwPb0GCEuT31vp/XzLnGKk4J/1ofmd+2V8FFXb8R/D9qzsZPK15I4sSAkyf&#10;vSOBnChj3JJPOa/PPT4/MlLTH5IMlEGTyMYBH1z78mv6Htc0Ow17SZ9H1OCN7W/tHs7uKRFaFwQv&#10;z85AxyFYEEnI5yK/D340fDe9+GHjXUtPky2m3cr3emXIU7PLfDKu71TOOfQfU/oHC2bKrD+zart1&#10;h6dV6rocuK/dxWI6pK/3bnk97G0krygqWYBPM+baD93B/I9axZFYER7SuWHJA5I5/wAK3pXaQLBF&#10;ld3I4I3Hk/8A1vzqvNFH82+UPJG5JXG5yec4HoOfrivtoytZJ7Cu5UuVbyX43MSULmOXYhZwQQMB&#10;OnzHj2P6inLAcbljTEo4G7AOTgHA6VORKpyoTGwkIVAAU+vcfSpvsZnjCIo3rgbt4GT1wOfrWzqR&#10;cU2/6R49enVUrS6v7jPW1ELiNv3soT5h2BbIIPPv3+tbFovllfMVtzJ8y7SCAMY/UH0/Sq8MU0BD&#10;sok2Dadj9ARxkfQ5/GtCG4YOkrID8mwszAuckn9cenamudJuFv8AhzgbVOas9v8AgGgGWNFEyu6S&#10;PgEHHAz/AE7+tPmi8yRI1ixvJJGdh5Of59OO9PVEZI93mBCA5J5CsCT14xn046mrsJ27hlSCof7+&#10;ec/d5HUdvbHrXJNU4tSjqejCo6tnNWjs+/8AW5kNp6lizR7FOQwH4kEe/Jz+HWsG9s1lChEXKD5G&#10;I2oeAfzOf09q6+4UCF2TcpclWBXa3GMkA8//AF81nOiyqigBFDHG84Kk9z+n5VMK6ikmXCjePI9G&#10;9V6HHtpyAErsLAFipPyg/d5xn3P9asWEDReYGJXMhVcjGTkDAGOnv0rf/dLuXGVXKl1IYHGVP88d&#10;uTVWaVBGqgszg7ffAAySfy6D1rrVZNWl2OXE0GoNpb7f19xnvuWRZNxO1ugHy4+UhR/3yCfpU8wL&#10;25OQxRccggnLY5wPcnj1phIdsrgMoAyfmKk8gn3549KnYbImjRhgLkseR1P+fzoglFK551WHNVUl&#10;t/X6meSh3bmQkEMpUZDDp1PrjvTZFPlRpEuEVg4x80rBsdvY8UTKp24YKuN2AAAdvUY9ec+vNIF8&#10;1d6HAQBUjG0AZPfr6k1u07JtaGEYqOsN+33AJwMxpn5RuDNyFAI42/nUTzq3mIgYksNm3BKHnOT6&#10;f4VL5QLu7gblbAZWwDtBPPt/iKaY43RysnJyGyCAO/J/PH1NYpRhNNapG0vaKrp1f3IyyJBJ0UZG&#10;GOAcYGCB+AJ/A9Kt/aJCjxsg5O4OVGWzxt/IdaR7b5GYAk5JUscLjt/jimsU8xAJNr4IUKSFJAOP&#10;89K1bjKd0TUi2022v6sWI1lfL5ZRyVUoMnAB4/8Ar0/YSQwU7lAG4jCkY6H3GeaEunDnaoG1MOhx&#10;8xxzn6UG4jVFYgFlG9QeH9sfmQc1E07W5dSKkoJOzsOSRSJgwIWMknOPlGOAPXnrzWvZygqY8BmR&#10;t2QPY4z9OTisiIKw+b5W5+bPyYAzg+v/ANatCED93JA2CASDuLs27pg/y+lY1FeNuppQUl+8i/60&#10;NyLGyMuQiqwBLenU8n+VXT/qxGhyoJAAzwCVwTWWHV0AlIBLAEv8ygjHOe//AOv61JHOm5fnxwGL&#10;Dc2CeOQP6ZH51513ZNb9bHoxmozUo9P0L8UsvnEKpVdv3myFJBA49j6d/erlyySRRRoCzFgpGCAv&#10;PA/DGBj/APVTP3C2NqjhkBGADtBHGfX+fpSmc7i5IYpxGxO1nJPGPc5JyfxrnlecFKW56NOc788N&#10;tN+xPFBEpjdgQVOVYfxdjkfy/wDrVorLLOrosRXaflZ02s5DLznpjj9DV+xitHV/NWN1I8xJI0J2&#10;9uM8j9OMe9QQKwdjkeWG3RAj5MjIy39f51lUlJrllvb/ACPew6jJRlUenkupbRxK8ZlQfLFsdkQc&#10;HPQ9PRePaprZlVlF4pkST7ilOFHQfUjP6/WlEDARy/uw8uQCvC9QTke/JzVyVYXiQygsQQksnQLw&#10;ccj3A/z0yckotfh3Z7OHgnp1/My0DQXMqbzIsxIQg/IRnt+efUYHTpXcwvbw6fOIYy9yMhPlHG7B&#10;ZiO5/XHfmuYhECPGu0+aiBVyoKuPXd2z7c1qTXDIPOwEBCK7lgoA+6uMDPGB7dMVzNOrFJrVHXC8&#10;pqUXont5bk9jZAoXlUADbMFL8EZBAB9OF+nIrpEvUSLylcKBGVIC7t+Wxtz1wOvNc47Hy455pA8G&#10;3axUkBcnPzY57Dp6+9W4Y7aJEkklZvkGx0P3u+1gB3CjPTO44K4xUyjK1mj0aUYN+yS/rudJdXVq&#10;xjLruiixLuwCIlwHLM3AyMf+O10umyRbDlFDM3mlnALt8o5P0yRjt9eK4yy8iYIS6uj7VKcMJMHD&#10;ce+R+fuK6WCW3mKCMENDEQwBEQ5XGPpg/wBK4qtJR91XPZw1nTVNLXVfmejaOxllIjlSIMMxK670&#10;IUEYUHqRhgOmQ2eM113lwGdlWWTygoXAwyhjgEnpgZ7npxnrXl9jL85aEv5zsD+9JXeBtOCSenyj&#10;nnOBxzXU2kl8LuJ5fmhaMfaFjISSRS67gCcgcqpA4wfxrid5Jrov+AetQjKm/avR+fbT9D0nS9Pk&#10;s1CuSYWfekSgLdTb8kEY6jjGQMcjFen6fcC5tooI1SKEqqrLsH7japB25AAPK53HGBnIzg8RoxMl&#10;rGCdskiKrbEGY9oB2qx4IG0g98NgZrXv9RtdKtTBsSMSx7Ywy7N+Tjnr025PrgE9qykk4e8ayxPt&#10;JqFry8r6f0hmoa5othatPpVxPMlw5WJ5Y/mlZSFkyCfmG4MMjtjjnFeRat4ujQYt2aa65R3JGyFR&#10;wRjJ5ABJJI5OMcAmt4g1RQ075V5fLELzN8xjVlHyj2AI45Py47V4vrviaK1gMKSmSVztUCPeVzj5&#10;j05POfpV0sPzzjyo480x8MBSs/XX0XX7hPFHiSGO5CvidiAzqrEEMSflJB9xgfSuJacs7zv/AKNG&#10;zhcQqzpjrnnjOQOvr71lT3ghLXNw6qWIaBXYyTdQcqvXPXnPQn8Kd1qk08T4kURO4jSJ1CM+QSCR&#10;7HIJ68+9fQYXCqlJRW2zPzHG5jLGV5VX02TuOm1Jo1maFmkVflWZgGkkJGD19Px5rNlu5GcrtyxJ&#10;+YqEABOSvA7Z4HbFUY50kmCGRC5BVUVwBGBzgE8ADHfI4FU2u7p7rYHjaOGAmWRI9pLPgADngYU8&#10;d69JU4VLxXRXX4HDPFS9lByj797ffb8rG3FPthd3O04y65LkAZBX8Sp+vFY11KMOYyBEAfmC7iWP&#10;XB/Gklmk+zh3SXy3LBZT+6DbcNgnH+1g/UViT3XlptiYBjGTudtzKc9x0/Tv1reFBxlyzMa2LtRa&#10;i9l95k3zTmRyWcK8mEI+XA54P5+npVC9WRbNpCVRd3k+YBjcQFY7ieoAPb1FWGuGu7iK3QeZGFWW&#10;RgSi4Xkvk/Qn8ara7FK9voMcbSLa3AuLiVcgL8kvlk7uwKxoeeck9uvrUoxulLY+axeMvSUrPmen&#10;6mJHBFtaQHljmM4woXGNv17ke1SCfZIcKSwgOWVeTnIwV+mKmDPDDMZECvGB5aEkAsxwDn2GT/jT&#10;LF/NvE3jCSyGNi0gCjOAWP0611OPuudrr+v0OOpKHJBx02uuzM6aXe4XqI13LkZyTyT+ZpLS2aRI&#10;ywEeITc3DOMJjnGfrwMCqt1DImoXFvJuX7LG8axd/kbYST6Z4/EVeuriISC3hbdAI8SBSQjkDB2+&#10;wJOM56CtowtBW+R5MqyqYje1rpf18iG48qRMs2yMDew2YyOoIrHuJiGyFxGylgFGAqgHGR+GKmkm&#10;RlaM5ZDKpLZwMLnCEn1wPzrOvBLIkrYIMwAVA/QZPH0qqMLO6W//AADnxNRpuUX93l19Cxbws0El&#10;yQ37yXaqqMeZgc5Pp9O5FSWV3HsuCUw0shRdwJAI9vQZz+PtVpo5ILME4X7PY8gniRpjgc+ykE57&#10;1gBSWCryVQqmDjBOGbJ9sD8q2jF3k09DglW0i3ul/X5nQsUSzREfzPLjeW72qTLkZAx2/h/Wucjj&#10;jdpC6uS7lY2VjvUn156jp9a07Fz9g1C6lDqVhWCAkh8eY4AI/UfiapoghcrKCAFMg24JyDgcfXrR&#10;CLSfN5HPVqKpUi35HXaDrM+gTtf2072y2Xlm4Kvt+0858lcnHznrgcDcccce6+Dvi5a6hMItfhEQ&#10;YBTcQYVQCMbio7gEDvnk818tALI8kgQmMtgAu3l5zyxX29a1bOKbCCJBJJwAqEgOOhX8Tzx2Irix&#10;mCw+Jpv2q10Po8pzrHZdVi6DvFJabp/I/QqztLHU4o7nTLmOeCXa7S27qfL6sAccgjnjpx9MdBDo&#10;jJ5UkClJiFMo8vzBIMZODnk8gcgfh0r4s8P6jfeDJY7uXVbk6my+bHpaSMIoB97dcDPDYwdp555x&#10;XtvhD47TWhUeIbO11ARoZM2EZtpWU4PTJXPBGcdweTXyOOynEUk5UPeX4/cfq+TcY4StBQxseSat&#10;fqvM+mPDuj3V1d5kLB1QxRqIwqp/DgrwcjA619M+EdNto4wryrbTEbUuJ7QS+V/CjiNvlbkAgd9v&#10;XkGvmTwp8Y/BN/p7Xcs19ZNM+zdd2wljkdhkhWUhnP3ydq4G3JxyK9l0D4k+DzDEH1aNpI1UQwtB&#10;844ycA8YBAxk8ZHTnHzWMjiaafNT1R9zSzbKMQoyliEo9EfRvhu7n0RFBsJIVV8SXJtYxLccEsqq&#10;wIAIMXIxgHk813V54gg1KCQS2caFeY57hFd50RW/dAfKE3ZGNuAWxgCvmnXfjFonhSz8OXaW11eQ&#10;eKdIGtaC7LtD2n26+00TyDHyq1xp9zxnOIzj72a5v4ifFzV9BOi6PeWsWg+Ip9PXVNTsUO64sI59&#10;k1lG7EfJM8IWZlBJVZ0BO4MBySw2NnGTcdPP02+R6UM9yik1Upz522+/TTsfXy6tYRST3U97HY3I&#10;R7gPHiAtlGxhgcAEqvA4w2TwK2JfHml6OFa9e5t7aeRR9qVTcGTecY+Q4JG4dDjABPBzXwL4e8UQ&#10;eIotQM+tahaeK7e6Y29pcJ5ltr1u4WPbaOM7JASSFkAVwnykHAf2zwt4r1ey8N6JZ32i2+u6Xpd7&#10;/wAI3O80cgu7CV1nuLVX+cPvUmQAsQBtVWDBiG454GdK0p6/jY5K/F9dr/Z0lZta72sexz/Hm9lc&#10;6YkN74dhuXigtvEFjfpK0cERjRriORkChSEYhQOFcA4KHOBfaV4l1W/1a6mli1iXw1pai0MGnx2c&#10;0kbXNvbKsSj5djSTxDZGBnYoQD5a8+1rwTLrN29hoHiVLDxLfXUbDwn4gB0zSL57gCQw6bd/ciug&#10;GObclUkDI0ZPRuq8Hz+NPCzW/wDa9xqDf2bdtZzaVfW0lxaGFCxkhdW2lXeVQmHbnGVBK4bKfs6m&#10;2mutulkcNPETr81SpJOo0mr9dtme7/C2/M+m6qftsMmp+G1Pii3vLO6+w+I/D15aOjxN5UbrNEyS&#10;sCGXDDG7B3FT1v7VmnR33xR1bxbp+pfZfCPxvtNG+J1xd3EYe20/UNZ0+3kvbC7w6SyiTVbHWJTM&#10;ufmkAIXYzHS+BGr+EvFnjKXVbCGa3+I3hfK6VoPjYWFzFq6xuHl8P35VMXFtJGzy20xzLEZFjztY&#10;57L4r3Nv4ysvDy6LJpnhbUfC9hdaFF4O1KAXWi2tqb+7vhAryy5khE2oSwwjDuok2bWOAT2ijQdG&#10;Tuk0/u/4czg6tDMKVWcbNXT81Kz262cU0ec6F8SfDllc/Dv4d/E67S4sry8n8I3Wo2mkWxvvDjW9&#10;7De6FqsBkKbjDL9qS4KGMojoUdcKR+iPxQ/aD8a+KPCXhfwz4s1bRNZ+NHw8vYH+GHxCm1iHUPEX&#10;iHTDAs1toms65HtE8FtN9nmtry486W0mhkj82UPMH/ElPDk//CQ6Xp+uWt5o6QeJbabQiLhRZ+GJ&#10;TMoldGjVjIkiLsQJ8oEn90nH2FbeHfC/jKXU0NlZ2/xBW7gs/A9tbxx2Vrqxu7gRf2fcq5zI0xlk&#10;2CJS6uUOWUEDV42E8Oo0ZNSk91ons1fvqtGY4nKsPPMZVZrnUdU2lo31XZWbUulj9ivB3xubxr/w&#10;rv4heLvDvxAuLrT/ABrq2j6x44+HHw+0DTLf4Va7qNgfFcN7Mtk0UuvTNIviBprdI0nhskRywuHb&#10;zOc/a8tvD0em/C/4geC7i1srT4uwXvxN1S60SMf8If4q1nXG03TJdc06cEyQ77fQ4ZHSZIxlpyY5&#10;AUkf5+/Zq8K+JPEfwo+MPwY+Imgjwdb6X4n8IfFbTPM1S50q50a7+3an4bn8QaRqFvJGBJFF5tob&#10;aeOZZ0jaB0O6Nl6vX/2jdI+NPgDTtJ0r4S+IJ7XWvibqXh+/0HX3m0bV/BCaDY6hpj6Jp6CHylnh&#10;tbzS5tqzMsUmmMzCRZ2aP1sZiaeKwyu/fnFP5qyfydlbzb6HxuEoPL8z5qGtOnNqVrcvLJXXzvJ+&#10;vKuru9vUvE93418F+Dr6PQZdMv8A9lRJtM+LnhWw02LSPEV+fEt/C8ut2Fq7bDLbw6BoVjJMXSIz&#10;SREbYXaU8F8TviX4f+L/AIK8I/8ACdaFeahoUXiSzPizWtLtnutXt75mNxo+o30TZwJfKjXh1E/2&#10;KZcAx/O74b+KrrWXfxaVn1Txnpnh66/Zv+J2jX0aWd74+0bWg9v4X1i5jaMtHfWl3b29uyuArmO3&#10;GdzBjx37Gnizw/8AEDwX+1b4rNlaaxpnh34E6z8TNC8ImARwXUfhaZptOeRNxaG4Ng+v3Ee5CyG6&#10;RhtEI38Kpyxdenq/fi1K/eK91+uln5p9z16lahQw1ZwXvUJxlF9lOV5LzV3zJ9E7dBP2jNH8e/Dj&#10;4ffC2KO3u7G28deHRoWnam8tzOviaTwfcwx6ZdymQm1uIJLLWNL8mZWduJkdsNhmfBrxj4q+NngX&#10;xL4AbTra88XfD/Ql1/4eRuFs7kTWaebqGjKzbWIuRJGbQFlKTxquPnKV9HfEHw78NbT4K/Au9+I3&#10;jzx3Z/CPxN438daToitc2GoWnwhg/s/wpcTarCrosrx2+qTwRXlt5ojkhtAYkjl3tN5P4b8JeMv2&#10;T/iRpGueN7XwTa/EDULW4uvB2lzatFruj+J9MuZ7iDQ/Hs2mxEXEVlL5IktbLUBbSS3flnDpC4HR&#10;UwCo1frkk/YuMefyvGPbvfQmOZuvhJYeSSrynU9mujcJyWnpaz7X00PWv2cPjt4e8GfHH9nH4bed&#10;4b1q5l8V+Ifg74nKa2vii08OXGuWEcNtdXkNviIWs+r6ubQwsWDW+lyhsYQy+Ia83w78Lv4n1b4c&#10;+DfCPjz4feJfF17rGj6F8R4tW0r4k/BrVvOia7tNP12w1K3vTFDOs6Qm9FzHIkaiWMsJAfO9GS2+&#10;IfxG+I+tW2o6f4V8Y/CmW8vPhLZyK9he6vN4e1yHxJbaJPbJKYnZYp9TX7QNs0k8rGWUkKB4jr/j&#10;Txr4c8c+OPEOvWeix+E/Guuah4tNjoWppcWMkep3s+qS3ujSt8s1tBNMFVJDHNEUG5WKny+Wvi/9&#10;kjHD/CpNr0slb8P1OvKsBhp4upWxzfNKEVNX3fM5brte1+lrM+6P2Rf2kfCvgT4yfEDwv8V/EGqv&#10;8O/jRa3Phzxx421qY+E9C8Ox+fqEmiarol4szwiSF5Z0LahDEhe3jPmZRZB61eaj8Rv2UtQ+NnwZ&#10;+LN1qHxk/Zw8R/B29+JPw68UeHp0Gn/EKw0u7s5JbvT2Rp4Y7uHTptQd4o2ELSwoYnYzYH53/F+X&#10;Svht4u8Cz69Z3clhe/CP4fWXxF8K6ZdDTLzxZaS6LpN7qiW1y8bKvnOpkEq72DwKc7l+Xo/g34p8&#10;a/EvXNV/ZTvfHes3nw9TUbjxH8GtO8Xu1y9lue8tr2bSJpIxHJZXMUiC7t1kMccrM48wwAtvQxrj&#10;F4SfvODkotbq+jT6OLvp2Z42Y5RB1ljcM7UZpc61t7uqlHtONum680R/FjUNO8C/FLTPBLx/8It4&#10;28Aa1oWqeDPFvhZ5DpHxP0+b7LrGja7C6/8AHtfxwy232iFwisY8BT5bM/s3h/8Aav8AjJ4F8b+L&#10;9W8M+KbNvhj8Q/FUvidfDXxB0yLxj4b8HajLHNqGpRWVhcyNAtlf3EdyFa3EV1lo2Vlwy18fftIf&#10;ET4e+OtY+FGq+FPEFx401nSfg9ouhWjfC1HttRjOi3+raFaLeiZoJEuZbHT9NuxbrEJI4by0aQKw&#10;bb4+nxD1C1vvEOpeH/DWpWOlarrs914e8NSXU2qDw1ZS3EssOlm4m8x51t9lvGJpgZJFgy2SSa4p&#10;zqYarOWGk0m01btby7bHRSw9DG4aFHFQXNytO/e/RPXXddtejP1++Hvxk+BOr+NGX4geEpfh1o3i&#10;+6uNbfxh8ItQtrO88TX+rieS5bUrrUEddXhsACbSL/RZ44ryRJd7RLG31fp3xlsYrPWP2fvGC698&#10;adF0PU4tY0S+uvC5n1jX/B2pQvPYeJdItZwYheaW0Ukd3Zyt5F9bKULB0SQflz8Mo/D/AMc/BOp/&#10;CnxP4f0+BviXe6teWHh3RL660vw94R1SSFT4WutJuBKb+3uIL6R7aSWQtvhmiTGEwOG+H3jX9oT4&#10;eaF4a1XxnqN/4stvhjaD4a6hYQ6nY6J8SfhRpfjNkGlR6jLNapJqOmyXbRxLmTEZu3hcR4Yv6+Hx&#10;1VUPawSkle+mum6ffTX1PnsRlWHlivY1XJbcqb07JrqnfTTTVM/UzwZP8LvGafE/9jWy1PwdoXxF&#10;j8YTeMPgDpcl6mv/AAX8VX0WlQ6jqWj2B1CJ59PtNb0tpRc6JqP2hLa5gCpIPsyKfwY/ad/4J8ah&#10;4y1G8sfhz4N1vwr8VrvTX1kfs/a2sWvTeJLRJJjJe/DbWYJJoPEEA2xf8SoTNeIp/cS3g2xp9o69&#10;8U9Fn8a/CHxZH/wkbeNvhh4p03xd4Z1a70tTr0d/YToskFvcnbLPa8m28vfKrB5MmMk+Xg/HuLT/&#10;AAD8Q/iJpGqeIvEVx8LIPjT4h8QeGxpJXxH4bsIn1O5m0+/0GSGeDyLuGCazHm2UwwwDNuGFbJ5j&#10;HE4RVp01eDt/261zJr01V9tj0cFl+Ky/MFTwtV3qLW6v78fdfb4vddnre+p+EHiD4u63f+BPg78L&#10;PEsHxG0P4i/Bq08QfD3xxZa7dXOmaH4g0V9dXVvC9rNp8kiytdadLc6/GzXMICxzWex2YNs93+Ef&#10;iZoLy1nZRs2EGFWKome3B4YHJwTzjjrz7T+2N4Z+Hf7T+nWv7RPww8b23jX446A8Xh74uaTawfYf&#10;EvjfS4ICbHXNS0zAeHWbYlba6kt1kt76MxzExzxyvdfIXw11GCGe0E88zI2I5XhOY1JYAZTOM8Ku&#10;QO/1x8hxLSpVp+0ovmTSt6eZ/SXANeFfLVTlDkqJtSjqvebvp5Pp919D9ufglrV9q0NvNod5JpNz&#10;5+BJKpuGtyuDgRFuedoznjJPXg/r98LS+paes+srBd321FjuGQxODwrMCMkc7/vZJ288nJ/Bv4Ca&#10;hqFrdWN1ZXBMSyqRG4AK/eckAYBZmKt1zwcjPT9u/g54qR7fSyqI5Y+Q7NKGeFlwGZhyT3G7HuDn&#10;Ar4WjUm5pW0i7eTWnTyuduf0XTtGnu/vXkfVcUKWscVqiqEnCmR3ycdV5PU8Z68cnjPNdPpd7bW8&#10;F1FE0dzI0qpbqGVZWAAXeWyCDyTweNo9sYDKJII5vO3TXZItjJGMFfvc44ALAADvg+hpsPh3ydMv&#10;LmebbMoacoQpV8ZIAPbp1AOMc11r6xSrSlSho1f0VtPmz5uUcPWwyjXnZtpWtu7r/hjiPibbzXOm&#10;6dfxuWls9TKHYFIuEl2goegAG1nJGMYGOuBx+hXy2wvvtN3j94pJLbtqjgIhGMpl0OSOvHGa9G1G&#10;Jrzwrho2kUXltdxlJFLhN8gG8lTggfMepAHTPFecabpM0UskMlqZorsB45Lf52jJI2liee4OB6D8&#10;PKxMJ+2jiqS3te/TQ+oy+pCGCqYSb+BtdNdn/mdfZPZQXttciGN7m6laDziGVtskTO7kYBwQCMnu&#10;SOvFeliK1gDTfdb7G2ZJAWYMZd5HHAxtHGOOMdMV5pLDFpeoyNBABGsSPdFzuSbcoXkDsQOMgZB7&#10;jk+i6D9h1TT5IZ5muPIljuHl2hjscM+Gxjp8oPUcc9c16FGTlOcJtKzTXnpueBmNSMqcauto2v8A&#10;focprzC7tnmt0VLryLizW4QByy4hbA3Yxk7uno1ed64RG88tuki27RpHcq77lYMxkLbOR8mc7eAM&#10;g4zk13VwWtkuXnVR581xbLJCxD2rqVXy+vUYCkNkghvc1g67bhrN7ogRoII/IYsJQ+9xGqEZwQFj&#10;c5PYD3rScfaOLb1XTr/TO+ly4enps7/8Mfzd/tV3Fvc/tBfE6a0t3so4PFM1tOku+ZjLbiOBpv7x&#10;aZ0kcjsZh1JwPncMEMLyO3lsgRNzYC8Fs8E54Y/MT029OQPoL9qrUY9U+PHxIu4La1tFXXhYyQWN&#10;sbSIG1t7e3ZtgbcSWhLM2BuJbjJwfnkGPc0UkXllBhHL/cKkYypyDkEjjbge+AftKVOEqSm3pofz&#10;jmDUsdWcnpzP82Twt5xG1JwvmqrME++RztXux+YdP9rNTE7jH5KSPGIV8tyVYkBWAyAe4ZSf4Tx3&#10;DYhCPJskdYZWGdrOdzc7htI6bSC+McEP1J6KWDMXBR1aJmTPPmDgt1PPGc7sg5bJ4ocJRan0W5we&#10;0jyct9389CZQAGISVzEn3DiIhs528nvt6euDxVpSqsu8l2f5Sdm7cSxz7k5GcccMemRUCMMllLAR&#10;u0i7wqjcWz0xk5yzZ9OOBgCwrptISMbVBMgjUfKACm72B44J4349qejXJb5/cVSa+xp/ViZYxCfn&#10;VEHlowUbVW4DEgbADgjAQDJOc9OhqyMA4OAVUMCMBGAQDC5wfQ9sEgGq8cYJBLbggaQqSDlgoKlt&#10;oxzgMOP4uanRV3SIxCvK7M4U7s8HjPXoGY9v3hHAArJarXf/AIYd/Zwio210uCbyTkkAyCReScH7&#10;p7k5wSAOvJHGTT8IxLsituBXbuBLDjOAT0JwM9cHr1pAcv8AOrKG4w2MRnLMOnHZh+FCloiFUk4b&#10;amGyi4JYOp+9z8p5557VpJSfuva2pndc7cvv9C0yKxVWVi4dTK5fJXHsTgEenQ46jrU6LiJWOVAU&#10;ltqlskkk8nHHQ8+9VUYSnlQCrjavmbMgA/MPUZyMewNWVb7wLL88RjKZBBAxkge/T8axkk6bN+a2&#10;ttrf5kmcyCZgJooyGQJ8zgqzYGD2GBye+cgDq58AxiMk5DblZAQ2DwPbHJzx0pqQb3jkfJbcsTAE&#10;yNOM5dc8Fd348nPoKa4CuBvfYI2VmBB5LAKT0IPD8YPUdOM3JQUk1uKMeVJN6XumR7wTM+2SYRjC&#10;xIy4J65IHQk55Pt+MbA/aCzRDIBjLN8wZcscYx0y2c/zqaE7kUssaLjd90ovUljuznkNyM/40yds&#10;BSzGQLCHjVhswSqj7pOT949uhPpmnzRdlu/60BtNWW6/r/gjDtKrhXjdsqUbCqu3DYIyQSCB37cc&#10;VG5yp3CRI9rF9oO5sE7ivHPIbGO4PXkhT5ZMbkNI4UluR5fVc9uT1HtionkRZNx3uHAQO7DkjjIH&#10;t1/Gh86dl1/yM1Fcl5P5dgO0MQR5pKkBmzFkkYJB6jPQkfyOC6Vo5PN8tmBYMYGkjDrnbs5GeAfl&#10;zgjIOO3MTEDfI4UBnBztG6PooK5z12qO2BIee1EccYOzcJFVS3zgRsMeWOAQCQTt6D14xScOae+u&#10;lioKUk79FdCbQVjJSQxup2sUOCM4wSTk4IcfKDyAOxIjUxlUbIc58yNkHzZxgDHoBu4Hq3FWvkdQ&#10;rKC2dwUgZXgkfjnOc5+72qvvC43RsG3FQNqtMjj93kDtjnLD8R6aKSc+exEJR5rTfvK3+Q0FleOQ&#10;7o2Vi4yQ/R8rjpjhVIJG4Zxjj5nqrKJGijUgPsKIgi3LtIUBcc5G35up5PJpG2szOsoYxsoO3cSx&#10;5IzwOhXqMjpk4O0OcCJ3Kqy+apCkuAW2t8pJHrzg5PT807S1S1sUoxS95df+GQArJIAkar/z0kVP&#10;LCBUJYqeP7vTjoPYVcilXylkddsivuO0lSSVAUbuCQB0z0xwKpbwEkEWefmLtywJyPQDIwSRjnNX&#10;CR5ZYBmIXA243qWHB4HTIHTnnIHGRfMruLWhlBqnK0ZaX7dHuWVKonEYUqFBfzd7OVyrKp54+V8d&#10;hwM96GYlkd2G5QcMFG0g9dxDDuc4FV1R5EZDOMMNqlGPUDOOevUH659wbvkJltgKDyyUyxVhjgg9&#10;unzZ9B9KzlytvXUqz5Wt7/cOE3y4UFtmMuSpO3A2+h7cHnAHTmrCSZLPIhfKclOnoCeOvTn2qMiM&#10;ooJURgrvkHykYGDgjgYGe3509GTlAFjWKMtw2QVGScDuc7hjGSVPB7ii+Vt+Wo6d4y0lq/8Ahv8A&#10;IU7CiK4YcqAifLucAtg98ABc84bnIHBKo2CFYM7ngZwAvIG3Hocnr6UhCluuWSQvycgnDcn6cH2K&#10;g9qmVIwh8uTDfcYg7nGAQBkD25yfSr9yEkmVTum5bK/z2K7BVdwOFUL5Z/jY5Iwwxgdsc9vamu6s&#10;7L5cgOecsEVRyVHUHvgDqSR1qZ2O4bVLkMcuCAoUhccdfVc98HjkGo5SsYZnYOrJuYbC5cDGV45J&#10;46dz2pJarm0aCpKVt99iRzv38ElmywRQV5I5/ng57/lAxjZCpjDO/wAxYPtJA2sM9D0KgDoenWnO&#10;yjcQGOzCuXb5iBkntjIGPYHscEUhDSJ/rEZgxXcHxGBuGRznkemc5PbiqdpK2qbaIg7SSZDMoJjD&#10;xYjc7YwAP37/AHhk56YDdOvHenncAq7cshznAK8qCTkc9SeP/wBdQuXlyI8yKpDGLcFJPKkjPTA3&#10;McnnbgckAui3hF3PuLFnBUHzgp5yCPqQPbHfkpyTik9EaST010/HoKVTgksNwxJuB3fMGbnsB19O&#10;lODRqgCEgMu1MHLIxGSSc+uOvHHfIFRq3mPEqKJFWRIywOSRu4ByfbrwOT0607KEqFyw2lihXbtU&#10;gkEg/h8vv74CsovlWu2voCfLLk6afoHRtoBjLMzNtHmE7TubBPOOWOemDnHFKzqwA8vMJAcNIoA2&#10;kqVyOeMk/XAoOAAgO1eCBv53cL6cZyeSec49Mg6M0mVJbYEOGLhfTnA5b0yMe5qnZp2ev9Mio1Jt&#10;rr/lsTsjb1JBKofJDMA7KoUqOR7c+vJqFdu0t+8QqQCqsCrqC3vwSCeR/exU26QKxMq7N5L4O4KQ&#10;vVepxwOvTHamh0OMudysYwwVSjpjgkdwcn8utCi3Jp7CVOKSd7S/R2K+SRvkZcmMMocgM4JYMG6Y&#10;6H8waexUnbKsm5WZgUUBwGxyAQe69D6Dg8qBwSpVMuxZZA4PIwQcDjpkE4A6HHSo1VfnnQZ4HyA7&#10;QvG7AHpkAZPHzdR2cGopR7bMGm3otLocCF4ALmZQoKJu2H3I6Z/p9KY5cJu8vJU8ldwJOCOh7EH2&#10;xtFTb4wmFbY6tjKDgEbgc++SMZ5HOOpqDzEZUkO2VZI8tJ5mQSSeRzgjn9TQ5S5r2uxOzgkt23+h&#10;BGxKKVRtpXjDbx+YOD9aKn85kyv2lwckkKC65JyeTz1JorB0Kjd02aqWItojNjO1XdVLoSxIaMAh&#10;cZBboT9AM9KsAeW0JjAl2Ha3ACgEcH/aHTgk8/TNMSNlePO0szgIjN8uRggHHHJBPPr+FTCFHMqM&#10;u6HG044yGGMj8GJBPpx6lNKTTW2/6HInO3NH4rr8xQ5k8sBZTtU4x90kcjIyR22e2eg60xpCWlMi&#10;mQeZghFwEB6DOeduTz7+ozS70jbzguWddyqQCqMwGPxzkY9z60jyBWlCoqiTaFOxRtOAWGfpzjOO&#10;fwGt+ZuKNOZqNlLS2rtv0HbBKm0QhrcAquTyrN8mT6KGYc5/i6EgGq29gxMYlhKgqo6+WuMgk4GT&#10;g9fUdc5qwHTz02kEhcNuyFXGG6enU9sYzznhZUJjcBVJLbPMC8R8ruOT67cfQnuAazdRNqm9YshU&#10;+ZN03oun+REXUtllkwdqGYgsE3NtGDt9z14AHoM0Kke6RApiWcfKSSAoAK8Acj7pHY8n2qMKzhXB&#10;j2FmCbB98HJAdcAnqD2ySSDxTwSJFCYKKQVOMH7pA6YGcMQen3unNXqlb8jaz6tO39biBQ0qMFzG&#10;Jc5EYHZQeSMjnsPQ465qRztR8iTe8m5cvlVxxxnudo49ulBVAy7XXy3com4by2RkD6jHHcYpFKFk&#10;KZkhJGFzwdwYqPz7ZBAI9RlqSg07iSUIPmWvn5g4CoZQSodQCzoVAJGN3ckcnsOlChYlIdnjiCGQ&#10;AkF0Ay7Fc5OQMt3zvJHanOFG9cMHQDzGI2FMEZ3DOenAHYkccnLCm53MhyjtsHllsNxhTng98cep&#10;qOaTkktnoNzSp6q/9IcyDzHCnb8pR3DBg4AGCBnnOOD04oeID92RMMMqZHIIJwRgZAGGJ5pDGAVd&#10;IgpYFgzggsCQCfoSefenxlXlaNkIO1UJzuwcZ3LkdOGHY529RmrUO/b9RRbk+R73/AeqRrGWLNvm&#10;YABRlEPG7jryBxjPPbnIakryBZCyhA7ZLttRQo2kHAGR8u4HsSeeeBmUCQGNSd4bzBlNv8R+XGSS&#10;WwfUZ65qOVUITajHy2aVxjYJSQCckHOeT0655HGRGn2upo4ptqLs/wDhh6hSd0cWDEgXL5wnGQPb&#10;gcDJ+5nPIFQEhmZQ7rIy4LDJI5XGef8Aa9iCenOamc5kkYjyzhX2NkhupZcHIH8J7j5icGkOI12q&#10;B87MqSHPz7SQc/TkHdzkZxRGbiuV9SINqm2nqv6sQnAHlZIy5IEaEhM/LnGe+VPfOBjmpUCo5Z4g&#10;hAEahmweiN82cYPAB4689OKR5N+6QKJCEeRRGMDftGxcA85JU5yScnrwKCmOAWfhm2bCOmAeg+mB&#10;1+b0HEJuSs9LCabk7Lr+Fv0HSOqqAzbYkbczIMgj5uvfHQf8CHGOkSrGyytJKpicZJZ9qJ838WT0&#10;6egBPB6ALuVpPlXywh2Kkgw4wV37gcnnjkY+8OwprBEeVGi2MV27YmOBlVJG4kAnrg4Hfkc0QjzO&#10;MnuwlJyXKldIkBDyTELhR8w2ttRsADAPfoeuRznNNWUR4HlK2c7SzZO04JIPJyCP4Rn5hnGSaR2D&#10;Mw2K2epIwY8BCCRx2K5Ocn061XR5Iy7Ih2hjIsh4MQCjAA5Y4ZSCBjII55K0KMPs9AXNKPNHf/Ie&#10;4EbSgK0cjTSSKQUZX3Mc7lHrwwHGMjsOVZyXQktkYYRhgFAOeD0zjPGcc7fpTNq5jVEHkoiiMbcq&#10;pQHjBOWGCOcU4s8khJhCgrjDAMHw+D+isDx1K+lDUFbn/pkKalJxprt/w4oBVM7kjUoVJAMgToDj&#10;q3GB6ZGMDGKBJGI0McLLHDAGUb8EDoAOo4OMAe56YxEyQhpNqZEalnwOcAgdAfSOPA7Z9uYUCGYq&#10;uZIzLwvl5ZMgNt4Oc/KWBODz9BTTcuWC3T/Df8i17s7t37ffqSMcD7m3DKWYMRtdSCcHPTr1qN5U&#10;dSSCCSI3dSVJAyTg4GSQNw2+/HanSMrLIy7gZgEcIfJEWORknjuBgZPBHvTcDJRCgTdtAKoSgx82&#10;c8EYJGTztyfSicle6/plNxjdNXugCuB5EAYF/l2hsKnQEFgegyTkHPOTjBxFvdi6JI6SFQ5LneoG&#10;3puzzlge4OAOPQJbLFgGXzA6KqlgFAOc9Mg4UYHOT0704YJkKZLMqFZGQsnIBAZieoyc45yWxjIo&#10;lKM9ZPT+n9xm+RJKK/ruKN33YlKsSGQbcyIOQoZl6nkMTgZJHA6U0nLKNykSMu4gMQuRtUZHI+84&#10;OBjaTnjNIC5WEEeYMEZT5gcsWTqcHIwfQbu1MJ8uNsx42yISsmRgKQy529MFVzn9RzVqMtun9foa&#10;UkpwbqeWhYQghCigKz71Vm5bggHHTPydOeFJpib2y4j3kodg3AsDkjdtGOTvGMDB2jpmmFNwXcD+&#10;4IlV852KhZhuJyf4hg/7Bz/eMnz5RfKVVKk8NtbBzuAPUcZ47k9CcEQpqKUXs/w0CXNTSmpaP8GM&#10;XlFy4YIpYgZcoAOoxk4znk8nB+peY8pkqGWLdksAdivyQqgDHTr1IA4OOW5QqyhiwJIcIhOzcQDx&#10;153DpnofSpMjb8qyBDhWQR4MLDJAL9xyOx78inGzT5lr2/IOSyvJ3e39fMgbYGZpFba0LFt7HaCF&#10;Zc545JyMeo/Gvl39pz4TJ8QfCd5f2VsX13S4Jbqy2QtK4WMEtHjljlQAMEABea+n1eMA7VOxBsYK&#10;PMAYcZHqBwSRnAYZzUV7El3DLbYDIwYFU4ILgLggHIBUA44/HgHaniKmHrxq0dJK1mu4lycqhLW6&#10;2P51J42inlhuHaEwTmF1xyrBipB9MYx+FFvG5aQqBnk5KndyTg5PtX1l+1N8GbjwV4im8XaVao+i&#10;6zKzXCxr+7tZSA7KRjGTuY57NgYOcj5LEm3zRu2KMZjBDFjnGTzggAN+Yr9dy7HQzHCRrw3+0l0Z&#10;yw5qUuSWnZ23XqQvGpkkhO8OSGBA+UAHBGf89KbBF5k7JsZ4zhY1DH33D2ySf881pI63IQRN5gQn&#10;dGcY5I6+uearxpsmdlEih5AqMUIKDqRj+vvXoRvC1yKkI1Ib626b/wBbmtPp/kMPMeWFpsubcDcf&#10;mwu1u/Qd/XPpVOezEW0RszOoIUp8ynrxyPf9K04JI5NzSq0jMAyEjcOCudx6joTxVZmYSEFC3z71&#10;Cjggn1+vODTU3FWv6nj1KU3U5ZL8CwiSyRMTFgxxGf5h855Axn6j9fbhqzEKsjho3UhFARTlQP8A&#10;AdasyyMY8EgEqCMsUV+3OPrjIxgGsh2UkjBYYbOQd2RgHA/H8hXPOPMrdDujTSqRhLfTfrt/ww+S&#10;8WRwFHlsqHYAwOR3Pt6VmTXIbKrkllOcHOeTuGepH+FV5mVd20Ehnwu3kkdCPX8vSsedn3ruOVwM&#10;FfvcDj8qqnRg1pp+ppNOMPN/1+hea7QAptOdoR8NyQOSTjqc4/8Ar00ZIZoySCMDfwuCATz0PQfm&#10;azEfftwrnJ3uV+6BkCtKIYZlZ90bLgEDBXGOAOnpXV7NKEZdDzZVJ3VO91f7v66ktsAoB2mQuo3g&#10;gORg8D9O3ap5GG7eyIdy54AO0ZI/Pjv2PvTFCs6Kcqqcl1GVAzxx+lOZXV/mCGNsqAuQx9zx7Cqk&#10;/dUrnMvdbVtP6t+JRdIWd96Pxny8MAo9enfgUttEqjcqqsTYVlK9CT83P8scc0txhZGDR5ZsPGpO&#10;SeTg+3QcewpUzgfOMAgKMYXGP59K1d5U420OCN/aJS011/AGh8vcVdipBRhvBCkHBHUepz9D7VVK&#10;GMiPBDdmxkP6e3fFXpS7AJwWUlXC87uM7hkc8ioLiIK8ewsAvLEjlT6nn6dKwi2mmzsqSXtJ3Vlp&#10;+ZRYlGLLISHYZ7AHp/jUKtHv3YUkjcB94Iec49uo/GrU0iSxmPADkcMw2k8kZ47/AKc1VWMqDiMY&#10;2bSepJPv74raNpJ2Wpze99p6JgWEMjHgKSXy3OMgcEd+uaqSRFjI+5yUIdF+7yTxj06/rVq62ysE&#10;CfMoDEEcfd4/n0qK1JLBWCtuADEg5U5wTg+tVFTSeuphWp80nLZN2+ZoW/mNEXA4TkKuGZv8jrWr&#10;ZsCY1bdG/GYxgKMAE85x1Y9Kz7EKd6MAvmZO8rkd9u38M1dhO6R1Ucp8yOflGccf05965qknzXsd&#10;GGcY6fI2Io0eGR2JLsjAsgwSc4BX04B6e/TNV1Y2mxGUszRjLHLcAn9Tj9ajs5jJlWYKqllG4kAn&#10;dyB7dfpT7meJmZThQ0ZRMZYNk4z+OBXJKm3dp6WPRi6UXFJPrr19f63ubFtcROkyECMKVKruGSMt&#10;n049fqBUJRQzyMrNg4KOSyo27sewGM9On5U62tx9kdsfvEVQCR97PAGfU8dac6yTqZGKpIH2uSMD&#10;kAZPuQDnjniuZpRluduGr05WjL+npudHpwG8KrSKpRVRGOCOccDOeldBcWiywm2WQRFYjOQgLHIG&#10;TnB4HB6HjJ9K5/SY0IG5irImWkKY2HB2gZ9TiujuVkhje7MkTJGiF541yp8zaoUqRg/MQK8zENwl&#10;y8x9Rg6TcLxXb8d3+JUhErW6NIdoiG/ay8gHI/PG3p3FTTFgph2sEkLSvsGSW6DHtwT+H41ty29o&#10;2n6f5NuJXnR4zLFKco3JQlc4HAbk+oNYyl4r17fh/s6ZkUptHHp349PrU05Nv3l73+R6UZumkob6&#10;fiW2hjk8iVlePMQiRjyeBhiOnJzj/Gs29fzMRoWEbYVwACMhQAale4KtG26RkXmJVTehDHPbA46c&#10;elILZJ2cMzLG0f3T6g7c/wCHtVJqKS6f8EtVPZu0N/8AgE8aPMBGZtqKSZEbIVjh1APPv+FbdlYm&#10;4ikt1OI4xvDAgFiODjnJ6seOfzrGFtJGwIf5FbYvQsNuTu+uOePX8K04b1kjFwrI6xylVdl2AcDJ&#10;I6Z6VM2nC8XqdeDq1Yu8tGu/VM07GCC1MkEgPll8tKTubk8gDgAjjuenbOK7WztUuwGARpY3Vxlx&#10;FFKMjcpAyMkbTkkdO9cNDmSSJoH+TrJGYx8xYEgnJ4weRzXfabEuxWxuuIndCqfKM/dYNjuMEjrg&#10;gcg1w4ib5b9bH0FGbhGMnov8+p1LSW0jRHEKqkTForchHQhVJwPwGPTiu1sLRnjiuwVcyzCMRiMh&#10;ggVEVVHAzgMOMYx9K5PSNEh80Oyv+8/dh2jMmGxkE8+w/Fa694ryAQQQNMpVliJEYLOOBuQHnnK8&#10;kDIGa86pLllyL0O6WKbpJva/X0PR7CN4Y455HSK3U7Io5H3BSWXG4Y5PbHqetc5q19G63F1PNKSN&#10;sccspMKQhAvyIvBYHI5PXpUt9rVrZWzxJE11dQx7pZiif6KpwC3ORnJwSQD83A4yPDPHvjSDS7Oa&#10;drgzSTMAAzGaWR2JAyOx4yNp7896yVOrOSUddTknj6OGputUdkl/kZfjHxDa2FrGtvJJLduWbYxC&#10;eY+8kDb/AHVBUY+vPIA8eklaRvMmjaXzkZ3beqiIDa2SQeSRu4PHbjIrlL/VrrUpxPemR2diyI7E&#10;DBPIYgjk88j1wMVPLqRSIxRI0ICiImRwoxjdhVr6XC4D2PurV3+7y9T4DM+IpY6cnKXuW6stXE7X&#10;TzSFQXSZkDMdyAKSG7dsEjHFYj6lBE5UgefJIFQ+WBhtwB3HHYHHPoKt6o5srDTreYrzaNqkeyER&#10;zEXDSBdznljhMgn+Fxjg5ri55WumSGFtsxBaSQn/AFanuST1OM/iK9iGFhGStsfMrHe7ZS97z/rs&#10;dOVMlqbkx7GLZRkRSsuQS3vnAHGerCuXhd4rmVY96TTTb/lbbvUfL1P4CpWMxZGgmeW3tiys5bdu&#10;9cDv0wT0olnkjkhkMRdUeNmAjOQPvKrfXuPauiFKPM4rsctTGTdS8Hon3vuv0Og1WRzZaRbBW82P&#10;TBdSK7ZXMksmcnucKOD/AHVz2riL2aWV/kVnlK42q4y4BAwW9MHv9a6rUvOubSxjSHyltLDOo3Lv&#10;iOB/OmMS47sVKMqDJJb6kcSupLFYyW0KKk15Jturkg+ZIoZSqDsFyAxx19eoPTSpPmvLv/X4GFbH&#10;RmvZU+3ytfX5tlbzkilZCxRmG0cbh07ntxjk10Ykifwsly8byf2JfyNIXwysl8kKxjd1Kq8HC9AX&#10;Yd65GO2V598m4oqnBO5gFU849M88Gt3SbuGSXU7a7RV02404Wkvyk+RmUbZsDqUYAjjPHvmuxKKT&#10;g9WeTVxM/wCNDo9Fv6szCBcWX2yWZj5ty8gYAYwgAwT6nPT/AGa56ZyQUQsAzHBVsnGcn6Y+tajI&#10;IYZLWTdGmnyNJLk7sow25AHUsSB/wL25oLsj86MRt5soLSM42iJeMIAe57n2rWNOSTS20/T9Dz62&#10;M55Rpxlv+fkdhYRrrNrql1FGr66LJYjBsDLKsW3dOB0+6u5zx9zNcFHjDb5UKIjFJM4RRjluO3I+&#10;tdv4QnktrrUL2B1B0zTluLtRx5cLt5ToxyDtbeq9ep6Go9U0G31CzvNW0uXdZ3Vx9lg83CmFvmcw&#10;zkH5JMDC5AEmDt6ECoSVJyhPbT+kc1RuVVVKej9d7JHEWixThoYw8iq24SFQNxyc8fXgCjUo2gSO&#10;3ILOymViMBlyOBn2rQsrI29s97IRE0Mwt441BDvJ1Jx3CjJPpx64rPu3aW4LGRcSLs8w9TnH9O/X&#10;muiLlzqMdjKqqjw929V+KL8832vSJ5iimSC4gD/OcxxiNkBHPQHv0z+Fc9p8Uszbd7SGVHRUY4OO&#10;Msc9h0IPtXZaBY2kgub/AFDUYbbRorJYb6yX99qmoliAIraDgblJ3mSQrGuFyxOBS3lhaf2XePps&#10;R/s8XCxWtzGvmSAsSzJM2MhjtHtjpxyVGcYvljucjdWXLUqLVL0ZTtLcm3isAFlW9tXup5CnywGB&#10;2ZSnrjyjk++BXPsHYysVLO6ncACoTOWx7ZwOPeutsI5F0m6vsFIUh/s22kQhdjSHcevsJOP941jv&#10;DNE0hjUSSTQKxTA3jOCpz1yePwNZyrK7i2buio07t6/1sRaVo8t2QS/ko7BXkkYLEg5ZiW7ZHGBk&#10;mu40+6tdIju/7PjRtQggcLfOfOESAYxEmNquflPmHJHIG3J3YUCSQ24gCPJM482X/nlGeOnXjBIy&#10;e+farkENrHkpmSSe3kjkyMIJGTKKoxnsvzHvzjFZ1Zxn8TVvzPQwdNRhGT/ry+RlwmR5JrhvnknZ&#10;trScuR3Y88E5Nd1oWhtfpAjJLJ5k6vOsCl5vnOFRSBnc3OBWBpulvK6M2IIDIvnXUmUgiTcN75PI&#10;HIHA5z9K9vsfMsbd9Jsls4pZCt1reo3JSePSohxukcbtrDzANsWSSVUbmIFeZi8RJVFTgtX+B7OB&#10;w7nUlJ/D59v+HO2srG2tdOu5EtrSzW502G30uCFXkYtK2ctMWP7wiDzTsKrtXABLEV08sFxo0fhF&#10;3sbiT+19MvNdtkYhRqkUc8lsGzncUVraRs9OOD96qV4bfxFp/g/TvB9pqLxaLYS2t/eaif3Etyl0&#10;SZ5ph8iA27QSFMkRqUG5mfNfRus6Bd6h8WfBng/QdI1fxHPYeDtF8AeE/Dpszcav4ou47K1t5o7K&#10;PcSY7jUYdVdgCghDkEIqtjxZRVSo4zd27u/kv8+h68aioxi4PbS3yseq+C28N6d4nuPiN460rR9R&#10;8GfszfBPRLOHwfqVmmpaN458V2VwItG8P3sLEq9vd6/q99d30bK8ZsdIv0dCjYX4y1rVtZ1jxzrO&#10;peJdbvNY1XW9Unvtfv8AUT9ovL+8u5jPcXDhuR5sjlgBjaCFGBX0r+09qFt4a+H/AIF8D6Xqeiav&#10;d6r4y1bXPH3iHQL832l+IdV0gWlg0NpLkCa1tLjVNYhF4mRczfbGVmjEe3xn4zeHYdG8feHtUsh9&#10;m03xf8GvBXj61Egzum1rRkMhRsf8/FtcNzgHcOx4iUFKEpSWib+d9f8AgHr4XFqi1UTackl6JO1/&#10;VvVmto3h57SHUrme9nMGi/Zb2z1RJPLggaaWZItjcOc+TKfl4TZJuGQMfb/h260n4haJoFx471Ww&#10;8N+Ob9Ei8PfFzTWktdG8UIqmN7TxdYgF5ZEwjJqNsrzghlkSUOhj+G7bxJdeCLGyu7jTYte0LxTe&#10;xJ4j0e4ke2k0v7PGY4LmyuACsckrTyAlgynyogwIYZ+ufAegWfiT4ReLpPhrev4ji8FvD8TdK8Mf&#10;ZH1zxt4EtVaSDxRpd3ooHlXtjdxPDdm7t42Ktp6BvJDvXh1afJJPdPf06/M9CGM5oS5naSe/k9L+&#10;l0fb9n8IfiDL4f1nwf4yhsP+EcvNPia8e61my1TSLjUINrW2paLqNpdNkRhYlt5W2+XM7rLDGkwj&#10;a1oHh7VPiZ4R1S88NanL8UNS0bw9e6J4l8O2SHTfjPo8emzu1lqOsaMyFZFtggDz2cs+5IBmQZDV&#10;8r/BL4zeGfEF1LpHhjVLfRZNQ8O/2SbW418W2japuZHs0g3sCHhn2Sqrts8sui71IWvpTQPi7o3x&#10;KvZLm6gsPgP+1D4Mlmg8N+JdEih8D2+r3llsRtBubu3EawNIAklhdsEUyMIpC0cmR4zjRhXalFqT&#10;u/6/yPSpVMY6fKprS23T5dV3ttueZp4Ov/8AhMfDvjmDUo0sUsktbu60iI6fqmoIlvLEZpbVypZg&#10;PIWRUzIxDHBOc/VFpdXvxE8XeF/BXi+XRoINYXUdW8MeL7y136Ppwmsz9ut5PLZXCSnT7NmCruEj&#10;LsOWCk8N/Gj4XfGzwTe+A/2kNPn8IfF3VNWuYNT+M7W93qiatq1xC7WF54ihy/2d7eRYpzdWaiRo&#10;4m3RzDlfPvBXjjWfgf8AEbTfDvxK8OWup6VEtrbeJnm1eLVdJ1q3l2NY6xpV1BIyRM8Y3RT27GNl&#10;fLLmRgeWdGnKUaqVmnr21S0a/ryPew+JxWNpzhUjeSi7Na7aXi/600F0jQU8ceGtA1/TGutZufDF&#10;g/i7VPhvPcG613Q7RUaAahaSSAyzxxEtLNal2eNHicoFdWrhLO88UeF9c8PeM9KMWrXGjaUl2dK1&#10;EQSw6igaZ3uY5XcIreW77sOuzywzEHdj1/x5p3jj4G+LPDXxj8Oalq+heF7vxw8PhDxa5t/7D1p7&#10;aOYy2N0kcjxBpbdobgW02BPbmY+WV3hPQdb8P/CDxpoP/CwvCGq6TZ3Wp3s9p42+BV3HLNfeBL15&#10;Hke+0kSkq+lXjSrPbj71uZJYWLBFduephnTouW04vRbXTsro9XLpqpW6zpTVk7XcZW1jLy6Xfz6H&#10;afDz4geKviZqv7RGq+H59TXxNe/Ca28UzeEvEN5DFbajq1n4ksNZubCGWeNPIG8m8Ck5BRQskm9w&#10;3qHgH4keFfiR8Mvjqj+F59K+K/hjw7ovxN0jXLG6jhuXl8L6jp2mXNy0aqrrqk+nav8AZfNDn7Qk&#10;UOQDFuHk/wAMJn8GeLvHl9o+vPf63pnwb8QFpNbuIE0mGK10u4NlYzqPLUwtLbQhHkDOm0q2VUYq&#10;6Zqd/ofgz49xz6FbaP4zbwdoOi6Dq9xpo0/xXDJrfjDQLySzmkJHmLJb6fLKn2hXIVmIJ3Mo6KdV&#10;RcIyf2ZJ9e7+/V7dbHFiMrcvbU4U1dSpNXVnrKK26rRX9SL4nfFzUbnxL8G/jFZzvZXN1reneBPH&#10;NjDPF5fjSxt511fw3eXa4JxHqUUcbYBfEEf3Qfmu/Dnxz4O+DHiT43eLtM0PX/C3gr4s+FfF+tWO&#10;lRWh1aCz0vxBpWq6J4j0y1KlRLbaVqd8yRoctBbyWquzk+Y/zt/wg02reKfhXrcV5rGtavpXxK0l&#10;NVtxNGl14YthbXmpnT47YEQlZZNPvJEumAknTT32hVV1Nhr3WNe+Gv7Q3gDV9LeLV/B3im6+Jnhe&#10;/t4fPuLuDzbqy8a6XCqkNHBLYRWF8AFI+0WSpjMuRWGxDTU4y97Vr1Wr+9XXqY4zKKMcVUVOP7pp&#10;Rknp7sna3ydtex+ofjXxrqngz4f/AAF0Tw1Np2k+I/hz8LovjLpuq6rpNh4jSw1Pxx4jvbzL21zD&#10;PbM1rY6X4ZuULxv5UjRuApYNXyx4n8V+LfGfhfxN4j+IHji48X6heaYf+FXeK/GHi2LV/iE58KeI&#10;dU1C+s7263faEu52vmvVGAVZBJGQCMZ7/ErxXrGl23/CU30l9az+FdP03ULOw0y2jtYrOx06x0vS&#10;4FjxhBaW1lZwKQyu21i7OzuW+XNN8ReH9B8dGLXtMOp+HdcjmsZbq+tYJdb8LXGoXF7NbXlk+7Ec&#10;9t5ELBd5VlLRsXXDBVs0derVim1SmravROySdttkjupcLVKeFU2k60W53Su9XzuKe/xN+vzOl8A/&#10;HLxTpk/jebSLu50/x58Kb6z+KPg/xDpdncHU0/tO9tbO/Go3AVo0hREmgaV1xItxCjZZ9lfVXx98&#10;I+FfjF4Xm+N/w88O/wBhQt4gn0b4seGtCthYr4Svb+CRrXWY7OMH7Nb6o0McoVSI1urWdRuVwp+B&#10;7XxBpUPjD4r6Rq9rY6Nd/Eq1fwdezfZf7N06TTrKe0NstrIWMcLXctql5mVdrLNGNh5NM8MePPGv&#10;w51by/DPinW9B1K4tYY7sabrM9hYazDbhpkhuxG+2WNWw65VgrJnAKg15EsRKC9lZu66ae8tn933&#10;o7p5FL2ir0moyXvK60cXbmi/zW9mfSVn4b0zWPDFn4P+KWomHR0tXtvhx41gibxRoarM+5tP1MQO&#10;1zYAuJfIlRdyZYeUUfdH5/421Hxt8LPhP4T8BHwwraZ4R8bnx38LPH+9/ENpbxSIsWt6dpuqRHyr&#10;y01FLe0llty+5ZbKFx5bZrf034s/DrxTBqmheOBa+CLm7006rpXjXT9GkbTJdThMj2pv7KOeCJ2K&#10;tgTRecQkhGzcW2+kaN+1tovgWObTIPGH7D3i5NTY3XiXQNT+F3xSiPiuWBY3iL+GrvTLbRLy/lIa&#10;VnYjfJgrc48sL0YZzqtc8mr6Xtrbz7niYuc6cp0vZqWvNyt2Xydnvqtvlqc18RPDmnfEjxd4M1Dw&#10;TpHhXQJbxLO+urrQI5dO8I+Kb64tY7jUI9NlkWO8aCOVxmJA62s63wEgRmdvGvF5sdf8S63Y+HF8&#10;P6le+E7FGn8VpNPZ6vf21tIbdZiYXMd6GKylTNHJKUKSCYggKvxx+Lt544TxB4e8CaPov7Mq+Int&#10;tG1XwYPhrrthc+Prd4rd4odL8YTz6tfwWV2Q6/2O1za2oi2RyPIreWvnI8f+Kvgz8H9P1fxrJpnh&#10;Dx+njS7sfB15pbaV4in8W2cO+31LRr+2dJISLNTDLHNIH2CZQy7pkC9Cp1qcZezleLfyt5f1ueTC&#10;Eaig5R5ZpJct7vXrfrbyue/fsfeM5dW/a1+AumapYavBfXXxp8N2mzTrl7pobebW7VRcQW4Hl26y&#10;I0isMdEkZjgce16L8R5vFuma0nxA1DRotM1i51D4HeKbiyleS20si/v73w5b3V86sVayNpeyQxoz&#10;RGWZkaQeWGTyj9m/9sO2+IHjfwNZeMfi14g+FOqeGvE2neNdO0PToTovwc8XXWk3UN8ItQg02NZr&#10;diYY/LDW15C3mv8AInJb0Dwv+x78Z9Q/Z5+IN94T+HU/x01DXfFFt4l8H+PfgR4m0/4xaNa2enzW&#10;k8syW2jXk7meb7TqETW95arOhDEIhXJ9HDUalTDf7PeUruX4Ws0rnkYurSoYhPHtJJRSu9Piu3d2&#10;1t+KPefg94L0vXLzxj+xT8c59P0nxBdvF8QP2UfjrIXW1OrX9vsaG5uMEHStZhWw89I3P2S/R5QQ&#10;WJT56/aCtfEvhDwV4k8A+ORfaNd+E9TF1r1hq8rPPpbwStDfyTJsXE1pGZEbYGDJD5gkKyYX3zwN&#10;4w8e6d8OPBulfFr4Y6vMfCd63g/UvDPxS8Dar4Wu47O+ilu9K1PS3kS2vbWWOWDVkeSA8GSJZVYR&#10;og3v2qrxfilpWoa5Jo0/iPRtC+H9rpuoeIdTltLPxrew3Sw2NrY3LqqDU5rV5DapOyCV4iiy7sR5&#10;xlOhWoxpTThUjbTbR6tPvbo+i07G2DjicNjXXjJTpSe6d0px05o9FzK3MlpfXufzr/tCfCf4l/sz&#10;ftB/EP4T+M9AstH8ZeD7+CPXo7O8OvaHrdrqNpb6rpd3azBzFPaXljewSRyx7dysVcLJG6p5b4Cn&#10;msp2iZEjZTxE7FWZd5I29TtUgY7AR44xX7pftR+HLH9oH9lHTfGL6Q4+Mv7CWoaL8LfEXiCW0Ntq&#10;Hj34O+LL6W08IXM0jMWmuPD2v3I09VwzLaazczEs7sU/HLWfBGo2c8Oo6JFHLcWD+bMGYK8sG4Ap&#10;jIz94HA59OM15PEFHD0pf7Gv3VRKUW97bNesWmj9q8Os0q4nC+zxtliKUvZVGtm1ZwkuynCUZJdL&#10;26H6C/s+69qFrPaGWCRllnRjMpwsectlR0BO0nrxx07/ALW/A26sPPAdla7eNCjIVkKLncEKk8N0&#10;5IGQVOMGvwj+BV0usW2nTxySW8iTAMoygXa3zxsOu05xyTwx/H9fPhpNr4tdOutGa3tr6yaLzZ7t&#10;22yw5Bc7gMq5wcde3AAwfzeonTm503otdOvc+9zzDwqy5k7S7/r6H61aEr3en213LiCK2iVJPMkk&#10;R4CFQYUjGPvE5A65Oe9XLlbhbDJuJEjgb7MvnnY8sZw7kfw43ZGTzjp1IrzvwjeO2nWEcrM/zKks&#10;JBkdAytlyex+XGT616xcWySW5mZxNbSRJG0RPl4yX+Xrnn26DvzXfTqxxFNy8r776fp2PhZv2FZc&#10;+qvpp+Cv13MK7s5I/DuqNaqDLb2Ja0MiFd5wuHI7nDMPyOONp8q0M3lxfRRzzQxhyoSTcIXXAxjG&#10;cDn+h4r27VrlIvC/iK8WMPHbaNPBDCM5kKR4+Ug9SBt5B++e+DXhx0zUzpWm6xa2CC4bYEiWQyzx&#10;7sYDNgcd24yAvfivMxdT3rU17tuZpdEmj1cnxCqRrKto3JK76Nr+vmdzrsEt3ZXPCm4kniji8pcb&#10;do+9gdhux7bgPrq6TZpoem2bqwWa4t0e5VR8kjKNrg4ySB8vWpJUK2VuHMW5ZEkhWUHLOW6HPUcc&#10;/WmWl7HdWMDSMjNLDsig+fdbb3kLK5Y8AHkccAiu+CTUqke2l+7OOpOTjGil7nNrbtb/AIBxniWU&#10;XFrqjLvUwancTRKIgYoUwzovu5UDHfLfSuf1CZf+Ebgnndyn2ZoflYgFtolyFI64xgHOCp9RXUeK&#10;ZJIdJeQjzZJLsK0UUaqZCuEJc8EhtyY3DsOBk1i+IVtrfSY90AVIbozrHuYQtJ5ZUMc84xlsD1PI&#10;xW0Yt1Iu+p3SfNQ5Veyv+Frn83X7VyWifHv4jy2do1nHc641z5JIATzo43JweRnJIHXkeua+e8JI&#10;AqFpQmCqlx5ZOQF425xjGCD6cHPHuH7Sqzr8dPiiJ4nZ4/G99sScL50KGXdGGUfdIRlGDgjOMDBF&#10;eHRoI8SuoVCR5jdI+2ehOAecA569OK+ripOmoPayP53zLkeY15bQ5pfemxwVSApLEiQMWYMu1t3O&#10;BkkFc46nOM8VLCyh0ZGkOZCCcsSDtePG4Hk/Mp54PzDqOId0jASFFjlMeFIUYkOeA3AAABYe+0ZH&#10;XD3kbcjYclGOY2f5hu+c4HHOMNgDoOBitXTadjy4SjKpGCVmra9yeIAcKr483zcEjawIxyOgG7d1&#10;z1JqwVbChTMu6UgBguPvKSB3Cj5T82TkNUOVdpEXhw3Cj5mAVvmxxyMumD06Z61aADx7QFUxrhlY&#10;gnnBz9MY/PvTlO0rR2X/AADp1inyK9x7blDLEc5QbXcEqMYzg45AIBxjqvYE5nGQvzDDgmR2bny1&#10;Pp/noelUxs5fChiTtyCHysbb8nuQB1/2T3qzGjBCWUMgjaNgxbGdytglif8Aa5/lk1O/Kmv67GNn&#10;KaU9rfiTgKjASklWQI3ADAM+CV9xtxjjGR+D9qFYgPkdnZMj5h5ZAJxx044JHGQcdqhUYkZS/mtG&#10;cnflUyQ5254ypyevTH1qykhXZLGvzO5CoSwjA/iUYB/hBb0/mG52bsbXjJpWJZT+8DAlUJLE4X9y&#10;WIUk85z8x7HO01IqJJE0jsGXy97ZQrj5C3Jxx06Z/h49arvG5JjkEY3xLkHClUJYKMjthSARn7hA&#10;rRjRvKZFB+ZfLXymIP8AFggLznH8Q5PHPQDOzUEl/WxMedyfMrWXy8iP90H/AHjN5qYyig7wCCVG&#10;fZmB/PpUUokDfKS537DC2X5+XBI7cEjgc57VYmCKyYCI7NuY4wp4JJwM9fQ8gk+mahASIlV3eZvB&#10;ZXI6AMCcgngjkc5G7pxTbc4OUSXdtpvXT06MZKE80YSZXYeX8hbjOcn26Y5496gDhi5IZtxAYZ2r&#10;g8kr7YP5j8KtyMFUkoMscRhcgjc2Fw2O3H5VFuKyKGUPsG9gQF24HAK8njLce1EY8sVdilzc91vv&#10;+IyRnK7QQyt94K+0omDjPr8ykccYqFwhXYFWPIKx+WFURgrwxXHA68KD2/CYlSQu4j/lp5ckY8x8&#10;gjHXqcHj2PIFRMuJRhVYqAVfPO4uR9DgEqfw/BRb3cbf1+oVIOavHfS5EsjRknYV3MrPG3ypxgt0&#10;4yAuMDHzYBxksJN0cZbaAqROFiWMsVfaqMQ2cnGVyTn+PG3HVVZfLfABLE5DqyoAADnAIGM8nj+H&#10;GQTmkBBUOy/vUbazqAsiZPHyk+oODnqB9a1irXktxQ/dxUlo3+GoyRYxI7sYwVB+Y5+cE8AYOQSd&#10;hz0JXpSO6q+85MgLMHZztfcASpIzzwB0OCWHcmo5CG2xupRkkEihRhQCrIMD2/unHK5p8mw4DEjE&#10;qr8qfaBFkrnp02/eyDj5QcGos7Ln+IUle8oyvLf/ADGENu2xhlBbCrw3kn5CVPPBKvnvx1oZv9bH&#10;EcShSS7/AHsHYCcZ55Mf4An1phjEr7SgJMZJZEBSP5drEgk+oAyD/D0wDUmcOUWLcGQhAw4VCQGY&#10;nrwPlPqD7Crp8sb27fiF3ZJP3n+BIgQhhIsm6T7z52knk8cAY6/41IgjRgGeYHgkjIYZ5IUDsOFz&#10;7dT1qAxqsiyRjaUkYjPO1f8AYOQMkAk+pOasZKF3A3PIdpKDoAPwHIZhg46H60KPOuZb/k9Bazdo&#10;dP8APctRgqAwUySSr8pJwGG444AwCMc5zzznB4sgHcyHeF2hi+7AfI28fTJHXqT71SM6BCxLAFsL&#10;tBULk4OcDp0BHBODVmKaMx7eFXBidiPkBIJwSBnvzx2Pak48r975GvPGUkrbdO5P5e0Zjd1iDjGU&#10;IXpz2989OgpwYsm0gnaxG0jcGAJOQMZGCTnBpu3zA6oGIZQuHGM4xzk5+n4cHvUyoEAjVWAQfNtB&#10;54Py5z7H8MntUxbtebISjzWSsTZVgwVDgRlmQoWjQdGb05OeT/dNMjCAlivy/wAS5AUErk9+o5OA&#10;Ouc45FEStGD8xaPIUbc5IIzls49ODxjnrUJibzAN2CTlmOQ2MY6e496rRrmvqv8AgGtpSlGcNPUA&#10;ybo1k3b3XfCuAxBVmGfYYIBLDGWAz3Ld+ZWY5dSSzKo4U7ccDIz1/wA81Ow2Rs7OFKLuZmOVTkDA&#10;59v55ziqyxBW3EFWGTuKg7cEhi3PGMAjjn6VpFxldtdjnnCbUXf9d7fkPkcArIEY7kUFjnerfMp4&#10;+gUjPOR70wuY5AsYk2tGVcr83BznHPfP5U/ypB5iH5lf/VOTtGM43EDn+8OecE0x2yBGiMFVQxUj&#10;DBQoJPB56449DSktEl1/DY1i3KSmlZtb/wBbEIMRLIrMru21oWkOV3A7sevQ9MfhmpDIpYW+4yMz&#10;iUt0eNMspBPbPy9/4fc047Nysijy92QCu0MRwy8DuM9MVGsLDcSWzJN8qZxIpIz7jAYHn369QXKM&#10;HTi579hVI1JPRXtbfsJ8q5IPzkBS20soYE847dX9ARgd+UR0BKrH8u9m28KQOgyfw6cfyp0ZCqu6&#10;Jiuw4MjmSKVyFO0Z+npjHqTSsqu6rGGfcrbguNqng7e5HX/9WKqDTk7ITvN3W/6f0hjNGwR2XA8w&#10;KNo3KCDltwx0wOacJFlKyne4ODgABc89D90A9Bnvio3yiOiK7YwQy/eJG4fKDx07HPTqO7mMnlNO&#10;FZJMgsVTJjHAOcdwF7d1x2JEwlFxu13+Q4yV5U2rPcVmdwpVXYMW3KGJXjbnJOcAZP5/nKrhSjbV&#10;cREK6su4AhQTn2OOnTr0qHLKx2qFwrZOWYgEleB2IIzn6Y55pxUR7Xwhd8LKoBGRgjqevt9KObmj&#10;dfImpzOVt7WEjLw+WrE4SMtlyC55C5J9vfvQuAhIddjMT98cAHoPYZP1z3pWkkO8RoXKKSyMxVHY&#10;8rnvkYC9OfMPoAYzIm1tko+QlhHhskjJIA7gYx07+xq+ZqDl10/r1BNSioyf9XJisKgSuGcgtgN/&#10;rVKkEH+9nj8/fmoGX7v34/l5x85x1BUbegyDk469T1KEEFwvzMGDK/ADHAAGAPwPGAO1Mcl1PyeW&#10;zOGOSWJOR0B4AwMADA6nGSTUpa2b001+Q3e7dvT1Q95iGI2lu+5UUqfpzRVf514MeTjdlpdjHPPI&#10;z70VL5U7KQ1VxvRf1oER3gb2RW3lmQ4IGQOh6++R0PscGXzWjWMkptAYNuHmliSCcE5wM5IAGcd8&#10;A5R9hYAghUTcMuOAo4BJ4AAXGOPYcUAeaytGHYkrkkfOTtDNIcenK4znkcccZyu4pM5oztdrvr+A&#10;xVHyKWBWQ4UEkANu6n6cY/zh+wuPnALbDGu1eO+c5B9T17GnjCfejEeGJyD90YznPoBwee9Rytty&#10;pwoUMWBJGG6Z6cDH6gVMY2T7s0c4RSbH4c+WYyIm3LJvRPnTpyuehwOMYppiZQAqgsE2fIwjyqjA&#10;HsRzxj0zzSRj5fMDEOxDFEfJOEGCM/w4XOeCcE81E8hyXJMuAI02vkIBhgCB0J6Z9uuBxfKnJxSt&#10;/mJ1IxT5dEwRYwoi2KASybzxk45HHsB0wevtTxuQW4UedtcbZBIFVUOCQTjPTvkDg05UCswJYZB2&#10;uFw+GycE5yRUkUiPGq/xZUSeVHs2AsQDtz+PPp9Khc1+em/UNJ2b6bleNxCqF+UVBuL8Y6gZ75YE&#10;nP1pwDxqCdwQy7TH74yW6ADoRjHc0O5x+7YSpuwhC5DknC/LjptPXvjvnNMRMr5R3nYN4LZKD+EZ&#10;OTk9snr+dElJr3dHdfOxp7SD9+S2GA+VHI2xRI26VIlckOCxAyDxkshOOOD1ORTyGYNHEQDANqK7&#10;EsX2iTcDz8oyODjr6Uh2eczoBuK7gCNsZKkZ/E7vwO78ZEjcF3CtG/Yht5fjaD27KF+iii8JQXNv&#10;/X6lapOcfhtYTa53KPmRlwVdjuA4GMnJzgZOcgkcAdpFBGxo95MqqhOdxBBIznjGPqfu9ODUavvY&#10;kGTdH+9jA/dkEL8wJyc/xDBGBxjPBEqxbVXe8i5OGDHLR4AOQPXHPJxwPeldxWujenrt/mKNRxvb&#10;d63G7Y/mVXBBkJDHO0IFbJP1K8deWJ4HSNt27ZkRqCJDMp8tjjHO4foSeCTxjIpzAuZX8xBE78MC&#10;fm+UJtz0GMtwMdB05BYSgBhSJpfNbDJhnVsryT1A4HsOOOwM2lz+4rlK71a11ZIpVyWKs5SPh8bi&#10;GypI+nfOMdPwTKuU3A4MW4MO45xwO/foBz2psxLIksYXICFDyqsPlIYY56N06npmmrvYqfuqYxEG&#10;DhMdVLMOM5I6gAZDcAk1fKnJvqc8ZK/Jbfr8xx3ICwIkIffJGGxH8pKc5zkADIAP585d5wOI/wBy&#10;oDLIqSKGUBCuflI5AG3pnjjFRugiVMsWRgd7bAWQBlI69MHnPtUEkjtF5alXL5YmUb44+CR8oIJI&#10;6YyPr3pxSqS510/4Bq2oO3dFgncXyiKjuWHQknBOT6D7o+voM4iYs5VD5piQNtEfCqBt4YeuSTwO&#10;iknORS+Y29ghCBvlw0fXnGB6fL6ZPAHpULu+NqorrsYIoj6H5WQsScnA9R1IOeKlyjzKy1/4BSUI&#10;pRe/Xz01HiRxIu0A7XJ3NyxPRiOwBGOehyT0waZGVkVEaRV8xlyynK5yBhTgY6nr0HHrQrHMSiTH&#10;lurD59xIGB9ecEnPGeMdKjVjF52xVlCghFDAFhgY+9wCCOuRwe1E4WV+v+RnFxXNF7Jf5DlkZI4k&#10;BDSR5+YkLExz0z6DPXjt9KVQJwjAxgs4d335J+ZuOBu4KnB7qVIwKbLMGYFVUK4JjaNTtA9cEEgH&#10;JOce5xzTUWRU3hZApIOWGATnkflt45PTk9aLRUeaaHdrWHZfchWYZDBlZNo24YgEDGDkdeR/L0yY&#10;Wjk3GMmFiS0Skvkqp+VmU4K+pweflB9wqhF4ZQuCN4UbY1ycZC+7Enk5prIwkMag4TjIbcGA6YPo&#10;fn5HGOOnQvy77/1/mNJKKcbf8OIzKA5LSuq4G1QdigKoGAvAAOeAePQcimDP71V2jYcndjcRlQD7&#10;YwB06A+9OEkgUoW2bpFCgnazMdzEntk+mOAv4lvzpsLkECMK2SSB0Dg9yCcn0564wTSSsppl80XN&#10;OWzY4ZTKfMC0hzzuKHC7gwbr93I6cOSDxio90s2UVthYgBxxuILIclieDjIOPxPSn5wcb4XBXzd0&#10;DHe+3IHOMEknHpwvYGkcMrKE270bmQsDtAXA2Nk5BOBnqN2fapXLJpy8mS4QjHbRKwiSy5wSUWFG&#10;eRvmLAOSRu9MAnDYHCZ4qQ+dKVLFQzBhuVzgDOBx/wAC/riogWDkM0ruWEaRk7wOgbHPHIxnuDyc&#10;AUqZDkvNlHBWORVJMR5BHUrj7pyAACDznpUlzNS6hK3IrPr/AF+QKCWk8obn4Kh0DeYp2rtYNg8h&#10;iBkjODkc8SruByMxqqbFZiH8wKCu49cnqcnOT3NMIDMCoOJVAbB2MeTj05G1jj/bz2wBXjYlVDfP&#10;kn5QPK+XLA8noxVTnHGT2xSSjLVf10HeM201a3fv/VxU3HGMyM8ZwSGWQYXOMjjpk+gI6c0qyo0b&#10;bmy5UuQreWVBAAxnIyefYYA7ZDll5DDaSqlFcSEA7SwyMd+CM85HTpSMNyskjMDIPKCkg5ZlByCB&#10;xngDnOfqBVSjJJ8y10J9o3C8X8gTpGsKsRt+Qh1MajIGeQVH3QPlHIxwR0QsCFCgpyWZOWxjPP3h&#10;+uT8vQgCkYgSyhpMR7R8qnKAgDj/AL5Ksf8AeFKqBlkCnY4cMwI4UOWODjnlSCOOAc5GAaWnOm19&#10;3nuJuXMnS6r52OA+JHg3TvHHhjU/D2owoba+tWiiuHIeSAkbYmTByGUgY7cenJ/Dj4keBdS+HXif&#10;UtBv7VzGJmW1mmz++jz8rD3wDX9AZURfKo3Sg4ZFBZWLKPlycbh8xOcc8cDoPkH9qP4ODx9oCaxp&#10;1sw1rRYZJ0Krte4j5HlspGG5BORnG7Bxzj3OHsznl2LjSqN+ylv66aiUXiVyfbW3l3Xoz8hbVCgD&#10;AhXZiAC3Hsa3IFZ4ZA56nKE/fHbI/UfnWXLbzRSPbzxGOaGV4gsoBKFTjIOevXPQ9q2ImMceSC4b&#10;EbBeeM4z37jgfQ1+pScXZ9HqjhpOKfLs/wAkLgKwZCA2zO0fKMjjnHH8veqshbeZC2x1ycYwDjv+&#10;OeMeh6cVIjFp2xkhmzsT95nPBA5//Xjtmo7oMfLMbBmHUH5T7Ecf/qom+W3KzaFNO0n03Kb3KYQ5&#10;Zz910kbCDJ6ADtzj6VXkum8wEYAHyn5sjGcce59R61WnAeYg4VSitgASFjgjt74NRSEK0YZlYBQV&#10;Q5VmwQMEnvxzThTfL57mVWop1eW3XR+hDezuwyd25Tg7FzhTknnJ9vesgNuYkZcNyTn7oxnj6Cr9&#10;7KAuFC7s5YjGH6DIPr1qhGpLoGXcN3JX73PAz6jA61vRS5vf2OfFTcot2fMW7aFRGzs0m3O5QCVL&#10;Y5xx+f4VcY7FAOfL2btwHCDtnHfn8qVWCKEYE7V4ZAAOvJ/Tp71WHmSS7UBdWY7W4OM4yPXjFNqX&#10;M13OSEJqCqWvdfdfT8S7AdiSSEAhl4IYqE56Y9z2pkuc5O7IAIz/AKtzgAY/zzWpa2reU6nDEqGf&#10;YnBI5P8AM+3NYzboy6ncyxyMoyc/dxnA+oBqYTtt0LqYdci9otU2FzE5COWCnOHKnOR3+nQ9RUAl&#10;kikAiwVJCsxYYw4/LnIz9TV24cGGMxq7CRSd20hc8Zx6deRWaUd0wHOQQSGII9sfQev9K7KN/Z2S&#10;vqfPVk1Utrs2XWYNGwVgcruyCQfbHsD/ADoJZVUOwb5dwBJwuMcAfUD8vaqTP5TKqv8AvR8rKvU5&#10;+UjNSrIsaKXQ8MQcrwMn8u9c8lyTs9r/AJHZSk5Jvvr/AMAqEGWVjtTy8hQGGQCOT0596HDbVjwF&#10;ZAZA2SB7Y/z3qeUyLIGjYlQw5RdxC+pP4UjRqSZk+bBwuTuzzjgY6A/lQk43cSqk217nezZGEzLD&#10;I2WycAbirHoTzU/lAEFoyMucYGSSecn8TSBneUIykAZQOV+cdDke3+e1JulYeYmSQwCjGOvBH04P&#10;HI4FVKScrNaHNU5otyk9b3+6xXSRgccgAFlGeF65HqeM1oQlt21mRG3BljPbvhuefXjHWqwi2Owb&#10;OVcgr0JPPQ/0961obcqw3Z3BN6JgZY9MkdP61lUfVbmdDmjK71i7f8Ejgys+xVJGC0jybU9cDB9M&#10;YOTU0wBVj5ijYMMQ251xgHPqS3P0I44JqSVSrrsUL5kZWXPOTwB+HPP0qv50YU7iJMjIDAHdwRyP&#10;fPT1NZaSiubc9G3s5pR62+V+xqWG4w7JNzMzLlVyDjPBz06gfnWm9uGlMS72ZV2tkZXB6An8vpWS&#10;1xJEiSMjEsQGwvCknt7/AP161beYsofaQSV3EHcTzyODgcCuSd4NOpt/wxtQUebltokr/Pc3ra2J&#10;kj8ojdKSWVvlVSApyDnHOf0ru7OAy26BmilikOx4ggYrtwclecdjXM6cCjrINgZE2ozHPO3AGPYk&#10;EgYJ5AxmujsrW4tbVb6dUaFpnRguMjO1jnvjkdsCvDxU1KfS3X8D7TCSklaO7tb7v+CaSrbxXjFE&#10;l+zBBcR+Wn+qfAJyOw656HA9CappbpcRPcxhZrmBvMRz84ZeBtb1GADzxlSa6fSNPT9+4Hnh4t8M&#10;fBQZ3E7ieBnd+WOTVCGI2t/fw20YRZUa2mSRQRGsisFOOi4LjBPfv1rCFWCko36fjoelWUXH3dJL&#10;8l/w5wl1dxi8+zEpHH5O9jn5Sc4xnr0PB479OK0Hz9nQlgWLbYzkhht2nnHvurnL6Q/bXikXJhla&#10;MswJVGAx8p6EEDg57DGc1qxOrRwwAlUEQk37icH5gD7nk+/J9a7HBqEXvc8tVZ+1unqnr/XY1YFl&#10;kYRHOIzsBjOST/Ic4GDir1xBEgW2MchZgGZVIC4688ZySO3XFZFrdXFrLJACZjIm4yAbAWB5I9/8&#10;frWvBeI9xHHcAh2G1znBU5zk8duox+tZyjJK6/r+me/h6kp1ot66f0zT8tBGkKhhK4+5GOoYM2T7&#10;AdhngnpXUaXFMbpYwwXlRh3KqzEbcc8noB1x/OqNr5chiCSBJ3lAMkjlsDG0gseeB39AOMiux0nT&#10;JbkLiFZJ0uAWRXxEQxyQp7AbcHuex4yOCtOK1Tuz2oVeWHNUR1sF3qFskbBrQoPkkTn5FHI5PTO7&#10;9K7bS5dPaBZpbzyZmTMsaYMhVVBOMkYB/qa5iDRhgwxwtIY7fMqMNkAkJyR0w3GQe2cD3q3qtnJb&#10;LCJF3W4QGWbZ5CAHnAGenoOSPXJzXlzqWb5O/wDkd0uTljBvT+v8zK8R+JbO0snisdiQbWkuJBIZ&#10;ZJyDw248bckn17d6+I/GHimXWdYnZRugikCRSc7mcjlj26r+Ga9K+KvjGO1A0TTR5C3O55ZFcO5j&#10;GRsyACDkjrj9a838P6KLbTo/FGsRotpKGOjWUmEm1uUPt80qR/x7owO5/wCNlZFJO8p9HlGCcYPF&#10;1Fvsfm/EuZqtUWWUJarWSXW1rf8ABKbzzRgq4RCTGyxuCsihz8pOeQDgHj1rP8TLPb3CtHvlkvTF&#10;9nUfM8nnKqKwGMZyGXPOdtbpEd0t/cySefcYWWSYMN20Eru9uSMn6cniqd/OFPh3WXikli0m48hm&#10;aB/sd20b74tsm3Y7I0wDAEsFRAQBtr6LCwSqJNddfM+IxdZqlUi+6216oyvFjKdevoY5FljtBFpF&#10;sgyE8qxhS1MwOf42hdsD+8B0rnbWQySm2S3Eit89xNkfdVgWBz2HHOeOlXJ45Uha4J3PKxMsk2WL&#10;5JLuzDuc9MDtWsY0srhLKEKkkSKt2FcbQVQSOrtnsBzzgHj69S5EnJrrt92py8/KuSelkv8AIa/2&#10;aJmVJg6wblGM7JSAcBRgcZ55rQ8PyyT6b4lkmt2Y2t7YXqyGTdJIY47iMRLwM5aVXbqAIu2QKr2d&#10;m+uXdzb2saW9tBAbjUL07jbWEKugeaVlB2Ku4DOMElR1IpU1ayS5m/sq1kutDgtZtMgecMj6lO6v&#10;H9pYDgPyCqjJQoB1yKnklGN110/IupXp2cW7Na/oUNburto101X2wpcTz3srMFE1y+xJ2IHHyJHG&#10;gA+6MnuKTT/BBmhg1LxPqkXhjRZg0lsHXztd1aEY3SWlpkNsY/Ks0pjjPzbSxGK0k1fTtA0PSJYr&#10;KO/8W3VmY9Lsr+L7RaaQjSyNJqE6H5XlJOyOPBRRCrPkhRXJ3+o/aLl7u8muNVupnE93d3EhkNw+&#10;OQpPJCD5Qc4BXAwABXXGUlG63v8A8C556xGvLDRW19dx91JbSPDZ6fZmNNphhjZzLIg4bc54Bcgc&#10;nGBg4A4xzNzKbeaW0sXOx12SSMD++bHIUemQNv51pJcXEcc04RB9pha2QhA5kTcCy78ZVePmYHkD&#10;BOCQcppmO1gUNwmX85SOWzjYPYDPPv8AStKcXztx1ZjiZt0eROybRe0aNru6WG6kOLZWvZFbhHWC&#10;NpGRz68bF4P3wM1hXE7yTPJllaZnZ/4SWzjB745/Q81Z0kyi31Z0/eLJaSb5WAaX5nRBt+vQd8t1&#10;rotK0WCGyGs66Z10iOcpZ28bGO812VQA0FuxOVjU7TLMM7A2BlyAOjmcdHq9Dzkotp0ltf8AzE0q&#10;0jsPD91qdyzMl7+6it1cpLe/Z8Suo9VBKqSOnrnpm+Hr/UotZmNvc2tjZSRtc6pFdKj6W0EZDsjQ&#10;tw3RcJ97OMc4NdZql7vutCaRI0gtLBJbiztl8u3Q3ReR4kAJACxlEGewXJJyT5/HaNcT3LhSsUM2&#10;+V0GVk4ITHoCQOPahVFJtv8AroXVoz5o04P3tNPuO/1K+8I+JpoGinuPBj2kH2K3gu4ptR0FwxYm&#10;Qyor3KNJhS+9ZcFRhgMKvHXHhDXWkkl02C21u0h+YT6FeJqixqSPndEPmIAHH31XHPocVp7UIIyh&#10;YKr5ZZOY268jI46Hjv6YpqXlxYTytZzTW9yyo0MtuTFKjdASw6YAGKItQX7t/wBaG1VNUVCp0t/X&#10;5DYIyUmsIAAqciRjseQpjePqSD/nNMRr23SQ20jRMSQ6qxVEUcEH2OR+VdF/aMerfZ/tatHebDDF&#10;dwqscs58ti7Sj+Jicjd1571paDo8us6hFpVs1v50szG5u7uVYLS2RUJ3zSN8qRoAzMzYGBzXMpzj&#10;KUX5sqdCFakuX0v17opvdSvoelaaLqNxJqk900K2iBoozDDGrFwMsfll4IIUMSOSar2GnXeuaxbW&#10;VpDJeS3VwLNY4EPnsx9D0xwSeBhQScCu6j03T5vD1/Np0MTy6DrUYu72RnA1SOVJ0Z4g23bFG0ML&#10;qpUOfOYtn7qs0u7tPDuhfZ7G6in8QeI7NzqF5bxHOgWk7lPIjkxxPOqESOPuRtsDAs9ZOonBuK1H&#10;Tw8qkIu+/wCWmpn6rMmnWM3huwSzeVLg3Gq67ATPc6o6gBbaGQ/dgiO4/L/rWO5sqEQZGlWs13Nb&#10;W9tHnehluSp4ijUkMSWOFHXJJAAPOK6b+z0+zmN42ygZhMcAO3ygBj1B5HUmk8OWQujqWlPI0dze&#10;MbceTHuNvCI3yTnvuY4HTGa5lX5YO3kevHCRXJTtq1+TOu8JRaPP4g0KSeCC48P6bq8N3fyXMnkw&#10;XsMEgkeQhuRHIE44ztfpk4qjZP5kZM0otrSGOO4ezaUsbqY4xJ0OSfnIOOM8AdtNH07SNOsUgsRf&#10;NfaFcWu2aUxS2sk+IoGXbxuiZDIFzzleQOjtH8M3+varbWFtAbrULs+Va2yZiit84AeaQlURFXJe&#10;R8KqhuQBXC505XqRej0/4J6VKnKlTleLUlbbb08+59OfBt7fxxYan4E8NWRtLfRtaTx9LPq16um/&#10;bYNM09I9TvL2dibe1tknj0pAjMfkjDMTI3Hu134ru/h34n0/4UeF/Fz614h1z4e6f4f8f/EuzmK6&#10;pbQatANZm8O6QxSGSx07fqBF4X/0y6eaUSvHG32YeMeE30K18O+L/hZ4C03+3tW8R6HNp+ta0LQy&#10;3VwukXmn6hd35IJFvpwjtb4EMUDBN8m4mNVueDxYav4O26NeaddfETxZ4q1S2lubmdodQ8PWUuk2&#10;kh1i/YgLHarK10xkJxCLdQ3BXd5VWSblTpXS0V/LRf8ABOyFBKKnN3Svf/Fa6f8AWhifGK48zUfg&#10;HoCW0Gnx2/wb0jVrjTzIJBbXPiTUtU8QQrKDghvsmo6WSDjgD0yL/wAbba/sV+F+iazq02uXGnfB&#10;3wwVzCsEOkWklrc3tjp0SxgExR298GjZssy3SuWcMprD8aTP8WvjXdz+D76aW18f65pHhT4cyXsk&#10;Nlbro1mtvoGmzS/dFtbi1sYZ3uXZFhhViCACy2fjH4tt/G3jHxN4s0OCE6FdX5sPBwWD+zvt/hvQ&#10;4bfw3oSRwnAVWsNHspFR+VLPznJrprSjTpQafX/P/gI0wk6iqThNaWu/X/gu/wBxL4L1O18VXd94&#10;S8R6nZWZ1aaG08O3dxOLfS4JD5cMdtK2SAjjy4g4OFKB8hQxH0n4X8CeNvgt478Ha9oniTUPCer6&#10;D4iSHQvFbyHTNS8GXbbo5LXUfLG7bkSqXZNuGXcm1yG+Q/D2kafqF+8V+yR6PFbf2yY0tDLf6i1s&#10;iNb2cKgH55X8tGZjtRNzc4Ct9j6d+0HN8RPCvgTw5420fSX8ZaBcReFv+E1Ms9peeL9PWWT+zbTX&#10;OfKmmsA5tIb0FZzA0Ubl1jVk8es4zi5UdGnf5H0NDC13yyp7NWenk9fNH2P4c8GfAX9tvVfEXw+m&#10;8O6b8Av299CvNTt7eE3Vl4V+CP7WV9bpIr6fKogRNC8WvMfOtpiyadqwQrN5Us3n2vFaTFpHjHU/&#10;DmhfFbSdf8Pal4I1Gbwn8RdOk0Se68VfDyCyu/srLqVi8aSzpDMv2SWNissDRYKnBA+aPiKsPjbx&#10;W/ib4fx3yahYS3Wi6sb6b+y7a9vLG5khNpcPCxlRc2kbwXS7TwnTAz9afEv4geKfiXpPwX/aV1rT&#10;54vid4/sNY+CHxov5I1tV8Z+IfA66PBB4geRYhGbi90fVtKinZ2/eSaR5i4fzN/BjZLF4b6zH+NT&#10;Sv5rRarv09D0MqwNbC4pczfsal0u8ZNN6f3XZ6dGktj7a1b4w/C/V7jw18Gv2hr/AETxr4X8L6La&#10;+HfAvx8+HngoXfxG0rTkhi/s+w1S6E1vp+t6fZC4Qg3McGpQhbiOO7xI6t5R8cvhR8MfDUfhyw+H&#10;/wAYdE+JlrpWpG7s/wDhG4dasBY6fLezH7LcabqmnW9zYy+bHdz+Qkt5GPNISc4da8N8IaPf65pq&#10;aLd3M7Xk6HSTrMkj6ffK3mwSKBsiMbS3Ky+ajbF3zXBdmyMN9ErqXgy48O+H9Ci8Na5b+K/D1x9k&#10;0jXLzxRbarpA0VzG89jLbJZxM7rcRq0TiQLGsrgx7nLN4UsQ6tGTmry0ak99On3Nbn3uQ5BWwOLh&#10;VpSl7PXmircrcr+87q6V73s16HXfCH4sSSS+I/Dl94bm8ffBzxlpjR/E74aXoW5tb63imkuZdXsH&#10;VA1tf6fKY5re6jw8Mse4sUZgvTfE34P6L4Q1Yan4a1O61uHxeo8SeDvEltIIItZ0Z4oIlhliRVVZ&#10;kkhnhuIT/q5SMDARm8G0241jwJ4rtPE3hzU7ix1ez1T7fDc20gZbch1dkWJspscKFdNpDfNnOTXb&#10;6x4+1rxJepL4ie0txKkv2Wx0yGO0sIGMnn3BtrSMCG3VpHZzHAiRhnyqjivOqYmpUw6o1trpry76&#10;+Z9xhuG4UcbHFYZKMXGzs3d/Lydnfto+hdvtJ1PSru08TaTareW2t6dqv/CU2tygjKyFLOO3WMDG&#10;8x+VKQOV3xtkgMSfeLbwloFh8H/FtxqVyBrh8XaF9jjiukS61G8N1DqEluYCDI0On6fp1xcSuNvl&#10;z+IbWNjkhD4f/wAJVcakYdPt4zFDbpHHHDId0bOV3fkT8x7Hf0GK5PWvHS2dxqep6jcm5uFmaS8v&#10;JmZmumEpyTL0I3EjjIzn0IqYYicITi+qaX4a/gdMMlnXqQjUlZqSk/NKSaT8rf1ofRPiF7TQ9S8I&#10;fELS9FRr7w/aT22oFEX/AIn8YitwLC3C5bektvZbH2MUjmmDvhiX8i1zxrqXgjw9bzeG9Ls7/wAW&#10;SarY6p4t1TUbp7mPxJFbPPK2m/ZwpxBcX169xO5Z2k+zwqdqRtv+Y/iN+2X8KvDFvDHB4ttxNZaQ&#10;sVxbXV7EL6W6aLbcrBbxkvsjYFVUZZlQbtvIr8//AIm/8FD9Iulmg8HaNqevsEVDc6mV0mybAJPy&#10;oWlYbtx5C/fJGOg7sFg8wxTUsLTal327J7nn5iuHMroSrZzWgrv4b3ldN20TvofqdqHjeLTLC9tz&#10;PBBDJbq7IWVXWGKRp1xxnOUVueflx2FfGXxR/aQ+G/hOXUzrXi/Somu7mOee0udShNwJIVKqiIMu&#10;Mb5iAQTmY9iTX4q/GX9r/wCM/j29utKl8SHw3o08RT+zvDaDTHZSu3Et0MzvuwAcuBycKMnPyybi&#10;6u7ia5u5p57mcmWa4nk82SVjzlieSeO/rX3GX8A1a1CNbMqiSdnaOrt5s/Jc28Z8mpYieFyPDOpN&#10;OzlP3VdW2Sd387H7HfED9vL4fau4gsV1TWnjsYdMkl+wtAs4twQrBn44BC7lJ4QAEjrF8Nf22NO8&#10;Y3tr4D1m9m8NLdysPDHiDWbCTV5dAmAkfa8kJWUwuS24sspUkEActX5AQboVYjI3Dt1yxz/U1p2N&#10;zeWkqyWTvDceasi3CZEq4YNgN26ZwOuBnivenwhlEKcmk3Lu31Pk6/iVxFmMoRahFJ7Rj0vfc/pD&#10;+Huq+LvEz+BvEHh/xZ4d8ZeBn8cwaX4w1f4O/ESD4kaPolgjxPeX+raVDturS1Cuqul1bo6NKDB5&#10;yJIkMHgif4hfEzwnbWnhv4n/AAdvF1K5k1Hw98Q/EniTw3pXhb4giNgraZqVtqj29/pV9byAgSBA&#10;p3ssoyY3T8MPh/45+IXg3xXa+NPBmryeHPF9pHNHa+JNDtYtN1ize4QxmVJkUETKDuSQksj4kUhw&#10;GH194V/bY/aBsrmNPFM/wz8abrqNtUHjj4HeEtck8TFJHYNqd2LGO5lnDSykXiSx3atIzLOrYavn&#10;8Zk1DD2+rJWXd667/wDAPcwuLx+NcKmJteS106rU/XPSPA37SFpptzp3jmz1D4efDa60uSyXT/2Z&#10;/HFx8ZB4hZ5me8Op3Om32q6VBbys0ZZ57rbAVDC0Dx7a8R+Nfg3xzrehana/2L4f07w3pVis/gfw&#10;r4O1O31/RfB1tpokjuvt91ZK8S6hetLJNMtw0dzLNGwdY1ESHy7TNT/ZR+LMNv41T9mzxvZfE7Vh&#10;Ba3lh4M/an/4QLwh4g1JYczW8cGpeFdYuIrh1QtEv2xY3RFRApVymGnxd1LwvqmseFPA3wz0f9n/&#10;AE+zvAPElj4V1HWJvHmqXKLHbND4j1W/lNzcPGFkCQxw2dujSNttsldviVsJTpw56U1fsunW3/BN&#10;J1sV9ZalGz2u7WaaV33JfAHiCWxiuPGWjSafp0lj4h/4QzTLq+mDf2RLrFi8Ed4R1b7OIbiXIUD5&#10;FbvivvTwh8S7vRvjb4SuPAa6jpbWF3ptqtpBdPo0GoyfbJVa0vJo1E8aqstvuQE4l8xmyCixfLVp&#10;baDZeEfEuoSNDqq2+vaVrttp1jItre2upQLIZJwu7ybgJG0cagqeLidd2JK6X4b6Zqt94l1rxHpe&#10;pxac0Yh1PTZdahFhKqbgiyTor7SxnLykRO7qCDtbhW8vFVHSUXh3Zp/ju/1NcPSVapKOIScbW122&#10;SP2S8D6z8Z9Y8DadoXjrxN8Q/EL+Evix4l0q6s/ix4+17xxFpsGnW2mWcOk2EV3czizla5bVlZ4I&#10;0WT7GhaNtuF9qleK70m7l8ReGL822n6FcQ2WlHVlidNT3QT2GpxyIN8iW00Ak+zzqjM8C52htx0v&#10;DXjbTvifp2teMvD95Pp2mxXFikyCMw2/iCU/2k+q6pdQfeFzc6jeTTO0vzK946v85JXs/GU1tqfg&#10;PQNR8P2bP4l0bxXb6Nren2SyyT6xpsrIE1FERSqy27bxMHYCVJI9uGUk8WJfNinVhNppaX6paflt&#10;6GeFlKnRjSdNJczbS6N6/rqfmR8btP8AE2pR38MbarDoT6XDpWoWlq1zDaT77kXCW16yYSVTLDFL&#10;HFMCEaIFBkcfK2neC01EyJcRTQSv5T2y+V5SyZT5JNpGWi+7yOCD1POf0S+Mvh68sdeu9O1p1sbt&#10;2itZ1WcX0UTNIq+cWQYdRH83y4PHqCK+cbDwlrVn4guYGkF59lvVt7W7IlCPZI0pikt0YghGXLqo&#10;UEHjqcV8fmOKq06t43aT19D9f4fnSnhXFWTaT00vt9/Y8R8J6RefDvx9bw6lbBdM1LUWiJtmM1nb&#10;zFwFZHGRtkCgjoRtwRkEL+zHwriluliOhlJkkt122zN5MMz7dxTJzyFDDHbd+FfKvjP4QReJfCdq&#10;NO+zC/MxmtEg/dXUbIypGmSMEuzkKAckMa+jf2S9UubSO20rV9y3EEy28qgjzUZXOQwPoRzk8Yxn&#10;pXh472eHxMadZWo1Nmu/VH1rx/8AaeTPE0/49G6ku66O3rpofoP4I1AtDD57+QX2QstwCjq2zd5a&#10;jjLHnjHduBxXv+nSTPNaWPPlxP50vmAGQKFjkOPoW2gkjt+Hma2Fv9tigh0xSEtI76O5MZKJMC4V&#10;s4OG+cDAxjbXomhpcCxim1CNre8uImIZmMhGGHAI424BJGeQDW3IqMnTou6XX5r8z4uti1iKPPJW&#10;b2Xr/TH291Ne6VcWPkx5to5rCSJWaRbovLI7SMD0JVguRgbUGRkknjZtas9NVNLuCsTx3EW9QQiZ&#10;OCgAAHH8IyCcZ5rf01Rb3F0pu5JjKk9vaKWHOHbOQMnquMkjAYcDpXmfiZhd3cscQkQyq08jupZz&#10;JCojiwwHC5YnaM8Buegrnq1KsaUqsUm3p8v6serltKjKvKNVe6/e+e9/Pr/wx1Ov6oHvtOgiiZVu&#10;kby3iG7OEZnbcBgAbcc4wAvXGKx7jVYtPsZ5J4V85kEtiyMH8vbLtDhSRn5DKOAeG78U1P3QsEU7&#10;I5EjtI2nO2RXwQcLwegJ25yMH0rH1rTXluJXijmkjsCYpi7MrK2VbOeeWAODjj8QD3Qi3TdSEve0&#10;+5pHdh6VOVSNOL91fmn+p0etvBPZXPnzJLtu4pGjUsxLechznrtGTk9gTXmvinVLi+SOE+aXLNcI&#10;o64jKLGrZHGTIgycg/Pkc5rbaRbQWcUiuGuHF383zTBY9vzFSPus5wM/wgddwrhfFOq21hpXibXr&#10;ixhvBYaFdTxNI0lu0UiI7IyBckAkrkE8iPqM4rojUVWtG+zdn+f6m2ItQws5rVKLa/BH82nxC1uf&#10;xP408W63ez3NzPrXiK+vppdQQ3U1wZJZQgkwC2/BVW5PzZJJHTjHjDMJDJHLJEGePKKML34ySx2k&#10;AkcE54HQaV6+64ll3/66YsGWMENuOZGb5sjc2SScZyflOec/zWVFzGispUlQhJ+blmJxjAIJPB4B&#10;4NfV06UtLeR/NFWTk25K+v33ZKyrEyqSAWbLyeZvCncCGAXngg8HGR6AcvXbiFYlABYRiMKxExdi&#10;OFxknOAT0GFPGCagUu6owZ0IfIeYebgbtwXcP4iQ3BPUHkinkNOirsZiVyXI3bOhzxwDzwc9+no1&#10;Z2dW9/61OeLi4c63X9WJgYjicAqGA+YAkocjb2xzz0yR34FPUMT+7Yh1Ro0dnAePLbtirjg/MSM5&#10;xgmmRguH34jMaldiRgRsuMqQmMg8Ffl9VxjFT+a/lhRtVcYAlbcqjaB0HPpwecr19TSKT6Cg7Xkt&#10;UrGgZfkJcMFR3yAdoG7DEHoc4VcA9+QOTSI4x+8C7j0UsFJCg57dt4Bxk4IODgkxxtHE5jDZYBnR&#10;Bg8EAA5xy21QSSBkjgAcCJVEhIUCVSGmVRJlCMkn3YALwOg47Dhtcy1bStp6A5OWi1f+RZDSyhXY&#10;sys5UZGximMgdeMkH/vodDVoEjDEtIGJDAHIH3hkDOO2OM1CqgtC8cbHdkB2bkkEben8OQRluxYH&#10;rk20PlsoC7XJAChiZVXIwckYPQ4I649c1MuS/LJbhBNyvUetkxybAyrIMnzB5eCCVB6cnHT057cc&#10;GrK/vCiKPmcg79oCqc4AJHI9arKBJ5hYfOpG9cnzQF+7wfcdfYYqXdjBGBIDggnhupxuwMnkHt05&#10;xUpO7Sf/AA3QUZNyVtlb5lqclNybUbap2/vQWQAgDI4yBg98+gJOKrsryPHIyoyspAl4BGG4HBBO&#10;WGe4+XnjAMj8DMpLSFQGcYCMOTj0HQ56/wAqUfu1R0j3OGUkqdoK7dh5yCcgAc+o604RSa108vka&#10;zspavV6sYzbxgj53P3S2Gb0bsfT1wV7jrVbdk7WjdwxdEBADEEMRg8Dg9OADu6YNSTqGcnKlzhnG&#10;3eVAGOPxJ6flUMvmRmPcpyQ2/YWVcKDknHfYp57nPTimvh5V0/QhqdOfM9Wra+okj7RGmRtEiqZG&#10;BZpgOOCeV74znoM8mkdWDgnJYcnC/LgEnHTvuUnrwGPbBbKc5j++WBdVHzEbCobA64yV5GeuKT5g&#10;4LRnJRVYl87eCOAO+TjIznGenRtylJylouxC9p79t+/n1Bh5qGTDeZygVWCIrDggZ64I7U9oyRMz&#10;E5DeWn71eSDgkZJ5JVSAM8E8nBwxJQ0asZGAI3YjjJVR8wBB9CynGeu1hnOKFfarvhXZhJPIWBkl&#10;YlSTgep+fjGSXGDzytUk79SXywbk9dP0I96YVmVGLoVdXBDEsT1wMAk5IA6ZHXpUcg2gMYyVChSV&#10;csPnDYI6ckqxGT/Dz7TdQ2FIIm3bky4+9tyOeePQ4OBxUZYtE4YlGeMMwHylPvBkP0G0/XPoM03z&#10;tSjt/wAAqU4vV/FYGITJZ+Zdoyh3RrgdOg75OW67fekTe2yUZAVmkGBtjycsXfHqWP8APHo0xszZ&#10;XJC9i2wspGBnt1z19af5x+WNN2MEozAiRApjGDx975lbk5wDxVayprlXvdfwJal8VrWS/JCykxFi&#10;yyfc3BgQFUKvU9uAp5PYD8XR+UsXyAKmPLZSOVADLznknoeT6+ppiDCbQokwy7ZGfOOnXvye3+NS&#10;Ku5omVX2u4fdImyQbiuxySOmd+7OD0OTzTs1KKj8wpPnfLP5fgWmUFQWVVRjtZo168sc4yAPvDjP&#10;tUpXynLRZRipYeSQGJ3Z3YAPJ64xzSAO/khv3J2AygKCUGF3dOpGW6n+HrzViONgVZRt3bnXacui&#10;hiR8uB6YA9Mk9jVLms5PYtJpKSWz/wAgV5t6Mrxurj92Am4tkKeSec8noOmeatxGMYdGT5lBOckR&#10;kkgNx0wCQKgtvlfGTkjc+7I8snjII6dznGcjrnmpFEMSLlQQQVUxnaGAOcBe4+ntwO+PvP8Adx/4&#10;cST+J7K5KoDlmRHWTZsIU7cDB6D2y2eSPlH4gZX/ANZkKGCuGXduOMcH15OT04HHFQ7yzyEK5IAX&#10;dgKSw+U5brjn+XalMTM8eARJHIShYdCQGdunViQevbvnNU4RinJ7dQcvhjF9f+CPVZERvKIDHaVR&#10;soJBk5PPHI4z7j0xTY0CKIyxZlfYWU7jMBkZORkZzx9e2KiJlKbYuWOEZdjY6jkevBHHrmkERj3O&#10;GwrkkYwzIMcAdOx7561cE/Z8sX6fIFTmknC1n+BNIzhsq6c/MEZtxXtjqc8bsd8/kYYZGZNj8gs+&#10;84xICeVUnHHBBIxk4696VzyUkGwwkPlVJKKx3AE84yGBXAPTjtluTGC2SGZs5I3tkMc/Lwc4HTpw&#10;eaGpckbLXT/P9SlKV+bppf0HDErggqMN8nBAbA7en14qIyCNAqYxv80Ebty5XO3jseR2571K8cYD&#10;B+SDuUH5iuOnr07dcZ9KSVVhiPyurqwZnXnJVNxx7kN27nHWiL0cZb30M5NuPJF6oj2xpIzZEjEj&#10;ec4K9do7EZAY854B9acSo5DBgsSoMr8p6ZB9eV65PRcYwd0avI3lsAFVcDey7WzkdfQjJHI9OBzS&#10;MziTcZNrozEnG0DdkDPUH3zjp+FTycvvX1/r/I1cnG8p/IVSyId2GJwPKDfOuM8+vIODxnn8kJAx&#10;L5Ui5VWAZwWnbgsR/EcnIyTxtIIOQae7sAPKVAztsR2A2rypPHXGM88YwOaFkkP7wJwAFIz8xYn6&#10;njJIB7jHTOBrGDn71v8AhjOV311sOZGCqkjgMclkGUYnJzhfqCMUjgsfn3K+/cFIyB95VBYjuNpy&#10;AOTjtyi7wGWWRgyp5KEuY3yQ3II57jn0VfQYezu0gPJZsJzhmlUjDE56nByM9D3rNRjGKg9RU72v&#10;Nb6foR4UjzC5UeWFJDgKvXGR6cHOOTg9TSeZG4UhI1wQTgMWIbkgjpgADIJOc8d6kaNmYFyrRgli&#10;ofaQu4ADp2yDke/bNIEy8jPvZXbayvJhVO1ecgdCpU89sDoRT5Z7ef6ITjJQ9nGys0Qx7WduoYg7&#10;RkoV7EHJ689/b2owA7ZkVWRMj5drSHgDHqMDH4CpCxYKm0KAFClFKZ6HIxgY9eOvXnILJUEzFtz7&#10;E4jjJ+ZnRiPTnHzD2z34wlK0uW2j3/rzLjyxtG92iMJKABvVMDG0vyKKQLCRlnKE8lYld4x9D3or&#10;RtXtb8wcqala5DFtYOoVGdmwxZC4O0YUnvjJbjsPXvYVizRtgIxZfMaNsM/fgAjAOCM9ffmokCJG&#10;20lVMm0ZbiNcHI6c4wMfU9OKmZh5qyAYCkKrMMxkBjgEflx65rBvnnaPU54tKCfX8xiDCOS4cFSq&#10;+ZxycsF4HHLAnA43Yx1FNRVOYwzDZwOmHA24A5ye/PbaPWlOWTcrAYJXaSUySSMgHnjaR1wcZ9KZ&#10;jLkRlo9rbyAP9bkZyRnjr7d/rRfli2+4OS5rR1/r/hiQO6MFMQbDFhtTDyA5POMHphQB1x680xgp&#10;2JKq5YbZCF+ZW3YBI9yCfw96dMWjXzfNdRuCqWO+UKMBs+gUc8A8DA7VCAoLgfOGXzGDsVKgnlSS&#10;eMHgYA645xVJy5eaPX/I1nyRjyTWu+wu8MwUkMBwhbAGVIB6Y5/wHPSnlyFDRAHLBo23nLEqAWz7&#10;Y649Pwehi3IrMFLkyru+Up1bJ98E/n0NRF4WlXcN+0ZjMfzMAUHI44+8QevGMHFJttXj2sOnGLvz&#10;df0sI3l70GNkTAPlMAOFBbA54OAf89GbCjBHKbY23yFV/wBYRhNy5IOONwyOnbNWFlVY12qCqHZt&#10;bO4g55AHOMA/4ion2Okci7X8xyozuQR42soyR1OeuOMdD3L2gop6hNRUVKmvetr57A5ZyPLAClQw&#10;YFgzENn/AAPJOScYxxRGN8aoRncoQM5Pyqv3QOeBkDjrzSb3ZjvOXxtCPjkKGKjI6g4AHcDrjtMu&#10;x1Kk4XyQ5bDAkqcjI64+ZRgkYJ59os4R1ewJxvypu76CZiQGNnG3koFODuwSc465BXBx9aVIyC6r&#10;grI+5ymVEmM4z343YIPens6swZfJSRmyYzlVwCRs6d8dmJ49agJZ43VyQc7SCMpwo3EkZOMk9Pyy&#10;KmzaUmvMUPjSuS/NlwEVU8vDtu4UArgbepzuz6fL9ct4ULuATMe1HA3qANoUY47AdMj5evSmfvpC&#10;rgAKFw23OJB0ycHn6DuOhqNg3KbMKJsqykBgpwVJGML1wQBkAe2aVpRVovW+hd9X9wivEFC7Y413&#10;4yGKjHAHHTkdieM46cU0qsjjKSFEP3T8yFsrnnOQQNxwOPlxnmmeblDGNo6oo+8DjBJA65GQM9s1&#10;KxJTecAyNyFOU29MDng8kkjk5H46Q5klfcJ2dSzs0n/X6kjgFSrgiUYYx7sA/wAQY+v3QcAjpVYI&#10;WdSiGJixwk2Qcq2C0ffnk5OBzxnoHM4YBSWV0TEYDFwAARyee5yfUNjvT52LSbwefJVQittU4QLn&#10;ABwPkye+WNTG8ItL+noNSVlZLT/hiuwYbyFYoGLKVBXHPI49sY9wePV4YZIIZwqq+AxL7QuCDknn&#10;HYAZOMnA4GkijkVACMqSpIAIzn0OQDsI4B+YrntTSAEZuFAd5FJQsUyqYGOPRj9Tz6VLdRSSt7u/&#10;4IaUVJKL6blcywuyFMHZuTDKF2YzlsckAbDnnogpzozKNpGQDwyjLlslFOD2LH34xSOoaNgBtONj&#10;SKTs2ncA2QMHBZRgdcnPu1mysoJkUybGUkMIyNxBUFQOMhCRkHLD+6DWyupXS3M+ZOopv8vvJiSG&#10;JlYLGUKYxnc4D4A54BPBbqoPQ94/LjmVkYxqQ6rj7zocRptA5yfmUn6sQRwDVeXzRIUYszx7EZSC&#10;WTa20HtkDaxIGDu4A5UXEAUF5G8ssQzMXwpILbyTjd0I6DqM8nAEwUotRm9C6M4uq5/Z2182hrKM&#10;hAQ24qdzD53DAkZH/AQKjkIB2PgqQQXwMYwQF57ZJOTnp054e/lF2UszfL+8QfNgFlHYc4JXjrwT&#10;0DEQNgRvIWD5JeKTcH5Kna6kdgBjgg/NjIyKaUXK8lc0nBOXLHp/wB65Yh5gGWG4WUKThmj3Bihb&#10;nOSWzwAQcY4olJzlgQOXLM2eCSoOQONxC9cHOc9eEdht2AoMKrAMA8RLcA4zgkHGQcdST1pCUViS&#10;oZi5Zdzrn5lYEAehwVJX1O4gZxnLmSTaOePK9L6f1f8AEac70GC2ARCqyqQAGPJ9SNxAyP4TxTAx&#10;3xGQK7ZY/OjDG3DHkc/xEDGDgLjOWInTllYPu4J2nl2UqoYgjj5gcHryoOAaFjEJ+VxlpCEIIBU/&#10;d4HYYHAOM/ka0bjFJR3KhGS96KvHr94roi5dOMIMBlKFcttLN7nLKMnsOmKj4EkbbRsKgB2UjaFJ&#10;zuOMBTyQCT3xyTUm0LHHl3IYFHKyFAFzgnHp8y9+5I5xUTAfK4WNimCVIC5TjKgZbGQVHOPuZxSj&#10;BpKN9vxKvFapAH2IgG93QZcBVLsxZQuRnjIJye+zAyTw9pF3hGaQhVMgTG5VG0E8Y7gAdO31pY4y&#10;vmNExMpVWmCbWUkAEA56Eg5A5pzESDJL7c7QVXD45JAxz0dgCOgyD8p4zlZJcj6/16kK7pPm63fy&#10;K5ILtFtV5NvJ58tTnH3l5AHzkEdBUyvJlZJd0gYqoAUApyQ+e5/hIyezcGnIzKXztBZl2s4AEQYt&#10;lAPfYwbqR8vTIy9JIlVVK/fcsdp5AyWXGT6MT053Y7Vq7yTfX/hgXKlyxVtNf67kTbIyrADl1VFj&#10;Ys2V3HJ+bucDGehOTzTEO6QeW6q8bbFXhUZgQDxgDO0McEd89Dkq6eYSEV/nUsVPR+CufpknFTSk&#10;s4AQBvM2twTGAcZORk4wACeewNTzThZmcb2btpcYwVw6jhpJFHJACAHdgZ45wT+P50JrRLhJUYgx&#10;yxSRS7QclgMnuccc+nP4i6XQMxk+QYk2RrwflwsgHf8Ajxn1OM06RN8s3l4aXhHYDeJDwWJ7Z/d/&#10;LwevXmqpz9o9NLI35ZP3od/6/rofkB+1L8H5fBHid/Eek2skmka1dN5rxRE21vLkEkE9A25SB2Dr&#10;nvj5WVyQrSknIAALEFgD97PucnB/+tX71fEHwZYeOPDmoaJf2yzrPB5cdxIih4zhjhc8ZHy8gDgD&#10;OeTX4rfFf4Y658NdclsNSjaW2lkM9ndRqRHOuc4HPBAx19+OK/QOG84Val/Z1eXvp+6/Lscleh7/&#10;ANYpdrNenX5/oeetcJE0gBEhwRGAuQAD3+opHnBIIySQDj7w+b05/ljpWUJiWIGWdsqOcHGOTgdD&#10;gcVfhiEajcCoyu5RhgcBsY79/wBK+r2dzaiuX4I6af0yq7KXddjByow+wYzg8/hg0xwWRUCgsoDK&#10;WA3EHGf8fwq5L5buGXPyE5bJGA3JIPb+lQylFOULNhz82MpjnI59MitYu9mtyKmHtL2jWv5XMK6Q&#10;ncCARG5wy9GBz+f/ANao4cxhQVyx2gKVwB3AH5ir4iCyOG5IJwCMnnOCfw4/GoSUVlXMbSAdZCcK&#10;emf0wPfFddFpNxscNaFWT54rsvxGSSp5YOSfmwSw3cZOR0461asUHy7s8nbhV5GcHP0+tV4YBJKo&#10;4K/xDOWGM8/TJFdIkMUOxyyhhtyrfNv6Zz9OKwnKKhKXmdNDDqEoX72t+NzQtyhAjkBAyR8q4OSA&#10;Rn2yVH4+1Yd9blo2dVILcAEfN1B5HuAa1y7bkaJuSoZzksSRnjnpyf5e9Z8zsd7ggq0Zb5jkuSQM&#10;1yNtyjynRWouV41LaXM5ER7R2xu8lgmzAAwc/pwRWUn7qRgcFC24ZHTPI/OrFpIqyygiQgZXOeDu&#10;4P49AKguCu5iqthz8wY7VVuCB9eRn616dPmUrR9fyPiMa5Kcpt9fuGsFWRI5E2c7lkHzM/5c85/S&#10;ny5UFcBss0m7G4vnHB+nPvmpPKDmSUknawdcjAHIwARyB1okjSR45QWConzRgDBz1bpkkA/yokk5&#10;KT36hQ96hypWX47jTuXMcqny3XKsvLHjAH1zTYi7jZtOcbFB+VxyCBnP508RJJIqNvRhhwVfHU5w&#10;D69xxVe5WRYGfARw21SWGT7k+9ZSle+ho3GnHmT/AKW4ruPOkAGdmQpByewb+QpvmKWdRwPlU4zn&#10;GccfjVKN8PAWcFhuVwx4U9f5YrY+zRfwnBkwWXzAzZAz0/Oqcrb9SJPmh7n47kUgySMYw3DAY5zz&#10;7VpW7osNspBDu/ls6joCWwT37H8qzWBUBz8gXAI35B7Z9+T+tTow3qY8eWCskAYncBznJHfOTx61&#10;E3GUEuhipNVHGKL8u6MSzqMJuBCnowzkjGeB1/OqUmxgzhAjKvGRkOTjB/8ArmrUiiRXcS7WflY2&#10;JHQDj6cVVjQ7AcEKqZKlgvtjPfr+WawppWd0ddW/MoS6rUv2UjzYRgFZed24jbjH3ux6H8q04WAc&#10;Qb1DHLbQxzJjJyOOg9PSsOALuOMgq2Rx6ZBB+nH0561s7FcpKx/eYyJEPJ3HvxkY6cYrGvZN8vX+&#10;kdWFlFU2lv8A8H8zt7JpDbKyMxkiTzJAY/mZRyefqMn1rq0uRNaxo8olMuT5RbCw84JPoeeneuGt&#10;bmaG3gxllEbRkkl9ykfdIH16fzrorXaqREKY1l2lBkEghidpGAOp69ea8HF0I/Ff/g9z7HCVFaKv&#10;ay1/4B232k2VpBLarcFobWSCRFQeXIZGUliRggBd4O71A962A9pLay6lcMonSEzXJwC7qHXapAwC&#10;cHoOhUnvWXHMptIIEPmOxJ3NysSnAIPGM5ySTVtleeFIIZo2EkTpMigDeCMH3IztyPUCvNjF37tf&#10;5nqV0nBVPv8AT/gnjfia5368zsW+yznMb53BueG7dM4GQOvboJob3ZGUKpI4UKsrIPlJHGKqeI7G&#10;PTbplmlVzDMWVd2RtY46DjgBT+fTOKjtJY3YRo6uCmTt5WTkHv0IAA/ya9+KjUoRlFaf1/meBVko&#10;YlNvVu35HSQS+XtBjUhx5aSn74zgHn/9fU10tilv5kUAj/eRtgs4yFxwMY64GP14riJGJBMUnAOA&#10;GYAZyABjH0A57/WvQNF2sokcOGVWDmPhlwFJ9eT/AErz8TLlbaf9XPawtXmjzUXr/V/lY6qySZnM&#10;VxCgMmAMKHUIcgHIPBO049sivS/DVrY+bHAtyqzlVVnPyomCG4IfGDuwcjqAc81xmkW9zdhY1BW1&#10;3M14ZU80sACxHsRxjHZjkHPHpmkaLarA0jq08T3KeZLGMbtpBQBRzk5XAXuFz3NeFVqKE7T3/Nf0&#10;z6bD4hV6apu13v5eh6NYFEiV5kbyYULlwG2XDA9FAXnBY+w3MegJrx/4leKIbKCctE1tbkPNuctP&#10;IcZKckAbSSxGOFxwAMCvWdRlkNm9ksoktreANLJjy497KMlsevl7AoO4jd8wxivjz4wartsIwZXm&#10;nnxBsJJOFIQgjoBjGMD056ZzwcHicVGDWjenpcWNrUsNh6laMveS1V+vb1PJtCh0jxRrl9q/iLxl&#10;4a8JQwXGbGTxPour67p19htxjMGnWtxLsUcneoU4A5zivUdT0f4R3Opeb4q/aG1PxCt0oFx/wrT4&#10;Iaxrl4rqDHGiR6zc6JbJEg2osaSBY0J2qx+VvnkW7qA6ByFHkwgn5vmPH5Fic+35bVrY/ZFLzx7E&#10;kjzCZTj7U5/ix97aDxkehyeMV+g0qtOm1SsrJaaH4nVderiPbuVpyb/E+i/Dy/s9afp2r6X4ai8f&#10;33izU7Z7bQvE3xtTTIvAm5lfHm6JpTmSBmIUr9qvb2BSRvGMtXlvjHQfi1ql9HrviXwd4nm0O2ie&#10;DTr3TfBskPgsW7u7KmnixgFhFCxdpFitgijcML3rzO71iYXJniUSMpK28O3KFuQWwTjaFxyfT6Ex&#10;6Zquq6VdtdaXrWt6ddzP9ourrSdXn0mW5kPzZdomUsc85PPau1PmTq9Tzp1JL4HonZ/12PSfBXw6&#10;8XeIZmu/D/gfxt4nXTdv2W20XwZqerXNzdSNthQxxwkgKyMzE44jfrxU2pfDGfwhHqF38T9bsvBt&#10;3eyus3hS3lg8RfEOVBI5lWbTYZCli7uqljqU1s6qQ4hcfKcfVPHfinWNKttN1/xh4z1KwSVppLHU&#10;/Fmo6lHMZGRpTteZl+YRxgjBHyjOcc+d6jOJ4rqXYI4gAixxjAYjCJEqqP4QoB+nfpShNc3urU3r&#10;NRoxfdXa8+iv27nb614+0JtJ/sDw54SXT9FW5F75N/qZvXvzCWWG71VkjjN5IA25Id0drEzHbA7f&#10;vK5RfEsjXuiXGqB7y2sr5b06fCFjggRG3LGkYGxF+UZAAHz4+mDZabfX7meN41ggf9/cSOIra3Y5&#10;K+Y5GAAVJA5LAEqDgVk3khkujFbOkkFvIRc3bB4vtGSBnHGVyxxxnHPGcV1U6UHK0ntueJiMTOEW&#10;kt/1NC8ubrULtdcuAHklaWBhJg+UUkZkjUDoNjpweOvYYqlZRSvK08oKW/STLZZ1BGQCenHGRXW3&#10;FrY3lnqSxxsgtbWC4sCSUnkdEUTRlf8ApoWL57bMcZrAkhieQ7vNngQBVSM7bdSvOCe44z70lUTl&#10;yrbY6KdKVPls+aT1d/62C4vIpYLsRKkdlBAcLFlnBx8q5/uFiMnvjJGeK5qaF30+OfLCTz5IhH0b&#10;aNrjt0AJ6elb9xbP/Y4vXO1Lm8aC3hDbFkEZRmAHVsmRcEenSptN0q41LT7u3VJzcrepO0atyDK3&#10;lKM545Kc8ck1rGqoQ93p/wAAynGddxi93f8A4c3fh94d0+90nxNrGu3E1r4e0G1tWvJbfYt5fyy3&#10;SNFZ228gebMYmHAbYhd2BC1zur3t14g1EXZhhtbYIYbGwtHd7WwiVuI4s5YqARyeWOSeSa6/xVcW&#10;NjHH4K0i8mu9Msb9TdxWcpf+176OMRXFyOMKpO9VduiAYHLM2BZpcqM7oreCCPeYYQG8z7qgF+oB&#10;3Dp1x19c3WvFzktehdHDaxVLXlf+SSLuo6Pd2ehTXd06WzSAR2Vu9wPtUqkbGmSMfOMHbtLAAhXI&#10;OVwcYxRQwW0sCE/aYRJIuwsqsm0YZvQgbiT6t6c6VzYzfZ1MzjZJMqyOxLSYJzt5OSRgZHbHaqc7&#10;F5mt4gwgeDYFB+dpO5PboBkdBWSqp00lvfX8D0PqvNWdaa9635szZ4ALZZJCWQzhkQDIAIIO447e&#10;n/66gexZxBKigySzMTn5XZSOw78En8etdFPDF9iEbuscUZYI7AsS5QjKjjoSOuelMcGWNEKun2ZD&#10;sMo2q/yhU9+AvYgc9Kr6zGT5k9dhzwqnFwa6JmW0cauqwjb5CqVOCATygP1IJrpdPsmsLWe4D7Tc&#10;rskZcbig+Ylvbdt4A/hFQPZoGiBhIdIw04Vtixkc859OTXS/Zpbq0TyEWOKdFhAJLEKSN2BxyCe/&#10;/wBeuerXUY777/eeph8v9rzSUdUrpdyLSL4weHb21j0x9TjnD32oxnfDItvD5csjF1IcKqxyElfu&#10;hj9CniPwxJoGr2FiJEurGfQ11awvrRWFnfRyEojRuQDmN1kjcHG10OcDGehtbiw8Oaikkoke0k82&#10;3vUjUjyLa5j8uZF4+Zhk+3Uck/L6L8ONR8P3Oh/8K4+JNvJb2Fxm88K+NbJTNqfw71K4ZVlnaA58&#10;6wuBtE9vjcNiSJ86YbBYn907bMqpl041/Zxjta+nnp/XkeMajHNFbNGp3yLEDcxj55C7PgZHXqCe&#10;33a6HwHaPZ38EtygEEV2sk0si4WYdAFJz16Z7ZNeg+MPhJ4t8D6vBZeI7eCaG9s/7Qs/EGkXaax4&#10;b1yFj+6msb+MtDOrbnJAIZSvzKp62tC0KR2SBoWihs7cTkMjOZXL7VXjp2PoB15Ix5+IxihQ9nDS&#10;+59NgchdavGsldWVu39f8E5zU7RhqNmHYKba2jjUN8kIMkYwwIzkDI4xnqOuDXtXw3j0vwvpVzrX&#10;ie1Mr+J9RSLTLCIIms39vYQzGVAzZS3tXuJ4A8pV3eS2QKMRNnmNc0OSSz0+7skY3rWe1AU/eGWC&#10;RsyKBjhYxGxH+w2DyAO6sNKaa307Vtas47nTtEtrKAq139lv9Vt7MSvFp0DIQ+yRpB5kiBdoLuxL&#10;vlvMeNXs7v8Awnpzyio5ezjFttpv18ibwo198P8AwZ8RvEuks51L4meE9U8L6NZLc73i0/U/O0ZJ&#10;fNYDfG09zdBWACN9hfGNrba2qWfjLSvD/iHwWbi90y117wvbSMjOulWU+o/ajd3JkYFY3g+ziKJT&#10;Nldyhl7Y1ru48V6vqE11dPYwveNbymaCJre30mK3he3trS1gBOyK2jkfylUEoQCPmwa4DWdE1Zk0&#10;2W1jik03RLoT/ZMtEZ2zMkjhfQqwVR6s3tWMcZzXpya0t6dNPvOp8P4ilTjX5XzX28vP01/Mxvtt&#10;v4Y027OlapFdeI9Vtl8JQ32n3csy6bbX8QiubS2nYB5riVGlglnTEKJLPGjSCXcaHiie4TTNNgsc&#10;LHo1jFo6SQSrJHbyQswmKn080zD0B4PSt+90iCONAbSSOd7yKbTYonZ3iuJPMImVWOdqblKnDHKo&#10;OmSOi0n4f3tylpPb20ktlbTQ3d7b3EYaKZopN4V88FX2fOOuFYg5qp4+M1FLvf8Ar8TXB8O4mWJr&#10;VHHaKXT5J/mdVpuk6FqdjF4l0XUYbd7S9gsNU8G3BmF3DLIs0j3dnMVKSWroFQqzGWGSROGGHHPa&#10;LDcTajr2jrceVbWd3LJaTPGVLiGdmgkIGTl448gDncR3Br0fQ/Aeq2llqUVuFuhcQrcXqQrmJ4o7&#10;mKQkZBIAeOMg44DDkV3mkeBhd3iSy+dp1z5Ku/2HbFJMyEhy+VJwQxBUdgMEHkeNUnd3ez3+R9tg&#10;uHpVaacnZPfydl+pteEn0++trnREe20XxNqlqR9u+1rDHqzwws0WIeSbmX95DkLsYpHuGQ7N9yeG&#10;9NYfDvwV8FtTu4LuTw7r+reNfF9rfR+baSX+rLp9ra2UsjZy1hb6NaGcQsCZbhopD8sqN8/eGEvt&#10;Hsr+106e7iunu2MmoWSRWF1cQfZ2jdXnVBK4fzG+Qts5fKkkEbFxrFz51jNaNNp6WtzJFE1vMTLt&#10;8ptivwFyCykLyMheARXmzmqSlKLu5Wv8ux9blfDHtq0PaWtF3j11tb/P5n03a3eneEvEFlOxt7hd&#10;NAnjgLkWt41szvFOzEeYv+rXkfwkAjdwFPirR7bZNtg887JkEJZyqLkbSoA9SOMnnr0rwKTxBbG0&#10;+1X0zy3skblnY4kiRiuTyccFc7v9n6LXJr4kutT1UzQCZE2pCHB+ZkBJZ2PJP3+o7gkdjXlV8bSo&#10;JKq9F/Wx9fSpZTgOZ4mdpafh5fO59G3vi1W1aZYJraANpyTmW5mSMq/mMjAKOQzEBAODnovIAyLj&#10;xzZ74Jt8k9zEd+CoggwADuK8ljuOST/dBwCcDzFtD1K5jmvpZpAqwrdyAIlvtTYSowMDaFZsKvXa&#10;pHJrW0fS2WWNIgPMYMGbcwbHAwoJ7dMnIwfrXgYzOqSqKOFje/f+vU86pxJltP3cIuZx06r+kd5a&#10;eK9Rl8y5sYJI5Qsim7eZxgYcOI1XPBAOMjPy854FfJH7V+ta1oXwrvtV/tTULeCa5dLjyr2WBURn&#10;LGIgHOz51HzE7h1Jya+7vCPhJ7oSBwiLsUh2U4cdSenPUjHqOtfHv/BQ3wdLYfs5+IZELGSGcFRG&#10;uN5R4yw+p4HXII6E8VjlGJxeOznCU8Q/3bnFNLTS6T/A+C4k4nx9bL8S4PlcYTaUfKL+e5+ANv41&#10;GpPdeZJ5bS3bSkufnZcnknvxtyT6VLNq9pBFI4nQI24sCQD/AI15JFZShmZpDGQPmboeegx+FMkS&#10;RCfMZ2BXAJJ54Hav6veVYV1E6MrR7H8hPiLMmmsTG8nu7u9++42/uDe38s7DG9zgY6c4AJrQgX5g&#10;G52jDEkkruH/ANasdYyJFGWBJwQxyA3HNdppOmtLIsZ+++PMI+YKK7sVUhRpJJ6Ix4fwVbG4qbhH&#10;3nLX1GQWrS4bOFGPLUj5WyT/AFJrvPD3he6v5IyIGdZMEoueCcdPzPNdF4b8HSanPHshkaFUzt7N&#10;wTwfUYOB7fjX2l8Lvg7e3f2ZEshLKsa3EikDG0lcHkjn5lBHbIHY18XmWc0qVNcrP6A4e4DrVVCv&#10;Vi9P+BqeS+Evh5MEt53gLqpKupG/aVJOOmM/Ljr3969Vf4Sy6rMI5ljtYY7R7uOaNA54Tckb4xyW&#10;wvJ498c/pJ4T/ZuubPSbYvp148twv22eAWbElkBdhlQWI2cnK9SDzxXN+Of2d/Fvg+3kvNZ0XxBo&#10;mk3OmC5SDVtLmitb+F2HlFlZArqQyHk7WDtxkGvz/MM1xM1zUevXsfbRy7BUZxpKaXbz/qx8keCv&#10;CreF/Cfjvw1q1zYW7+JtJ0u88PSalcjTZbfUrLVrS48y3lkIjVmtV1KJjuOUkIGSfl9VbVta8TaL&#10;LpvxBhg8Tp4Yjjs7LXrmNJ9ctrdjE1ur6jCDPLbqwKBZzIIwz7euK8+1WwuNGuYZ4JLzUNKjPm3d&#10;sttI0tmwyDIRIAqhiZQFZgflY7RXRaTr2ueG5tPv7ayuNa8O6mknhzXohE7JFDKFka2umClYZFwD&#10;FknJjVhuKuBHtFWbUnvqeLjsPy0PbqOt7euit+F/mVvBuiXw8Q3GiahqDR2EyrdWOpQ33nGJ3cBZ&#10;IVUsu5NxJDchSR2GPunTvCGteIPHXiPxnZW6romjaW3xEe3liMWnXFyVha4+zIdwYQLIzqWUqREz&#10;hTgGviuHwf4jsdbnt9MTVtXmTbqVjFaWiaZbXFl5QuWmt2lmAcLGCrRZLNIrqoY7S/63/sk3Oiaj&#10;qvjDwTq1nqNhrCeEvFumWt5Fo9wb2+8zw9d2SKQGEksKGaeaZJAPJFqHAUo5rzKl3W5Zdfz2OSfu&#10;UFKMdbXPqr9nr4qX2l30Gh3baNqS2HhTUdF8RafqdsuonxJ9vlcM88abQVkjK7ShxDIsbA8Pu+pv&#10;BuganNY6XoyeIbdtQ1r7NEmo62BomnTTSSrFEwCGTnBjQtxufc21c7T+Z3gnwZceGPiPqZ1p7u1l&#10;hsVtbS0S6eZJbdo4Wt7qFm2iVGCQn7QvLAHJzmvrrTLnXAbO7i1W9aC3Yvp0OpZuQzLIMCKeMq4Y&#10;EREeaHCbRgHdk+FiMQnU9lOLaWi7rZP8D0aWCelaEkpPWXrbp89zW/aG8Ku/h2dH0w2PjPw29xNd&#10;XCJlr5reQpPDzj90BESdozw5brx414NjTWtMtriLyy8Y2rIZQJnJH3SPTrg5/hPXHH1bZ3viXxLL&#10;cavqvhx/EJ0Czu/EmvR/2uL2R7G0je71Gedm2XHlLEjGSVQxVS7hvlzXgHg/Q9L8O+JNQ0mGxgi0&#10;WW5uJtP0+ZTqcNhFcvMyRpvLMDAsgjSTO8BQd27k+HmlFQ9nXUv3crr8rX7tbM+m4exUnSrYSove&#10;i1L/ADXz3R6Z4V0u/sra3ivzEjWl+kU6OiFzvAxuYt6qvI3HJAxj5l+gNa+G2o219B8SdD1GOLVt&#10;0E2pwy25u5NWG+OE3DHsUTJYsDvYnozZpfh9c2miC5i+wJJJfWrW0zzDcrI4KMHJIzknII6Z+oH1&#10;Z8IY9OkmhiuobS5jsXea3gmHmwKYskgjnIKr+AJrxpRw2JlHAVn7s9E+sWtmvvPZePrYRSxlFard&#10;fzp7xa7XRqeBdaN3Y6PJeiOe5kIiR0RpFPCttkAHAyQoJ7KRzXrl5NLqVrb/AGabyorSdPOMaK5c&#10;7SWXP0YZB4BBz3Nc1pmj2Vn4imGj24tIrtjqbwmBfJjaWVy4ReAo3fMFXAAYAcCu4muRbwm3Mkos&#10;2nFpCERiqSSuQAqDONzOST3J6k9OmGHeFj7OpK7WnqtLefqeRPExrVo16cLO9/S+62MbjT7KdbYb&#10;kis3YvkyyFpVMajPJbJ3EkZyQPevNNTkgtrjSreKJESPEI/dmRXKcOwJPqc4zngcDmvYpxZxWF8r&#10;RK8igLL3QcOU2k9chs8+/wCPznrNzeJc2Fw0UFsG8yNS0ysY1Ykcck5K9iOg61i6LqUlTg9/0f8A&#10;wx72TR+s1py2s9310uaPiy6TRmsHjkV4FuyLqX5WmhyPMACZyC5LIBxgY61KmvwXUWrXMjxwKdyw&#10;wtGTvVSVUnvgYOB36D2ra/DJqemWUk0kMnlJ5uyacNFAFwUxkjncCQpPHUgjryOkq42W87O8Twsx&#10;ikkUtO8o3b3YdcMQQD0w3rgbTUoVVF63S06LS34n0WAw8amGcpr3k2n56pv8jfuIWneHVZHjFmEX&#10;MaHBTa8bhWAG7GYoyeD+PArxj4p6vqnhb4c+PtV0hY57vSdAv9btpL0/Ipgt5pgzr0KjuOMgY54F&#10;eq6hdyJbz2cLGN0KSCSVRkAt82Bjouc9hz3wQPmL9sHXLzS/2fPiDqdhbQxLqNrb+H5ZoZmjeOC8&#10;mjhYnqc7c5Kj5QG/Drw1PlxUUlqtX+v6Hh57i3RwFdv4VF2/T8Wfz9zKplmQMSkalgs2BM20EAc9&#10;87TyO2OarnaFbeNylygBj3oxwm0jHcAqwHbd0ByKZJHKzFiDIyDbtDnEOQQADnoMgYH93tijOXiZ&#10;N7o21/KCgRDftCDaOvVDgcn15r6tJSsov/gW/wAz+epzu1zaWeg5VCx7neKZ2YyRxtGpxtyFb68s&#10;OTg/Keck1LE0bAyf6sI+85wGIHB5z6HjHBwDxxmrHKqYRjtkQho5dpWVmYDABxjJ+XnJ7dBnN0Rx&#10;IiMX2xiPaV6AjbjDdcjn0x8pH1qTcVyv7+5Huxvyvb/gXJG5I2AABgoX7yRnDcEgY4GDg9M98cyr&#10;NtUrI5/dKNuFVcEEevByecnPb2qEEF9vDEAZkcsUG1F2BgMEZUFeOTknPcPGCqom8PFErngHOzHI&#10;YdCeAO+T7Cp6/wB4iE24cslrf/IlMwdi0hjBVMpIg2ncpVjhge3OMf3QParAbeyNGAh3qgO4qo4H&#10;JOcHjvycHHrmv5cabyVLICEyX+WI7WwNvBzkEZ6YQg88VYCopGzoZVZhv8x2wqg5GMAcBcj0bAGa&#10;OVTdvUVVNXjul+WmvqTrvRRubcinc75wCzMAFHOQM5OOnJq4sEkRjZeV5G0ZKhsdBzzxnJHQJ19a&#10;qHzF4kbZ5RRi2G2ElivTv82PUFT3FWopUZQrPuO7octHx2GTjOQuPQ8+1EoqzjL/AIPkOHs27pu9&#10;uoRsqMxQqUx++YtgMzAbV55B+T05wetWY0IRfm3oSTmQDYPmbAUYxx0PqR+UTEO/7xA0jEhSzfPG&#10;q7Op9Mk9OPl5p6GSRoohI/XzCuwkYYqGxn6hevGBx0qb2SVrP9Oi/Mj3lKz36f18iViyqxBUcqyR&#10;uWJyR2br054HOOwpSQvkszCXzHCRjywIjtx8nHXjIOM9feo0UbZHy0iCNV25GzONwJPXoV7446Zz&#10;TSZCgYqOXZQudpQKqqu3Hc7m+mzqadk1rH+rWLfNyqL1bS/HsMOwmAB3YMNkb4aNT1JHPqF+hIA5&#10;pJAysucnIy4AUsegwwORznJ45A68inABSJN8nHGFbOw/eDcf7wHt9c0yJlmDfeVfNKMVGDIu3G0H&#10;HQkjnGenTnLSnK2tlt94pczXmVw21lJ3BvliOTubnHBIz12DI681M7F0MgwZFBQrwu1eRjnvkdD/&#10;AHvfBRQqDduAbywA0QLByRjIA7d+SeAaYyBwYsR+UPmLsMHO5m3fhx0/iBGBkGpmlKzi9F/wC1zP&#10;3ej1froHISNAQijIVtgRgCV6c9gACTzxSNJI6qFUKyOEkVn3JKdpGUIPv7c8HnJp7IXCoHBdgWjz&#10;IGc8bjls8jjt9emaaz71Iick5HLOHUjIKtzzkg/nnp1NSTVOPMrL/Mh0uS3X/hupWZB8rRkyNI+4&#10;ovT5SAW9OBzg9DwRTihK7VwrhtrbyGGWJGOc+vrk8Dtkvd1UpGu4MVIwSRweoPv2x355GAaasqFm&#10;kZ1dyS2FJJGCQSc8k8EfUfjTj7ygr9CYtufK1qtPL5CBiJFU4CtKB5a5LLtHQfQFVIPGRxkbTSRS&#10;MwLHEgL5DphduMEKO+SAcnHbntUkUjOHZihcMARGeN+4tjjOM/L/APXpFZVRRGChICruPyKWB3Fs&#10;ZwQMAqcckD6Wn73JFK6+fmWkt5O/fyEhRoGXJZFwUIH3iq9AMk5IGT0PQ+1WlYN5YC4wQJfkwrZy&#10;cjB4zg/l6GqxIbygsmfMZtx+7ksVK5GOuMjnvkEVa2RnByNjSbiApG4Y+XkDJPUZHcjgAiocJq6m&#10;/T06EfE/c0Sa/r5ljzAobI3owy5IIUnJUEnHPIXOP/rUkcSxhgrS7BGqZ5wo4OASeenUemPWhWUY&#10;WSPbklyrLtCsSM/yH/fQqaMKVDbgCHIZm5QgnkAe3Az605/Dr1HObc0knvp+G5KBsVvKZgynauVH&#10;mcrnjPXHAz3xT8gDCnliiSAksOQXBwemAGGR6U1Nu9wTuAkwjDIdjtJwTnpwv50/z/n5UjGCwBwd&#10;rYAYE9vkIGcjg9zU8z0/AqScoqmuzXzA7iUTAydqFwoIZlIbp7nKkYxg8dBh6MyupVjhVChi+4oR&#10;jn0HJzjn+dRFjHETjYR80ig4KkA54PPUEcc54qZpFBkOdrySHmRc7PQpx1yDx05P0px917afqRBb&#10;8y1/4a412VWBz99fv5LP3I9cdB6d+tM3ZRSzEDJRolYYUc9Oc44A4x2oCgsrI5QrJu2hQyyfLIdp&#10;79CG4wSVUeop43FthdNpHIYfKOMDIHqe4x1/GqUW7N7P8AUKrfu7f1uRMpJ2FjtCYbywMKMgZPY9&#10;RyadtxEWY72IBhb5VKkkAKT7AsemOMY64E8phuBZ12DIYZPy5IIz9cH2BqFY1LKrSM+4FxgEMpVj&#10;jOevHp6VM25O19mac1ON01ZNfjcau1n8pCS3lqygKZXmJG0g469G477c+lKM4MbBWAHzYTJUdCCc&#10;9cYpFU4U4wZSY2bChEJVRtwDnuW6YHPoKTaqFpdrAEBVUueuBwT2PHp2xzyad4t2l0M1K2j2f/AG&#10;78yohOG27goTexJygzx2VFA/3B7UrAJI82GwpYRliWUcgnPqOvPXjtUqeWdiGclwmW4AUgnOASOc&#10;c5zSyjch2Njd8oP3uTnPPBGc/Q5HTqW0nZ9NgUk4KUdtCqwDMQkhdPvNGTtB+bsp47+nReo60F+Q&#10;RCxdiksSNlSuWUbMYJHAIHPBOead90RqzIZdhcSFN7OQTgk8f3znGOntSRNHIrbl3DGQjZRhhuh+&#10;uK3U3ycq2QnGUNU938rL+tiWLOFfaIgrEY3ExFSDtwfy498Z54YpwZ1UkjfiM87kJ9D2Ht9alIHz&#10;F9zbkOUI+VBk84zjvntnn0pPLTbkuQI8DA45xnG7vnA/KuaLTb5v6tY0alzXh5X/AMx8jS71DKoX&#10;aEADZLZG7BUd8nPP+zzgDFfLysqqgVmIxgbg5IGAR9Mf5NWC6rEQVRsqysrnBGfQdOwHOBzk0xgW&#10;Z3BGXyplwVVf4m+bpkd+/b0q02lzPrt+G5En71+j/rUYJS2SwU/MNrPwFzz/ACAI/H0IqNS6ocqW&#10;A43g8jkAYGcjHr0/OnySCORVIYDGxlClgN3lllBycH7vY9D04pAVdMOQpJZtqtsbG0gZBznGQccH&#10;CfWhKTTvv/wCWqik+bt9z039bkG1gT5Iby85XEORzRSu53tteUDOQEVto+lFS5TbvZByLrFAHWUs&#10;yj5V+WYNgDaM8jHqWHHoTT8tnbhVd2Up+8ywG7qR2xy2DwQufVQ0szssYVwyMCkki8lQBkk/r70x&#10;XAyTliMgvtyzAZHI9Dz0wOelZN8srLcSbpv3l/X9IQeWzPHklgNrDcThj15xgH5TyOmMfRVcK2I0&#10;VcfL0KsTgg5+pwOmBx+DSpBfL5kbll8wyhMk59P7hH0A9qcnlBkY4y67ck4IPJHAJ5AxkDrnrVN3&#10;q6LZCi4+zWnb5f1uPLjyHeTlQ28HALIwTv3wQecH164zR5a7gGWQuVVmYBuOVyOmDknjHb8aVkjZ&#10;H5KBjsLDbJknduJPAO0YHOc5OemCL5rsQp8lD1UoZOAflBxnntk9+uKUnztxhv3Lcueooyf9eYx1&#10;hkEbRsPLcYV1kyJBhiHB/EcDI4zkjpG4VXwwLQxoA+8bcYAKkDGev+R1Lk3oSu4BgWZnYAog4YBj&#10;g+mcg4yDntgVbh5JMiPMgAJ8wGM4UKOc5z26Dr9TSi5JS59l+pNm4qKVnb82MMaqBMSsUhy5JODG&#10;eDyB35yfXJ5z1e7ImG8s+Wxz5YUEDjjJ45we4GMjkdakELueQGKkooTI5IwPfjB70xvl+ZSVdWZp&#10;FVSh7ZOM49cA549qqMrL3umhmoy51BO73GzLkZiDeY2YoweQhUlccj2OeffuBUixeUrI+90IIQhz&#10;lRjJwc8DnPHrmmyAsgXzCWQGR3MY3RgkgZPY8k9c4B9qVWBVk3qxWQLv2qCgGG2gH0C8kYxgjoTm&#10;L86tHoNtRqc19dvQHZ8s6oWIJTGNyDcDyQDnj3Pb0yCqs2S0jHeUI3M4LHGMZPcjIP8AwLtkUxgV&#10;CM3GWywAZkxnHHTJA9eDnHHUNE8YwS5aMOigqB1IIwSevzA5xzk4zVwu4Wlt+htKCiudO7IhJlZo&#10;1VZZFQ27YYxjud3Yc7iCff2qQuGDjbKwjmzG25tgVgcjaQD/AAp1yRzkc8I0fO6JHwSRy2QpHJGO&#10;vGSBnoW71GXPDPlmdggV1O5d2WORnrnj5ckFu9U5Juy8hxaektn/AF/XoMmDZJOH2yFlYsG2fcAG&#10;M8ZUfmDgnFIMFiMk4QGQ+aVjU8liMjHRe/BIINOkxucqAgYbgf494G0rgdwDzn7pHPJyGPs3opVu&#10;AEf5yQcfMfmJzznBLZzz65pSlFJW0btb8CZNKdraXv8Ac7CbgC+H5QtyCSyZHQc5ycKQcZPfkDMb&#10;TDBG4hEcP1znEYJK4AJxuIwB3JxxTiBGjKfLChiZvlYkjGMqoGeoUjPPTgZpDMglkkaRMBg4dkPA&#10;KbjgdM5BGMf/AF8WpSfNJdb/AORMp2lHzu36DcH5ndioRt26Q5yNxCcY/wBoDkAEj6U6NostyFIG&#10;6P5htP3sckHdnhcd+M4ycjMhZcGQuXLnaoaJ9j/LjqRn5WAPIJBxxVJoWLBnLBYVOXCrjgIzkngj&#10;OVY8jG73FbRiptqbKjaFmltrf7iy8h3HrkPuKgfMcZXI6ZPzEepBbjGcV3cIq7pAyq6nfMewJ4we&#10;nU9OmSRnk01nDRhVWYyq2V8rh5N+8gLkZH4+q+tIcO43CIqcPEyFkU5Kg4wOeC+GPGDjnnJTXvJ7&#10;E8yWkF2/NEyHaxxsjURMNoVUQEA4Cj+HAwAB254pUlQHLyKONkWZVR25DBRxyQA5wN2AOmCaA7OJ&#10;CUUlJCEj8sHaSDj73UckH12g84FQEugcROQgBEka4UNzkqM9QMqBjjpjpmiLbjzPWV/wNHJRduXd&#10;ku75CkaHMUh2yuxRTl8lh1A4GMZOAcA8DErskiyq+EdFAdFyoj4jCnauOcg898855NRuhJYnyhGq&#10;7CfmwSDnJ5x69c9TxkDEUhwpLks05JA6yMw25J4G0ctye6nrg0rcsrt/1dBrGV29f8rEk7I+DGGk&#10;y5wDksm5SOATngkEnpg464o81SxkKqD8uBtKkghmYgHpzIvtgE59WeYAGcK6AkhTs2lcqWBwTnOc&#10;YAznjgjNSlMhl2qEYhfMAwgDYIwOvByO+P1MS53FJPV6fIycIv3mrd++v/DjIt8aoT5RlyFUrjZK&#10;CQGxz0HB5/A+j0TccsRtViAxPJXBK9z125x22nr1pNoEyFMqEIUvs+VxgAc55+Ytz23AAdSWgupD&#10;R7srlPmzIJGZssc56c8DtjjGK0tzL3+n9foU5Ke17JJeX9bD+CUJjG6KNjgsCFDfeJ5yMgf5wKYd&#10;hPlH92xYhcAFTuGeSBngjJ69PanKpdQCpfb0ba2JckMVQ/dJO7Ix0zj1ARVIDFgjscjG/DHDMq9e&#10;3y5+vY9am3LOyer/AOHKcnb3On5eQsbo0a4yqNIQGOC7c78leowcnBHG0elNeRH8tAgH7vIjACeX&#10;nhskfLwGJOeDg8jjMwQMdpKK8h+Y/dVCc53ZI4Ayf1qLEaqWJ/gyGYiPyzySSQDwBz9O1VOMXJNa&#10;EqUXFJ9df69f+AKJBJLNIFYxMZZmWMncgIbcF2kcbWPGDkDB4yCrSKiIx3gmYIuSGLMN4Ktg5HTO&#10;BknBAx1pgDkE7SHjiExLLncHJ29P4gNxyCfuj1GXgBpUMao4JWRgwIO4EcdcnClsZH8X0yRs3ef9&#10;aAuXVb3I95Ukqy72zJkDZ0wSce+TwOPu0+MsWjZtqDZt2hl8o5CjdkAYw2c9gNxyOcIzCNzkMFJ+&#10;ZCNudueWGOhJU4B/Gn7GEgQ7tqKVky5KEyblYenQE4/2ie5rKTk6bbWo7KDtF6bD9zBAqoXLExyG&#10;RNru43PhmH3d24njg4HPQGAuwDHLsifKxJBkfZ/tDocKp2+m3JAIDSmVkZQAQY9qRlFC+YXLAg98&#10;BicdcAdgOGLuVfMhPz5EZwDtY/ewMDk/uVz7Lntmrppxs122LU4ym4tdfwGqrOY920fdwR8iszEr&#10;gKOSfQdSWUDJIrwP45fCjT/iR4VvbAx241G1iFxp94WzK7KSqBTjkMWVmQZ+vANe8Ehlidlz+8+U&#10;bhI8LHaSCBkZyq9TjH4U6RGfGEbghWKDARsEZ45yOCfYDjaCK1ozqQrqvHR7/dsOMldprX+v0P54&#10;tc0XUvCet3Wk6pbtBc2UrwTxuhAkwSoPr/n8Kybm9DGNoQoLAqyltpJHf8ea/V39p79nq38Y2N74&#10;q8MW6x+JLYNLPEApN+qABmIIzuwCMjqXHTNfkxqFrdafNJZXcM1vd28214pk8uSMjhlYexxjNfqu&#10;S5tTzOitbVFunu9tTmjTqUYLnnZN/rt8i5G7sFUvu5y6hQTjnvnjqOatYRIydwYkAFc7QDz17eh5&#10;/rWLa3Dt5b4Td5nIYZ37Tn/OfStB/LnwoMmGUkgLkqTkj09cZr1Zpp6bnYppSUp6329NNCgdwaVg&#10;wZXyEU9U56/XJP6VTRWK4lJZt2xSvIIBySe3Q/pV+WJg6x7lICE8HKnGRj6jB/MVDdEQ+Wirjcwy&#10;AmQeeea3TlGK1ON0eabnFWW461U7mblNgGwfxMD6DPTjtV/7RvmKsi5ALDOQGx/XkflVGNAIN7bs&#10;lAVC8Y6E/wAsfiaWEIZceZuDgqGI+bjjj88fjXPUfNqnod2GpW17WZtohkKHeQ4XJC4QZwOg/nVS&#10;dgEdGjbKjJ3Ls2jOMZ9tvSpIFCiQKxLHlD3HGOn6ms7VLor935o9pVwc7m457D1qVCPKopF1o396&#10;SXW/9f1uZcE22STZtYs4H94gdyMH68Ut2jIXIEb5bBAf5SDycH2yAax7adDeMFjI3OFwByM9Mgnt&#10;z+fWt+4CsY9qkYjIYbeHzkj9Dj8K9SlFpRct9j4HMVCpXnKGmvyI4JGaKZmY4IDKFA45PBx7ZH4i&#10;nYDIBEGEka5QH5Qen+P6VTE+xSFTa2Qo2/cCkjOfXrT4rgo8DEcuChcAfJk88dOwqZQv7yOHD1FJ&#10;xjJ62f5ixrJlpN+4gkNliuDjBHB65x19e9PkcuGG75cfOjHnoec9/b6VI7NlXCkLJJ8oxnOTweO3&#10;I64qCZAdruMbxgkLnntzURmotytodML1H7KO+qZSFoiXGWkkYnLLgZCnb1HbsPyq63mI0eBhZODk&#10;hjknIzx3yBjtjPbNL8hYjJZoxgEcqAfx5zjGaS4IRgU+eEgRgBeCcnPOfU0pxana+u33mVT3U+my&#10;XyJ5W+R9yFhsyDncABzj0OcYpUYKkUuAQVKkMdpbpjqPTPWjfGTgLIFCEylhkcc4HJ4qpHHvUmMk&#10;8nahDZbPJH60lG94talyvFXv/WhsBhNGoUM2FGIicjHLZJ9wR/KolkUQ4wQTkFDkgc8gn1/Sltws&#10;bIy5yYguGG0Ag8Z+gANIdpZlO8gMXIwdowflyencfrXPdJGtWlJRjVu1fp9xLE6EQBFw3KvuICyh&#10;gqkkdO3861SdsYRGXcYwAQdkYGNxweh7fnWP5vLJGAAPlwqcgH69vp6dKniudkmNoDlAuDHgKN3A&#10;x2xwPYE0p0r0731X/AN6EfZy/dpNXt6bfgdVZvJCLUh2eMn94jsTtbk5wffOcdRj2rt4bqD93btE&#10;haeBjEWOFB4yePr+orzy3vg8MWwHMb8BlAJyCCMdemK6SCYvJFAuSPJwCx27c4yM+nA5+teRiqDm&#10;3z9T6/BTi0ravS52uktcp/osQMkk8vllmJEQjJOExg5HzDJ68ZwO25ewR2NvBHcXAikcKztFKZXj&#10;IwSmBzgkEc9a5rS5p5rjbHKwEiCBAqbSc8Z/+vnvV2/tVYMshEksg2PICWZSwBOD+H4Y5xXiy/dt&#10;33/4b8D6BQVSK7Nr59fwPOPFdvdO7PtP2fBZJmJO8dMZPXqPf8K5fQ5VJMbEmZGAIc/IQHwCRnBO&#10;APpXrV0w+wQ26GKdirAqxDqqEDkc57c5weOleRJjTtTMboSCxUED5TknjrXt4WfNTdJW20+R4eYU&#10;1ze0tdp/geh6aDhmwrhmBd3BC4H3frg/jz2zXdadMtmxhMTqyEyy5kIAHQZGO2T3/iA7V59YXSIq&#10;BwVMzl94JjUDHfnp0/D2yK7LTHjuLjfGzAJ8zPkFDg8nB549ua4MTG7bcb+foa4OUb80Xa1tPkj2&#10;3wyfOaMOpkjmJIQMFEYx1P1PAGPbsa9f0iOxS4V0uTb7D5UkQAchuhPUDj1OT6DrXiHhu/lglSMK&#10;ZA0bKjRuEwW3AIDwMkc/8D7nNesCSaC0s9RtrFzcTNvntoWEYlyCWMkgGVGN3TnOMcA14FaMoybk&#10;9Or6nvUai5422d7eRZ8Q6vp9q32CF2ihG6Z0dd7A7c5JzwuSRwDuJz06/G3jO8Gq65brKXFi8rRq&#10;krEjZgkkDHHJPPXmvpfWhHJaM1zAjISVKq/mRozjhSwPPBP45FfOuv2umyXepTarO8cGn6ZI8MMK&#10;hJrmRyqKqe4UucAEkqOOpHRk7g8RGb2R5mazUcHKNV3be39eZwmnWMFpZf2lqa+ZExZdKgEoQ3xU&#10;/O+B8wjBDIW78gchsYl3cfbp3u9SuGK7fKht4JDHGgHIAxyBgdiAAAMekr35uzvnIUxxiC0UJ821&#10;QFRcdAABwOfWucSze4juJFRooWnZULE7nU/eY46DkdOnb3+yjHmlzN2aR+cYifJyrTm19CeAaf5s&#10;5lukVy4ikiEPm70ycomSOOTz6HkcVDNtDGaTFvaxEskS8OyjgDjqfb/9RzIo5LZjJsCB5CC4HmTb&#10;lO07QfZTyT+Haq93IZZE8l3xI4jSF23mHeQWYZ69cE+/TiuyMUmoRZ5jklFc+352NOO4gumbz3cQ&#10;NKBk5iWFduAu78DyOmOPbY0afwiILrV/Es2p31pp10U03wlpJGnT68QD89zqDqVtoQSqny0klbJ2&#10;7eXrmLmF7iSCCKRUigQl1PQDGAeep5IrJnSKSdbWMt9lhQiYojPI/GcAYJ5/rWlKF5OUtL/hscuK&#10;q1HanCV/T8vTudt4o8VXvieG2SK30/Q/DekBm0/w3odkdN8P2TuA0jRREs8hPyKZppJZpPLXfI5G&#10;a4drGaVUnQlI0lEkm5QYPoDzubvt9F6YrY1PzIIpNOhjEcEblYpdmPMVQBuY56EAY/CrCLK8OjzW&#10;kSqNxSKF1zFKdw5Oe5JH1ya3g/YxVToZzU6lRxqR2W9u1tifUdOvJ2a5F2J7PzkYtG/72RFA3A+g&#10;JBHrz0xUVxA0yQtIWgtEZmm2oQZz1ChQMjk9fw9ak/snUYr66t5ZRAkc7C48lt0UZ+82BkcDnn9P&#10;VIhMlvM7ZmnDuLUomYI1Xd8xbpjgELjPPUYNY8z5uZvT/hjviknyNW7+bS/zJry2e5lt/s0OzT9O&#10;tU8mNoi6IxAaVi2OCWDMS3AGBWh4Svnk1LWYdOtiFg0K61KPfh5JZrCL7ZCQx4UBoBz7556Hj4g9&#10;4jC8uGdYmJmD3G1sDOT5Z4OM4BIPp9fQfBlvDDe63MkBitLXwtqFtc3DuN8xvbZrKCNOOGMt0hzz&#10;xG/QLzV+SEne/wDl/wAOZul7epFR91PS3nsvkYtroqaZK3nSq15fQpPDt/ey+W6hwxfJGD3Oefer&#10;CW4gcwsi+RvHnSbciUjON3bAzwfUnvWvbSaWojsZ5luZCwU3EYMstpGMBVQjgYwOD39s56aG002+&#10;McdkEggtmLvLLbmSWQ7m2svz4JVeTgDJJ9q86pXm5XV7n1GCwDhTVCjFPzW933OM1O0kaC3cKyxR&#10;zx7R0L8new9gBnPeudbTWa6aQRzpFI6eUjDDkE4YkAnrzxk/WvWJILV22SfaL3ym3Qy3UUVugP3m&#10;AjDMDkH+8fpjBXFuo7032nTzeRBAHJMoJPLK7BiCOoPOT3weeDSo4iSvFPXXf5HbXytSqJu6irX0&#10;80vy1Ma7tLdrSyjCb5VuWMnlKJZASEVUx2GRn6uetTf8I+1yttCrMszXXyMT8rAZLMWwM9R9BmtO&#10;6SJba0ZMlUlDyHcS7GST7xPtkflXYRmGO9t1VWYQFEjUhTuzg8N78DjqBWDr1YLmitm/6/E6YZdS&#10;r1ZwS091fh+iOch8Nm52hY2N2zGMw7iUVgNqHI7EH8iPStuw0hkWEJEp8s7Jw/zIZCcMMdBjkcdz&#10;9MdKLy2sdQgvoYUhfy3t5I35JLAiNhjngnGDxzV60nso4kM0qi6BY3O2Xy2lk7sMehIwAccD61wV&#10;q8pSUL6XPrMLlFGFVuCSSWr06a/icprXhxbmewURSL9puMvbleIlj+dmIPb5lHQ53n0Ndra+FIry&#10;eSYzIGtlghWFk2SSs24l259IsNx0fpxipvt1gyyJL5ThMSLIo3ynaVIG7vyoOK3Pt6qsdxC5Eir5&#10;gQZVWJzlQuDk8+/Ssqteroltb87HpU8uwPtZV6042dtNOnXcaltNCkljaXV1aQzXObu3tbmSCKZA&#10;w3iRM7TuKrxj9a1/KjSaOBnRVKhWdW2ySFQCAn0I9ccj2rP+0p5vnTAFphucSBlYHkcenXtnlajk&#10;1rTNPK3l9fW1rATtdp5ViKYYNyOcZAX24OetefVc5KML3e/5HvYall2FfNzwUe11953tpBDN5JkU&#10;dHjhTG7yFc5dRnpnvznpXWLa2EQggiuA0NtapDFLI+6SFUX5k3A52jau3pgKO9eNp4r0+5CjS7lL&#10;uV8FLiKMPCQuQxycdxwR6+nNdAl9cy+Y5jYFYykTQqmwkqFJPPc4H1+tYOmoO09/P1R6FOvkqldV&#10;ocy13XW1/wDP5HokQ0+3hd1JKwsuDAvygcgcex7jI5HXpWVm2ubs+RJMspcXDuUz5axncoAJ5AG7&#10;APGSeeSaxbO9vhGFn09pXghC7WHXGQM9hkYAyO3WtzTI3RXuntnjknJaSJ4sg8gDHoDxjtisuehC&#10;TV/JfcehTrZbNc06keVeatrb8kULfTtP/tOxIJSS0ty6PHbhwFTbCUUf3grZzjPyjvivVdGm0+OF&#10;TbWu5h8zZj8tGzzsAycDO7k/ktcdcT+Wxunty5jjKKispUZGMEdvukH6D8fH/DXxlk1PxTqvhaPQ&#10;5bO40eQwy3FxcqJLgHGHCKo27ueN2B0qLe1oydH7Cu/TY2/tPh3BydOVVOUmttddNL/K59tTQ6HD&#10;NYPo2oedZXFskeo2ixNazwefEouQF5V1jkZijA/MNpO0kqOfTUo9P1BIgQzRQGBnVmkyeVKk9RnL&#10;HPXIA61xukPeXZeaOaVdmBGYjgdScZ5H0I9K9E0zQlMbTSr5juQC+0OUHzNx3Gdy9h27ivGxWZey&#10;95f8AxfE2AwacMHTcml12f5nR2fiCUwrDbrPKx2RBuYxCTuCoCrEsOCcnHHBwASU1pfET2tyqE25&#10;AMvmeWsccz5fGCMjIAbaOmGzuODnf0nRJLSJ2s7VlVmDL5wIVdw9cnO0jv8A7PXnHf2+g3d9ZL9q&#10;URCOMtKWwxRsk4Vf+AEZGeD714NfMK1X7WnoebX4mzLES9jSlyQv9nR6+e+mx8paVpWtan4ols55&#10;rudZbdbqGR7iSWKDaygxhW+7u3bgOBx719t/C/4byXMtjILGKQqY3ZWG3co3ZAXjA+70xjZ2B58K&#10;+wLoHiHS9XigdIba9jMkYVVlu0LgSxhW4JYDAPUA56A1+wXwY8AafOYtQjRJLO50pLq3bdhSrhX3&#10;7jgfcbqexPArwc1rOpU1W9v0Rw4rFYiFCNerNyuzzDxz8N9E0vwBcX2l2eoW7w+Hbi91p9TWAxTX&#10;QlmKx2gj+ZbcIbNS0paQyLOQFTy1Hz34Z0UXlxamCJvJeNWeNsiSMHaVOAeMFmLY5GCAM9Psb9vz&#10;xJdfDD9lb4maz4bkjh8T31haeEvC8zwC6Vr2/vLeHcY2BDBIlkYqwxgjNfnf+zJ8W9T8WaFYN4y0&#10;yPQvE9opM/ISx1ELtYSwruJXdhgYzyNpxkcneplb9nTxmjt7rXXXW9jx8rx0p0KkZvVydm+u3U+7&#10;tA8PTWUWnSRoymZ1kWOVtgXPB2DoM46kHp3Ar4x/4KGW1pZfs/a5NKiCSa8ht7WBxukctJDFEBxk&#10;jMoJwOBG3PGD9beLfjb8O/BekprvjjxNoPhyzihMNsLu5VJrsBJWENrbgtLLIzmJVVA3JOSoxX5H&#10;fHX4rfEf9s/xVpfwq+DXw+8T+JbT7YzaH4W0HTH1vxh4mlh3MLgWkDM20ANIIgCQOWxg19NkeUzx&#10;ePpToRtFWf5aX76HBmOL9hQqfWZJNprfvp+B+LHivwlbnddWsYt5FUnZGNol9ePXv+NeR3Nt5TGK&#10;RWV8kuByFOdpxn2FfsF+0l/wT7/at/Zm8N6X4m+OPwP8ZeAtE1TTY9VOoatpsj2thDNJDFEt5MB5&#10;cEpluYoTCXLLJIFO1jivzE1jw697qTPbwO5dyqoiY83BG3jr35/QV+74LFVsPH2OKumu5+PYjJI5&#10;pVUstSm20vdV+3btoed6fpf2m5QIrSsX+RBGdx98e1fU/wAPfg/dakbZ47Vpc+W102wgnzGCooPr&#10;8wA9ScV7D+z3+zVf+INRs7zV7PCyspigaMAgY3DIPX5cH6V+wPw1/Zos9P8AJEVohYbVdUjCCNmD&#10;xurtj5h14GMhSO+a8HOM+bi4UNbH9GeHfhNDCYeGKzWPvT1Ss1958J/Db9nxr4w20elyRhduZTEQ&#10;Jmzk7QfqOfev1g+Av7LMiTWkhsbqR762jtnZoSInjOcsBtz/AKwbeB1jPHWvrz4H/s8RXltYvd6N&#10;awS2hB8+UJDBK+N3luMEDIBIPTrwcqK/Wb4S/A6PTbG5uL2xsrfTrFY71bu6mEWlaei4z5kjdVVH&#10;didw5DHnmviqjrYmq+Z+60fovENejkeDdCkkraaPe5+fifD8/DqBb27jvbbxFYadNZ6Xaw2Y1O41&#10;CSa2SBba2t8LKXKtMvmICVQA/dUZ8n8aeHPG/wAQvD8mifE6XxmkzXa3+i2/iLUo73RtPhiimWKB&#10;FdPMZt80jMWkPRflJwK/bLxb4P8ACukSyXF9oos77Ubu8a1udRgcxWNqER44rScleXJlSTKnhkUA&#10;5r568a/AFPFMdxNfWt3Z6YsMF3LaSpcWjX+5VaN43wGETLtkwcJtIUHAAPmY3Byc1JT0j0Wi17n5&#10;hDG0Ki561NKTtZ9dH0+e9j+Xb4u/CTxLoFzrA0vRDpixak0ErXKLd218ZnKDZEQdqqG2sWYkliR1&#10;BE/wn8GeFNHtfiz4O8QC7u/7Q+G3/CZaU8WWnbXdJ1XTbiOG6ZgRI1zbDUoSW3MFyOmMfqX+0H8G&#10;viN47ufENv4Dukl0KIb7jWdL8PTajplxcR7GEX9p7jBEqNgNsMjloyvBBYfD+kfB34i+A9evra7i&#10;s9YDWrPe6pBp86ajO8inMQLSuvl7i65A6Rk/xYHFGvOhTU3d228z0lRjjcLKjJrntfV27P8ABo8D&#10;u/BOt3Or3mgx6NI6eHdRuobXTDCRq9tYS3SbVKttIS2aTeyEAxKGO4DcR9ffDvVIX+IfiO61vU9U&#10;v/ERsNTluNbmmZYLe1h0+VLiKe3ChJBJvKhlKFl5LMCVbNu4LCf4q+Donu3tdT8eaNb6vNe39g89&#10;1pF7HdT6dqauQcnfHaRXWxSQVvWC/eFevWXgm71LTPGuqz2cNvqA0htNu3to1kFr591bMJhGDj7N&#10;cQqQrE5R5NjBTsaSKvtm1UjLXz66Jnj8kKc506y0tb0d9df63NDxncaLp+reEpvAl8b238O6XHok&#10;2la24uLjTpIr2VJHsLhI1We1ngEMxW5DTNJK+5wR+86v4dfEYDxpqug3f7mLRT5aRPIZLO5imVmB&#10;jGedygA4O7OMk8MPk3xToGqBhfaTf31pfrdGzkNwGFnaNA8SK7x/3XUuSVOSseQCSBR4Z8awavrz&#10;MUGnatbRpp93GGJaO4ERk8vjBYKXTJyTjPIxXmY2U5T55K0ro78NgowpuN+ZWdu+/X9D9MLDV/Ey&#10;yX3/AAj+v3Gk22raXqPhPV7XTFIuJ9Iv7KZ7qCS4LriG5AhgeNQdyysONu00NHs59Wvo9StoIxfW&#10;j+TPELoIJ0gCgqX4Un92zBVJzuAGTgDx34R+I9dfSLCHW/3V3LpsM+rQ7GSXfsRXXHUHeWAHQZTB&#10;JPHpvgyGXTvEviJmuL46FpviSW40a4vUy11YTCGVA+3AJjaWWLccZ8rcQMkV5mLp8+GUHtFvTfzv&#10;+B1ZfN0cW7LWSTTS7O1n9+h9T6LDqkUEV1Lp08WnzWCtbXWV/fyKMNHtzwfmZunY5xxn6o+Fcaz3&#10;NjqF158KzWawiC6ia0mtmYFFSRGwR/C3TG3ivIvC32OVrZ7O5iP2xQyJGwngV/Md93XKkgDOc846&#10;DmvfNBtohqNxHNMVvpv3uN3nh3WM7O+MMykDHYZ715dfDKvONWna6t6XO5VZRg6NRNJ/f/SPaSos&#10;7d76JVeFrgQwRWsfzNkqGOBnC5YknGeTnCjjRS3kvN0SZju48kFGH7oswOX6jnymwQMgPWZplwYr&#10;DdcM0yZaNZNm8BicbSRwo+QDHU7T+EsWs/YZZpXkJ+zxKlwr4UE4OwKgyzMwKHaM4U/n2SdOrOLl&#10;s9/L5nD7KpHm9lutjktbjn07So2jlln1K6uQZUmuHdQcMp2E8/eOfcYHGa5G7s4Lm0hjkjtzeWtz&#10;i6k3h2QyMCBnODk7VHs3Hauu1OKaW9ud7b7TT5BK8ocS7mU5IVu+WU4IPIOc965a2jYXF/dSXDSf&#10;aUF0Y8rl2dGZ88k7uV46ZA71zxpeycF0+H08/vPrMraSb5tfiv56afccBrBv4lk0sxTSxiaOeSWR&#10;N6YyqCNQFyBwq+3c45rI12Vba+3RGOM2tosjRByE6YwFOCQAme3qOhA6eDWWSST7WYJjO7pGhZ3l&#10;+QMQzkjAJy2ACOffr5Ffave3Piq4gkike1jt0SyljGEYSsrI0zDngqmBzlVGSN2AkqdP3Oa/M18k&#10;vP5n2tCFRNxtblTb89jsb1p7q23NLtij00NIyFgTIzMuSAclduD0JOMc5r4e/bu1+DQfgVp2kQ+b&#10;eLr/AIotrSeZt7yqIhNdE5Bxx5ceM8EKec9ftCCaZWnsZGeWNG+V/lc3C5G2TAJGQSV9MkivzB/4&#10;KEeL7KLTPCHw+SNm1KTUZPFd9JJLmG2VQ9pDCqYwSWBOWPAiPGTmvUwMPaYlNqzWjfe39I/NuM6v&#10;s8qru9ubb5v/ACPy0kVn2M3O4PtUKNkRA2Y3E56mQfN2I7YpA2TiJW8kxiHbjhkIJGCuOjOCvTBw&#10;RQGYhzlsocl8mRkwG3bmGc8Mpwc5PPvSRmRJFVhuYMZN4O7cUKuhLf8AAG5XruUE8gD6LlsrLQ/D&#10;Yym/NPbv5omRZJXjB25DKiIE/wBaucseB935iO+MEc4pUdhG0ke8KMFCZMFV27mAJA5yQOmOOlQ7&#10;oAXEjhEEAjUKoMgwCBxyct94qcckGmO6JsdGkWN/nXcq7huK7cnj+7nIBzvFKrG6Ub9mR7Plty9d&#10;7F4yBN0qIZAozskfakhBATke24cbiCevGKmjlBWNlPOze7sNgcYAJbgkj5Wz0+g6nFNw2Hjk3yDI&#10;c7RnZg7CRjAyMsBnrnHy5oScR79qZ5DjIEiOQWBU54PbK+w4weFG0pPmZneMI6Xe3l2OhhcPC6s0&#10;SgoCyu4YKGBPO484O9hj6/xc2fLIDNgqVXazAkqoUErtPHGQBxjt174sNyzeUhL7nwHQYd41BRVw&#10;SM5G4ckHJ9Sa04pXmdIQ5JkmQbcglskYBHJUH5s4I4UdDwFFOMm33KlL3/h6q9i+oLEx5YbWXYpb&#10;50YlueT6jkAfwe1SoixzeYIpRGI+AW3lgMsOOF+Y7RkjueOlRJtYpMHDhlUKYj5ismDt69ep57g8&#10;1MwyqKOQVZgGJAAG3CA+nX06DsazU2/mNRjFuD+KP9IlRlGGCNGclgEdVVPlGMc45x09e2aZFIkp&#10;RY9uCuFkjITYWBDEdOeSQRn3NSIfs4SVljyqtnbGDuB2t0zjkgYPXOegJFOL70GEyUk3DCnK464H&#10;vnJz+GKLxSb8ylByjG5IGkQeWC29oA5BXKNwcjrkHjgY7ikJLojDI8nBCbyQCAAA349+tRF3kZ5m&#10;OME4C/fGVII2kZ6MPmzjOfTmTAIMj7lG5WVd2G5/vY4PJ4xxW0k401z62E3JSUYtpP8AQjZgHYvs&#10;KxqXZI1L5DDG0gY6cDAPGcY7lpdhIJB5eAuCiYcfKflO0jA547cVIG/eAiAkK2Y1KkfK/LdCe6qp&#10;xyCy47kQl0HUAlj+8UAeYuCMttGPRhx0PbnhKWiutRWsrTev9bg7O7YUjy1BfJPUrkcj0yCCc8be&#10;nWmhXjDDKnKhpADmMgkcde/Bx9cd6Z5YiUhhuyC5JJDOC2w4JHq4BPTJHXiiRmUFpFBYSZEceBuZ&#10;TgLkDg4CjGeo9MU1ayUdhw5uRxltqv8Ah/IeSqyjYAJCdiIoJLEAjGOnTaDzwCPpUSoHZ/LTCkk7&#10;o33GQ9OB68joOMH2oDP82XljjG5Y2WPDOvJwQMcfMzHGAAM8YqEb0J8vnYQCVQNu5J9emPbOSOel&#10;Jx5oJp3fb9CYyS636WJUbETli4dEztlABOSRkD+E5wc9PYUoJjEqHhjgBcYjzt4U85OOB1z1xnrU&#10;ZK+d5LhwFVg5UAYOCwG388k59KezjcD8mVbKyksyuRnO4cZHHfPfjvSStJ2tb9RxkoLma1voRrLt&#10;6n92WLZKncADgAqQD0A5HACehqePdKTI7tuUEHPzI2VwQRnGf3hz1/hPXFRAIszFlJIK71ByxLYb&#10;Kt6cYPrtJHFCIzlXADGV0V1GVC7VIycYzgqM47kHjs4/E2tNhwl9lrfT1JYx0kOVeNimzcwQ5YlR&#10;2wOePf8AKrPmZZCwZAFLLGzBTjH3dx4G7vn1qBYXIkCtGp8sRiQ5KIu5gG7EFc57cnipI4GuFaYr&#10;IFEowHYqinAGAQDwdpOMHrjFU3Ket/67GT+O0FvbT0LUaI2CxWVOJQHfLEAgg4/UduPSnkRq0RBc&#10;hY/9WHYogBByccD72Pm9BgYBxHES6rICylVyULb1OSR83bccc7eOODUyeXJGwYknGyP5RuAGQ2e+&#10;TiMAjOfmz0+bFSld20VzoTptbWf6/wDDEimQ/vAUXK5kcSGQKvGDz7kjjgYIwBU0xhMShlWTzVyV&#10;ClkTJOOg4BAxz6DNQRqgZd2SJXBIwAF2g9hyR93JAOMjrzU4eHC5VYxIBu3kAx4wvPOOMgEeoPXr&#10;TXM4pLp+X9IlTUYP2a1uLlgGYSsysr5w2AMjacdzjaG567RxziopAruCCY4tygAgOAApxkfiM46D&#10;tUkk25F37sB9qkR/KwAJYnHc89Bj17ZkA4XOdr4I3DKjIx068DaeM9+tNt2u+4OXKvfX+ZEJHUM8&#10;abCEAOGG0Fh09O3f244FG5SHExOXJYSb8bRjjGRyCRgcAYH0pqIqFgfMYKQ7uUBXaU5Bx6kDr6Ed&#10;6czAmNkyoJJIztHoo2nOOCwPX73bvScuZRXp+X4GU5VHK8Zb/j/kRRxhdrK8hZdpdFdlLrkHG4EY&#10;6jkEYx1zUbbQ5kdlDg7wEUJsyTlhjGMEDA4AxnjjFlVKrGWLuWwdyLlWZSDgr+A59z6AmMqjFp9w&#10;UBQWLAbiEIBGQOCMMx3ejc9K0fu2b69fPQpq8U7aJ7oZ524ksGbKhI1PCE7sswYjgfN+Jz3pN7Nk&#10;BW2NiQEuCApC7OfQhxg+1SFyTjy4yJWUIjZ3RnKhmxgE46++OOoqNgjRMyhw5faSvz7eApAz2wc8&#10;574rJqKtJf0gl70kk9N/O9v1GFgE8wxeUrJ1kbdsDEKeoxk7gMHnI4PPLmKlVb9427LRI33jtAyf&#10;1GB29hTkQKAXMrMih4/NbJbAKZI6YJB/Fc9c4SX7hZyyFdx3HAVcLgsp7DAx75I7mrXvSaj/AFsH&#10;LHkcN3+RExLgFUKFFALFwDKfnyAnXgKSSevGR6rh8YkZgpxn94SzbiM4PU885P8A+t8gDyDMbALt&#10;AIUszEk/K3HAKgkD/ZPTnKE70LAjcQGBKbg/KnqDzkAc9ioNW3yQtHr+AL3bwve33eQ+QOR8pYKF&#10;JALknAGCCOPTH0PvSgBhgM7MJNyq8Z2suORk4zg/4etNbasZiD7yCWZ1LNuPqB1z0HOeCe/IJpBt&#10;Q7duxuASHYEbhgHGMZCngZ+XtmoVNby0t/wP1FK6qe0T6f8ADDpnEkassbbtuXVl3YwQCfb19eaa&#10;64lUsGeRQGEYOSQxAJ6gD7pPfoRnqCqPloTtUhHJj3gIo4LNkn2GevO2muxyF+8/OzjKrweASQOp&#10;PsNvfOKFZyutv8xNRjDmv1SB5EY+VKu5XODuZRu4bOR1Y4z+AFR5QRqzb5Gc43FMuzF2+YsPUEeu&#10;NhPrhrF1Zg23gAnqRjAGM4BHr7jJoDDYrFSHDYds5BAYgY7HB3Hj9Oa1i7RV1cItuT5nq9BGsxcM&#10;0y3Tqrk4CspHHH90+nqaKjLyA4W3mnUcCVXgVXx3wzg/p+Y5orFwjfdA50ebZ/j5D1fLKHlHlE7s&#10;qcxORvUAY5yuCOfX61LsdiN6xg/KCw3LlcAgnI7/AKY56YEDiVNu4q7n5ckhcMFBXbwcHcOo9aVI&#10;htAVt6AbPlHMaj7q54IA6fh+NYt2n7z+f3ESl7zSfX8BpDyuwCABV3s65IAJAwcd+nXpzQUBUORu&#10;8sMJNmREQSAWA5wTheueAM5xSMx3mKJk3n5ZHjO0YA4ABHT5sckY/Gkiy8bidhGxZlwP3iD5W4Dc&#10;dDtJ6jk81cEl7n9WJlJNuT20uEkbqwinVGB/dhpFYqGPBGB1HLH8OKQsN28nIB5YSEcc4DHufmBw&#10;TyGBqRTO4PA80MJCy9GAKAnr6kcn8jUTMuwOASpjxu3bmUbu3GDjLcdMv75pxVr2fc0UnNJeX5IZ&#10;JtUSSAiWRmURZbcjDjccj/Zbgew+lSFfkVvMbds3p+8Kg4J4/DgY9e1MyxAYZduUCjIwWxknvzxx&#10;0pwkCyoUV3Yr8mRg5IztI6ckDk+h45xUcqcVFS/rcnmfM3f3tl2f9Ic26QgKdozvkbPLcdODju38&#10;vquBMcQsRJkgkqSjZx046dMk4xg/UseRV8shG3ugiiQfugchHBPGGABwPfPOQRTV4VQiSBy5DSMS&#10;yhQRkbAvuecnOT0xk17qkk/l9xcILkvJ+9/SGGVxKoJIleLEoAPlt/DjOSf4ieevrQIy8hTCgRo5&#10;WTkqSflDc4Jznj0zgnkVJsfIaBuEf13ICw43EDPJViODgZHOCaUu6tL5ojUmMbjn7rM3AI69senJ&#10;+tTye9yFck4tSv8A5CSMUjLIGbc2UEkgzEFJADEfxNgdsYJPGRUbMwzIiKQW3SKvyICMAZXtyBnH&#10;PJwM4wriNnZdy7s7HYcynZk4x0J+8RzyAeaackBpMK7tvkIYKrEg5ILdtwPUKTj8Bo3zxSSC8udu&#10;K3Q4oFUZKmRFYSMJCpc/KULIcYzkHnBwwz7sWTADiPaUkDICSsUjMqoc4z0AHccY54qISIpZVjHl&#10;NEpwXJYKNzFmI7EL1HofwRCF2NKGUs+DvbaXOD6ccbiQv5Z7ZtOMddt/wVv8gUmppR6aD3dt7AlA&#10;FUGUuhUsoPLdsZGSDxnaOM8hiyBc5KOEjIwzYaQjonTv+OP0pgIVI1ZWHmY/1YPyYIZcHjgZBPt+&#10;VEoj3MqElQQcbC7tkclRg7sL1LcDv6Uox5pXe/RjVS8JVH1t+YwAnPllF37gZWf7uSF4B6DI4B4y&#10;TxVZwpkVAI0KnI2uxkddyAkkdAdx6E9R17TkqwSRpERw/G47VAA3AgDHfnjIyAQPVolBOPvOka7n&#10;cYZ1z0zkjGQOgABPTgkuc3H1G43g3L1v5diJQG29AdvlfKwbqDhh36sBg9BGMYzQ8YLn5tpU5+Zi&#10;6JgZyCDzgqp6EHJyCMioHYLl4g+WLcu2WAB5Ziemdydscd6epUkQrHuaQeUzMTNt+UyYB7EhWPIz&#10;kAdflpyTsoy0X67/AKGSjFStFv8AyHRhVkZS8aF41dd/WJTkgbh1IxjB4ORkDtFIQQ6cqEQKpb5X&#10;5USMCDjkBwTx6+lSFlLKzgtIiffZjtRkI/h5ByeRnoAPcVVLvvKq7CNVCGMurIcggFsgY6tnIPXv&#10;WqtLV7WWnzsNy1UJPRP/AIBZ3eYqqSzqwZG3ArHGCV2hl7/ePI6Adc1MIw7bw4Dx5CTzJtwVfAPs&#10;c7ep79ec1nlZCwQK3mK2RkiRywIZAB1+8T67s4qw07LGm2MxrgklEEe0HBx3JAAIGeSCfwlpQkuU&#10;qEYpNp7f8AlALB0ZmMe8fMV4BAKFjlRg8YwOPnOOp3M+59087sNhGdV3E/L83bqSM4wRyaAX3uqx&#10;tGMiREccIeXJBXnP3OoGQ3U9mkfKz4TDMVKqAhyOMZx355wc4zn1d0/eZMpXurf0xAjSx8mIlAAG&#10;DMUJB54z/Cc8DIz7YNSAkSSrIAyxuzvIP3ZZN5K5XlecHnhjk9gMLtUeaVK7P9ZHGXIbcqAsN2eS&#10;QX/MZ6A09pGUcq7Rt8g2qyEZ2qduOfoe5qW5X5YslJRcZr5+itoTEvKvyYEkYEYCKEK4jXllwc5Y&#10;Dg8jJwOlNTasjMGYeVgjk78/xZPQD7p9+e3WNJGbq6O6XLOSmy3iUiRsEYAXYQSRwMAjjinI6HYA&#10;ku8oMkYZiGSMkshIy3zn5TjmM8jmoampct9Lr8zWNVTXLFavp+GnoPRt8kePLGEKiLYxk2hictnt&#10;90YwB8nIqFY2y+DBIFRvLckIh53Dvj+IjkE4A9BUm1MDcobG0MSQhGQWYgcnGVXOPXr2p8hP8Jlc&#10;qvz4YxNnDN8w6jcWUZ755BBqpx95JLXu/MmrF01zT7f5EccbrEyknkEsUYHOAoYgdsFTz6Z9eVKs&#10;B8g+6m9AjbMENtQ7SMjJGQefu5xSIpC7o1EaCQD5SEjU/KXxjOBkkYHYHueHLJIxIKjfgJsRslgW&#10;ypx6cSfXPXistaknD0/RipexlFp9tBJFQSS+W6MrsXV9jK7RiTKAN1AI55PdsYycJmUMpKwxqeW2&#10;EoWZvvk9Rkkkk47+/ARGqqi4cLlNy5WQKwBzkEE4OSRntjBycKFdFZcBtoCpmQlWBGM4PA5/u984&#10;renCLT5upUOV3Te3UVgAWYS7AhYrwG2HBVcqRnncx54yq85xlsj4YSbCsTByuEZg53DHzNk8DjOc&#10;jIyfUVssTjzSHHT769HUgAAEtnOW54HY5oUKVAkV0UqI5Nx3KD0Hb02r1xlfWpbivcSuhzkrqTei&#10;WnnfuORVaSRncblclSdxx1O7d1HPXAz1+9mhQSgfcpiK7zG3ygno+49Oqk/ywMACMzYHO8o4VmLN&#10;kfOMr2IO0e+WGc4IEMTM3l3Ex3rFGuzJUqCjBlUNkD5Wy3qCXzzkVbs7267ClHkgkuv369X/AFsP&#10;d0yWBwFJUZC+YCdp456fLjjnKc9qb/y1+UJuMnzptwmGbbx9Cv3gMc5JAzUijyg2CVClU6ZbBIJA&#10;JByQOoHKktnkcNLGQLgZZWHyO37tANoPH+8AxwPTg1EpOMm2726fcawhTnab3td/JEckBlMgLeYh&#10;XzdsgYlhkk4x3/eMDnk5GQOa+Jf2hv2XtM8bRXPiXwmEsvEWWaS2RdlvfZyeRxg9QCM9BnrX264A&#10;eQqSFdI0LhuCeQAxU5BO0DB6gdeOUkAKSIcZYBnUMNuCJFAZduSTgg4Ix8wwcjG+HxFfBV41aMrS&#10;7/oYy9lOm6dtN/y1+R/OnrehX3hvUJtK1K3mtryzlEc0E8ZhkBByBtIzk9eexFZ8M2IlkBUkAtkc&#10;57YP+e9ft78XvgL4U+JcE072lrBrPllLLUFDGaN2YsCVXqGBI7jcoPHGPyv+J/wB8afDa4llvrNr&#10;jS0bMOowK7QOD93zOwJ9D6iv0fKeIsNjkqdd8tXr2foc7danPlirx0+WiPDmmMku9Nu9c7R0K5AB&#10;IH1A/KmArLNITIx2r8wDAfjUTgofmLb0Yu2Tgj0x/OqXmPyyqR5m7dkjcD0zkdB9K+nlFyguy2Oh&#10;V4RjFTfvN/kW2kZGQKNyg4KBvlHHA9+lToVRcg8tnIDY/E/Tis7znBDKVJ3EkkbSflOeP60onJZy&#10;yjaAwJZwEHTAz3+tZKjfS3U7Y4mMKWy6foayz+WoBZsBSwBOe2ePz6Vi3s2I2BDHLHaM7lAI74/D&#10;86keeN124jMm3fkgYIGRz9MZ7VLp2ganrwu5baNzBYQtJM7ZIbHzfngZP1PpWkYOC5qqsjxsfmlL&#10;D0nOTu2tEt+hysMyQ3CvI/LEMCGOB7117SM9uNhQc9h8wBBPA9/61x87qsrQSxfMkm044KjoB7Y5&#10;rpbOZWtokBUglUCn5mJAwM/XA616NZJU4d/+GPz2GLnXxlWE3v8AgV3hb58MMBs4L84Hb8u3rUFs&#10;/wDy0lwA5LLu5Kj6e2P1rRJyZCo52hhuHG47jyvPPYYqJ4lKKeWlIJ8vG3ZyOOvGcg/hURfLJ8xp&#10;CmppSpu1v8/6+80IZSAF8tWEq7ctnaF5yePx6VTmLOhTCLJFKXU85I9/x9PU0+IyMkYLsHizuLED&#10;7zNwPoCOevFPaZGaTbtLsDtxhmAJycH9R9K5VTc6h306jaTk7NP79F+pXQALufIbBUsDgZxx9RVY&#10;M33XI4Kt8r4IwQRz0ye/FaJt2ZY1BBwpkHHAGBxjvWYCPNVXwxY8pgrjB4JI7cVvGMXK633+4mte&#10;qlzbpX/K5oxqcsoUuSm9ey8dcjHPX9Klg3MxVQqkN1YHByOn/juPxpilSI1RwmSVLrjDEn5sdh1N&#10;Co8TsQXzydq8OT0+vTP5VlJNpyT1/r9DoUYya5u6f4XLsKnJZ1QSM5UL1iwpwD178n6fo6OFlDPn&#10;aoGX7kjOfl9hj+fWolCuituRSoLE4AHrtJP+cnNNDySARMcIpI37sFe3Xrzjt6VzXi3Z7nTJOpRi&#10;3r1t56DVUpOXVixJyNuSpAxjHHfOasxgCZSSy4IZZMhSTnn/APXUTq0QEmSRtx5bOCCORz+X5Zpi&#10;9VZyyZAUMecAndx+dCV9P6/rQqjNwk1tf7jdtDFFcNGrlgWxHyQHORjI/HHFbcDym4Ty3Jy+JmBI&#10;WMHjGT6Dt9a5q3k2TKWGFB3Bxg7gD1H1rqrMCSEXgikRVcBgjbXUndgg9f4Tz+ucVw4iPK7n0WCq&#10;Qa5FpK6/zfyOtsbloppxGNyR26lHBCNuXk+wHAH/AAI9K3dLsr6eRftBRldA5Y5cjeR05+igH17V&#10;x+nsis0cspCyAxghcMBuJ+mf8favQLK7liD28J+aWIJEzsq+XxjjPT19B15rxa9Fpu/VaM+mw+Ia&#10;jKm/S/8AXkP1Pw/cFvLtIPNVIS5ljAxFx8wyPXH1HrxXifiHTpLe8jLqpVSxkG/DrwduDjHp19DX&#10;rs2q6hJFBHBIyOkzKRkknGBuJ+rcnsDXm/im5mlluJFiBimCkkAqQQoUnJ5BO0Ej1+pp4V8laKT1&#10;ueXjXWUFGcei26alWznV0jQKnCqMtlgg9u5+tdTo9zm4EDSsjxqCXILBeePX8a4Kxl8mcxNuyxDZ&#10;xsBycgY6EfLjFdpYzQJcI2QJdxD4wc5C4BA4HTNehiowhJ22sefgpqyjJ31/I968IxwQyxxySF42&#10;bsDlic8H64Pv/KvcFXVHJEcwS1ERaRXbYJW2/OXbOOu4+5boTXz74X1CVZiiocDbIwDFWdlG4cjP&#10;BHHH97pXug1Nbi3W3unX7Iyfar+Z2QSF+CiA8kgHAwc4zwM818hiqNScpOHXU+mw8uRJu1/6ehj6&#10;hLsW7S3ihaKIb2aEBIZdxIyuScjhiCex9+flLx6rxapLLEqu6FzGHAaRmdWViFPHdgP0r7GuLqzS&#10;2juBDKmnNtjtSpb9+xUku44yNpBAxggjGK+V9fuLafW765e1aUW4ltAMiMecFDI57MFYq2Mn7uM9&#10;a3ytShVUpr1+R5+YVY1aLpJafrfRnlpW0s2MN/NIl/DF5s2LVrqRnZQ2GYMPmUEKMHr2xmuanNvH&#10;a6jJDEzSCQyMZMFCGVFyF4GBhRg57+1WL6O5+0G6DyB3vEEryMWMiiTEh9cEM/59KjinF1dXVsQv&#10;lxkTFgmxZCgbIYdcYC59TX2lNxnHnvr1+Vj88xsFCtGHyXrdq/6/MztNiubi6hEkRTy0jVFYAow+&#10;8Qw/hH6AGobuGK4R5xKqTPOJY5FbEO0NnBPoc/8A1q3Rb6jcLcSwtG0Vx+7kaAkeQhTHl7iMgkAn&#10;nPXn2xlWF5FtmfzkA+WKFfOVyBxntjOM811Rmr80fU8+pGUZcr2/pGFfSkSBbJxN5nzPcI4cSs3p&#10;7AflmrFpPcafbsHmb7Y/7skgGNEAAGMDrjPPPWse5YXFw0XltEkbf6wEIZWBOVGOADwMjPQ4zUNi&#10;Zp2mgtpbaOWXj7LcziOFVXJY7mwuTn17Yx2r0FCUqaXT8TzZStWcnpur+aSOkt4p7y48qIi4uJhH&#10;bKskxYOSegHJJJ9u4FdFrUulWuoyWkt3DZPp9pDaQRNCQ880carJsjXnHmeaR7Eck8nA05v+EfeP&#10;V9RvdO/tNEZ9LtLOSG9uvMI2JcTCNisccWd+GO5iqgKRuYee31xCkiym6+1TlvN8xIv3jnrkuR/E&#10;euMmpjRcp2ewQqON4p3t+TszuDPaiaQJPPfPMmwvJF9jmlbjJwzsQuSeSSay9Y8VrG7WlvqUTxwx&#10;pBFHGC4VwAZMsBjAbf2J/WudN21xHLcTxBbp4xGJEl4mU4+8O3QDjrXJXMEnmtK0RTarfJGNoHJH&#10;9c11UcJTlf2vbYdWrWaSpO2nzO9s/EEl5iYXK+dADPOY4j5bJux/EOcYHTPXrW14m8XrpQtNNtLq&#10;VJ9XMeu6kgiVljD7hZQhvvbViCScHlpuRkc+NW0lzaSrLE4VgpQKRmMg9QR0/D3q1cmTUr3+0vNE&#10;t00nmTR3DgljnPyE9R7dvwrteCw6lzvb+v1PKqYrHU43g9e/XodePF+oWlw+yV0sIQs1zNIqhp2Y&#10;GTy0XGSWyOSTgAGsyD4m+Immmlub5VR3+S3iiHAJ4UN1AAx1znA64rjNblup7qQOhWKNyI0VQIwO&#10;gI4wScdeprDCknBIBPqOT7H8q7qGX4R01NwV/wCmeLVz3NMLXShVkrde57XD4/1q9BefXrXTEicb&#10;Ekt5Z2wB/DsBP5n+LrU918TJ4rd1Goya00a5KGzFhZAk4H8TM+OvRTxXiWWHUnBGNuc55I/z9anR&#10;MoEUlmkxnBGP8+v4Uf2XhE7OC1/r8jqjxNnMm1Gs9V1Poe18TajqGiwTnEAu5A7mPjZGmWZFHUqD&#10;sOfbnPNd9outSTMhWVW8yJcE5c5XqevOcE/jXzG2sG2n02ySWT7Np1n9kJLFVLsxeQ/99OR7hRXp&#10;mi6nH5UaiTDiPaux8H8T17AfhXzmY5aoRdSGibv/AF8rH0mT57iZ6Ob54xSfm7f8E+m4zHeJbg/Z&#10;g32qO6dzndJtI+XHpk9PbFaepy27kQtHEvmnaHRNrKQDls/nXm+ja1E0EM3mkNGTHcqW+ZeC6MB1&#10;6K34gdMiprvxNaSy7VnYsjlQrsEBBHHPQc/56Z+Y+oyVaz23/I+gWPrySl7R/f3F0SWa31O7gkmk&#10;IF0VjzIxDLuwvHQcBePUe1fRfhrE8UcXl4yism/AUcjPoec4ySR0xjnPyna6mv8Aa0jidCZmZg27&#10;CA84LY+in/gX419G+ENSSXyeWAkG3DEYfocge+P09qjMKMo04yj0Q8LjKsptubbT28uh6g+mLPg+&#10;WgiK8bzgk/Lkn0xyT64rxX4peHi2lzMqs5MbFAMkNgnGe4wATx6AcdR9F6ZL9qMcDBQXPyMGJIc4&#10;PUehJ+uB3rB+ImiE6Ncbhu2x7vMihGRuA3ZwOmQc+xFfP01KnVhN6/8ADn0NDESqw1vbr3v2+4+X&#10;fh1LJ9h0xpSwKx+VIVYYynynBPI6E9T0Hvn6N0eIzwOjOyEHcPn+UDKkj8d2Bt6Zr508GW5tJXt3&#10;n27dUZdgAAUM64Hr03nHv1619V+HdOtZocoSryAnA3AZ6cE8c+3ByOnSts0jKcudaf0jrwlVxS9p&#10;fmsv6/A1NNgRZEkw0uUHzOSSxUqAgJ6d8ZPt1rv9IggvlUqgPnxFHBwOV+bI98AHPoa5OxNuoPnv&#10;uCMzM6HDBshVx1PTPbHzHgcAdtp+oRQSpceUx8xgQezAsTnaBj156dM9K+clRq8zbV5HuUq8I0/c&#10;fb8dy1eeGLmTeqEGKSPzVaMFy+Ex1I6gnnqfc18i+IvBsnhr4wwa037iLW9NNs6BRgyxLgHcO+3H&#10;X+77Gv0q8Ktp89pGsywrEgZNz7VKjgjcw+UDnnnHUHpivnP47aFZxXdlr1jKZbW1ukmErRiEoUws&#10;g288Hc6jceRg44IHRh6eLoxny6xkrP8Ay/BFYedKrVSeuqt+jOo+H+miS0UygEvtIZxujBCnaMY9&#10;8elfTeleFFS3Epjy2/zEYsGDYzxtHIHfb2r518Favb2im3aNHhz8g3gqrKTyCep+UjI74r6NtvF9&#10;xJpaFIkjt4UcCV42KDADMCw4+UAHjgEk4I6eXPBLETlrbRf8FHrQnOMVCnstL/idvBFBFpjRQtFD&#10;LcEREOCY4vkDneByeOeBzngHOK6yw0r/AEby5f3tzcH99KJR5MUeEC7Y+ny4c55yXr58HxW0CyMN&#10;ve6/obMALuSKLU4bi7jyWGPLRiwUlhwV/gGDxx0SfFLT9VS1bRrgljw0rb7azkXnc80m0sCoXjaj&#10;Zx6c1yxytVKippXZ1OVanF1XZRIPihZacIpFtQIzCpgljjLBGRjvBDZyCCxwc54/P9O/2UvG+mXf&#10;gLwla3V+tzJp+kJDPNE4Dx7gWliGRgbGZsZGeF4xjP5IHU9V8bTIxtYrG1luHhaEEythWkw2cAHP&#10;XgLy3AOSa9o+G2h+PoojoHhbUNVtVv7lV8qxnKGf7uT5mMqM8ZVhx/F1xx4nIqmIlCpDSSe33fno&#10;dVfH4X6mqDb5b3d/0PUf+CkXxY0/x3r/AIG+FGgn7ZoWgTSa/wCJI1uxKDePGkcNuzgcPHGzux/v&#10;MhAwpJ+nP2NP2NPBXxo+BnifxB4Li1nxN4z0Czl1G8vL2Aaa+kLBsb7NDAspjkYYkDOAplz8saAB&#10;V/PXx38M4tM1aVtW8R6PpcOms134g13V7mWRJH8tpRbxgK80088ojhRAPmZwxKqGYfW/7FX7S3i/&#10;4BeMN/g3xtqfhBNWdhNqOiaDp/ii9gLxmNmtbS+ZbQyt8iq87xqhw/mRld4+qy3AUcFjKWEx6vGc&#10;de93pp6aHy+PpYzFZZOGT354tNLWz667s/NX9rn4RvpA8Q6lZ6bFNqWlpPLaSz25Jc4LFuOQzBdo&#10;znG4/wB0V+fGl69PHbCS3ne2mmQh51mMLzJtBOcEZB4OO+OnFf0AftE2Wo/Ffxd4s0u00nUt17fz&#10;RXWqa/8AY4NRvpJvNaS4eCzlmgVpSXcRRuyLgqJCBuPyj4H/AOCeXhqw1L7V4nPiLVrVXLrppuY7&#10;GIBmd0WQQgkpnd8rEnGRuFelhq39nqVNK8U9Lf18z6rKvDniPiKEK9VRhGSi3zN+XRJ6n51S/ED4&#10;8eP/AAPL8BvDGueNNV+H2sa7ba/q/gqyu7m68Oz3tiJfstxcxAlFMTTOwfAOcE819DfBf9ii/wBF&#10;lg1jxhZPcXjkMbEwkrZtnZnBGc5AYZGdvYAg1+zvw7+BPh7wlaCHw9oFtZWUaKqQrbrCkJA2/cAH&#10;T5OvcE5PIP2b8Nvg94b1TTY7u7X7RdiMyRJDbiWyRgDGdzDLAod2SSnJUAdCel5hXqrkno38/kfs&#10;2QeG+ScL0lipr2tW6u9tdE7JWXTfU/OP4Q/s8Q2sll5MVvaWqws/n3EBAlIQgBFUEj512Z6DI6Yz&#10;X6I/B74A2erXMcU0q29vDKrmVgTE0jE7EDldp5TJDYJG7rX1R4U+DWlteWVjBpkW9V3IWfypbgFg&#10;CEO0gjJJwQu7afmXv+g3wo+F+naJLZObE2bRyNDd2k1u2mTxzSRnAhXbhztIB3cMWZeT1xpYWeLq&#10;Wvp1+bRtxHxZhsiwc5U7qXK3FadNf+AcT8MvgLo+jadpxutMjniWBZUWcKPPiXIZ43U7SSVJGSTj&#10;G4ZJWvrGHQvDGnR2mh2NnqcEWq2Eb/2bJo/9p2FtwFjmaZsQtJG7RhRndhiwUAE10+rQ21nptpMD&#10;E1jdaithdCOeJ42LPtkxAAvlSbVIwSASvBGQKpxzpocInvtNsrKOGe4t9Emh1KO4dbYyl4o7mPLH&#10;zcCDnIzggAAgL7n1OjhE4rpZt2f9a+p/Mea8RY/P5LEVJO7ckoprVrye7Ts3aLa302Pnn4h+D9b1&#10;M7rOLTY9Q09JHGq3lot8lrbxlTNLGD+7DOFO15FdU3r8jYJrw/Tfg5c+MJ5LH4g6pp/jXTZIpl/s&#10;lroSx2UDIZEs475YYIpnkVlaaQw+UplkVEOFkH1xqWpXNnf6R/ak8txaXdrcWtlZ3kguI4YwsZix&#10;8uWEpmlbYxJzCMAliBhaz4Vs7O1sP7IvHvMXc04+0RBL6Iyvt8mdGIJKKjSMiMSNgBbpj5zHYVOD&#10;lCN2nrffo167s9rDYmbhCnXaXMmotJ8vVPXo1ZfN6N7nyLq3w28D2niHTNJ8HhfDHiCWOS4l8M+T&#10;d3+laTZ7DHCJHZX2oVQ4BffI7HZEduK+cviz4C1bTUGq6N4Bg8Xag2rwWE1o2pppVzqPnGZHdlkQ&#10;yAjPmYC4GFBCllB/Qe303xHdX91JaRW9npOrZOqaj5/k3s/lJ5ISKUAOjJu5CMvAT5jgV02peDvG&#10;EX9naj4at/7R8P28VndWaaiEufEcNxHCIFe2u590krLJE5MquJB0O4gmvKdOWKoycIvm8l07pdV/&#10;Vj1ZV6WCqQhWqRs9E5S6/wAre6b1stdr3P57f2jvgn478FQeGNch0TU4NOF5HqaPNpvmrpiRzM00&#10;EnlH5o5B50XOAHDEAjlvPPA9vpdpYC51HxBFNPqBeO4+xusDgyeY0du0cwIdCrKrnYRhSVOBk/0S&#10;SeG3vtJ0/wAE+L9C163hOpyvqMeqaQt/BPdlphZlWMfmGQLLICAxz5vKjG4/FF78Mvhv4OXxJoPi&#10;rRH1LwF4h8TDU9GvdNtY9OlcwPPGI0uzGxhlAkY+S/PyjgBgx8nFYOUJRqKpaNrNPpJJfOz2Z6OG&#10;x2HrUpUq1NSkndOL+ON/uv1XlqflrffDiLSI9fvruSGW51ixtnTVri1gvbGNlG3COcmIsDGG28DY&#10;OpJB+fdI8PaZ8P7T4v69c+HbHxjeeJvAEng7wxcMYvtfhbUr3WdMuV162hkTe0kFnYahbiWMK8Yv&#10;1ycYB/X3xn4T+Gt94Tij8F3WraD4h0Tw1c6XJBDaLqdrrsixFwlwAVIwvmeZc7mfD8qQCR+d3i7b&#10;4dex1vR7I2U1zZH7Xb2yMEgaRUUxbSPlJUM5BODmTHTaMq6WGUaikpaNXWujVnv2uXgKksTKpSUX&#10;aUldPT4XdLfS7XQ8f+G+s6yNRurfVrtLZp777TZLKds1nFJHDGEkUHB2yLI3TIViOSK+1fhfb/29&#10;YRPrQitbmSaSwvIFmKNehHkiZ0KHOOAV+bJDjB5Ir4CvkjfXm1a2dlnuLH7BOquqRLhncOu3GXQP&#10;kZOMjkEZFfXHwq8RT3elpZTyRtcQyRStciMJMxXaJHUHGAckHGOG+or5x11B2jq76fomfSPAOa9r&#10;HTa/l3PvT4f+FLfQbKXS01a91qwivGNnfalItlq7RE5j8xY242ZXDA4JXOByK+p/DE8l2IInRWZW&#10;VNzJuklXGCzZOORtOMfxE49Pl34danNNAV1GMoYyiMkw2ySAgRqQABgHqSOfmbJGa+kvC8I0Ke1t&#10;LJnkW4VZ4XMplKZzlWcnOQTyM5w6dRg150ayjO1PSPVdUu39fqXKn7RONZ3qdH+f6Humi22nWkCp&#10;bRlkgd40tyMyRO5IfjHBJHOBnIHXOKp3iT3t5GqfJYxzx3csUqEBGxtIA6g4Kjn+8Oeucey1cSap&#10;dIgRLeOFfMaMsVjxxuVsY/hYnrwCMDFazXlp9nEsLi3jjummuWC5EjDygrHqxPy4/DPA4rrjCnia&#10;ajF2V76dbHJSpVKNTnavdfd/wTJ8YXRt9OubVR9mZ503ThiCuMI23H90ZH4e/PFS3l29tDeQQKwW&#10;wERcOAq7CcFhjGMBjg+vfrU/xE1K/ngnW1t0lZAqFlIUsJVTDkYBwQrHPpj8cfTtQZtMms2jCSRW&#10;YDywnCSllG45I9ztXgjGSQRV1Zx9oqHV/wDBa/U+hyamvqrrKKunr+F/0PMtInuZXY38M5P2yV1G&#10;0gtGJHVV35A6bevQD6Vm69Fp8xi1KC5NtKl8I5IJlMTQyI24fIMlvmXC5A5PYA49K0DaLdvtsUrS&#10;W9xJdLMIjI6Bty7S3X/lo3QH73PeuUv9MTVLzVrqQKluifaIIk+SQNuwWwcbiSy8e3asvYqOHjFr&#10;XTf5H11XFRc5z2SXTZ36HOXMwsUS4tSJpDZ+ZBkiTzwyvICiDGcDrySD3AIA/Dj9srxNaa98aPEc&#10;FjLJeL4dtItDnkeQqzXUZZ5gvCjA3suBgE4bJyQf201ZrHT51ur67SGztYTAy+YipaIMKzbuAg2j&#10;+I8BOeDmv50/ijrdr4o+IfjfxDaMwttb8X6jq1u33g8c11M0XIABATy+McbODxmvVy2nJSdSa97T&#10;5H4z4gYn3aWFp7O7fy2/M4QMGKkSrJ5rEF1DRRlAqojA54B24xxwOnFSHLFh+7C5Cq28lVABDYJO&#10;ex6DHzg+uKRbICFRvG7zFTcS+CX5577gnbhR3BwyRpHEAceaqqWj3EFZidqgnjA5QjGDjIIIxXrx&#10;Uov3j8qi1yJL4ieRs+dlFcBSPlLFRtCED3+8w4HUenFVmm2gCNtrPuJJb50LFep28EMo78bu3Jq2&#10;6x5kZsjY2JRuCKGZmQkKf7pUH9exxnXDjeOCxxtKmQuu7cpYcdTgADIHO0njIrdJummZLmjBXf8A&#10;nb/gOyEEkm9gxyAfkABDElT9455zlWxwcA9anjJAhXdG07cMwJYhRypBAHTByTkckBehEcDNhj5a&#10;4BUeZ5glIOMYGOOvufTvkXAfmDgKZNgkVXO0KfuMH4zz85xgDDKOxNTL3Xttb0uJNuPvPVW/P/Il&#10;dGIHyhF27Vd2AEe3GFyMDgDgdfmq3CylhHMREilXJO7cTv5K4HVcA8lc5GOQaqo22IRsszKAx4Yq&#10;uQp3cgYBY4PrgDipEZUdTPFwqF0dHBAKgBRwOAeOFx7AcUnrpu31+4bbcb09XJ7nTQPtyqsm6SLe&#10;0j4VsEBBk5AHO3k8YJ7AGrZWQMvljyhu8yOQSZDcfNkey5HY5b8suAiVADHhAuCHKKARJgA9upHt&#10;8v0zqYACROpWNyTuHKtkEZHP3jx3PCYJGAKzkmrd+pq4ta1OjJY/K8wnGAEL5BJRWBwo65PVjkdO&#10;+MihJBtLKqBg3CFjyG5PPHQliDnHQ/VmPmhUb1hZQ0Z/iXdySTjoACeATxjBNS7Dg4WJV2q7puGF&#10;y0a8H0+Ukd+D26Zypyt7rKhdy0+7z7+g0Nkq4RAMneZCBGOXOAeT2XOAO3XOTMJDvD/KRIBtOMnH&#10;QEn1H4dKWUhP3KRl12u0akfJuCxjGCOQwCAnnp3xUZwdpIYLgEBSWCjHPOMdOR65q3aV10/pinOn&#10;GST1b/UbKxi271ZWddjvncoJYYIwfXB54Iz65phYSOqkMpHD5yN/PPPYnqPqeeRT5PMEY3FSoXer&#10;o204UkgE46nH6elMYxnMasfMIDKRISyrvJAIwR821hgYJI9sUk+j3FCUVBtJ6/loRjdlcSoVaXew&#10;Qr5Q4YA9CMg45x0LYI4pSXl3FlVxvDJgZLZbODng8Dn/AHs54ILS+Ekc5JjB3NnzGXaCWcjGScjI&#10;PoD9ab5jrlH+VFYB5NwGMqOcY7Nxz1x64qlGSa6MfOqavJDJHYyCR8BZM7sEK+cjsTxu9xxzmlky&#10;QgQr86gup+bfj7wyM8cjnP8AEOvNOZlwDKAAxdCeincR0Y8FuAe3TkdDSN5jFnQsVVlBBKxgkIAA&#10;vHQBTyT/ABflSWl76iVOnyN79fwIHkKFhLGFOWWQnhcEMSNq9T82cY9ODg09st5hAJjLMI1KgBSH&#10;cYAOOAOp4BAB70IIpkVsuoZRH5n/AC0Vju+YKeh559NwB7U9sOiEOjMQRvUsVHI7YxzjOT0H1qZO&#10;LVkPklP3ovTqv0GtvRjgpkHMYMgcAYbqAeOi9OwFSKyqiiLILFpIlXlh3wOnocZ9T0qLbERuGNjN&#10;sIkPL7mxtYH6447mmrGAZEwi7yGVJkJIY5AwpAxnLcDn5iORVwcWnCS95L/LUyc5U7padyUhzvVl&#10;C7lLBlyCp4GQemcFh69evNWY5GcIAAgZycZCn5V6Z+pU+gwehYVEjxiAMFiHyEMuSiSjgnDDge5w&#10;SMjsRT0KFwzOGVjhGJ8oxnOdoHPt+PX0qPtOL6L+mOlFtp82j/IlaNirSL5ilDljv25OTzt6HPq3&#10;P1xVrbsZSDuJbLN0C9CRgfU9cdB60xZBty8flkKECZyzYHXPAGOvpyOecAWWTG1wCqr5e5X8xmCE&#10;ocDHXKsT0+bPAzVttw5E/eT1/AcYqzk9e/yuWAjMAJHVfmDIQflkP8WV7HkgHnIJ6dKlMX3NqEho&#10;ioXO0nfn5voCc4qOM5cShjGAu0CRfmbYBk89uenfB471OriOQgkI2N6ENkqgyxycdyc/h0qUqi0T&#10;Xf1CDs7ydrbD9h2jkMHQrtblNzc855yQR/noFmcCLGMcp5jEbuSxB5z1x74IxnmkKlCVKsXi3HcW&#10;BDHAUk8cgHJx9evNRKmGMjk7mUgKkg2L1AI49+R22ijni1ePqh1qyuorfb5eQ5CSEjYyMpUAzM2H&#10;HOMtwM52nIHvSMGbsqqOfLUZwMHK5B9vT169AxmAUNuOCxypwep6n8QOPapNqZ3DexkbagGGAIUE&#10;behzy/t8ue5qrXkpR+X6kQg5xfLt0+ZVKrE3mDfsWExhgR87EY3fgSSOoGTnPeUxrscfu2BXajls&#10;lsZ5I/A4PTj6GnBWUSCQHEYDH+Ju3b8cZx2xT40RdpWMKDGS77ztXk54/Ok2nFJv+tA5JKKstG9v&#10;Iry5dkUIXVk3Eh9ofJGDwORwPpgcU9HYjCsAJGyy4JU84fj2APp1461IrFtuf3IUBgSwBABI2qce&#10;pz74P0prsUkVk+ZOML95WICd8ZGMfln6imrxdv6uNxjKfOt7r8l/wSM4yud7AZUkPtOO2AR9fzFM&#10;Us6yHBZQR8yMBy2DnPoPbqPyLXEh2uQFAb93JuLAkZyCO2cn3wo96cVATYu5QRnaXGWIBHoO/PbA&#10;x1xguMJNKEd/wEpctPlgtfz2RH5bF0ZVXy1O/eFIJxgEcnn7w54zk46GgCWQMpViEk2M8bjKsW7H&#10;Ax1TnHHB+smSqgDDMSFI6sc5Yrnr7UkbqW4jRSRwzyLH5pCY5J7nH4gY96ak0nfWxpNOKVOPxfh0&#10;ELMWRkZmV2LAKoKuvQkegOc9OMHA9Xn92YsPGwfIUYJGPlbJx24A560HBX93g4jAcMRycc7h0HTP&#10;4fhTPNYsjksyO2w+XtBAQfKM49Ap9fXnNKNm9d9NCZ8sYpS0b6jmWRlJba0TAnLE7txIGMZ6Hb09&#10;T+FPTEb5CyOXi2gnCKH65PPOCV56degBNM+cISSoQkSrExDyr8+1i/HOPl9Rh155IAfNZ2hBKsIy&#10;I+DkYHBI/Md+nvUxSdKzeupNNzule60Vv62YPgRBt5OXC7HY8khueh24wq88/MMA4qOQvkmQYBQq&#10;sgbLPgGMA9wQFOM+lPmVGDrIrMpRT8mEMYJP8YwAQV68EVGsUgUtIy+aCXMbvtYFccew479Tn6VU&#10;ZNe/fp/TLnz1G7O9ldfcUpDPuzBFviIBRmLMSCAeoGKKlKucE+cDtG7Y7bM4Gcc/z5orB3vqznXt&#10;HqIo8wQuqt86HCnAXo2M9cYJycHHygehErZV3diqW4w7hVxsGBlgc9wM5wfyqurN5gjBLMyE4OIR&#10;J1wcjODjqPf2qxlSqMPMIOG3cn7xBUHHZeOaqcHON1qv0/qw23KTb8iTBaSUFmZFAIXGDycZx16j&#10;OT1OahaQLIYwsswUfvA4B8oCRxwcgNwQSPRQccglwDbSpbCtHkOxHB3DGOnGQf1ppUAnevmbh5gC&#10;nIkBUEAcfnk8YPPakmvhl0t+l7/MTs4KMO/6kgG5vMQbmDFDIQQX3FSSPTOOB/u46VRlYxjbE6Fj&#10;GNv8a4XGABxgDK8e9W3L/u0lZVJwoCYYYKknPPH9056FSMZpVb/WIihVkcF1Jw/UDf7nCnHscZ+a&#10;hKTdkJq6cnps7kIUCMzbjJuYyOzqCygDHoAT36YyTg9ysYlEjKWAbeGjxtyq8Lg4PHAOPpnvSL5a&#10;ArnBmKrtVAkbbjtU8Dqd2CSO2akGGYsBscRckKSFAPXkcYx9OeM8U7KM9dn/AJDUYNqTXXby/q5X&#10;YvE2cHe0uUyoIUnOQxByd2SfrnntStIHaJSpO3Ab5c+WSCGBJPJGSMD0OCQQakMgUxltgVFx97aV&#10;wSf1PPfGBz0qAjc7FFCJFJs8snJDYxkn8RweyjsMUkotNv8Ap2/ItRa9+Wzt93QewkwGwVywUsqb&#10;SvPzNjhs/wA+DSseSUTJWNinmE5fcHOckEDnJOegB544gXI3ZZ3CKSSdpUldxwO/Q/8A1hjmX7sR&#10;IZtyKxYlhIOdu1eOhOWbcRgbeo+UVb5+RJFSmlG83ZbWEUusfnjcxYMElkIj81QBzgMOMMPUc89z&#10;UTPulXzjs3ycuECo/Izux8x68g+/SnMzMSQXEaJhd/32JAAHPOBgHORkkdckVGDG5ALNHmRSJGJC&#10;xqVJO4YPBypyOeTxilTiue7Wq+7e5S5FHlovXuRLK/7uVn8tTErM5X7rMvA6eueO3IpkMibJpVBR&#10;ELHyv4htLBTg8Akc8dOBzxUgcBV+VTsU/vfvKoxghznAPzYAHHyqQBgmmrGypJvKYBJw+MlsJ8/O&#10;RnAUYGCdo6806kYX5e5EEozUU7t6jVPkFfm2rkxlwCVbJWMnk8ckdu4x0pqbkYoxXJ+ZUQBypAxh&#10;hk5HGeffimkRmMSjKMQFZY5ADknHC4JxypBHcCmNguzKjBpCGV0cICQrA7ecg4ZiOMDPPWlKN7cu&#10;4S5kotPz9BD5iybwSJN6xbdm5gDu24xz2bI43FR12jEUauBJFlGbh06kHPBJ7ZHzdj8y857TAcOc&#10;EMrDepyu7jALcH07e3fkR7WkBDYPzCNkQ5L8eURgD5hhuQR8x57fNUlLXm/pCdOqnaK10/L/AIJC&#10;4JIWJjkSbXJiAY5Djuc8HkgEDKgE5IAkdj8hZfnafaq+WCV2qDzhsewzkcHr1o2EMZGkKhWLs7B8&#10;52gnkjkbtp+bGRI3OSFMRRUWRVYjYRjc21mJB7Zz65x0yOmRRLlaVldo0hSk6N7+8/yEZFaRmzkR&#10;sEUonmHBYD5uNpJwG2nr074qEZUSZidyFM4ZuSV6AZB5Aww5IPyn1zTSJMyum2NnlYqRwAWJww6g&#10;kgg9MA8DHWp965iG44UBVXPOPc56528Be5yTxhVIRXwvt/mRyRb9/wCXnqJmZGTc2xmPQMQG7ZPQ&#10;4wRx3JPXFLLGFEbB5CGwkoBUGPdvABOOBkJwOz5OOMqYw7Ozy4AO4hFBVtoOPXIHrxjGKRItyqoO&#10;3I2pIAXOeTk9RkjJ454GOhpR0fNJaIzanN8sXp93UmC79jBGPluX5QuSMMwOOTwew5+T05IY5TyA&#10;BJyu5FIU8KSWOMjJAPpknqab5DZd5EXaV2nAyvBxznjOVXB/2eOtT8SNtARHclyjBWPUggYztJH3&#10;d349s581/RF6Sa5u6+4CrYVd3zK5kEixhJGP3lHfr0zwM9OpwLgg4+VIxtf5SjMAVUZIOT/ECe+f&#10;rmVTtKuijb8rpggEHduGW/i689sAdskxRjzGjV1YCRHJkiG9mZQkgwCT02vgemfxcU0nJbfkU5KK&#10;i0vd8yZJY8SlSyqoEiAfO7cgbuXAJyV5BHPfpTELqqKAN6oDMhLAKDlQOue45AyMk9qU7fMSLIkA&#10;UqqsmwBcDBCg/wAOCc9Rk+4pdqIoaZ2I2Km5iQBtVuxyO3RT368EVq5QUopLsVGEZJW22+/9RQ2x&#10;WO12Hl9NgKnncT049Rj/APW1nG/qr43SDPAwUAUAHoSQwPHqc1LgvGsXPyD5zn054Jz79h93PJxU&#10;SKoYPtyHQBck+ZHjCnnvyHxzgbTwMjKcoqNo63KlF8qW9hGjYERlUZlJKYXaOSSB7nk5JxnNCAsQ&#10;pJLFgxVnxnlABg4GcADpnjOc808jY6oWYsxB53ZbBPYdQCMAjuO/FRJEQNzlGbrIpcPtHJ9evUfh&#10;Waklywlu1f8AQ55SVlZaP9baDyxVpBGqiJFBU7QuwFRlcZHIZmByB0qNCXKiI74mCkB9pVgwIAx0&#10;wSOQfU59nzRGVHUPlZITEZCBG24jBIJ7jJOMUsoOJXRjHuI2ypLtKEhsdQSOhIPPTpzVazStp/SQ&#10;4xfM5yenb7tAi2iMsQW+faU3dPlDH5s4HzEjnn5D26rKAyebl03RbjwSrZGSpOTkYJBHQkHrUPlr&#10;FjYRHuOwBcBHGB8y8YXnOOnUAjg1ICAXVSz/ALrcEeMqUA3D5m75LIcYBIQ4I6hJRcua+5fNNJwa&#10;6fnqIWfcpcxuEbPzNlTu45IHXnPuT1PNPQgIFRSGRQqleQSGU54wRgDGOAO3oFjjVuWRGEmFGVIP&#10;zYwAPrgdcDkjsSwRZJI+7IR5eEMoDEsd2QM4+YKSxxgAjvmpppcqevT1RkpSguWS0/QRHRWZUQBE&#10;2hI1jyEAUZGAOh+cjsdozyciTy2w7mNdshBjiV9jEhnUkegBRkKnB5Y96YIlVvmQYwzB2Aj8wnGe&#10;nBJCqMAZIUZ6LSgtwyq24TKzrLjcc5yNvXOVzj0ahr3r9kaQXJdPboNmtyRlWORyVA3AEEYYDAAx&#10;kcjj04p8ojym6J1Tkb2+V267QrZ4POeMZxz0GI0bJCozblbaWZDhSWDcHgdAD67frgyLEMvmOT5u&#10;GC42vyeSAc8Ajr68cg4SgrXb1/Lb/MUrPSL/AK0GBnLLGZJU+XeI3BxGC57dunI9e56Vj6xoOl69&#10;Z3FpqlpZ3sDxGJo5Yt8cmfvKc5OB8nH+97itl2XBAjLtKgVpCzRt16DAz6c9T+tSRtISsh+Z5EAA&#10;b7i5/hGey8fgDxxRKXLrD0+ZcWpy9Ne3b9T4b+If7GPgrxBLLd+Gp5tGvZGZvJjAmtGOCwDZbA6H&#10;7o/Cvjjxh+yT8SvD1zOLOztNZt8eYj2NyBIy5I5jYggnb05PzD1zX7RoY1cb0KlpSYW3FzG4BwDl&#10;uhPB7H8Dhr2VnKzCSFZWlUMXLghQAGJBYgg5JHPUqcZ7+1gOIsywcFBO8Oz1t2/IxmqdaSm42f8A&#10;W/3n89mq/CXx9o6O1/4W1i2RW3HfYvKcZyMFQR/Ce/Y8Vz1v4N8UXs32e28Oa3LIWwsX9mTKrZBw&#10;2duO3ev6H7nQtKnjcT2tvIrIWld4j5kjcFhIfvZ9euSOSeTXFW+g6favNCuji4WH5oriVQCwBQDJ&#10;x8gOCW24OMgFc8e7S4xxPNadJXSv1RFSjP2fI5aPf1/qx+S3hX9l3xbeRQal4oX+zLViGFiTm9cZ&#10;XJIxgcEjB55/Cve4/gebDTJLXToreWze1MiSQRgSRhl/5acZOOOexB69T9peLdP1qaAPbQ2kaQRe&#10;Rvz9quOAMs3X72D2bOeMHmvJUg1DzY2vHWzvoXdEiUkW7r8pIb8HB45OeRxWH+sGOxj5qslbol/W&#10;p4lfCx5o8ybej/K5+NHjXTE0bxFq2mtHIk1tdNFIjDhSOQOeTxj86q6YzS26KRuMbbyeEI6nHr0G&#10;a9v/AGmdDuLH4gajeyQRIupKJkkhztJGe2T2PPOeteCaO2xpCWRSBvwcoT15P1yOK/Tsur08ZlFL&#10;ELdpX8mrXPkcRQ+p5rKgtYt/Oz1OlREBZXypkOQCPmyDkZ/Pt61Uwd5J+VRuA45bnpn/AD0qXaHA&#10;YuoLkArnnPzY4/H9aJQYjhiwCrvBY5JB6/lz+GKNVUce56NOUJ05O26QryMVXYBtA/eKAR0Oc/z+&#10;tVVX7PIJTlo5ThW2btnsfQYzViYIUaVCdsuFIUbWBHTP4YpIZchN5+QEKVyCy5OOB+FKEW4yT6lU&#10;mtIy6fmX0EZBbDKrMSVwNw4GAc/U1nztAmTgszHOwdXORzj6/wA6slwIkd3DAEqGyAwB/HOBx71n&#10;PINy+d0Cjhc8EgEjnnvSipc+v9I1qJJKcN9vyLKsIggIMipiRl4IT1Oe/Y/4VoLPGwYt5ahwwJB+&#10;9n/PX3rDUqSuHV2bCndnPYHH5/Wp441l/dl9uHwSvAOz04+uPrSqUtEnv1Mqc0puMUascLMucA4B&#10;VWZtvAPPH4AYH93vU0kYSUH5ghjxIMANycHnPX3p6OCighclAF6gkKOn4nP51Hc+XOvy4UqfLG0/&#10;Mex3e2SOK5ZPl+R6ylB01BatfLX/AIYqSrulKFztVtuR1HGRx9Mc/Wpo1JXYDvEQLDA5k54rPuHZ&#10;JvMwsgYjDKdwyAMA4/l71ehdlJZVBwu8KDs29O/pz+tXGmnCN3p/wxgpxhUcGut/kaNpuVskKyLk&#10;qrA5U4I59z/Sul0yeMxTq+xo0XCx4/j5wOPoxz04965+NRhXyCJMjrtzuIBz7fex05rWtYkiRZBt&#10;xFId8eQZc4Gc+vCj9K4a/LdN9D2sJzczeqtr9xpQSyO+xfN2hs8JufOBnrjg4/U13kAhVLabdmQS&#10;iOcEBQmAAAMevPpyBgmuPhKRNLMv7xZWBH8KkjbyfxB6V1unOby7NmRiCNVkB+Xru2j5icA8nt6/&#10;SvJnZxbSPoMPVTkva7vR2/M6l4LcWTMiKzHLhFOC2Sfu+hIU9xnOO1cR4itYpLFikTF45MNG/wAs&#10;obPJz3GV7elenW2n2aoFknbZCqyTKxPlMNygqSOQPmAJG0+h4JHMeI7GNI1htWeYzEhtvfI5P0zu&#10;H1B4rz4te2XLvc68RFKhKC3Wn4o8OuIzZ3Ss3mOjEsCVDADBzn0x+ldBZS+Y8fmHKNJuWQgs3Tpn&#10;jjn36VS1m2nUvAZV4YlVB2qC2A4HcfjVPTLhTGE3kGOTyCMkqSMYOR/kmvcqXqwTjr0Z83TqKjiE&#10;raP8F0PdPCs8sTNK7l33hIo0OGx8oIHHHUda9Jaa7vNZuofmt9Mk2XEVuG2sQEVmVj/vBvwC/WvD&#10;vDt2yybYJdrwLloznYcHsOp5wOPUV6jpE/8AxNbb9/uLIfPaQ4x8u4de/wAh6nBxgZOM+BjaM4yf&#10;L6n0GGrQnBTm+53+tX18bZDCj3EAAiSJpMJHlGIbA6fdIz3wOOuPGNc0t4ZNReC3ladl+0uuVZS4&#10;VuAR345GehHoRX0Fd+W72sc8pWzt1M0kQO1pSoxkY5wcYzz17Yrk9WhjuopUgVLdLhfMcBMI6k5A&#10;3euQCcY6V5tCU4TTe7HVhHEUklsj5Zs7NpdSm/tIQpa2sE18VYFxMqo0gzjqXO0Ae9a2l+Efh7b6&#10;Va6nrXxBu7/VJLT7W3hTwR4Tu7m+tnaQhotQ1O/W2tIQpiAJsxfgBlIOd23uV0m1vpPECNcfZzpH&#10;h6dpDjy0m3xrDHAcHkHeF2jgBj2ArzFbPfK4gQb2lFqsWDHuXKqxx/s5JJz1B5r6+hiFUg42s2l+&#10;J8Zi8Eudp7J/PuJLrmnSwSwaRbjSNOe8lQxSzPfXc6qWVXmlZQGLA87EReOFFeYajGbSS4ureF1h&#10;kO0PGpCEtwSp9wCfbNd5qejnRbe8uZIwYI5ttpN5gbeSpKnqeeMkZypxkVy76glzBb6XOTBEIvMj&#10;ulGWEu35lb1VjwR2HNd+Hsp3WzPHx1NQjyt7a/icBI4cyozSI8km7eVG7YMYxzx17VRTD3M0sqKs&#10;bxny4iuXOMjdj3/xrQ1aa8glWC4KxXMLmN1RVRiAPl5A5Bzx34rEklCzDeC7KA7jPzMc8g/n0r3K&#10;KTp6PV7/ANfcfNVpclVOC3Kdy0xuZHmcK7od3HJUkDGf88VM4iWJSEZ2YgAhQCCOmTV0BHPnzbGU&#10;4GwgnAH1+g/KopIy1zKkK74NgkkZWK7W6DI64x6VtCopfEtv+ACjyzly9Xb+vkVTEAi5f5nJO4kE&#10;AZJwP5fWnLbI0ShiHYAlsnIXPv8AXArRtLf5BHPFEM5MbMML1O0kde+KmhjaLfHsQbSUdR85Ddx6&#10;YrN1tzto0ndU4rdfPozlZdOYndlVGCRgc9ew6dz+VZVxasj4UbVjfb86+uDxXpRtDsQbCu8Ap/Fz&#10;3P6H86xrrTmlDqygkYwRwc+x/Krp4tJp7vsaywPNZNa/1ocHIkzxsgYuCpBXpmsl7KRTlSquFIKu&#10;OueldtLppXcVwSDnOcEjsaqNYybwQHYhm5JyWx3PoORXo0cXyL3djycZk9KtFNp3/wA7HHeQ0Zy6&#10;qRlcHnpn/P5VYEXKhSBhPuqudp65B/CtuS0YkjBUrywByDntVX7Ly4C4DJgAEkjnn+Vdf1lSWvQ8&#10;Wrk9WlK8NdvvMiT5tvHBbLEnJOB/Wuh0fWGsgqvyg+XcoyevFZ32J13gEAbtmM89P/rULagA5fCl&#10;sDHIbBxz+tVVlRr0nTqbM56GBx+GxKqU4287nrEGrsquN8pEy8DJGATwT7DFQy6mWckuFQtuJU7A&#10;SDwGz9elcFHJKkaxLKwYKWB3Hcg56n8KkZnfGWPXbtB+/nGfw6V4v9nJTbPovbz9nyLddPM60eJ1&#10;s7uIxnzAH3XLryqrjgDjnFfRvgjxZHMkP78MP9ZH0baDggcdjnHHvXyLHCjMAFUcAN1LfnXVaLeX&#10;OlSobZyFX59u/Iz9PxNc+KwNKpR5I6Puejl0sRLEe1tpon+Fj9E9L8Sq4QecEYFG3F1w545575A6&#10;8DHU4zXrdzrdpqmhXQlkzK0IaIDnzlKx5JGD/A79hjy856A/m/p/jy7jjyYvmXC4D4XIyMdOeMfn&#10;VHXfiV48uLWS10y6FhayE7mtWIuQGXDFWPIJ6ErggnIr5n+xalSr70kkfTuVSNNTUJP06s9nXxFp&#10;Nv4jv4be7tUMF5mdJJlUBxhuSeOCefcGvbdJ+LPgzS4Ijqut2SSeUMKlwpZT14K/NycDoeSTivzS&#10;htdRdjJJFcuWOZZHJJcnAOc9evrWnGl0QgWCZTnaAqlgMngH8q9CrkmE93lqXtoc2HzDM2pJ0Gr7&#10;aP8ArU/Q3Vf2gvAVhPNLZ3F1dJt4S0sJGwy/IMb9oJwg5HGCBnnjkZv2o9NMkdhaaLqTSQMRHO/l&#10;WsciZGNw3Md2CO2MV8ZQ6fqkpKQ2VxMx+b5YmOeBjH1rY0zwL4wvryKa10K/dA/zqIihbPQHPHpX&#10;PPKMrppub95Lue3hlxFiXH2OGk772i9l57H29Y/tU6jGqR23h95yZCW+26yUibcV6okXU45IOfTH&#10;NUPGXxf8a/EPT4tIuG0zQNCgfdMlnC5eZgCwD3BLSHh8hRtz8vYLXkmg/Cbx3ey25h0K43g5McuN&#10;wHyk5GeckA/nX0npH7N/xI8QBC9rb2DvGscUKgGJQFGCAMDPGfU88+vk+ywFGblBrrofcYLhjiXF&#10;JSlh5JW3dl+qPnHxL8Q/HXhu3sE8PeK9X060WSJS1nceX5wVhl2JBJ3YBxkgjFWbbxP4l8UeVNrX&#10;iLXNW3lFCX2pTXNvGueghLeWM9B8vHp1r65uf2GfHniGEWlzqNlZzJtMR+xG5YHdlmaIOu/qB94Y&#10;JHNe+fDL/gnBfTlINX8W3sMsbh2EGlR2sLrgMuC8rtyQRnGMMB6E4Y+rhZ0IqmkpK70R7uU8C8Rv&#10;EyniqfLBtbyXTy17nzj8ONB+0pa26BFSdNu5kzsZiSCW7ZOT9SelfY1zaReGvAev3QSMPBZF/MUB&#10;SCyiNRH6Ell6fMfbv9XfDj9iHw3ok8H2i4u74W42IktxtdWXA3Nt2knAwFA7njivrrQv2dPDE1rb&#10;WEuk6bf24mybbU7cXEIKnAyhyGBKjJIOSoPqR87GaoVG5O82n+R9xHw3x2KtKvVUYaeelr/ez83P&#10;AKWZn0qCV1jbfEs0ixPKuCQu4gc4YNnpkgnjg1+iWg3PhzwvpOlyeENM1nxTr0oBvU1jQItA8H2R&#10;IYFSwna+vXDZyoW1jx/E4AWvQ9P+GOh+GbhVs9I0LTZIv3ci6Zpdva4OB8w2oDg7W5BwDuwBnn0T&#10;SvCEVwTOmpOpWJ5ozHbNNO79RGuM7SS3J4AJzk8UqOLWGi4xheTse3R8G6FSarYzEt0+yVk/LqfH&#10;XxG+DFz8X7mDU9flL3Ujpf6p5ei2fh3R7S4SaUILGys1SKKCOIwqq+WhDNINpUKz9D8Pv2dtA0Ka&#10;L5PtU9tLmK8lDSmVgQVCIx24GFJYjOAPpX2bD4bUOSkgR3LeZHhURcjG0kHABYenGTxgca//AAid&#10;5b3cFxp0Ezqy5mhSzeUBiCBhtoQ4AU5BP3m9G2katXF1Pa1Vrc/Qcq4SyfJKKoUFbTd+nojzdvhn&#10;YaRe2bS263DT+XJFdW8MssUgfDkAsq5IEi5wMKysM5Br6N8D/DezvoY5L2WGPS7RWSZZZ4ke0QDc&#10;XiR2XdMQpCIN27cF2kkY3/DHg7U72KK4lsBHYPIGaeVQ0hjLrEWCKWYt0G047AgZ4+sPhv8AC/To&#10;bl01DTpGiQpc2uorEYlVfm3JKjMqjkqQwG7KEdDXoU8O6tVO2/R/gYZtm1HA4OUHKzj2t+HmeIT/&#10;AAU0nVFjufDUd0lwqpNFZSRrLLMhIOcgY3EKPlGCQ4OFyRX0j4O+Gt5d507VEt9L1zykKGJk0+3m&#10;jRDAjOjcbgeGTaMJHuJHf6RtfAmiF9PubGGSd0j2XAQC2iZiuU8qXB39iQoHCr9a9Iufh3LrFtb2&#10;E1s8V3bFbrSp57f7NcSTW+G3RcbmwMja4VXGQCRXtYXJ3K9SSvqtF/X9PQ/H828SaVOjDDRqcsdf&#10;el8UdtbXu0rXa001TPAPhx8OLuS6jv8AxDYeZpGpxusd1bqLlomVigLK5ALghCVQ8FsBw2Qv1fa6&#10;fZ2dhp8Ny7XscPl2tvei4hi1C3V3uGSKYFjuZvKYqzkbQgXOMGuU0TWNTs7K68NaoI7KC5u0vClr&#10;bweTZyyyNJJcQySfIituDhQCqMCMAE42rp4J30u4c3p0e4upxewmOO0S/mSGEB9oABdA8wXAwuMg&#10;kk49GjTwlCgoU99L39UtfI/L+Js1zTPMxc8Y1GCb5eRtpxUW4tPS0nG8bJ2duqbZU8VSXNzBBaSM&#10;phhmxGyxI0yGKRC8m3+IgFiM8jJyeAKq6gURY5ZLmG5+0iS2vLTULdhbWMcMjbUCbxhmYFjwMEcn&#10;kgXfEkgv0sItQsvsxtI0ile7SSK8e4ZbERIQDiOTymd8sSAIxnGcjzC71a/bWL6S0ut0A1c29lcR&#10;2zQNexW6xMu1R3MzMHYDJHl89z5mMnCE5zlreyX3a6eW39IwyjB1MVhaUIWjy8zeis7tbSs9XpJW&#10;s9Nn71uytLSKxSIyWMcw0+8Sx1PUdRu59QsfJnWORCkCbNrxCdDgN8yEZAJxWL9oy1xr8VpcagbG&#10;5Nrd2ohkSO1RZ8KzNE4+WWOJG3xkkbiCc8lkerTvEmqRWt3fLPrCvdRRsqWLJGwwZC2d25hGrlQW&#10;CRhd6sytXU2Nta6Xbo1vIl3JIzJObWMvPbKRtYkFgjBuCGHIAJ46141at9ZilCyil2+5+ei1+d97&#10;rrqOeEvKunKbdrXdn1nF6tx1ej0XwqKaVnWtdG0D7DHD4hi1KLRr4XN5f291A+nyWbsJWhaOQ4Mi&#10;v8rEgAEKBhlznWtoLe4SJLSeQTSaHELLTLi9OoWtpDEWt2S3dk3xsiguQFIVSNqknLEeg2988lyL&#10;rTtTsLa2ZItM1FlWfUoow2YAu/epcxIMD5sn73PHDzpbyxDW9C0y7sLvTZEsrnRrW2lawvQCY1Bn&#10;kdjvQFSVG0HbkKMmuKdWthrXhFxt0+JpWu0/m2l+Gxx04wx1SVq0uZNLVe5Fyb5YtNppvSLlbZJO&#10;Sd2X/GE/xAg023twW1fXopJBBDpul273V06MS0m1Iwxbau4Bs7cfKB3+GtZ0GLxhaeM47XV9Uh0d&#10;dXn1OXTJbqFT5kZI8popHVHG9pMJE3mfKMd8/oFp3iazu3hfWtKuvNAFnLYvdtCGU5BeNXXdKHIA&#10;IV1UbsjONp+PPG102ieL/FF5pel2Vnp13am01O3itla0vpGXbPcQ7s5dnxJ5i8F1zg43V8/nPJOd&#10;LFxquUW2nGV20uW13fz3vvp2PpuG1XXtcBKhGnOK5lKKiot812lZv5dtXd3Pmqz0eVoPEEfh+DVb&#10;7RdHnVre+udGaCcI6r5jTIhYA8uh+fBWMngZC/FXx5s7fxTp2pvp8FpHe27RyzW2maeqLB5MW4sq&#10;xHKErgsFGWByTkHP3d8MdT8baOnii88Pi7udKnS9OsJpOoGGW80+N0aaKZyVEiFZI90YJJKnIINe&#10;C/Eu60m7tV8aaddC0liJ0ePw9FYfZNIa3nmuY5vszqVRR588geIIRI0szFgxYt5VJupgVJXTd+aP&#10;lfp8tLdz2sVKeGzJqnZpWs09btLSS9eq0Pxf8Q6fq+oeErK70u3Gg30F8h1Fbq2ee4nSKYvK0il8&#10;L5i5ixEF+VY2ySWr1/4U65cSahp19EwU2wYBpCCrFxhiPVhyRnnKg5GK6LxdpiHXbzTESRIriYy3&#10;dvt2L8xLDJOThcA+pIP4X9E0Cy05IItOgt7WOCcSTKsnkqikhiT9doPPt1r5TH1W37NaWtf+vkfo&#10;eXzpQo/vFfm1Xlfc/Qz4T6taeJyZrm7f7TbSAHzpTK/yjJVhuO7G1V57EYzivsDw8ss1vCs+58lS&#10;jIAnmR53RhlHJ42cN3H0r8/PhDdabpkkN7YuzvPC1vdvGoQPJuGC3Uk/Lgk/3eAOtfZnhzxlpMFr&#10;OWupd0YJaNox5B6kndu6ZZT0AxuyTwK56FSnOX75+8nv3R5uNlfEOFJaafI9xsLW2j1B/ICBbtQ8&#10;8hbEatj7mDyxLE4A4+bPXFdCLW3jhvLadmnkMZnDqURSEYYwufvbG3d8mM/Q+eWGqu1xpN1bweYk&#10;twjODOo8rcxAcOVAAOVHOcsD7V1FtZ3Go3Md3d3TQFw2USUFCq/cC/hyw7E9eufYxChRa9mr/hut&#10;f0PNcKsqtpyajb8mc3qaq0sFiYxP5kYSbHyfNhjjOc4xhec5MmOeTWRqv2u1nVYLOZvtFrHblLdt&#10;8cbRpFGjn22gjORznIGeNPWdODajb3IEeTei3ABMfloVRpOeufv8YHbDEEEat9dJCHnhSBrg52FY&#10;iQ4AB5HHGGBAGB8xIxWOJ1b1s01+X/Dn0WVS9nGLjG6d/S+hxVzfXFjpJjaBJJjAfOwAFBO0KSMZ&#10;GSy4A6+1ctqkyWkP2iNtwygjXAVzuGSWH1Y456V2Piu+gtvD73kdok9/NbsEGwysu1SNr7cEDqMd&#10;OTj1rymfVDq2p6XHHEfI2+bNGJWEUJVUVmY9sYX7xGMtyMnNRvKapN30VvLt8z0K1Ryo3StFN39U&#10;vyPmr9p7xTb6J8JvGV3csIZLzw5cW+krAQJZLm4nFrG0gByhw7PgnoQeflr8FJZGO2IqE3sD8oMm&#10;DglVxjoCT9R2r9Xf28PGV1pegaR4JtUddP8AEOr3Op39wQyNeR6fJELeLjlQPthY9Rlc+lfk5M/l&#10;EmXAADFZFYkKQxOSenfA4HU+ua+owkIU6MYy+J6/16n4VxpjHjM2dOm/dhpp9/6iIu5lkRpEDA4Q&#10;HLll8tsZx/tnA4PJ74qRdoj80ggRkiQNH/HgOq5AwD/rMf8AXQZYhQBAPLUAqhJeZhgDJ4VD82Bk&#10;cqoHUgKflPacsE3bSGAmZyMbyVQ71Jz2AyOMnk5XB53bUG7rT/LQ+Si42Ttqv+A0KyDyEEakhkTe&#10;AAQvy7tnG7kDPHUcVm3ELw7FlVs+YMsUGOFU9OnUSdRjlevNbaxx+UirHhhhVBDRMAAcYYEE9FIz&#10;zjqBniG5jDqdxbcuTkEY+ckbiuCTw3QHHHA5ORc91Gm9DJtOab8vvM9cStExSNpRl2LjafUtwOMB&#10;d2BnpUq7gBtL5Lc5IIUbd2X7ZVdw45GarIBGqlmCB1wCV3OCSyngjrkeuAT0PNWollVZE+bzI2MQ&#10;wDExBB5/75CgHPO3JGBylFczs9vu6FKNrQWv/Df8EsRoVjDFfM2ljLJtCndyOeR6Ec579KsFXcKc&#10;b2iG4HJZQHyAXX/ti2D6ocZGcVYiGeRS2w9SysV5IwzA9CBzyP8AE1q20KMXAXZiRlSByVCEAbjy&#10;MckHGOox7ZU5JNtdBwpyVLl69Pl/wC9AhMcZyMmPytxyEwwAJ475AGevpnttPIZJIyxBXzG271Mb&#10;v8sjAdc5HyuB/sc5BYVnxR4jiP7x2VijRgAtnLAnb0JwTjGM9eOKtRkCXfGAQf8AloPniUZ3ZDEA&#10;nOOOPwHUw1yq6Zu0pNurtp+hLuJCbH3FnzMvl7T3wCfoOvcED1FOdFLbcckcjICA7u/tgHPp3NMd&#10;AWdWCgsGAReARyGzgggcgnByM/SnA52O+BKQd3zlnYB2wM89sdcff/Jwaavtv95h7STTit2vuHqW&#10;37NoVXUYyoZkIG4nI4wMDt2HBzwrFlBGFVVCujbimOSCB6jnkeoB4yQRAqJuhkkCIR5URTGBsCkD&#10;jGBhh07dKbHtdYvJiwoCh3OI13chflwTg5Pc9s5o92Ku9/0BJQg76vf5af8ABEIIyPLJZYzIqkDl&#10;idmWGRx0/H6VEURFDmNlLoWGNy7zlSuD2I2Lkf7OcdqmeQl9qhld1YBwMFssQFIJz1zwSOtRsWWM&#10;MSqIrAsylnypVcq2e/DHPHbABAzMU3yuG1v8v8ylUcfeat/wSFQJFlMYKsJCPnIBy24Zz9SfzHXt&#10;EV5ERDl1VpHyoeUdlXaOTn5+cdcdecWSVLSsXRVWLdGPuscBtxIOT12+h+X3pryfupQ4WMmIxvKD&#10;kLgkj5ue2D155rbltTWvmOM04cjf/DIgKgAyZBMpBB2hdoJHGTnvkDrzj1wGlJCylVJjUgbmO5nH&#10;Ttheu3Hf5cUxpWUMocr5i+UDjGwZwzE5B5V23D+IEjvg2VUqVBLiIEOsfzOTwowMDPbcc44PUkVE&#10;4NaPYl8s53hslqQzHaR8kowR5nlp+7JH8JyBzgdOvT3FPfAaM5MRXglY/wB3wCQCAOwB/THTlVU5&#10;LqNxz98EJJyRgqevIA5ByBxnqA/c0iAlQEc71LDci7gSc/rz0PJzjFJ8l7foOPIkpX0utPQhIJd2&#10;4LR/IrMSGO45wfXJKnk/n2RpiPmdkSKQDG7hVAXknpjL5Gc88U/ypVyXIdgAwEj4RiDlRgADAHfo&#10;SR1pix+UwUuHaBSF3kIzjhgQevXGDj+HpVQknNJ62v8AoNyTi7K4LGkaHkgK2BGrYCgDCjGc+n4i&#10;rSljuTJLDhWYHDKNpJ9SeT19T7VCoUvIUaOOXaQjtNsIUAbsE59vUcDpwKVFZ2bfy4dm81WGF4xt&#10;B6juSOnU8dKlr30m9PxRMWlsv6ReUby2138xk2kkBkiOANmBnnvxz15BqZPNdR+9kO18MW2gMcKc&#10;9CSeozxz9aro4YhztXBCjbklSpBJ4IBJ5XOe/fHFtQjFkyAOXwhBx7kZ/wBokHPJPHJxSio62ev/&#10;AAw5STi3O/p66omBnAKv9wbsR78hyGJU8ewx/wACNLG/yAfM2W8vecKpxzjbnvkHkY+WqoeNnEYO&#10;0E4G4h2UZOBnrxn2zj2FTkRIJGUHAQhlBAbJ+8Rgcd+QO5rSMFvLsKSWz2/4YnQMQ6hgNw2qSSEC&#10;nHBx3x3+tQxrlWGFG3OflLOVUttPHc5/X3pETHOwlSeQJOe2BgeucZ9/ap4cBUyQZVADFUHLADr6&#10;D/DtxlJS2iDVOaU6mltiMkHYFMmwLkycgA7i2VUemDnpyfegDYAquQz5QMxwIiSGPTPGB9Oh64px&#10;fDL5gOFI2jK7ieCMfXPT9OQakQBt2HwBhWZ8GRgOo6ey9uqmiUnFcyXT/hwglK0Y3a+7z/UjYHyw&#10;HkV0UcgLu3dcEnGQOCecdKMAJGY1YqEbbuXejYYfISTySSefRT1zTA+WcYEgYBzjICc8A9+e4ye/&#10;Hah4sqC7FWI2BEXexJYHG3vks3H6VUbJpSLcnzXjr0I5C53FAVDyGMhjvjGAw+8TyORyD0HHGDSu&#10;z7o/nRzsUEAeXwFAC5GMY45PJwc5pWRlfncikcrINxyM5xj/AOvgjrTtgY8DHO5SASQBg8n1OD6Z&#10;x9Km8VdxW5MJRk7N+e36kZWRcRjcJGjOyRTjjdjH48cHsaQo/l4TaZc7SSNydj654I+mAfxewd3B&#10;V2XMmGLDBbqxBznqBnj1PfoikInmI21xKQRnAJPp6dx268U4ShGKjff8NRRkoycXstL+nX8iI5Jk&#10;Mg37VA+VTnlSPpzgAdcdc46NYYUHaxaNSQXwRuzxjqcAdM+vXAqdlTaMEYEYUrjlABwOB02gH1Pv&#10;2rzMgjSNWYLvHyknI5GeSMEnaOT7+xquebjykQ5VJzk9hRO/7gkAMzNI+6PJcDAJz25APPXPennb&#10;JLuAWT5QVLcAAg9Bn3698HrzhqlEfCKShBz8wcEA4z06Ek+nBHrUjqAwIUKR0bqpIA4PPT5gP+BU&#10;k1vyq9tH6/8AACSnOMU/n52ItqqsgUFn3FgAwZVJxkjP0PX1pGkcyRuZmDbhkhcOSDt6HtyAT9fr&#10;TSyJkKpALEEbiS5PGB9Tjt61YVY1VlAj8xs87iR8wBHBx+Q9+atNciBctWcVHf8Arf5EW4qzYkHA&#10;VUUDhye7Dp0J56fL0zyEVnRDuUBgCOAFRkUkA5OPTt3U49KR1x0B27gDGG2DB/i6Z4weMc1FMqSh&#10;SFdixLAK2ACSCc8YH09P0n2alZPZ6FSXKnCL1X4h9nPUEkHkFpF3YPTPNFIPIAA83bj+EAACisfq&#10;9tLsrkn1/r8SPcGf52WNRI5RXyJEIJHc5A6DB7qc9SKcrM8/mRswCqVdkcbW4Gz5Tzn5l/AnrwKh&#10;JIcqwkMqgKWlBxEAuQCRkAgMDtA7g/xZMo3NIQgOS3zFTkuTyDj1IAy3oB0ou5Xkna3T7jCElCK5&#10;ldJ/8AYy4DjO/dGrKyIR95nx1ORggcnAyTxwasvJJMspQHJ3tENpBbP3m3E9OuMYGOpIJqEFz8oC&#10;7Is48z5VdsbVLAg45Ixg55/EmJWyNvmSK5k/1hUKAc7VPbIGBkYzwSBzS5Ene/8AX9IqEbR5n8v8&#10;x7kKOGJ3IMg/cI4PPGMgkeoyO4pAp+fGCXLHOc7l56nt1PPp+NCsG3ZQMCyB1LYKEYII4GcYJ49R&#10;SiUxqoZj5rglF3bwclc5Pr/D09fXBJOUWk9zR2k0n0EjmLKAyxkqCQNmyRAcqQR+fXpkd8U/JARd&#10;oeN12SAtgnC4JxjGTkAgDsOag3qwlHJVXbeFZVcALnPuAMHvmgS8NjJKAIDsCug+Uk45x3IzSkm3&#10;dPR9P1Ii5KO9trfgNLsZDFtADqCCASBnJycnGQGUD6EjtThl/mLkqHYOFJGSrfMwOMcgEdDye2OI&#10;4WjllKf6tmk2DzJPlYsxweTwPmHBPc/WkDRmMozu0rAeWiNsJzkBlB6ZAY7Tz8vQ4zVKNldvUNJv&#10;mu0hJHb78g2buEKfMiqzNyPww2MY69ajM3yKFUMNgLh027PTDdDgYPBOPrmhWywCqwLKo3NzI7OM&#10;DOO5JJOPXgc00MzKRkOPLKl0U8Nt2kjoCBuyBjqBkdqJSdm2+wKC96O7Vhxk2Mod8bH8psZ4ZQOq&#10;jHYMDu/ve1V13REQo0RB5MZ5xgDYHI5wFUjJHcnjpR5mWMkbMwJUZUAsAPvkcgFiHHXoR1GSQxmc&#10;KchRLkFmQHaqj3POTuU9vbvTjO0G3q7fmJXaUUt7LQf8qJtYg/vANoUEDdjoCPVTg9cDjg5pssjL&#10;tZBtfdh5JI/kLZK8fnwRxggjtQkhbK4JbAEjMRI45xgYGDxyeP4vc0yQnadrI6xAYkJKgMQVyAAA&#10;Dk8HjAAzgkipioym3LfQFGNueT2/4YYzgeZhZWiRniIX5TIiOcFAc4JwoDcjOO1V1zJICFLnCjeE&#10;Kkq7Ng54IwAMc8buRQ7CRWt2VVKkAljhFUblOR9CcjHc96cXljGcyPNtAO7MScLt6jrnBHtweela&#10;N6JW3ZL0fPLX+kSOQ+JVPleYd0av8pfBYbR6jJI2+p6dKiO4xnBKOrhE2f6vBIypOOT8yd84bp3q&#10;KdwfK2orNITu2LtKjsCcA5OScc9SeM4poBRyDvaJQCyZRgnyk8c5/h7kYxSXLZua2NJTUZNweitf&#10;1/rcc7NudNzMSCAhbPzYBxtx1HB45yDj3ZI+4NtzuBabLEDq0YAUfiwAHTZn6GSxmTbCjEOAWDFx&#10;whUg5zwsfPbjHNPYhmkVWU/OIEUneWyVJUeuFIH8PJByQOR+7Zw2X+QnZWqX3dvXUYC5OMriR94O&#10;xghyAOCcYxz1BPQn0AAwmMjq3EmyNSSCgb73UnGcgMP+mQGT1qNXZ2BMaRxlgNoAaUKSXOCeFGAS&#10;W9wMYJ22mZi0aSq+VOx9zBFU4JY/QFBj2bGTUzjVjHmvqxxnGrBNqzTEA2IH/eMyKICZGLKCo5BY&#10;nJYh1yec5bnimq6I6MC6q68McgFgAWZscAZLAA/3AeOlQS5jyqh42dGy23ccEkBlx0xnIPOMgVbx&#10;JuDHzZHlQLIMgbyGUbV7fOQB+HTJp86Wj3erKg0m1TTXr301B35U5V5AxwdytGxOQMHOByByeOD0&#10;7PZXRiFTYA2zJGFBJUc9MZzkk8DkninFWPmoyu+UMjhpAsDBflJGeBxHgkjkH16HmHy1l2tLGZQS&#10;CBECowvyjp1Oc8jjvwam0ZWuv60M3GVm5P3Vb9P6sLEXVMNuWJXGQCScsudxP4EjgYHGTtyRtpl2&#10;rl5ok3OZW3beSTvB7kHgnOd3JoyzTySMrMUSNmj8sP5Zyq5weSD04OM9sZxIiBQUV2bJSMOMgEcL&#10;zzk5AJzjt3zgPnjzThHYm8pQ5Vsn/kxAuAwOBKFABbLEk553AcYwMcdwOO6xFGVclS5PAk/dqSei&#10;jjIHBIHYc8c1GeSA4dR1wJFIPJHPr0GSOBnrzSupjLyBWjEEnmqd20spBBIOOn3snnOAMdcZLm+G&#10;/wDwNi4qSvfyf/DDz8wZGyQVDq2dkak7ctyD6465O488GljIGUk3H5juMbeU7KUYliOoJzgY/vk8&#10;DkRKzE9S6k8bjtdAB93B9Sep55qcrEPMC58wDnCFQpBOenc9cHqBx3NXByTu+5XtOWMqc3r59un5&#10;kbsSkbIAGIPyhypTAyOD0yMjJB4Jp8UuAMMCW2kuwMcByQDgHoAd3Q84PfNNiXzFDHJYHy0EiEbQ&#10;Pu5B6Z3A+vzD0zSCLdHIGyZIwHcu27YxYsGHHIOMEHrk54NWnCWi0Yk3JJxer/4bQliBDZ2vEdzn&#10;5sxsgH3nPIAwqliDxgkHvUTKwCMqOFVssyrv+fBXvxkYJB478dSXIpZl4bAy0hI4lJBy27cTzhRg&#10;e3I4qMSkJuYlgSPkGAg3fLgEdc5I56jjmpXx238yJSaUZLVW6ebJGKqVZVBTZ8yhSRkDIbHGDwRk&#10;HJJGcgCmTTPDIxhjQrjDOxCDkfTJPX0Hyn2NAE/3mT5QxyxO1UwBgkgY7Ht0XPrhzHaI1yVZsKGY&#10;7twLYU4wR1IBx268CiUeWSkVpUi3dqTt6D94kjYKRIDnaGTIZhtJYH0G5eQRnPvSLwcFWKlH+UMS&#10;PmRwCC2eMkYwMAjtTVm/du6GOQYWPOTtbcdrYHHrkd/w4pSwVjszwBtV0AWTd5eCWGTjlQc9MHgg&#10;bjKUIprq72/AvSUNf+B5WJPn2DYcqJM4QhlO8DlSOB0zn0x6E1EuxUI81euIn4O1lG4jPPqy5PdT&#10;7VMWG102NG6uW3NgMrBc5z0PQfTHqSSm5y6kMo24AYKJVLDHbvwDx6mp9pa6b/rQvknbnWxE5aOT&#10;5QwZnBLsCq/Ns5LYxgrg56YQDIzTyXHLKXZWeNMykqCv8JJ/ugEEnkZPoSUc7FADBgy/6pGyV3E9&#10;MknrnPrj3obDShcKpOY1UkZBJOOwxjcxHJxgdhW8bSg1bV6GPvacr6jRIThCVRXQligBYIwI5PBw&#10;ecD1J6CgK5AVseWqE9CRgseMZBBJJ5HZiRmnqzM4ZvMLJiAYwysGOO/JIK7T9R70Zw6AlwgXDOgI&#10;DnnBHIGTtzxjqRxSS+zHb89CpR5b01/w4+Nd+9mKPJGCRIY/vKCGGV5PGCx5HLN1GBUYLxFsKuIl&#10;xsBEy7SF25ORnjPXPQYPJp0bTLuVocSlPLJ5fc2MnaTwMFDjJPUdOlOJdFdiSQckSN1I+YFvQjGD&#10;xn5VHc5pJJSf9XC/u6qzEdVOFYHcFDlNxdEyfvNkDO7LDHT365FRFAWURq8K5IhBTldrAqQBx8ze&#10;nYfRxIKsGDOJvkw0eCOWB4984HTqOOeHOpLHfgBk27yAQRucDaOAV/nj6GphKT1a1fzCo3y3j1OW&#10;1TT4J7e4+zyxx5TdIQdo4Gc56jOPTPrXgPiXw1FqBRrXU2t9SsgpMQcFpthXezZPzZHBGOC3XuPp&#10;G509HSd4FaCUKhVU5ifaAhZl9yuCACODjAGK8W8e6He25TUbaw86aBt7fYXY3IKgFmCjnBwDgDqP&#10;UV24eTUlrZ3OWrH2lNJLXv37n5y/tSeGNZOlWeq3SS3EthOYpLl4ipaMgKu4477c57555zXwdYyE&#10;XiZQ/MdjBuQc8DI6V+z3jkQ+MvBuraBq1p9mvXsZJEtdQQJdRyIMK+ecjB7N/F61+OGrWU+m6pcW&#10;TIY5bW6ZHGMAmNiv5cHnvmv1XhDGqeGqYSatyu6807anxOf4eUa1PGRb6J99Nvw/I1Q7oZFUZA4j&#10;wTjnj+VSSkzQRu3znGdynG7AByPfjNNibf8AMRlRFlgpww7Zzx+VG0OWRzlUAKMAcYPt75r6RyTk&#10;3bb/AIByUpxkm4v+kOWYYGEUCRMPldoBOVBA+oHPtVeUMJgQpPHPICtgcA/lV1UIG113BWHznhcn&#10;9O/SlYxSHCxnBGSVBDAg8Y+nr7GudzUJOS1O+Kakl3RWBkYOcDzEUswA5GOmB1B6+9Z/ml3RihyM&#10;LleQ3AyT+XStCIk743AA5G4cMw4wM/nWY4khdk2sFeTahX7pBODn6HJ/GnTipTavZXKrNqk2vl69&#10;y3CGYKFGQpwTsxuyR1P45qzGAJH3qf3bj7rhtxyRkD2wPas+GTadpByTs2suQ2TkD8+9WIjEQ55O&#10;CMhgQcc4P4cH8audOS0k7r9Djw91O6+JdzaiaSVFl5Uo2DkgsD16de4NRONkm5d2zfvZ88Dufp0x&#10;x6U+N1/doQSZFJyCASR7jjuOKHzcBMuAwBZyOh4J6elcMm0mrbHsUWpU7p3en421CXZKzAEogYMD&#10;97OTxx+We/PaprdHaHYSIFLAnB3gEnHboO+PwqGVDsXAA2Id5GQvQHI469eKrW0wVVZV2MzEBvvF&#10;DkkD+XbrURUpJJaFxi4Scnv+at/mb0QHkyq+0Mi7sj73UYxzzx/nGKtWlwRN8uUeY54GQenJA+vc&#10;nrWbG/mR9DG7PznoQOOD6dPyqe1ULKZMnGTkEcLwDjj0x0HpXPJX1bPWp1LNKPW2vkdvZuJ7VoSX&#10;8wyAgHgKVY4xnoOCMcdetdtpsUECOELrLIgkVxwGIdTgDjjrzkevbB88sXUNIqgBZgCd38LNzuxg&#10;jnNd/ZSTxy25NuwiWIrK6MAJM579RxkepzXlV4+zk12Pby+UqkFVtr/kdta2E1wAr3IQzIZPu4R8&#10;ZIUcY545HccVka9awwyKIpA0jKzl4jIHUdxjAGe4x6GqMWryQ3ysjAW0jNKiSyFm2rjCgf8AfPTv&#10;mtpyl7++DRLLKxK+Y6ryc5XOAcYPTnoO+c+XKMlOM29j0as3Gm046vX1PL9SsTPE0T/vGVN/mElZ&#10;QeeD/wDX54rzLzfst5tjOwfaCsjBsFeR/wDW+te063E1nPNDKwcgMC8a7RnB9ua8h1qwEPmyrhvM&#10;kL716jIzj09Pyr2sFN83K3o0eBjKM5QdSC0X620+87zRLra25mSRyPLVeQDgcFsY4B7g5r0Tw0t7&#10;bwvdSO1zPGoZ3l434YnJI4Gefu46HpxXhfh7VnjRYGwTKBG7bQuwg9D6Y4Ga9S029MscbxymALG0&#10;LoXJJDLndjHfB+mfxrnx1GUW0tW/0KwVSNVRV7P/ACse42WqXV5K8jov2aSFLdESba0eACWDcYPJ&#10;6Ae3atC8UGQK+dqRiURxE7wRkHcOuPXr941xej3pFqkUwSfEuFO354yVCjP/AAHAx7V3tpbwRShp&#10;beUySQLtbzAplyxZmJJwM/N1HJx15x89VTpyVlt/X4n1C5JU1KKtfb/gniPiWKaWbV5rIyxSQxBJ&#10;9oK+ftHmKrAemNwz3yam8KeGbrU9T0+WNIGNzbz3LcMbeC3gidpZ3cchV5O4DqoHNehXumTTarNb&#10;xRNLPe+XCI4FaRpXOFKhRzz93jrkitbVtPtvDMlv4N0y9guL9rI6T4k1C3kW5tQ5Rx9kSYY4jlkR&#10;pGBwWULhtgJ9PD1+Si2ttLfdt8j5rG4e9XlhrKV7/Lr9x8l+K9Rk1RbW0hiuE0+wgFva20w8y5Jy&#10;TLK+ABudhuIxxwMnGTwstugU7iC0BYLvfPALenI6fzr03UbJ7O9uhOx3wzyQ3AkILMTI+f1OM964&#10;6+jiCE7W8spIpkRA3nYzhF9eSOcdu9e/g6kZ2a9fnofL4/DKFJVpu7tp/XU5bXEN7p9rqaKk01rP&#10;Hpcknl7W+dJHhOfpFIM+gFcmIEYSMjtJNCA0zlfkQjHGT+Qz1rtNGQLoXiSyuzJGZrSC6hYgsWmj&#10;uYSrAE4GEaUZ64JHeuacefJHDCEWBERbmdhwzbs7if4j6AV9BBJLlp667nyLjJ/vKrs9LL8ylJbr&#10;HaysUZszhVDMACNpJIHscjP+NR2kMjxXMqSIjlS7hiC7ZGFAGecD+Va2qOragmnWSvteIABgGZUz&#10;vLuccdW59PatNdOiaALCqnamzKHcyZBJJ/H+dT7X2cYue7/A6KNL2laUfsp29fQx44RHDAF3SskP&#10;TGZCep/KryRlV6gO2SUKhmHOevU9P84q5bQbLeBsByEDI+MZyOvvz3HXAq2tm5mwIiY3fcJGGVBA&#10;xgenOPy5rnnXTlJy2PfjhFFc8d7IoLHK5BmYlCuxVA24zz+HOKqsmH5Q8Lk7XA4zjp6dDXUR2Upd&#10;VdX6swLLxwFIx9cn/vmqCWc4aRgGIOE3Mg388k8/72PbFYqtBSbT6HTKgpUoq1mznntBIEwin5SW&#10;ATHI7AVmvZlCFwYwTgAgdt38/wClds0BwGAQMDtJZs9/X6f1qLy1/emSF/NkIRW8vci8nJ+mAea6&#10;Kdd2stjGVGUHGUo/D5eR53Jp5LMWByOT2yAf8KpvZOCWSM8qeQpDc4zk9uv869Lj01BvZjhVGA+z&#10;AYljgfXg96zzpyruDEZ27BheXPrnt0P5V1xxaWrf/BJlhG7S5UlbU89fTwu8sBknAU4GBjP4duKY&#10;LIFiAq7RGPnyFUn6+2K7e60t5AfJVncAgKRz0Ht9OPeobfR5I0ZZUzx5oBXJIGeD+Hb3FdEcSmtd&#10;zmWCgqnsbWu9PU4/7EAV2lclPmDJyoxkYP4Gmx2jkEAEbcnG3r/nFdh/Z7hwwjLD7oG3O0YPQVOu&#10;l/OdqspZdzFxgJjH6c/rV/2io6X3X+RbyWE6ynHRbPTukcxb2T8/ISrErwvPp09eMVr29nKXQlFV&#10;QShIUbi3UD17jg+vQ101rpTkquwBWf5354OfXH4/jXV2egq24PHu2HDALkjPHJ9unB7Vw1MXFJuX&#10;3H1GW5FGMUqcd7fn/XzOSstLd3RwkgbfzgYBJxn6fX2rtLHQN0qqwJUARs+ASDgdjXa6T4YheEMu&#10;HIdSxxlEIz1/D1PevStB8FT3WQsUZfzF2qGB8wDHA4zzx19BXi4nFNx5YvWx+i5LklOb96Noruup&#10;57pHgO0vHiaSA+U+H8sRjKjA5znHJr2XQPhLo9zCszQRs7Mu4GIs2GbZkY7ZA69MnOMGvQvDnhKW&#10;SJYSp4CqG2lWO7CjLeucf99Dr29b8N+FZra5tIXjIYbFClyAuOhyRyevJx1A4zivCxGPqwlyp6+p&#10;+l5Vwrl+IhGKprTW7Xbc5Twj8ENNknhY2qLEs3lMAgZ5ju6HGMKBjoe/WvoLRPg1pFqyJFAk0kYB&#10;YxRoMgDJyVJ6Y9eMEetes+EvBFyzQyzSw28JRXZs587JBx90jJAHXAxg+1fQ2leBon2KHO6/nRWe&#10;PMKsxI3YCkBR978GbsTnyK+LryTcp6afjY+6w2W5fhFCnTireSXS3/DniXhr4b6fHmSTTo1jQqFA&#10;iBLAbg2W9QRgHnOa948PeECWt/LsWdZIdsKFCIzkMpBPTIXkEA9R3r3Dw38NNNtbSXLTm3TkSTHL&#10;MwChgpOGKgkdRn5veu+s7M6V5Ejyx+VHsA+zxeUQq4YKcjHVBkgZ5Jwa5alSa96T93TT8z1aNbD1&#10;PdoU/vOC8K+CrhZ4o5LGUEXAUM9oAFjCg4AHUk4PvhvXI9q0rTLJiyv/AKOLSQSoJLQI+GTH71z1&#10;zkk+hOOCOOv8M3QvrlEu7dd80eYpvKdFxnDEZ4LEq4PtXfXGjWmlq2y2R2kKuzohlm2yKDsPbA3g&#10;cHPpnuRq8yfa/wBxhUnOdX2coWb2t+n5GLp3g2Iw3DxusP2qIPkhllUoysN464OM4YdcHBK16hof&#10;gNYWie5m8uG23SfaYF3PIyZVQV37cYweCcCTuRis+ztGW1smhlfy5AIhZmMxORtGMemOcgdc9a9M&#10;s9M1aSKBHSURzERxxhCjhDnOADgHkr7g4x6Z0nKrFtxvYmdeqo+zdS0dfwOT8SfCpNXt4rrQ1keV&#10;mjgML3UZkZnOOFKAYJ9c8enJOj4W+Gkuj24OqRSiWSTln3xqACuenQkf+gHkZ59j8Ppe6RPawXFm&#10;LqRr0RBJ2LSRE7UG8AkjAcYJHUHGQMn6C0/QbrXSbSO1a3cpFcTwNGZC0YdlRt8gLY3cALySMcDO&#10;Oung3OfLFO6t95NbPsRgaHsJ1U6W979ND5w8PeAt092h0qOW5W2LwvdfvQAZBtSPcMKAXJOO4JwP&#10;mFfRvhz4dWWoWot4bUx3xgMt/O7OLhRwdw6cj5SAO5znmvbvBnwmtYZbOS0itTJchmkOp63Zw75F&#10;DZVIZQG2hV27WJAAPJ6D6R8H/D/Roba/udUihe5aZ54vs7ra2kigCSJPOARNiyOiMFKp8oAZsKT9&#10;Pl+SVJ6zfu97fPc/LOLfFHB4WElTblJW0TTd721V9tG9WtTwbw38FNA0eHS4NMgt9Tubu3NxdWke&#10;j3f2GXZiRmNxuG9wqliqAquwnPIr3jR/hTaxWEcdlZq9qkzxtBAJhl+MgMUJUAg8nPQA+2brcU/h&#10;uWPUh8NNW0u2trpLrxJrzvp2v6Hdx+QFWQ5ulcp8xXCwsqsiZAGTWto/jfQFls21W7ga7ltW1K2t&#10;dG8XtHfWMU5ZmjbTk8oxKCytICskWEJzgYr3aNHA0KzjXik1be+2muqv36W0PxbNs94izbDLGYSv&#10;KpG7vZwk76u3uTUdE000+blfM7vb0G28O/8ACNwGHU1sws10kFpk+a2sxuWM8Nzn73zOrKzkHKjo&#10;QKi1zxXDoljLa3VuHuY7kroIuHbybIBo4ZUupQzMyKZDIqqHwsakklQa4a58dW+otp0WjjQriZwb&#10;6bUdH1ESpaxJEAxkupo2lEgkeNFM8XG0sU4VV85u/GD3braa3q2lw3F8Ibcrp87X5iilIV4DGAsI&#10;ZUXeSJGZmAOF3AicbmdCjTcMO7dF1Xpc8LL+GswzGtHE5nFy2lJaqW9rqK5nFaPm1vq1pF2O/vja&#10;3dzaySQWwa81TyFVJotUsIodkKocFQ3mptnlKbMfKwIGAK84j1670fWrKzujBq+mXO+4s77Xrq9m&#10;trGP7SC7xiP5V3EMFVgiqobgcYd4ovrC4tVt9K1RNItHhNvqeqtDbgIZJHjnMUSZikmkQBtxYktk&#10;MSQc+ceNdc/tLQLbTNAgl07Sg1tbaLbX92sWt60sbOgngQEkrLKjMyEgbpv9mvnMbi18UPijqkvt&#10;bXXa2m/dq1z73I8ldeNOhWT9nP3W5XXItbPmbvzapqKbvFScrK1/T7vU7OfSLN4ZnuVubyR9Rsb0&#10;CPU5R9pdYWYKMKDH5TFQxXMa8tgY4m6u43vltgzRw2croFtx5gEjSKR5abTksrRLkgA4JODgHjvD&#10;fiCE6TY3s4vpNVtIQbtZ4VggsiNipCgJyzgHlsYUqK7qx0uy12V7yKyv7IMBK1s5Rroqsiyhy5QA&#10;gFDuGAcAYznK+RWxUsSrJLmslb/g/LXs/me//Z1PJpTVe/InL3tN2+2mltIu2qtfS17Hhyy1MR3T&#10;JcSPFZWuZ9KN23lSMzKFWIKMOwZ0bAyvXk7SB2mm+J4ZrQm7s7Jdajjjs9PitVRpLgQsWaGVUAZi&#10;dzg7gSQDyM4FZNN1DZb6loWoLHcwQGC+sI2xIhK7xh+PmKZOOTzjAJxWdBA9nqEuoXNpayazDcEP&#10;btG/nWYTZumBGxULhlCBdwHmOTk5J44RqYaCUbqLve6umtNV5rt3PCxU8PmMqk69nLRpJtSTW6kt&#10;Pdlu5a3i0rvQ6o2URuLa5nt5Y7J7Bpry/s3a2tbW7chglxIgB2HEmY0K4wBuUjB15r2HTr64tbfT&#10;YrESiOGOy1PUra5NxLtDpIztIjxhmlXdc87kGAxzuqW9tNNGqa1c63FeeH769hC2aJqQXQrV/wDW&#10;RRXPSNsjG1TGQ/8ADjCE+deNPCNtd2Om3tvJpjavpt0lnqumWOpRXSeYUJLtKCQolZPMCs2FZirF&#10;eo0xMqmEw1R4ZJzvfona9mtVdO2tvz6eFg1hswxFKji6jhGSSvvG7SkmrTUWk/d5tlprFtOWnqup&#10;6hq6zaveWujNfWMLaNo4tbloFjVLgGZ440RUkXMhRWOGJU4JAdz4H8dtO8T6Z4Tt7nU2httFgghk&#10;07WDH50cO53eGFwMSNiS4kjLngF3IHGK9+vIJdMsIfJSHSpbV5P7P0a6uP8AicTruZY1i+XY4VhK&#10;S+4DcpUcqa+evGPjTxLqOnapot9pF/qFzNLDFFPqWnyyJZGJ87Y5GwvO0EDDdOMHBr5zNKtOMHTr&#10;qbqTW6V9bX978LX7I+u4cw1aeJhUwEafsYS1TevLsuTVpWV23FtNuVtWfHvw+8fy6reavc3swnj1&#10;vVHttTVPKiSZQoicRx7RGhURqqjaFX0G2vVPiX8NdM8Wafp/iv4TtLFqNhpU154l8N3DfZbGxEYl&#10;O7T7h3IfzEllUwkIfv4DBjil498AXUXhd/HWheDUsLjfJealdeF4Y9M04LHcfvZZNPjQkui5R3Xa&#10;ceUTuBUHR8O+OLG+0l9RSPTbCDEN1caAljFf+G9ekVI9slzay7kDhoy/G5cuBs648bAOpgebL8w1&#10;hJc0ZWabbd7p9Guq8z3s8w1PESWaZV7soStKKacU0rWlbdPdOyd16o/Pb4neEtP8c6YYdD8OW8Pj&#10;uyldkvoz5NzqIjRgbJshR5aGN3ROcPNMR1wfnzSUe+0iTfpq2+qaXI8FyjACeQ7lXYcEgkdgBkkH&#10;BIIFfot8bfDtnNfv8TPC1la6eDOsfiPw9pcS20CKIiq3llAuTtjVH80j7qkMeAa+Q77SorDX7/Wo&#10;0kePW5I5bm0tEUrESvnyFIwScOr7T1PAwpAwfPzHAO96mrSs2tpRez9U9z08qzJqiqajbW9nvGS3&#10;Xo1sYfgC7urWaK6guUazedRcpGrRrFJncVIPXkMM9M/Wvqzw9b20L3Ooz3sGp6fqenLG2mXsAkih&#10;dMGSQn5jhwZMIBjJzk818kmBra9R7SGR9Omk2XcUMq287ROCryrwdpAO4OQcNtPbn2/QNfi0m1tt&#10;N82VUt4RIGmuGnujGsThVY4xncjMzMAcNk9ePBp0aVBWnZ7fovxPqqVCeYV/aQjZfn/wVY+7vDuo&#10;2mr2ViI5beKaCYMtuECwsuc4KdApA2gDGC+MdK9M1iK4gsLKe2YLJPIkku2ERjBVm+UdF+YphQuM&#10;A8HkV8d/Aq90/VL1JtOguhBYak6alFEvE7CUySuFJPbcARjJPTnj7l1RFFtBZ4VVZA0UZBaNTkkt&#10;jPYhMDsSfrXc0sRGaeiWz/rtqcWc0lluNp4eHq/6/E8T8T3MqmzMnmIYpWMhV97mR8EYIwW4QHsD&#10;tGR2F6DUZbmOG1ln3XUkayJb+UAwUI0KqeBjtz/Fwc85qbxBbrPfi3+yOxtrg3O6VGESkwPFkt0z&#10;yeDkDdnggGs+dHjv4WtniQGzSKZ8ZkBy525weoLD5uOvB21nKlKpK7dlon/Xc6sPiIrDUoxit3r6&#10;23OG1DWdSubO+tXtpXaG7by3eJljni+ZpREcHfndgdMdDjrWRYWgWfSbKZo4Ly7ha8v5lKrJC8h3&#10;SR5I5ACMBkjhfU5r0O4dbeb7RKYx5wEVvFtVEjGc5bGOhJ56ZAwMHjiSkaXupaxNcKiSaeNPgVIx&#10;EsGwyMzHnIOGAB68+tdkKUaTjZ3fn2McXimozilaL39bH4lft0eNP7b+L82h2srPZ+FdHXTXieQm&#10;FbiaRprnAyQCUNp16gdtvzfEE8i7WUNt3B1R8E4Ocxg8DkDaM9yG7YFe6/tF6gdV+NHxEvZbfyZX&#10;8RywPEsxmREjVEQLkDJKorHnguwGRg14UABI2AhwAOVxhWzwPUnIODk/JjNfRQTcEvtWWp+A5lKd&#10;bMKz6ucv8kJtj4VSXQbCxYBxEAynf15YbD6ZwB60xBKuFXDgOZsLhtrY6sR8xA2ryegpGlLSBWAe&#10;RQWUkNFkEKOMZHBVhxz3681dUuisjoTHyxCqwOdpAJwMtjnoP4zW2qVpay/r/hzkUL63/pW0EEax&#10;5KSlTG25wjBShG3ao6ZHyhvY4AzjJnK+ZncoZTwzqmwMwG0DPtyOeASTjk1GI2Dk7H80SqspDeUJ&#10;CAq4YgHuTz/dIznABc0iJgSFix4dmBDKNzvIwbPTATGSSSzZ95upaN7/AIMyjG6dnqnezGPAFbc2&#10;ZWQK8akHazhW+8Qp7rEuMgfOc5zR9nXZ5wEhdM7iyZY4zkEj0HTtkL6GrJLFl3RBpHl3BcFXQFQM&#10;gdeBj8qsoSeqYVg6jzG27DyRg4zgHcSSeAT2AFDqOKXKyowi3dFVbMeYrqGaNixVXBbYNo+YqD0+&#10;YDng9skGtGKNi4QfMxAVgvyMQMllA6nGM4OOMfSmqCqv+5JPGVjG1izE+W688c7TnoQd3bgZJFj8&#10;oRsSIwwCuFbJVh0BxyBxnHaiMoSl2sW4qlaK6/1/w5bV2JGMvx5zbVIYDAfhiOwOcnGcAdcZsoyq&#10;/mqS0aK+SzY3L8vDdTjIHynIwOhxVKMyBpRGFLJGAAw+UYVfX1wV45yBzxVhAVCjYCjsWIiU7chc&#10;bQBwMgoAc9/rSlKElzS2X5aDi3Oymuv6FpnJbdJtXgCfac7CpCDjHI42+wUDHoieYzAhtzMpUgOC&#10;zDgFgMnvwMjnBpkXBmQhV35cIQHOPlc8e5LevI61OJQVOyJd5hGMuQoxnC9yP4zjgc9sildL4fkZ&#10;wUVUUUtR7AL5g8xkcxkKyqPMVQCAD64Bxz/d9qRnRIMhMLuDhATkZPAyf0+lQDcuWkDKIwZcFQNv&#10;Bywx6nn8cYqZXbeMHeFZT0ZUfoWOCMjq4z3KnGRzUX91eb/r7zWTs+a2r09CEyYkkBAwFbZKuN+E&#10;chsHHBzkd/ujrnAcyRAkGN1ZSQFCkqMYQ7Rx03Hj0zyealbA3qwyjMyKTg8nDZU9uSRg/wB2meaY&#10;2SN/MChSGfAAUl12qN3ck/KOhJA6mrjL3U1pZmbTje2yX+X+ZCY/vPv8tt4jKuNh2tz35B5/oaja&#10;NW+XBQAiPZsBjlGFbpjJJJI5PUHrxmZgsnklY9rvKGlAZm8vdH/FnrzgemcY5pjDG4ruBJOc4B4J&#10;JBJ6c4I+lKSfK0mVGmlFTk7p9uuhAV8t5Np3HYWhRvmjcnoSegJZiMjnH4UsWELGOaRi7AAL8ilT&#10;g59uCrfyPNSTyokYJEYMKsNqgiNOEx85BwAIxgHOAvvSna6F2XdIX8tXI+VVwMZx6EAHj86blJtX&#10;vy/5GceWMvx+4agRdkZLMNgEgTEWG2gnZxxzkfnx6ukSQvGI2RMn92juArKCCy47kjeCTk4x6Lhk&#10;a/IrN/rcbFHYkFufpnGDnuaSX5BM5bDnESlwVDnDMxbAAXnKgqMHI5pyi2uROz/4BS5acbyWmyIm&#10;iMbtE/zNMAztnBUk4Bz067Sc8fLn1qdiVc7svkZVguwYLNu57c9B9OgpjAsEKoU3fOxjI2MMjLZ5&#10;4O4kDg4GOvRjP+7CfIRHg+XsVi+MgliW4wSB0OQWJxwC4WVlJ3l5eZPKlF1G9H/VyRTHEGUhljb9&#10;3IzwtFGynCsVbocZBznB2kduCIlDHnzZHYnG07VByAwz64GRx/IU1og6uFKqJyF80/LGWJyTnr1I&#10;78kn14sBZDEJJPkO5gv3WKDru5+UdAOD39M1Etrvf/hv1FJzm0k0rL7yxbBtzoUBh2gLI7B48cK3&#10;yj0JHtgA+oqSPYysuVwihyUG3oFI49RlCB9OOtMUAby3SRUJlV2dSDjccggjgEdcn681MrIxcRug&#10;Eh42IJHY8kg9uKtpWslqkVBzlZW8idlLRYwdoXaSF3AEEY7Y53A+wzUcYk4VsklTh2A3MRwQAfXj&#10;ntnp0y9lcIoZkiGSyFRuJ53c9OBkgGnI2FYqULAAxFxnuM5bHOB09eM+tRC84ppdEKVKrK2trfmT&#10;FiF+8wLPkvuLSxbjuLKD1xyQPbr6142YMwclmkz5i8glfmO3d69Dn2qX/XIfKZpEBLISwyAPUZzn&#10;kc98+xw1yJOGQt5rAKCQuG5z6ngD07/hXStm72/r+kEuZRUFukSBCjSLl9+cujZ3joCOh4OQCT+p&#10;4qIs2SArRKB5bH7xUcMN4GORlc+/HSnjITe6tEs0YDIcMcjJ55PJ6HaemPQkzO7SOJNwLEEAL8xl&#10;+7gYOR2P/fRzURd7yv5GcbwTlqv8xi5EZG0su4bGYfNgg8EjsOvSm8r85DFFfziOWLtnceuD17Dj&#10;IqMyBVZ1R9yEMVxt3HngN6447VKJJPLJbOAwBDnJjB5JPOefX3+tS78ybXQ053F3a0t06P8AUjLL&#10;n7spMhErIU2sgKjjr3zn6Ypu/a7hnI2ymFXKgbtrfdDD72SGA9c8e7w0rCPMasBGEU7t2cDHAI46&#10;4x3JHeo3aU5BCKrE7S212XJGcgf57etVOTmlG2v6B73Lq9hE4JEjgyD5fKZdsoJwvI6knIH4moFz&#10;tdmCowkJjBw2CoX5j3Ay3P06cDEyFlBmhYOQxdHH31YAEdsdj7E/q9yibWRR8pbkZVVBGGwO46j8&#10;azafM4vr18+gcsI005Pz/IZgFyu9CA21iPkKhSRjn1x0P/1ixw6PIB+8hEZwrMN7LuxvGR1wVX0B&#10;IpXzukAAkRx1ZNp2jAG/1GW4I9enSnfMMqW2FVwAQTyoz6c4yw/zzoueLu1a19xRnT5pLf8Ar/Ia&#10;gwI1YY3KqMMbC5UfNheSMZxj9TxTkQNvEBBJGGbOwDqCG656+3bpjlwaRCrs6k78Ivf5uR2HGcc+&#10;uOKiz5ZdBGOMBQE29WAOMY6ZXg46jpUq6hzJ9bCnU5VFpaComPk5ChMHJ3OduBknvnPvg5PQE0is&#10;0UsnlB2UQ7zGylJNr7tp9cNsYjPUqcg4pwKMrbtxO3IAdlL9unbmmRiQJGxEgeSPcUb7hByD29Bj&#10;Pt74pRavzMqSjGUebTX+vkOKgtgPtCKNoA5JbkDJ64LsPw9MVEVkYEhT8owG3bPM4wRjj0znpTo3&#10;lEo+QFdyumItyjG1h1HYrk+2RzTJpEU7UHy792WzhBkNk+g+UHnpge2N5atJPSyCS0fPuvxVv+CN&#10;EJAG23aQY+/5O8n15wc+n4UVWJj/AOWsVvJIAAzySAs+BjPWisPvIUnZaP7/AEHr8pwr/KJCM7cK&#10;WwNzEn2Bz/kUyQv5ueQpdcgrjdtAAH3dwPr6Y5IFTbHXlH3Ehj5kbZyCCr8g4IIOMg/d9c05FJUb&#10;tvmBQc4GTklQwI7gjgH1PHSn7sPeWt/+AS4VZVOV+RDG6yMNxUOq7xhdzBMjacemAOTjkCmb8M+4&#10;EbvkjAIKZ7HAHXjP4mpHVt8kjrliynDkDau5jyTyT83fPAHYDC7lCEuqmTOxlZigbg856HgHvjkY&#10;7VlTUbt9LIj94mr623/UjZIsosbABEYBF+UOWP3lxwep+u4cnrTXLMzusQPmAvgZDM3TcPc7QMKe&#10;2euSZnChpHIJZ08x3K5yQAcY/Ht3A5xiq6hgoIVzJk7FUfK2Dt9Bj5fUZPuMVXM5uUn0Lkkoqb3/&#10;AK3AYzHvKqgQiNA+6NCSMjBwAcbR/wDWApDuQsAFAdwwLnazAHB3D36D/wCtQADGhk/hlA8wSFkO&#10;ShXJ5OckkgnlR3BxTww8yEuA2VVUkJ3oBgAMR6HB6dx7gVEXNTXL8OxnOSqWRVRgRiOARlJGCOBt&#10;RCBt3DOMAfMckA4JJpZNgUtI4yOVwxBGcAYGcjBwMnOfUkk0IzMFbiParO6o48tQVGeuOPmbJwP4&#10;j3zR87/MzB8y79zkmQE7Ths8g4A64xs6VtJ+zt6/1c1jRfK3fRkUhQHyzvjADFlAzjaOSR9VB74/&#10;HNRKQGCMwBCD7QJCQCeAxXB7gtyMjK06XOclWWKLiSPhh8uWx7AhGI45CnrzUJDyqrkK7jerb1IQ&#10;jcw6Y6sV6DPDDGe6k+Zc0CYSavTa3IcP5m9DuwQD5i4HDENkY4BIB46huwApEWMkBixG1A8rLwSC&#10;TuK8HnBwe23GQQcTTBpA8yuj7wI2VcKIgVA4I45ABz33k5zzUUYz8oBMYdiSW+faQCM46chSc/3S&#10;BjrTb5tFpbT8SkvZ+4356f1/VyMsVyu4hdh3FQGOVZWwfmIYAr0/2R17TABkO4rHkZMYB4BDjgkb&#10;SQRn/gSnHNVmkkUMUJ83ytzLsUbCd3fvkjk45wMYzkOcIoaaF3kWXciBnEgfkfMSDjJB6/p1pzpt&#10;Na6bfoYxjGVNronr+BOZvLXlA0TIwUKxUHOAByoxgjkc4A42ndUJb52AbnYBGxUcdVXJ6k4kkPGO&#10;OMgUpDh4wJNspQEKHxuUtgDHfnnjOffHCkKFUkqrrKAkZA+cr12jjOOR+Pem00k4tXsaqNpqLWlr&#10;6/16FdwSxaIlnU7AoOGclnwcj72NwGMfwKKdHICwfbukV9hn80EowBJJIIJG4YDEEHOc85qM7s5y&#10;2UjUDzG84HkqOowMBOpPUj6Um7YhYIqBYyybjlTlVJHuQzqM8D5wPq2r0+X7hw9x+0b95q/9fgOi&#10;Z8Fl8tkKmEhUO4gBSVbsSpjCgc4IJzk0NgeZIyqkitsjDZAZipIzjgDhRk8gNnHQ0wKWjIVm8xjk&#10;rkBYgSNpJPTGx+eep45p0cRZSCzRsGO8qwEbEDBx7c8fhwMUqiXIkvL+vuKUK1Sm2lqlf5P9RpDH&#10;KGQbApXIO0vhmKleBx8gPTpj8bCiCMouXAQqGC42PuxhmXbzgAHjH3u9RHh8hWfyyASkeY145JOP&#10;vAAjjAO044p5TcmChUucNwMlcEDODzu+br0JJINQ+bdv3XYiMEner6/fYeFVi/lgMVQ48obiQEyT&#10;7ZCMxHQE8DtUka42BnUh385SsYPUZznGSQCBjgjGT3FIUEmZPLD+YTO+BlAcbjtH0LEnr+tJllwj&#10;YcYWON0YMW55OCMcbsfQgEnqRJzT5e3/AACpWcnJJ9iR0YMJBy54Vl3AZyx3bgfQZ/E4qMqflUb5&#10;EWV40U4VG3bWwGIOA3OeDkr32jMioclHdQZMnKjcXwcbSScZAUcAHt05pWROplYKrq8mOAcYLrxw&#10;DjcPb2NZ6paK76fgOzqQ5Uv6ur/eKshfbkuG2gOWJLFSWG7b1JJPQZ5X35ZkBizqwULucqu1hvQE&#10;rgdR6nnkntUxTckPmkfvCEfnY/zHaR15yCTgd89OKY7O43h40edw74x5aM+0/MCABwQ3OMAA/dxi&#10;6dm1dav9AbTXK977hGEVGC7XIG3DKIw5BLKCepBJxwRj8qa7O26Rg8Z+47ZEjbeRtzycD9frUsTA&#10;qNpdthyigBOepA4yT8vr3GDno/EaqViUgE7tu4uGYlVKgYwCS2Bz34Gc5hxTmkty7SlOMr6W/wAi&#10;DaSrRKjxrJIcurZZSW6YP90AZ9m/Co4F8syMZg5C5HGdjHB5xxk9vq3TGTPtAOGLqwA3sORnG47S&#10;O2HHXuCOoao3V48nGQGJK5G7cE5GRuB4b1xz04BrVxaaV9DnmueanLt/wxMu3JjVZWDMWJif/WcE&#10;/Kx+UkApzxhvpxEdixlE8z94pbaQQy7uWdhjn7vOePmH4ScxbAjqXI8yVQQFU5wBn1wVwSBndjnq&#10;XnLjy2ZV2r5cZ3GJlQdgRznrnHPyggDIqPcu110VzRTlJ2StLb5bgcMEChGLsVCqgjDEA4246DJ6&#10;AY7cZpCjcMSwAQ4aNSqjjAyT1yuTtGSR2zxTUViwZWHykqxCqzx5++AFznjHAGcAdScB6ecFVAn7&#10;3cFaUAOqNgKWA54O3JwfWm07Pl62VvxuFGCaSmtCEDCBGCbtvlhFXcrbcjGT8x+Uc8jJX6UMiDAK&#10;BSWZHwACpYkHcSOo2k8jHtgYqTDI0Z2BwJiymRt+3ng55GCFHHv0ApHyFyoC7ckfdVGDYwQQOjAj&#10;A9GAHUAl7uy1u0Ll5m421AY2FcgFfk/eBgAuDgj5Qf7v3f7x9BT4wNu5nzlQgeVQwP3A2ccDI5x2&#10;38noKaHDRjDfMCVXc/UA8YY4xjacDHqM805grOVaIpHjB3phSTleDg9ievA3fSpbSfL0/HzNPaPm&#10;91WirL9QSQncrKSXBIlWMoWIAbPUjnbz07jjqJCGQ5VeUYMzOCSFB3AdBg+g6/mKg5jlJCMsghDR&#10;uvyAheo7ZHLDt3+hUgiNGQbJppQmQ/3yoRj8/U8xxsVHB446Vrywurq2tyVPkgl1X46h5mJJI0LN&#10;k4QhPKI2bWG4A+qqT9R9S8eUp3hW3r+7AYHYHDFQQTjnJT8GIz6wqFJWRHVCDtwmEGN3Jzgkj5WP&#10;XA9cHmdDskCqigldpOAUQEqQBx0wAMYx8lQ3y3kug1OKV0tb/wBfchI8kuzZc48xicEhhk/mCfqT&#10;2oZyoXYSGEpG4EYXjggZ65zj6U2MOyA+Y5Yuq7VymD1GcHkZZRz3z2wTOBJ5UQXB+Usy4wyHaMbs&#10;dQTnvxkY61DkruUNF/wCYxhNOTun/WxEJEfeI0O4FsuOGXduUjDAnvgH8c9KkMeAD84kEm4vgnb7&#10;E59ePfd34pW4fc4H7wbBwDuwMDaPYu3Azk8/WRRzh8OC4AQAAHG8jnkADbGSc5yw4601KLso/wBf&#10;1YqPI4unPXz8kMVnjQzbsIVEhDfOwBIJH4ZxnHv6mnJGE2tsR3RcBQoAcMMkE4yM7dvXuOafJhmR&#10;AGQIQsaqS244AOR6Env0GPepFRVR5C7DaDI2A0kxAyxPALtgheuWJOck4p20XcinzzlaWm133M64&#10;uFh2KkgL8bUAL/IcYGANwKnce+Sx4z1qyWcAhYkRSuYwzl3C7lc5IGR6D171oNp0Mk3mTRBnRAMt&#10;HmRPMwjspxjkBFO3t3GBTbvTllULAEWUOGKldnmBmALO3b7gI7/KRxnNaxbi9Xq/6/UcuZe+u7/T&#10;U8d8a+B9P1uJNSs5EtNSDOkB8tJYFLNvIaMEnYMYA43Yr8b/ANpf4fzeDfG8l35JEGqRrNuUBYy/&#10;AJGOME/yP4fuZq9lb2to8v2VltZIWaZbZFEb7R5gYBQFHCDgA/6vIx3/ABy/ao8RDxHq8sNo73Nt&#10;pjstuZGIkRSfmG09QMn/AOtk19fwbPEf2klTd4Je95JnznEE6dDCyddaysl69D5DtZozbsi7y5Yo&#10;cnoMjPXt9Kuxt5TxjIJZeSSTgD/9Y5rH0/5ZZA7ALknA4KkED6+hrWmKFizMc8A4PzDaQR/P9RX6&#10;tOLeh8Zg5uHxKz2HyTdQxbG/JYLgHnkZ98flTZGKYMm3BOAR8rAYzx361HLGHjaVWO1uFjY8YOTn&#10;2GQQPenxsxdlZQSF+/8AwpjJPfn6VxKleLtuv0PZhN+0SktGrXLflpLFvXKAPyVBD8Dg+2azZZYW&#10;xlnRhwXHzDO9s4+p3c1qLIIvnQnKZMqsQBLkDH1z82T71lTFC0kwQgMQSm7Gz1A/D+dRT92Wmz6n&#10;Q2pU3C1nq/krDVRTKFUsSQSMMOO/NPJBZVYEEEBScgk8gencUwsECso2oMfVsZz83v7VHctukURl&#10;VC5YZGQeeDj1xWqnzPlexxylKNTnhY17Zo1ZGdXWQL8wJyAR7H/PFW4o0VfNjb5SPLKhMABsjkHv&#10;z2rLZsqrqzLuIwAQAM8/1/WrdpMsLyxyBuCVIDfIwDZGT/wGsKsG05dTtozbk9lbf0Zd3pGPJPzI&#10;A3J6scZPPoMfrWWAIZclkUEZUqd205LEH9a1ihmkaQtlY1+XIA8zdjjH51SntTKI2VcNFJ0BwDzw&#10;GPfp39awg46NPU6FGco2avrp8rF2EBUEW/flg2XycHoSBn/aIzVhvOEioAuwHlF24U/z9fzqG1Co&#10;F3M4Zcls4dnBz3J9R+tTFxFPtkBUuOfmHJx7ke/JrCUZNuzvc9ejWXsVNK7Z0VjcwK9vlhbLJOBI&#10;zHcyrnPUew/Wu7uNRjljSKB2lURGITBSCCeVZRxjPPXPQDjknzOEI6RFWXy0be0ZwzvwAcL/ADrp&#10;7O6DxLCxTdkzIAQBgFTnpnHAOeg3ZrzK9O/rqe1haqhH3dL/ANf8A1AbxLqHDy58oohX5txJHBI6&#10;ZB/njvXe6fexSxRQoXhlSMytIR5ZO07cnGeo2dMcnrWBZj/R3nBiVBh2cDzC7E5+nI9PTvmtm0sp&#10;GSF4oXWS6wGjCkkAMNxDY5HAPGDh8devlVeSL5Z7HrucZ03Zen5/oV59JluULMyrHFL5gc9HDLwM&#10;DPQAkDj8a4PW9EXfNvLGOKQN5iHIYn/9XUV65dtNDH9kIRI2cxyOiYAZAOT+g59a4bVoPs8skKzP&#10;NbMSAADtbaOSD79s+tXh6kvs/wBP/hjmqUrYXmnrfp8zxqFPseoGMR4DuXHJySBgc+/PvXo+k3SS&#10;b3BKBFYFeikjGT+Wfzrjtcs3TdNb5LpMGBzuA54A/Tg+pqzpl8RBukI23CkccMRnqPqDXtS5a9Hm&#10;1dj51y9hXaT0tf8AHb8T2zRr2X7Nth+U/akkk3EDC7RjnHZiT+XFeg6Xq0pvLiefdJ+5EAiY7ovl&#10;3checfebI45KnOQK8W064VQkQd0RoUEeW2gjtlTjpu6n1r0/R5rexsnmHmXcyweaFjxuY8e5GeAB&#10;614WJpKL5ns/+Ae7RxtOpRja51djrjWeoz3lvAjXMETRxSO2UV3Vh5qkfxJncp7MAeoFcPa7PIvJ&#10;gZMS6jMylmJ3kMSpb1YZzu757VcZy8NxNJbsXdCsUathkLbX3e+BgAf7R9Krw6dLBG3zbYLd3nnk&#10;LbPMkYghQfUcAgDkuPTnihJpun6WNKlJztXj8e/yOT8QWiajZ3up29ozs90ljdBQSIZQhYyu2cDe&#10;R39PxrkZtCmWHSLZEknvNZAi0q3QkbY1mlaVdvUBygGSMkKR6Ae/eB/Ct1rS67ZPpt/caNLbNdat&#10;qkSrDpeiNkSR3FzdyMltEEVCFEzrvwQCcEjzH4rSX2g6jc28Rt4jNo9toem/2afPSCxb99thmZFy&#10;Zo2CtIiqXVs9Dz72Bl7yvonb7z5HMI3g4PWS19LnhuvwyB77R9MminSwt0s9UubRBIl7Nv3N5JGS&#10;yhxtVlyCsQPOcnjxpj2+26uJY45beFpxZg7ltBt2+ZIRwG5+6cnPau81exm8PaAqBWi1HV5vNleD&#10;HmwZyqQcZHyjHTpvPXtydqko0i106OIz3d7PuvvOYkuI3UbGx1XI3e5IPpX0lCs1D93tf8O9z5Gp&#10;hbVm5Ju6v87pr8x+mWUam51QB2V0bfkbzEE5IPfkA4rsxp1nHbPKYjFC0JLNsJwxXAUEc9+fpTtI&#10;sgySR7S8Fs6x5QjMrEFmyPqw4q1NMk8TwAqqLdeUAGB80gdT2xnA5/Md+CpXVSbj2/LQ9/CYdOlF&#10;Nd/v3bOWtLOKfY20hIv3VvlQAAANuPXqBWoLfytkcaAjG9jyzISw6fmenOBUybYHVbcBXUksATsU&#10;q5HfscD8/Y1ZwAxCxZL5OUOGbJzx+p59elc3PBzbWp7UcPaEofiVG3MCzk7EVgoUbGI7cfn2rMjt&#10;ThpmIDs25QvBfJPABrXktGkdGkLhc8jggcnqB7nk1E9vOJI1zufzWYDbuYA5OfyAGe+KcJxk3d6H&#10;R9WekZrVXa+djGkgV2ygC7VIBb5CQcggDr3prxeUQjEnGAmMnII6D071vy2RWQH7QHZhjO0KCRjk&#10;9+f6GoJLN9p3MWeMZYj7rDHqeuMfrW8KkU7N/wDDmVShSXuW/wAtDNjtRMoTYCpO1S2fl/i6n0BA&#10;rNmjSNBCMtLuB7grwc89+a6K2RlGG/uhlVm3bwo9ffB61iQxma83KpKr+7AdgUjOSf5YFdNKd5Sc&#10;uxzSp8nxu+n/AAyFiVI4h5m3IwclQVwQT36A4H0z1pTbC9bcCUxnBH+rbj+nPNaDW++VQxLKwKrG&#10;I1/d8nJ6ckY/X2rZs7V49uyIESKOSSykYIBx0zjk/X60vbSjFtPf/M1oYSM3zdei7mZBowSMNgs0&#10;hDqGbOOGx1+oqU6E0gjzlQ5Ckgckc5+p5Axx0FdXahVZTKuxVztzwdvA9K2Lex8soZM4Jz8y5AJ3&#10;Z/LFYSrSu+jPYw2Hg5Wa+V+ljnrbRRGFKgptOzYMhpMEZOfXAFdxaeH2MMAihx5wBYZ3c7uAR/nm&#10;tjSLO1mdd4VowgZSVAxg5ORkd/8A9eK9R0e1t8ZhgWcLEY2dQAxOAScEY5yOB0rza+PklJX/AOAf&#10;ZZZh4xkuZaNHKaV4WeKS3BRoxKu0KSR3z9O59zXrugeHZopGSJWXC+cjA8ock8dOTgnkE5AwRiqM&#10;0kjwK8ULeZB8iKPmPBO7p6FSM9iSMHt6x4DktpG8q+P2iVoxIgQq0aBsH5jzyvryePrnzKmIfslN&#10;6NW/Q+zwUZQo3SvH/hvx2NXw/wCG7mFjEgAdERpJMglQS20D0J3MT34x717joXh+za5MchadFjSY&#10;OT5YMoAbAxycbmz2yvPUZ8uttR03+13Vb65Kea0KNHCAm0IXXdhjhiwReM4D5PBAPsWkvYWZiSCO&#10;aaeLZJdMxw68HKjHTlWK98g9MV59apCs1fp+Ox9zgZqnSjDm1b6fL8j3fw7ocrWgUSmK2JBBj5C7&#10;h8+T1JbKg4xj1zg171pmmefBbRwziNFjjYMIzgEc4AHAPuTjJHJyK8vsY0m0+0azAs08pHIbln3E&#10;FuenBTqeoBHGSK9W8Hajpulwx2V+jXU2QsbNIUQFQpPHTkDOPxwea8/21KTalt/kerDFVVD2sU3J&#10;dFbTbU9Mtp/KtVs/MIFsAvmLJgzEoGx75zgn3GDzx3On2lldaFc3t5ERDHAZ4vKUSlQuTllzklgp&#10;Kgdd6+4rw3X9Xs43toTEIIr9gjRxSnggDMZxySNvcZ+X1r07wB4p8OX8sek3mqx2WjXMBj1u91CK&#10;R7e1GAdx2K7lTjadqknceDitaVWjKUacpK8tFf0NauLlCgq1CL7u3lud3Z+MdHtvDNtq6yRvdWsY&#10;RkVWZ33MACMDHUk7u4bviur8NeL7rXp2s7/Mdo8qSRKsLPNC0oBGBwFDBT7/AHffHyhobW2gTXvh&#10;+HU/7Ws9M3QWyxv5guIYS3lSqCofDIhcblBwDlVwQPTtH8f6dDHftCsfmwpFFgkSSQoUMbJ1GVfH&#10;OR689a4a9ecayqQemzVvPU9RTpqTdFXctU+12mvu1PvXSrKyGiRRWslsdVjLJZxSR+VtYbgoZ2AX&#10;njJ/hB65BrufD3ifTrcIurMBLazCzlgk3jyt6kySnAAXZk4L5BbGRnFeBeFfiVpl94WMF7cLZXlr&#10;ZiSO8sYjPdTiRosIU81V2qdqhwQThSeenlNl8VbC38X6U99rV3Jbzar9l1R/JCmJFYKkokfIlYRv&#10;yzZAZApzjFdtPEKlyyjL1/DoeDhoyxKrUsUmpptpLfvo/P8AM/SLUPGemn4g6fqvhafSvEGlah4V&#10;sJLjT729sptQtrq2DWN6RHAYyqKIrYx7+X2sWMhjkNfTmh+JLDRNXF3dx6fNDcBra4l027W6isnJ&#10;hmLsU3HbBvZcAA5lOMtivyG174k+Hn8dwR6RBZR6ZMsqabfXkGnjUrpGkDP9umgij8xd5DKJE+QS&#10;BVBGa77Q/jreWcF5aJe2LWUjRwRk6s+m6e5jm2yzsy5DJIIMbWAbpjacY7YZ9Glipq99bqy021R4&#10;+M4fhjMDCEb+zUOVpt81ubRXT3S301aP1p8UXfwvuZ7zxBq66r4I1TUbcNpniK21ttO0jWJYod6i&#10;8sIEeEJJtkWRkd3YM7FTg409O+KPh8acXj1doYLi4axuda8N22t+JLG3gmWWMYsdzq1sVIKPGvnR&#10;bTkpuzJ+d/hn4jXM1/JcaZ4h0+ewuURDoX9mWuuRXySoHuY4mv4XdWTJG4SoCIgokAIJ9Ol8WeB/&#10;EsDLf+FdW1F47FtPs4dH1MWMSSKsSCYkTXKOA0u6SLyldZCwEqsCB6Lz2cqi5HFN76aP7vxdr+fU&#10;+Eq8HUo01hsU6s4Rty2kny6W2nol5OThp8KXuv6vb4t6bZReXa+P/s8Sac13bQ6Jpkl/b6jOiOsC&#10;XLNH5sMXmJmUqhmbynygJVxb1T4nx3Fhp8kcWozXNpcrDFNBPcPo8EhjkaFo4pEZYACXIYN93GEX&#10;Bz8yw2mmafodpo9/beLtEs7DT0uJoLGMa5ZafJLACsUUm+MoJMOzRzBsvE/zMOB0uka34dg0ybRd&#10;NvrnxRcwWX2iwh1Wa48LhMt5YRI4wPOJEgVsED5CDnioq5hiJ+6pq1vPyfW70eisgnw5klGUa8aU&#10;pVFLa0UmtVdyioptppvmb022SO+Gr6j4hvbxP+Egv4SUzcmGyhlvJZ33BY1ZRvdVDrtDqzAbvmyw&#10;zYvPFJVhffY9C1yGDRpbFPDVzczW81oWEKJPcEKrxk+QMK25uGDJhwT5is+JbHSDfnTrUyFgLidr&#10;S+edUJCQSEBySGcAMfmyPv7xjo9EXRlgugLS7mlt7w2k9nDDcGSBQiODM8qF2bKlTgHmJjkDGPOh&#10;Wryi1J6vd7/1Y7a2HwFJp8vuLZJW0ej1Vmr20ad1ayavrq6v4t1e70S/VdP8Mxqdt7Hp6Wtw01hH&#10;5iWtvPyqeY+fOIBdjtH3Cciun0DX9Kgvkt73QrG6mluYbuTV3nniu9HiswsjCK1VdqSOAqgHKJjJ&#10;5znmNf15LyG30bw/HbNFp0MUU017pEGnXkscMkbi5XG50dwkn3hvIkK5wCawdWR2tra50/T9R1m4&#10;hvDJrmmXVmsNg5mlV4/LKSByigqh2hcAIBli21vFOlUbg1Jxtpbz1tv3+XQmjgsLi8EqU4OnGcnb&#10;lk01ty81rW1jazdpOylc9LtNOsfKkFo1w2n660uoaTFbWqXd9ckSFAkqyjKBQVY7CQd5znBUen2W&#10;kppV1b6arwwxXVvFe6pJEJJ5txhM4CtJIFBbzFEpbIMm4quFAryfwtcQPpmnWcuowaYARdajAlvJ&#10;NdrCdwjRSBuKfLH8i/xE8EKXr1fTLmNGnne9ENhYQNiO4svNuzGVO5YyVYLnaDjg/vEznGKrDezj&#10;yzsrvfXRaa/LU+Wz/wCsxlOk5Npc26erulB35bNqy016SulZHXWv2SKJIotRkW2kCwr9tsBZEpEi&#10;klcs7p0+Vs75GVdwwRXPyaTd6lB59ldRLq9kRA01ystkmqwyqX37XAZnG4oQAT8mfmBBOzbjTvEF&#10;ve3zRRf8g1poIrieSeBVBJ2yE4Icx/OwG3B3gnqK4k6TqlhqKalq93eDS7hIXVdJuTJBpbuFkBmi&#10;QlC2EeI5fqWwwDVeLmnBScb031T2XfXbXbfz6nymBhadROpyVlb3ZRi+Z9Ukrc107Pa9lZN8tuu0&#10;7WZLfSE8Pa8t3ZTXl9bF3v7Rl0OeOKXcJpLrBcMHUZYcbV6ZNUNV0IT3MD6BPb3thqd4VtIEjJFz&#10;IWby5GUgKqOxwAcnkk4BAOnZ67cajaW0N1e2dzaXUxkii1ATTm1NpDIFia7KBZJHDBxDGwClgCU3&#10;5M9lr1joKLf2Wgx397bRQy63bqjC8ZYm3O8cMaFSrFnZiBnCKMkZFebVVCah7Wd6SXxa8yS9N7p9&#10;uuxhfF4atOrhaVqrbbgmuSUn7t3zKPLZxte7Tskm1JNcfNrYu2lh8QWemprmmyG2sZbGE22EV8BX&#10;KnHy5LK+WzySMGrGsXbab4h0m41JbKUa3p0H2fUb6BLthK+6WaUAjO4qYyCwPCjozc1NQvdFmi1C&#10;KfTri4kvtK87SdVkiS2ksZmlha4eQGTJjVVKpgMxzyF3Erf8QeGrPxfoPgs6FqEdvrFpLbQzTyQP&#10;Dayz3Uc6G3aZsgShlgUsV2kRrjhWx5qq1qqqRw9RTqLllFbN2lZp924vR+h66+qUalJ4mEqdKXNC&#10;TteMbwTTjZtxjzKzTW91ZpHe32l2ml2y3Gmaauv6bp8kena7BpE0d1BqcRijMzRz/dcyeaMxk7gA&#10;3GcE+Cat8Bvg5rmh2tza+HLrR1ElzLqlto2sTaTdRQSKJgDcfNBLMGZGUOgZAHU7fkx2nh6zh8Le&#10;NYbfxNrWrQ/2npVy0Ikn36Yt5LIkEhZ0/dY2RsoHIIkOW9L11c3sFxqt14dvWuZ1uvPayhhinsdV&#10;jnkWCJlgkQ+W8SlQ7KdrEbgBgCvd+tUaiVSvTX2k4aNxas7rbp02ep5FPDYrD1fY0MRKV1GSqJyj&#10;GabcbSd2nZt+8ldafZTZ8C+MfAk/wr16DTPEdpB4g8HaoiLoWrSSLc2F7bPFHM0MgAAW4RZFjdXG&#10;MgDAY8/LXxd0Hw7fRal4s8C6DH4bs7BiZ9GhPnvdJujjhWNkVFaRMsm9lBKRlmZmXB/X3xP4S0HU&#10;vBeu6PLpup6xpV/Yy208z38VxdaLeSMhN4kaL5kO1jsWJyQEkV8kcn8u/HPhvXPB2qXWg6/azGxu&#10;IxLpV+kZgsdQBOWWMkYLLxlM5y2cevxOeRlgb04R/wBmnq+vI+mr6X2t8z9D4dqxzWcZP/eI+63o&#10;lNKzfupu0rbp2fXqfGiaRe3Osy32yRoJrcG0tQoLQtGdrxHpkthicAkEYOAa9KsNMa7toGtVnklB&#10;S5jhfEckYbGBIDzuG4YXqCwztwa7u9N9/blhqDxS6i81ujxyXESGZpjG8YPYElWUbuTgv9TP4f0o&#10;LcXsxklKTXMkYFwRFHa7hlVQryOjE7vlGRXwdZtTlFu6vv8Ac0/vP0rB154WSa0slbr1tY9m+GGn&#10;LpOrG8dbOC2uLcyyS4C308pYBcnbjGVywUjPHHBx9LDUo7y4gt/M8/7KWSZ8fugzFfwJBjGfYY6G&#10;vmzwjp8d89vHfKtosUuYbxC4llTBBVogQg253bsbiW5bI59hW9itbJUVdo8wRl4wEMjFgCR1JO4j&#10;BOTz3xXX7eUYKL+H9f6Rw4+Cr4q7d5fl6HSa1mXGpRSyYjaXzn8oANkQ7mwMEHLsDgD+L+6a8ml1&#10;cw3N3tjbEkfkJK6kyb2ztwfcFue2QK9Ch8SwIs1neMoKStFEJpgs1wmcfMMkHjLcdC+M9SOcP9m3&#10;TLFyHU+ZMM/vEOPkJJznqR1P3T3Ndk7VKilSlZdjHCydJqnUjotjktQlmN3Z2EZ86d7qNWbztpjG&#10;AcsMAjBC9u/tmsfxBF9j8O61qNzdhIYBc3wSMBpU8qOXe7A4AXcicYPDHGc1Q1UDTvEz3j7Y5xLh&#10;G8xijtFGFT930O3aDgDOQM84xx/7QPiM+Efg/r+s30ltE11olzIsbN5MMgYrDEmcZ+ZpI19Mkjnm&#10;taVWFatFLdW3+S/BjzFfVsF7aUt7u/4n883i/XbnxH4r8SeIrhp5Z9Z1WfVGeS38r/WPIV/dBf4Q&#10;xXAGQp68k1yqBljkKo0Tj5IyQzJvYL1BB6kNhcnhsnpT7hS8pVyQNwCHaQTsO1AD77R24B6A9I1D&#10;ElRks3MjFgX9+Op9Scjjk19PK/Mlslofz9VqWqKVTV31Yz93uZVEjRtJiMMuT8pOzcemc5J6Ekk0&#10;9N0hUxNsUMA+T86KAcN+OG6dGJ4AIWgyESI/yopk8pWLLIgIywyGwB97OeeCOoAFPjVvMOMbjF8x&#10;MoMiKMcAY5DZbGP7vArSD5U1zakT5b869B4MjbGDKPlyytgqApCcyc4GTn1wPYipQODgLtEYji2s&#10;CdpIVhwP4Tzk9ugOOayKoIXf5g3EJIH3BhuLDIGSo24HP/1qurG5kKgKvzqWRnzkKGVjgDjOT+BH&#10;vWcoyjrLrr92pipSXK5K6Hu6lRmNm8tdylhgIGUEsqYHsM9sVIitKgZj5cmXVFB278+Z94FiCCDx&#10;+oGajhACALFhVYxMc5YDKhiNxxnIckE8FFABzgShWAMhIyUKJhiACxHIA6AgAEHoCc9MklFKGn9N&#10;s0nGTfNBWVyQgq7oqNhMEsq7toIbIwOeeeQM9M4NWB8qlGQRsT904YdGJCkHIzgccjgD2MblVO7a&#10;7lowdjPlo9uFx055LccD5eMcCpsM0sZVG2rFuRUIBXAwCcdT0HvkdeMuVmlLp1FKbi+VvVfr2DBh&#10;24UEGI9QEVMMrYz2yoZfU724JwwuKxiaNSAMsWDdyACxJPqB+BwagQsELSblYojE+YAUG8DBJ9C6&#10;jb6ewNTRsxfA3FgzsNrY2YTccD6A/gB7VLglJOXbp2B2ik3LT+r3F2sdy7gSUQks2IwCWABGc4yM&#10;49u1TKT8vyMxaTaWJAVtwboB1PBx0HHfFNRPMlB2glIgZR8xjxjIw4wBj+Icnj0oiY+W3lzFfKcg&#10;nlN2GLKByccEdOv1IpuUHenfbb5lNtx54u0rX+XckYyBVd1Xa0gH3vmK7QTghS3zYIHHJxkqCSGq&#10;GcO2/Ij/ANWjSHbnnBJHOOgOcD8KSWIF2YM8j/fR8AKm/PzD2x0z19KeMeYzBFiQjbkpt38njHHY&#10;d+oOec8kWmoqW5DlKUlJPdiMy4CBfmA3koQdoyOefTPbPBobKMZGyDyZUI83BACrznHRQCMHJJ5p&#10;7opbkqwGG2kADk7h+XX64x7IFBYbn+UlWcSY+VSQX3KO5G/HTOQehGVJQkpRvq7l88V7sl11f9dh&#10;iur7SvybW3Nlhg5HynP8vf61FEudyAugQElFTcoAAJzz2z0xxgeoyuI03sEAiiAGV53Nycde2AeM&#10;Z3twMDLZSB5u5s4YSu+4KwyQRgcZIAA5zwvrRaEZWpvew4NSSb3v/X4ErAEwvDHGVG5pJFJYy8Jz&#10;jPA4PbnPtVT5UDwwLIXkVWj4ITayBgXOCTglQ2Dxn2NSqX8xy28lm3cvxnAbBPA6Dg9Bnvg5RQZH&#10;i3CNzHGGk2naFdflLKceqnkE/l1HKUklIznFqfO9m39xCUCNujKhV3OEC4GAVySMdSSBwD0PrTpi&#10;GRd6IdilcgKoZg5O5QP7xPHTOCe+BIruxKqBtPMZIDIU3AHGFAB4GcHpgjnOAozmNYyUZCSpL+Zg&#10;L7+/PXnn8KpVHBq7FZTinTW/9fkR4fHzCNmLLGiAlVbdvZgAeDjaOncEcbgKC7Bct5gBBb5UYxrg&#10;ldwA6ls+h+6Ogp77pNkYG5vMPyBNwbIAIDZ469s+nSl4kkzInmgxhGXAZFOQcFSB/eyfcUoydOTl&#10;uDSlCy1tb7hrSqBJuKIyZJHCjjDfj9/OevIqeEoEYygMyxqSQGwCQOQMdzjHTgmq6mVlWSIZimg3&#10;hgyswG7c38OACApwMfxegp6gFfLcqHD4Kxjc5yFZmOR/EWz+fU9RxjKV3t/wxXuyqXhun96LcQJw&#10;yyBcoeoJUYbAHQ9Cew/iqV2QSNsL/wCrySyEjPGOxHQNkA88fjHbkNKhYgBcId8mDwW+bGOmMDr3&#10;P4SybR8wXfuO75V3MxIOD2yOevrnmnGWum7FyPk93R7v7kSi4wAuEweVOMqfl2gAH8eevzZznmpD&#10;JuVSWRQsaqzJhQxI3HkjPByuf9n0NQxkDfnYWDAK7BUzxg9OxwTkcjPpjFpNiZ2AEF2JwflY8FSO&#10;cdewzjtjmqi4/C9xVW3JXl3IwH3uGUqSpLqFJgVshlyD7kjtyMc5qZQAVXcQqrhkwMLnoc+o+b8/&#10;xpj4XD9CQXXI3OMYByehzvPI546AU8qu4AEJceYTgsCickbQ3TuuBznJ70mlOV0VGcrqN7N/hfsO&#10;Cho/nCqOGPXB7cHPJOBj+uaZsjfAk+6CVwScZx+Gevb1HekKSk7lAT5dhSMZ3E87iuAMHP3euQQc&#10;d5BLJASBGVYbgQ/KoT16cdemR0P5VTi4p8zsupScLclTX+kNmaPaCu0sflGQN2GxkAntkZ//AFCm&#10;vvOEK7ASQGzjcflO45GcdxToleXeF3L5aqxAkKrkDJznvjBx7inqrsMN5bAIV25LH5doJz0HYD/e&#10;H1JNu95P1IpyTtKXXT7rXIWBPmJt3DiJGQhlGR82B1JPTqOp5qIYBZnkUSbScZ3AhdpOCevB9egF&#10;WBFITKZGEe1hs3cKV2hlOPbHTv8AjUYR5GKlkALhUDMobJBHLHgY46+o7DIUnC/uaEqahK9rLX+v&#10;mRBWRvkXouPLzkAZHQfyPQ980x3Ktn53ZD87KSFbAOV2/U++fx4uRYaEMOZApHynaEBKnk9T0IGe&#10;zHjpUawu/lM29jcJlXK4QkscLnGSRs69MnqcGqilGWmuhpOKjBO2v6f8ORHyyQgKld2F2HhvlA+X&#10;HOSOOxJz6cPVoWUNkqp/eZbKgnaQVH55z1+UVCyySBdg3yyyFnLfPKc8AjjqTx3yQOnWpsRZZkd1&#10;GSqQrg8sQTnnnqBx0orTlZOZkpxl7s4+9fWwEb5Ig7BXVnxg4EWMjlumMdjmo/MQAsrM2xs7mYsM&#10;KTyT0ONoPPGAM54p7Mjnco2q6gELIPN6bSTjsSTznHJ49GKx67mRgyjaP3hJAJHJPbJ6dxSjCmo6&#10;6ITny2UVr0/r+upFMoyGUEeSSRsfiQEMDg5wR6U4earoShC52sQcMgI9eeAAf/103DA5OUUZUEAE&#10;qSCckjkjvk4zTwULOiBTkZkUtxIRgDJx06889D+LXK3y/wBWNOaPPeqtXZL5WE3/ADx8KCp5BUgj&#10;ODgjkc4OQM4LcDHArSZhjYKGbDYwc5I3YHA5PTkexp7EFmCbkhOCSyAtnGMAenAOfY/gkjOF+WV8&#10;ljgxgsrgtyT6ZxkdOuOarki7KG7Jpc1S8G7X/T/hrkauEUK5Rn5LMys7MSc5JzzRViN5VQAgZySd&#10;2AeST3FFccp2k00Dq007cv4lYeYXcllbeuxQQSBkMCxJ53E5J469xUwVgQrbmd5MbUcADjAXgc9O&#10;ucHHvUIfZI/AcqNjBY8gAgcnPfJ9ScnnnmnbdyhsyMA5ikwhTaGwu4v1HDNkdQPXjGzV07Ml8vM2&#10;9+npoLIgRPlYT7jkpGCMABipPI/LkEEc5NJNlmBEeIw+0BlO/wCUEAgDjJ3LlSSQccnuNuKs0Sj/&#10;AFa5VmBYDcA/PPPLYOe3p0hDBy2XdTGxDqMJyQfLBx6kEZHvjpU2vDlWhMaibUZq1+vzdiWQ7FWS&#10;UkkSiMbjkjBwF47/AJZI9aZMQWjR2IKrldhUCQggbv1zinDeNuwtJIWVVaKPMkmcHkYBAySAMZ4H&#10;AzgQPI/EigBZEBC8I4DjIYZ7EHd6Y5Gc04Rktenc0SjJO3TX1sNaJXUs2VYTBTwFSQnnj146c5+U&#10;4NQSE+XtJZG3K2wn5mB3FRjr12kdOPYYI8s20KN7+WoUsydckkd+clmOBx834U3kbSwRjt3bZH4Q&#10;A45Y9h8vI4GQfo7cqV2tf0/4ci3spPkVyVmQvIWGCFby/lyrAnHzds/TPX3NROQSNrPjbsORhJMH&#10;APIHUHI9BjPvHE37wuiuo3LmFlXCEL0yDjP07/hSsu6XJ3fe2qWJAOFHXtzgjr9R3puKa5H6/gEl&#10;OfLVlt/X6EDsQE/eSRvIPLd8BGOARkPnIAy/QfQ9KjdiwcRjHmKUY7AnYnB7c4APrx7YlkywIYeY&#10;PNRY1Y5UnOYxnOOSR94D5gMEYOaZy0cfB2q+d0g+ZSG3ZVc7TgEemdo4J6uLuve3DmcHyvZa+e/+&#10;aLDtyFJVFibawIHlkDaBg9egUZODwOOKhjjhREBQbWI+QtlwAQORnHIAzgZ6Z5yQzzBGxdwTHkEe&#10;YylFDAZDEcDJGCTxnjOQQI4lTMZLbogi7SoJck8kBeTjJ/DBonGzXK+hMZy9peK9L/L8hzYJO3Ch&#10;yfMMuAEXPIGeo4Xkf7XsQBld5UXeQzBi+w4BJVskkDHII56ggemW7SkYkXO1xsbEihEORuYDkn5X&#10;UbVycYPrUjxbwq4ZWRGkk2gor7iH5/4EVU4A74rO7SUuhrFKELw3v+YhKBh5O1hleXkDeYQwJUEn&#10;AHzcE9CTxxTgi7vmKl9uZeCSThgWHoRuBA9vQnMREflnMjsfnlyyeWTu3Mvy4yDn+EHAGARnNKZJ&#10;OWRQWHQ5VmZuuTzjGQVx3z0xnDjzOPuhzW0a10089P8AMWZcrKBlFYhH3Zby+nLd8DG7jqM1CWTy&#10;SzYIWPzIFYmTIzuAIPOF7Z6BFHoKkZFeR3ErFdzSRqY8s+M474HXuc9ee5j+dWePzA/mLuYnI5zg&#10;AA89GBx6ZJ6UouCTV7+RlNy5OaG236hEdhU7vm3FimfNUkKoBYsB3UcHH3QNx4JkcbXkDFQm0Q7E&#10;+Y7hkZ/vHleuO4yKjw5WJThm8zyt8Z3MoAbblcc4J9/TpjEpLOfNiJyw2vIVP3QOd2D0xkD0wfWq&#10;5eRuXf7jXm5fdvs7/wDAECvGXMwILKhznc5wpBOcFeMDgHuOtWiwYjO7hiVVQcgex4ODt/PI5zUA&#10;8wyCRnkV42yUDZCnqccdFLDjgYxjoKk3APEHULtJiwQw2AkgA8Zwdy5HcDHaos3FxT/4clJyvzbf&#10;nsJJDtdARJIHkZEI2BMFSuQCcsGDHtxxnB4oWLCo5CJAWEucBwC5ZiAOxAwMdfm75zSxNudzhyqF&#10;h0xgAl9m706Y9sZzgUEkBokPyqSquQSpODzjpnlSM559+msbtJTBQTd777fKwreZ5schC+WA3LDk&#10;jG4YOQDnJGPpSocuH3mNAQxTO6R8Y5K9+R0/H3Mg3CRlLEybuNoYEgkYHpkAkZ9+tRSDfIWLtje2&#10;2MldwHG0ccgE5Oeg2njkVCVnyrdfkObnyJLz/r8ScGJYkI6su5gxGFGUVTknHVc4H948U1UUrGio&#10;Q8bNlWGEGS/zDnkHOOw+bB70ikE+UY41DsA67SY+Fz8wJyCQeARk4xjjBaOu+R/lBKgMwAO7AK9c&#10;nPy8jn7x96mF170NdPxCyurv+u5KwAZwBks21sAgEYbHH1I+m3Ge9RyljiJWVW8tV2EhTjG3nGcZ&#10;G0/XrmnKSm1lcAl9pIIKkkZyQOO+dq4wCDxnFOji8lW8zzXZQrujoN77c9Bnk5U+nXvim1yU4zer&#10;/wA2W4qb5ZPTd/OzHFUiTYdhZV25LAsR/eXtxgDjnnBIB5bhzJGzMvyhhuKjCgHKk8YPOOh7dOtN&#10;ZN7sgIE8Z3KZcMCc7gVP8OdoI+nOMGnvhdokJclNzhCSu7OSMegGMk4H1wRVfC27+gnJO7e3R+jH&#10;xpI6SK0mCp8wmRgNxzvPByP4mGMcD6DCs4PmcFWdRGd/ykAlm4wDzkL1x988cVHgDLspIBwyHJKg&#10;EjJ69Rt4HPIHXIoCMWLSLOPMiO8fd3EHC9fQsevAIGe1ZtOSTS2ZUpuSunrd/cSRgrtV2OVIEjja&#10;oJyo3DsB3J446ZPFRiQuSjvsj3hm53bV3kYzj1dTxx+7I69XM24GNSUKBj5HmF0YEnAOeSPvKM54&#10;XrTmYoyMrlSzCRZACkiHO9XBOPmzjJ656ZPNVGTTlKe5gqzi20r2sNALBlK4I2kA4KoBjlsjBwc8&#10;88D3FQxuzxlizAg79mfMSPBU7yRkDBGSf9k9TinvEVkVBG6sgXaCQNpOBjHoP73J5HJ4pqoysu5G&#10;KqGAUN5exd2AhPALEseAOo5xxSg04qEd9zfmk5e0W6/LoMZGyyKY0RI9sW0BwMAE4xg8EZIbGcDo&#10;fmq1uMhAV1y0eccptGTyT6jb+GDk96hdAGU5YYdVcA4weMk984GeBzzU3l7VQOxUOSqbxkIcEYLD&#10;gEcYzxkcDqTMuZygvL7jGmm+bne36jFCyLDzy7lzuO5nyerEkg4ydxHHX1xR52xdzNJGFb5SPllB&#10;BJA468c7h39MUxdmxX2kuMkNuCltyjKleuMYbB4OAM4pwwsagBV2sUQABggVtoywBx1zn0z6GqnH&#10;l39fyZcVKKdlt+IR8hHDALEgBBIhVSGA+U9V+6R/+unCUkwuzoAflKsDuXkheox/DjjnA9xUe9gQ&#10;29trPksIyikDjoPoM9TlvTpOuXVCvlsDGRtD7WPO7C9+CuM9SB3ocZKSb2Y5NTjeG/UQruCbBgkm&#10;UuoBQdgGyCeMdRjA45HSSOJN7CFpWmdSkYdl3NtjkO3I9AjN0H3ec1GwB80FVdZEErJwsZwCdu7P&#10;fuMZ7DmpW2J5bkgAsVO3G+MkHP4Ejp9OvWlLlceWL/rQuSkop2V9P0GxCKUibz3TdEVVSThT5aMQ&#10;TyQwD8gZyWH92pkZWnUD/WeU2wLlH6gYA6AfeXAHbHGKghzsGESR14TfkleFyzDv2z2547VMiIYZ&#10;D+9LMRAoc9jleo5wSeoPv9KcUp+W5EXzt2ild/195ZZygeRSNrjaMLuwv3iQe3Qjnrn3IoWExhXE&#10;ux1VXEfl/vCGHKfU5I7dAajWNmAUOI0Ylx5gJTZtKgE57/MxPfg9iamVpSrowVzkyIWOGdct1z0P&#10;T29KzlUSgow20uUpKUXGWmmggQmViWMOVVNyrtXkD9M4xxnjrU8kalvMO0rgeapHTGdpJz8pH/s3&#10;So5MKY2k2tMVKN5gKElvmGR7nGNvtXi3xa+N3gn4VaPcX2u6lFFKI3eC0Mo8+f5cKVUdfvfkfrXV&#10;ToVcRUjQoJub0SWuvyMJ1qdCi61VqMd22Hxl8S2+geEdTmjnT7Zdp5aQrMqKBlWyM8ZwFOOoAOCe&#10;h/Ijx7p6alHLJIoMkgZmIJVgT157ZJ9Owr09/jdrnxku9U1GSJ7bw7FO0Wm2uMOwGQC3POMDj0I7&#10;1yHiGBhbyAlTGyYckZccbSeRyTjOfU+ua/XuHsmrZThWsVH99O112VtFdf8ADn5jnWcUM2xMPqrv&#10;Tjt5vv6dD4yljNjqEluw5PAABJ9Tn1ycCrckvIXaAgwrv3X1ra8VWUcF5JOy7cvhmBO/ggkgevH6&#10;1g7jJtQYCt0+Ynd3BOPyr6ZP3b20OfCVp8zfR/1Yshl2t8zZSXDKU4Knlc++OeOPrUUhY4beNrkZ&#10;/iByehPb/wCvT1VyAoAIGGJJKnjpTC6pG54YEAhA2eQSBx+Oc1jLlU3KOtz18OpxVpPoTpMGO2QH&#10;5U2gAc4JYZ+nFQhio2eW204ILqCQTyBx/WmtJ8ysGw5UL838QOc5PqP6inhjPlR8xUgAZxv29P5f&#10;574Ommjp5m5ajDHtBjwWQgsMj5VPt/nvVbYwkKo+WByr9Afb8c1IJFkfcgcxgtE7OcEkkjKj360O&#10;VJQLtZk5DFsEA9z6VrT9yXLe5xVIuVOU499PvLIAJVVyIwoAYAA5Ht36kde1KFKTKSDsIB2kj5j0&#10;HTr/APWqKPh0QMMswwOgU85J59T271c2eYcF92SFDbsAbRkkn2OemOvWs5NR0XVG1Btxclv/AMD/&#10;AIJpmSQkRg+UCBGvyhuPc/T9Kj2yNjYWAYjL4yCBnOfyqESb1ZlXn5eGJBJx94fXvUiO+0gfeVc8&#10;dW7qR+HFcduVnqQtKmrSvdL8C2ipydpVowd6MdoxuXB9fWiUyn51VTIEO75c8DoQT14pYFVyu5sM&#10;2eN2SR2yR/I+lSvDJEZAWDKMFPmzj1AHb9elZyk42b2O+heVNcsd33LFm5CoDsRyvlqc7N2cE/T/&#10;AOvW5GEgaJA6rIGySn3GPTr06cVz9kCB5eSzs2d3UkZJ49MjFddFamZIXRVcNhmmkG5t2M5YcZGR&#10;n8a4cRBQS003Paw7nJ3jZevqtDs7G+WC0RJWVQdsgPlqxxj5h79fwBrqYbp7me1ntnZFj6x58ooX&#10;C/d9fTv6cVwVnDI0cNnt4aZt2P3nDdB1xkgA/nXY2V0LUyKqyCO3GWTaCsuSGABPflencV4mMpwt&#10;da32PosLzSUraPqjo7uFmhmkILSRMhlY43oW+U5BwOeec+nWuT1e3Uh44JAyxuV3DlH3E889MlfT&#10;+H8K62eZ3t/mtgGZcYaTDu6557DjIGPc1hXRjhiKGNUM8odn3BWY4G7jnAwf51x0W27o2xcHThzt&#10;fL8jyTUlSPdkku6kHCfKD1/p+hrjrU/Z71bd8+VIGEPP3Mj7uPwPXNem+ILcSqpVC+xmTKKfmyeD&#10;+v5/WvNNWhW2lheMYEbhCwYkjJwGHcAZGK+kwkuaMoJ6nxmZTSqKq4/L5/8ADnf6dcIrojBnMirG&#10;XxvZAehBPfFexaG4SHy7cFpDGI1DIDt2ZIII5xxnj8c1896WWTDRsVYLuA7AkHr+H8zXqeiatN9r&#10;hUyxiIRBGZ+2OOAOi9sD0FcmKoc6tE6MDUfKo2V73X3nvugy+B3sYE17TfFdxqErld2k63ZWVpGp&#10;DYJjltXfIyoGH42dDnjZ1DxN8ObSxtrTw58Prma402Vbm9vPF3jL/hJItU+crHDFpttZWiRqWcFv&#10;Nmm3eUACAWDeW6Q4CL9taWLNsWSQkK3zrkYwefqDx2zxiHSY20+O4hizcC7ZxL5jDzCoIYAN17dR&#10;x7g4NeQpRp1dVtqemsO6kLNv79lc9LtPEPiDxaLHUdX1BP7Pi8VW3h3SvCulxQ6J4d0qGeNm1CaG&#10;xhVLfzfIEce5gW/eoSzksw8T8e6g7+OtQs7sRTxeHL+TQ9JET+csMcDiGNDIBiQiKOPO0YBdlBK4&#10;NdC9/Jp+jMukLAIX1G4nvbzzvktZpIY4fNVTk5URsOSOQvcmtjxL4Xkv77RNes0UnxH4dttRnvbh&#10;MrHLDD5OpTFc/wAL28jEk8kn1ArsUnCCm3q9PS9v8jyZ4OPt+WSul/S/Q8P1bTp47y3uNVAFolmG&#10;sQpMjiW43yea/Qlx8ileVGDjqc+VWFneGybUJmDtBM8ZkkYJ5YDsCGA5OMZP8+K+hNbgsJIpPtl1&#10;LOrlZp7kBXmsbUHMjRR8KDgKvUE8ZPGa5GTwZrGh6HBqEkQvNM1fTk1C4S2j84RR3KrMGJXJQ7GU&#10;7HGcYPTr6eExPJRvN2V0l+Z42MwsliIqS25m/N6WZTstP+z2G5HR5JQHkdIwqysxBGAf73bNc9FC&#10;CwLgq0rnKhTnk45z689PavRbTTI7eIBHDwJGEiiUkySFOhDdMfTseOOlSXTIXMN2YJDE8mSXyrRk&#10;ZBXn/PSsZ1k6kpPZnpYWi3SUXo1v+pxgtktxLLKu0ljkDJc4JAP6DP0qa2gDb5tyqyqETK53cHp6&#10;d+e+a075LZXjuPNRT5hGx1Ks2OCD65x+lBW3Ko6uEiblQgK7mG5fmHccHke34XKpB000u35Hp4an&#10;OM2rrk1/O5XuIS2xRgqfklIUqNxGD/XHvTYrVkhXzFLS7trbckSIGJXgd/8AHpWoBuYAhSzgKvzf&#10;LjPLY9ef1rRNpvfMakFW2SIU3IR19fzz6D3rmc5QbT2PThh4tJ9Lf8MYf9nhyQpA2xHG4EISDj16&#10;Zwfw/Cq15CgVLYrulJ+coA0RBBzn6cfma7RbaGKEsGPm+WSCwHlkk9SMe/T/AArJtraOa4nUkEBC&#10;nmjBywYqyjj0A6dc1pRm6nvL5GFTCWala68vkceunOYHuGjIiVSofICLjPGf+AmuftFaGORsD5j8&#10;hUk4b346fhXoeuQCOxe1hAYgByE+fbltmc9zz9ea5NbQROhKEOCRIAN2Ac/n1PT1r0aVVqN5Pqzy&#10;69KzTUdXv6kCEEqIwSSpZ5F5OOpPpg59vfitOyllSQojtsk5G8Dd6n8Meh7VmL5WHMYHy5SSLBRY&#10;+D90g5I9j+PuqMwdJGBQ/ejVTkt6Bj6cce1dc0mrSFRpzTVS+v8AkdTDK0joZVRY/wCEqM5/HoO1&#10;aqSzOpXznA35VcEuckE/0/M1gBizKqZ8vARj9w4Jycg/z46VLBNKjHazEK+I9udno3B9OOlckopt&#10;Sb0X4nuUbKS5lo/62+R2dvf7J7aEqTGZBtkK7d/AJJ+uK9R07VZIFNuyjY0uZmgb59rMobC9OODk&#10;jjbn2rxS2nR5QfMGbcL5caozcfMQMDtyR6ZNdxpklu4SQRysUG1lYlsOOWKnPTgdeevNcGIpRnV9&#10;3t9+x7OFq1FdPb+v8z0mK+mjuI5E3ywKcu8sgYqp5XLdRjOMdflA7V6Dol6baE3FpJ9nieMxMroW&#10;TgEnP5n2rxWzKtcKI53UMGkIkBJUkg7CeRjIXj0XHaups9UubaW4hkXNtBIGKOSfMBGNxH/Ajxx1&#10;6151ag+Wz9T6zD5i40o8vlp6aHpGjeIYbDV7W5kmnlBmYAZ2xxpJgNjj+EYbPPvXrdtrVxaTW95b&#10;3YmimYXM6vIhBCSHyw67uv3sDsSfevnpCj2yT7FVC6SxBSysgIJyc9cdB3yeeMmus0/WYFura3EU&#10;qAwrKTLJhmIcEJt7Bh1IJ+975rmlgnUTV+p9DTznDuKlR7WZ9y+DviItzBawNLLhplhmLzMzLlQQ&#10;qbunLAgDpu6dh65a+MftGqwCFY4USRLa1aJjK85K7CzcHczOxxtOOmByAPiHTbq+sbGC4X5YI7hZ&#10;oGQHzHdWUtkg4wAFyeSRx2xXq3hHVtR1ae1SG8+z3MOoR3KXMUgS5tli2OgJyNpBBbgZzjnKivHq&#10;4T2U3BantYDMadRRrTdrK1+nz9D7qmlluhY2d8BvO5o4QixS2soO0tISMAqRjafcdzXHTaB4s8OQ&#10;3Ikvbe7HmyyO0LotuIjKGCjb8pK7tmP7q55Gccpd+IrzRYLOeVb3WL3YJpBczefdTNuDkSSdCScZ&#10;PX8eaybD4sjXLubTbx9Xm0e7m+y3kuiSQpqmnBCRcJFvBQMBlQDjnjcM0KjTnBR2drX/ACOdZriK&#10;EpPDyTh1+9bdtzCXxtqmn6zKLi7fyknLvJA7RiThovK3+gEjA9sOOQenpXhnxMt2/nWYkBun8q4+&#10;aNpGAkeQAhT/AHeeRn5hkDrXyz4hkvbbUL1o5bdreWVpUaVtiw227dISO5C8k4AYggnmuu8AazJp&#10;N0rzpcSJcsWjMYMsCIMN8xB75GM4BH0rmngZtpczd/6Z6EeJozh7VJKSsu135n21D4ylSG2s43uU&#10;R0LWk0DvGyME4Zx6AN0wOvXg1y154v0vS7K7SFf7a1R0ZYYEmuZJklyzB0VZFJk3YAV8pls4+UGv&#10;IJPGmp28TXiW2pSLcTTRiSVk8q0IULHtQMMqSEA+fpIxOSONXwbaWHiPxPd3lvZxhdUuoZI7C0v5&#10;Hs4rhdrsITM5YjfgkM7ckAZG0V0wwErxrddrdXfqcs87lGHvbJXdn2fU9pi8YC/htNTsb2SXVLKT&#10;7PeQNCUvInYBpWMmSDtIRcbuvYc1614A8XSaPc2R1exsbvdOBJp+rwTEpG538hZFYEjDkAgEMRkZ&#10;BHzbE8Umo6vZRaVb6Lq1nMLA2z6cLKxsJ7WNLdS0SMN0sjQhpmJG4yO2AzZHqnh/TLO01JNSuNQg&#10;nk1zyVEjM0ggmwrB1KsUGAuDuByM5AIGMnh7V1ONrqzt6o76WbRjR5J6KX4Xtt+J+gXhy88B3+jj&#10;ULu8ng1XUXtr60ENjFetEu9UdZLdpV8nKZYRAnHcDpXp/hDxX/wik9/DC2lXNjd2ckf2ieaG2uQJ&#10;1aJ1igRmKja6kFRnJ5xyB8jfDXU20W/mtdcvPs1je27Wts13osY85pG/dtGJ48p98EyRNvG07S3C&#10;n0KO6gtLiRdLdYdWuL1LO/sLieSEpasyB2D8OoAw3PXbGfm5rV0J1HGcLRSXp/V/0OSri6MYzw8p&#10;OcHbV6/1Y/QTwr4+n1fSbnSdLm8631adbWW303Q2aaa2gJhcGWWHG8nJJtHG10Yk72Jrrr7T9W/t&#10;We5tPDkVrqv2eC8ttTvL+PT9PjttjBEnjdBGmWAJd5E+baFRs5r528FeNvEscPhzQ44rGzsoIZ7C&#10;K2j01NNtWhaZFmY33kwTyMjQSDfIXQGKRRlSWPt2peJPC1z4cXUDrnh6H/hINtxBBFfTXt4wRCVV&#10;plCQyPIu7au1ySVUMzEbvSmqbi1F81rb9O9vm2fFVKtT2/7mNue92tdrJXt5L9D1CzvPEeupYwan&#10;Dodp9hthFfan4eu/7RMyApNOzXHmyRM8krD54TGSrLuCgsK4K5+IOreAtQfWvDnifTb+GTzrDU7c&#10;xjUYrhZmEkjTi4jIcHyiPMjOCw5fI+bC8JeJ/DSRsnhy8ur7SYVEVzYzTXljmR2ImNrJHHE5VECt&#10;mdYgfOwqtg47f+ybNYV1q01PStBi1e9M8GlapeHWtRa3RFaJmuJN0e6XecAtvBBPygAtUrTnGtRl&#10;7yW6fy07kUY0sPzUMZT5qctLNXTvrqndpdV06E9rrd5q2r/25qckjJqAjvnl2pDaR/JvmlAXbGvy&#10;qcKRjAGMYFdjaahZXzGGz08TW91OUguNVtlCbQg2z28YJXc2RiSTDAMpAXJ3ZMckdpZ3TXTWd5LL&#10;ObbfJcI1z5CRjfKEaPzI42MkqsxwreWikNgGur07wwk8z3NtNNqeuOi3c8djpghtrSNcPGWk3b3G&#10;GyADtRNmSu5AeFucVKy13v6noSxWFp0oxn7sFot7aWtfsl56feayWlvptrYz2t8ssogVftd3ZbZL&#10;qQyDdGsO9iVUZUHPKoMKu4Y9Dhl0rVXh0myurdbVb1bjVL8RpFdzbfLVokmZixUqoJAAVSc8gHby&#10;9lZzJJDf6vfXEo1SZoIjCU0+2s1B4LZQqY/v/wCrA2k5DoUNTGytkmiNhDIJXluLiTU2H2SOKBjv&#10;UPHLtAIVAdqkH52ALZUVfP7NPkScXb3ev59b6+W54GKccTL35v2kbtS05b9b3S+Fp283pGx3Fy+h&#10;TabP9h0/VJbHzHsorSe7ggmtVGQ5RvKBaPcUKEqDtB4UtwzSYINL1GRZLm/1OQIg0uCPSv7StZ4J&#10;Ds23bEgxLH8vz85wSByCeg8MSJqFra6Pcajc3r2VvIhuJrVLS2ufs6NIAr+awba23CuNuCTnd1h1&#10;lEgMEFna6hqfkyvqMrWlxG4PneXLmJ1I3CJmVWQhh8u0Ak0pwUqcMXBqy007rpo/PTfY+O+s2rVM&#10;s11vu7+70d5pWvaz2b5m27q6i8SxTvpU2p3Om6Ra2WipJcyHRZQkmpP50MaqVC/ud5xtk24A3MCx&#10;OaZDqehT2cOqaHFeQ6np1paWtte312rFXVpGlEhQASbQsQBdf+WO7GWK1T1PWNUbULnXdNsrSfR7&#10;hmOoypZi4ton+8YpIpnBKhsfwsSzMwXauV5vw9o0lpDcTy3UMSXSm4gWRSFkjLlJgpBOSGUZwMZJ&#10;yciuLE1qkZyp0ldSWraWltYyT03X4rc6MPhKf9nXxM+WUWuWKlL7VnKnOOuqtrd6xl8KSOz0rTB4&#10;hsL+91RXvFtzOJ52cS+YTGWjjYgheG5wc8FhzgKbWk6HDaWdxajQYr/w9Eltqr273twtzLGYldEV&#10;9/M4Rwx343K5JwASTw/qWq6L4Z1KfSo7O+fV2862+0+TcrbNCbiAMLY/MyEEbeRgqgAbOKf4X8y1&#10;0HTbuWW9lu/tCahrMkrm9SZ0Vll8td4JmELoCzDhgBuG4CpoqjJ0YqnefI5Sdl3SW973un+Z52Lq&#10;YuH1jlmlSU4xhFSa1tdu0WnDlacU972srHaXGl6TrmgafJevcTLc20Uenm6RFvLFt84EMcmQEjt1&#10;+VzjDOvDciuS8vQ7NbOFdRvopXbyrpnWewhuAHjLRxMz7QseN6mMDBYtzuXHVWGoabdNdx6fPqF3&#10;c21n9ofS723BWSWWRY91uiOxAfy1LgnaDH0Y5FUPsT3niWC3g125tbuNpZdDktY42ilSEcqS6Hb5&#10;oeZgMp/Cc+nfVnCo4SiouTsm11t8976W87Pc8LC1a9CVSjXnOMFzTs9EtOvuPSzTbt0cleyS5B38&#10;QxNqD6dE93ohvpGSa801Vu4pSvzxC5IJnUKo4JOQRleK8R+PPw+vPib4bvtBjg08atpcct5o9zPJ&#10;HCmn3MILEIzEBVf7pz/e4yTg/Tsct3cyXsMUj2csdxP5trYE28F1cRoYQY1JOA+Csix/Kd/TFc3q&#10;+nGCLUZbiU3aXNtHJGnyG5aVt5BwDu24DnjIy6Z615GLwjlhJxlKUqcrppvSzvdLe36bn0WV5o8N&#10;jadaMYRqRtay1bdld2sm9+1153Pxh0Ox1y6laz1PTZdNvdFdrC7tppCNkiFmLHj5gd6YwBlRnPUV&#10;u6Mn9oapcwGNbTYQGEpO+KaPKyoRjgEqfXOegwDX0p8dfh94kk1YeKNMt7aG8tdOI1b/AErB1u0h&#10;iZo1RAMNOq70XGNwYhjnG3wWwtZJLvTry2CRLOFLHdlmYk5BYnj7p/DivzmOGWCn9TqJvW6b6q63&#10;9Nmft7xlLMMPHH0muZpfDsn19V2O18OQg6otvJ5q+SS8j4CRlTG3zDng8ggjoU9sV6HCTc34e3RT&#10;BA7LkoMEYJXBIOcHkZ67fqaxLNNPiluJoI0EsyrFKUkx5gHyqWQkgYy5+svXpW9oiokd4lxMsEbz&#10;bbdUJ3yFlCEk9sFhkngDByOtaOMOaMG9L7/c/wDgHne3lWd3pJLbv0Odm0x7u5nurRBNcQOwd93m&#10;plcksAMjGFPPTHbpVBbvUojEQsksk0q2xt4QpurcIFRWGflGM7sZPXnriuylexmtRNYySKsMJuJW&#10;VGjlllZgrBuowAAx3YODzjnPL23m3DrFb7jDPIty12AVVNwICjuMjJ6j7g9jXMnJShy/f3PUvGS5&#10;KmytvvoZt1o11cXyTyoJGaNRI+FUxb5Dlc8cZYknOf6/Cv8AwUL1e50v4Vado8lwT/afiC00oeVH&#10;t3EJLfOn0LQjG0Z+Va/RjVryxdpHDyIsZMEilwks7h1PJxgHbkY55cHnIz+Rn/BSHxDJNJ4C0Hez&#10;m4lvfEly+4yFZFW3t7clc5J2TS88EAnOO3qYGi3irrVXTXp2PmeJcc3lVSctHayPyndSxDMcqZFY&#10;7CTuBw5B6ZxgDGarqrKGJMzYlZXRiHZlXH8R6/exkZI3dKsIzqh252byEMZDfeOFGPx9x79DVZcY&#10;+UsrRoWMykbmUvuZW6npg57YXGACD9S7c2mq8z8aS5lFz17/AC0JxwC/zCWRmZpPLRiBtcnOe4AY&#10;k44AyDn7rx8zHa5cheMocnlR06kBdwGefl5AzgIXDh1Yoy7S2yJ8K27hjsB6kAgZxw3SgKVkBUvu&#10;b58qxcrzgH3Bww5z06jjKtd32Y535ElrceqKsbMuYXG4IpA3o65IXB9we3arHR9xcAknIUKqqXZi&#10;oA4PtwBwo/GnhXYbMbV+ZeBiU5LHOD65Pqcc9s3bco0heTygZIyMjnb8uWIXrxzk845oqQmm5bt/&#10;crf8AmlUTSprRJ6a/mPBGXZdpfAdW4VFHPG4k46McdfmbGc04OzfeAB378hgiZzjg8nnnOeDhvYV&#10;FH8ql9rOm/bhsKhJYSYA6bTjHBBw3vUiID5cUaNyAysD91l6NnG05G7IHGXz2pN3VrjjJyglF3ky&#10;0vAYSNhAcBnHzOndsH0z1xnJH1Mwhd/MdvLKscrtJLPnHHHpjt6nOcCogxCg8hAMMpOVwwznOOGO&#10;V4J6Dpwan2MGCI+5eTvRiEQ4ypyT3GMfTn1rJpXV3/w2g3LmjZ6MVBuL5VzgnCqNyjhRgjjtxkHo&#10;TgHFSoQQCnmMAvO6PaAQTwMY45I49vXFR/MWYBgQPnwBvLADcCAOTjI5Hf1zVnLJICcbg/GXBDAH&#10;IAxkFfunOec/nfLKMeZIcZqMlfoSuJFkUk/KwKSZjMnP8J9eQG6+1CSGSIuVAV4hgIv+rO5QeowM&#10;Dfye+KRAPNyIwCMYA/iwxzweOODg/wB8DnmpUjU73VjtEayIjjzJI+CeAT/eJ54HHXvWdTkSUX/X&#10;ccU21P8AqyIH8sfOud0f+seUYAC5PJ7YXHJz1JqVtrZifDK+3BQBCCSQfl74z0yMbhSiBQycffIC&#10;kjcy5IATIHckDnpuGSBzSO0byMGIZ8ny2Ckuynlz6duce1bRd1GD7bmTd5aPTYi2sqxBn2kEENgA&#10;jILYBGf7oHI44604Ms0gclpNzGSQRwkxIAwIA9FwCPUAduCEWJkib5pZGJPlmM5HRflXPHJGecct&#10;T5I8SBXdiw3kuihgF3EAZ6EZRuRnoKle5PXVGnK+Vc29v6ZEoT5zNMojaQRMY1QMx+ZiVX1Cqef5&#10;VX3ZZnJLR+YoV4wMtjggjPoM57YFSgRr5bY3b5lRIjhTGTwc+mdwz9elJJmJlyQAEx5S4UMCMdc4&#10;47556cjuKFlGTXl9xlzTTs9P66irLkIjRkoCVCiPO9cAnPOBlsjkfmM4Y8hydpb5JADGxIYqzL7+&#10;nqQDt/KRBDIkhXKmXcXYx7DJwOx6YAxkY5OeDyU8pkccJIUIWREUhFbgAE5x6Y7ccc5qnyt3RrdN&#10;qHmv+CEgVdzIwCpHtUxnhgBxwRnaO3AOOw6Uh8xUcElphEWzGoQMcqMZ6ZO7HHoaMHIaRfmIKltw&#10;VwDxgduo5qM+UFC/NncpZccAjIUL0HBJAI9RxUO+iT1HKFpLfRiMsaY8sAkDfK24eZGCoDcc/wAS&#10;Dr0yOuKeAAGVgxdkMYULyTkqcheTyhAI6c+5pvyyKpDSKRgLglmc8KB7cfn+NTMIiDkpIwjBVN28&#10;gbpMKV5A+83GAcH0Izd1G3MtbByWhdr+rWYhhEMCssqrEsRRdy7QR0Xgnrwvpj3qMwhQ7My75PkZ&#10;Vzs4DBWzgHIyGweu3tmkY7oxJJGTIzFgXG045LDk+xAxnJHTqRKjruWTJfDcs5ZcjHTJ9ADkdP5V&#10;ask43/4YlqUpKy2/yLQZdz7dp2g7DuDpxnIB9+4Pv15pGDyEK7ZWNgyHcNzEfLxycj3x60hy0xMb&#10;Z8qL7O3J+YZbAznsCEOOgUDtxJHEYyBGS7YYlcb8KvOMkHHXgd8YAJ4MqnDScdyZKb1W/wDlYsyK&#10;MqVJfcN3lk5dVVQAF54B4Azxk9e9SguUTaFOV2egfaclickZYZGccYHfNMVcvvyJDn5NuWYHkdvf&#10;jIPr6VLnJXa642h3ODkkZGPUHt+H1qJTlCKjCPz+ZovZpS5tL9vl1HgqcCRljdDl8HaAME/jkDj3&#10;IpEVSGZS4JBKD7x6gc9P4e/qaQ/vXV1BViQvOTxkEnOQM4J9vlUY70rkqgUt8wZsPG2Wx8uD0xxy&#10;PxHzHGaetrR3egpyoSqcy2/4YGQqg2McknCsmXCjI6dxnace3TmhMTMNpkAm5CsdryNg/L9cLx3+&#10;X1NDEBUL5YoBhSeoAXhuo6ZB9cnOaWMvId4wVQY342liTjoT71UX7tpf1YzjFaxWvb56DFV2OxuR&#10;u8oDpvbkDBPJGD+OB14qMMQQmJSwb5AHwFxwWz3yVHAyeRxUqqoMhLsoI2jYMKAR0BI9QCeew6cU&#10;KDJCwXJ2zEnefmPPJA64+ZR6c9eKFJyVn2/MuKtBQeoP5pRSCJAp+QY/dgEAbh65AznIH1HVoDBQ&#10;hUEkhm8sDAJ3bRnHU4PB7CllwFTDNukJ3liG2kKwAAI9x3z155wCPLu7R9Bj5MEP8uT3znHQfnxz&#10;SUEkoyWq/UV483K9f6QrRKGZmbYSdoIOcYw24Hj1HB7ZHBNNwVRW3OqBSVJ2oOckHHf5vrgsKiEe&#10;0BmVBtxkFt+QScH3BA7+h46VJIpKoyuxAIDkkttLLzx7EDOMA46mr1p6Rd0/0HZzjotf+DuNk3nG&#10;CpJt9qiMgkg5+8OmQO/146E1+Y2DbgVdWfdtLOpBUBcYxxzzx2wDmpz8zAqjiNm8pSFz/DxlSc54&#10;bkADjtnkfy0h3FRvQliD8wQFnHzHpnBVjgfj1FJwvBsUGk+ZaK3XuNCMzgIxCYOwcLu55z37VG4K&#10;yYZ12g7mG4Fmx6dOmR+fWlhnZWjLKzEhsFRsdVwT165x1+hpUCOGQ7mZXVzuyCcHJA7Ee39aOVbt&#10;XX9LUV6UnGT+Jfd/TCPcBtZ/NKozEoMF+GXkD1JBx6VET8wMbbY23AjO6Rem75cflzzk+hwgl2gk&#10;s25gd4OGjxvYDgc9iMZHr0pjSiNypACs2CDgKBg446+g4z1ppyjTst/+GDnU4qHTS/fzJXLIu0bW&#10;YYUpnLZIYdD+P4D8BRZjgKDK+9TtDMqI4wnP0zgexz2PFpztP+wR5xJUAKRgAe3Gc+w+lUywaRwW&#10;ZcItugycZAGCBnHIYc/1FJR5VzN7bD9yM+XZ7L06spOGLMVumUZ4UOQB9OOlFPkLBsAyjAAIWTYM&#10;gDOAOBzniipU6vRk3S0NNipwCGAX5iQTIz5BwC34NknrxyOlSGYFY0Ksp4BwDtfPHOOvTr+vBqtJ&#10;uE2ApWP5/mXHDADIOeemB+BxSsHEm1CFVgoLlwrPsJzj268jnGenFTDld5t9PvJlzu7tqrf8Em86&#10;KMqpIEin5SV/dRBc5ABzkdMg5qDlRJ8vlxqxUKw2pHsLAoScHIChjwOG74zUikJh14klDp5ZURq/&#10;BJUd+PmHfGDwaiyyROm5AsRLnapXjGB264HU/wCNRGo/di9Xb7/kOV27R16ei0sHmM4VVIBU5QRj&#10;jjhWI4IHQjvzzycVRCFXZpNrMEEZVcEDbuY55HGRx1AwOtTiFABltyzjBOVDbeT1PJGM9OhBzmo3&#10;DIVOTI0zmRmKjcSwKkZ9uvHTBq4VbR5W9OhLSVtLrVDFZUEBSRysYjSKMlhlRt7HuFXbg54PNRMq&#10;loz5hC7MIzBSOe+Rjj5ckex6U94zHGBv3rG4HzLnaCpAz0wcevPIPtTQV2KSRlW34z5hORxnt0yD&#10;0xnHGKu3LFVEELc1qvkMWdedwxFyD5gIYgZJGDyMHHI654B4psnmIzHbuKDzUOwAM2w8Ennj1IJ6&#10;Y6crucPsH71WYAEuW8zCrnOO27cAM8hVPB4DMM7OW3IBxsc44UAn5u3OOfaocb6PTX/IjklKHLJ7&#10;sh3KVRSjOkiANExYtwQ3LbcAEZIOR0oYhlLIuJCCdy5JwM7jgAcjj8DyRwSjkNGo42yqsYV2/wBn&#10;YVG4EE8nuecH2IXDtmQpvL7sAlQSy4OSSc/M7H6kZJq2npJbIiLc2+b+vmRFBiNiuxYdjRlV/hAj&#10;KlfYYyB7fQlsrBXURRoybOQ4AIZdrcYyR9xxgf38c9atybWDeawVQu7ecRupUDJcDoTt5J7tx6VA&#10;XRYy8brlPv8Azho0I3L1PQ89OO/qaabSUpfEdM2oPkVumv8AXqMSJo3P3lUxgYCnauArBc4xk/K3&#10;tlc4ppXaCyFZZFkYkKPMKjy3XYACefnx8pPJHGeKmycliRkZkRgN7RjCgHacZwzAck5yOc5qsG2b&#10;vMJPJLN9484wCCB1HBPHOeO1KMJSSbenQz9pZqbVtP8AhhzvulUKzF9w8tdqvvOGwAR32sQCx69+&#10;BQMBGONySZwGUqxyed3sASVwOqjnrRkhUQsscjRZRyNxBbHLY5yN6Db2I7HpGzquWypD/McEBnxh&#10;fmXhgVxgEEEBiO9JOLStp/Vh86jN367+XzJ2lALwhdoHDNs3I5wpc9wM44GCMnvUYIYMSsgKSZ3O&#10;AXfOAoI3ZyQMDpgZ55OZBGyAbiQGAdSW+Vflx34BwqDj2zyclrLmNDIuwhlwAAhdkQhcAnvvI5x6&#10;54rNOnFtQX9f0ytZNwjrDqPjxGf3gMvlhiY/l/jJ2n+8SSOT2weO1QhVV3HmBnSMIwDYAHBAA9ME&#10;DgcZ9uHqGEqIzOJEl8wMHLozAPtz1wfmPTGCfemncGAYKWjk8seYGwqkAhug9jn1FXJuL5Yv+tDC&#10;fSMVZ3+8fIQZJJihcSRBvmYqxbAUNz3OT7ck8igOoLvK7CQDMx2lUJBVizdsYJbcBwVIwA24B3M6&#10;nIUjgB3zjAUHP97jq3U5qVmcNGpIjBQcqG+U7mIz3HAHJOOecc1K5nNpM2+zzLf1EA2LJGjYEeTl&#10;32SZyAMA9Sp2rj/Z7YqVHwzFkyiqCsbvtGSSCxxgjB6ZyRjA4JqMqIxuG4qGYmVfu+u7HU9hgfXs&#10;ajyrARncHceUpjUKXXBDYO7POeTxz1Hq1Fz0ei/4Yc3y2cO/3EkkYDrG6vGrIyrlixbdweQMEFWA&#10;47tz0oYkSYEk3m+WXb5t44JIwT97oWIPUkU5sBoycSMu+UqwIXGSNpz1J5wOvHX0XIUs0oK/MMfN&#10;u8nBO3B/EEg5HXniqjKzst3YOVW50/8AgCsoOwlixkfAOzc2QsZ2kDAx05xwD2pTs2rGQ0hVQzIu&#10;QX6g8Dg8jqMH7ucDFNLRquUlHlbwyKw+cI+SCOeQpHU9dw5yOV6yZRgPMO0lcyKffk54IyM5znvU&#10;JJO19ClZ0oqKu7/gSJjciuwaNOACMJhR8wJB6kkDgHIPUY5ewYFGKlQ0al33cuoViwAz13bGJB7E&#10;dM1Cvyu+6RwW+dYskMgPyjBLADnkbuTkkAA4DpcLKWD7VJGAQSOmdzZ6dee56cVMk1USKgoRu/te&#10;f5sAoyhEBICBgSip93nOeGbrgHp2yAKeXVJSNxCRyYR1w6E/wkDGcZx0GeCPctdSgI2ngb3A4yoZ&#10;Rkt7/MCPp3NNT5AxjYE4OwyoA2SZGC4BJ6BemT9TVOSlTUY7/wBf15mc3Tvy21XT1sPlHyuhLqHB&#10;kYSEEtsdDgkEY5CDGc4zyRup4BLoMfKxKFic5Hqp4JyFJBI79s0112v+/ZlGA4RlWNMkg9uAo5+U&#10;cYI6AYpBKSiMBuDNuZWAUHa3fjPIHbI5z0qnKas/61QODso221+/uIxZ0KkhhsKkDg8K4yR0AyAe&#10;ew/AqQiyKp3rGdyrulCumScIMYwQM5I9OgHFO2kMdyiRZCSPMAy+d4+YngZGBz9M45D0QuqBAGLO&#10;WAByqnJLbT2JyScZzuOeTQ3rb7v1BUvtS3svu0IyyeYqKxA3shVgVXKqhbdjth8DsCGxkqQY12gN&#10;E2RKFA+QBpAmWyhGMdBjqOV5zmhgNx8sxhJFy6hNxTduYsM98hTz/d96kjZZAEGGbcT533HGQVxn&#10;gY4znr04GcVHupc7/p9wfNJpLe/3oYyhQr4KMpwMMX4Yk59SPl6k8Dvk4p7kKpyh3fIq5yGBVznk&#10;4I5Ln0Gc4JyKa+1k2LuddhUBmwdvPAxg5PJGOQTj3DHOY2/eAjf8ixASKchghXAx0IIHf5hggAnR&#10;RUk393mtxrljp6XHooJV8BXVdkhIznIX5SPUbW59+nFIpfpgI3lH5XbCJkE8f98njHvUsgMYQDLS&#10;M/zKpOSxIIIJ4xkDqO45HINfzEj8zzY1Z3bcod/kYA7mYktxg5HHbpRbns46sc4KEt/UeCMh/wB4&#10;QykuWbODuHBwcdwMDv16VKzAKgRQFBMaooK8YJXvxwDxgk/oWkkY3ZKzBWZthQ4ODuwDjueMdugH&#10;VQ6GRWaMkfKAxUeanyng59iTk45Jog07W8/yMoNR5oR20+Q4jBCxlndVOAZNyDcyrg8kDB4BP94c&#10;9qkZV2OuGKoA4dyUIBJKseTy2DkAnr75oVRGpD+WwVCoMh3IBkkYz6g/r71MAVUb1+Y5YnaSuUYs&#10;o9eSoORj7pHPfJx9260Zb3vfTT8kIx8sbCjsychmOMEjIDDvyPxGQcUkkrFm5WRA2xULbCzklkJ5&#10;OD24HPJxzgPkzujeNl8xI+WKliRnGPoCwO7oemalgRgoZd6nYSwVvMErf6tlHboo69Pm5yKqCfs9&#10;V0RSg5TV3pf02FUZ8sxM0gIzvdtrbRknt14A54GDzxgo8iAgmQNH5XnTSQ4cNhQ29WBxtxkgjjCj&#10;1NQSS/ZlkkZ12KqiRcYiVQ2AwOMDJA5J45zg818W/tW/tI+Hfhl4QubbStTtrvxTqkRgh09JFc2i&#10;jABYAdScfl71vgcBiMXiKeHwq5pN2stfS5hi8VQwtKVfEySjGN276WVtvN9upP8AtD/tVeF/hdpd&#10;5Z2N/bXmtICIrGOQO+7AK7v7oyfw2981+GvxG+LHi74weKW1HXbyW4+2XO22tVbdb2+5hhQvT8e/&#10;vXnvizxZrHivV7zVdYvZry7vZmllkkkaXfuYnGSeRzXa/Bzwwdf8WWodW8izcXEhAyg5A/D61/Qn&#10;DXCOCyGj9Zr2nXtdt9HpovI/BeIuK8bnlRYWj7lHZJP4vNn3V8OdCbRPCmj2ewqREzzFFJ3M2Mja&#10;epyCOPbvnHQatbJIj5LjEhwhGHcHA3d+5Gfw9a6e3iW2t0gRVcJGEhVxtClVGc98ZOPbjjtVS8hj&#10;KOdgGGRhtQheQ2cgt1Ic9P5cUYmcp1JTk92b4KEaVKHK1p+B8oeOdNLbmjVkcElzt5ODk4I74B/W&#10;vKLeYMysQ4CtswzHcOW6gj8Pxr6j8YaG00ckaqS5BZOFSQA7gMqOQSM8ehr5m1G2ksLySFk2r5pY&#10;Ag9eQev4VnTmpXpxd3+Wx6tP2kJqT0S3f5f8ElDfJuUklpdw5wABnIA/CjyzIwMmxdq7XUH5z6ZP&#10;UVBC6uZWG53VgwTGQByCfzH86skyAo5UEgltxQBZADn+R/WolF6o+houNWnZ7aP9CnJGyuOpDE4V&#10;eqnjAA/HmnrGYwGBYYcN5m3LjJzt+n8gKnllZVfADBgAT/EOuOfUZqNw8gLL/dChGBOzPsKxjKL+&#10;I6uWcm13t0toOiZJdznaFY4ki6gZ7/hnNRz2yysotyAd4IHeQAABR9c/pTWbyo8rgP0YAZRvTA/z&#10;1qZWLCJwejbgwXbj1GPxNS+dScovXv0NIKEv3UojPMeJ1jfaHzlsKN4/vYP4Gp4rjaDgcgYYA/KA&#10;AM896SaPzCu0AyZId2ycHt7DAHb+tRbhtJIX5WIcjA47jGfbr7UKXPDmetjknFUa1oqya/ItxktK&#10;4IcFCT5hA2qowen58+1T7XljDxNh2yfvcgDP3fbjP1qBGZGcEsFKALlQcjpz+Y/I1MihGKq4XaSN&#10;wBUNx3/EE1nyuU7rdo7Ityi1DZbfPX8ieN2TaikkMCfv5LHsc/rWnE8hcq7BiEDPnOSrZBJPXt26&#10;YFZcZBKDOUVSdxQ5BxwP0q8rjEZB3ZYh1JxyOB9e5/CsJJ/aO/Dzsk9n+qWpoxR+S25Q+4P8hAPX&#10;JA5HUHpXT2dyrWMskKn5PvRsfusABx+dYK3SbQmwbiuCSNgU5PofrV1bmK22BF+UtubfwCQP5cn8&#10;686vzOPLF7o9vD1IySv0/H+up0ljJeM1tJbtscN5kuWbJ5ATP1y30211umwuZneSZpBA5uJQD2wS&#10;Sc9Qozx9a4exvFeCZIgWkSQzI6AjfnJ4x2GQPfNdJFqSxaXKHyt1KqpICv3/AJgcEemRXkzhKSUG&#10;up9Dg6kZXmpa3u/w/I7O2u0nW2wQsQi8wiVSyhtpHT1zznvnmotRFjI5t5p2CCRgN8rBOGCruX/a&#10;2k84xkZAxxjaFbuw84ufKSYCKNTtwDk9ceg4rZu7KDzFl3byznbmMFJCoyRnpn7v4/nXBOMqE9N/&#10;+GPUlarS5Iu/U5bWYETeirIkSkKX27VBHHGM5yRnr1yMcc+Z6vAbiKe4SMxMpVW3x525OQQAeufw&#10;4r1y6jnxNNJ88aSmEu2SGKk/d49ScfQdcVwOr2iTIzEqAVHy8gEEkZx68fyr08LWcdLavr+J8xmO&#10;DjK1Wb2v9yuv+GOLtJ3iJjJLokmGJIy2B1z39PwrvdLmUiAocuyAxqeAe5yBz36V515ZtLp7cFGI&#10;cFix+UjkY7/ma7GwdkCPmMhGyobOCB/+rp9K9SrTjK0u6ueHhJKlPle8dPXX8j123nlmjtg5B8qJ&#10;TdRtI/cL26ZbaRkH+HnjFdGbO4b7kkVuskYXcgEshHQt19SOfbp3rzqzvw0yvuZE8vyxEx24PXdn&#10;jnp+ddnNe3nkxCzUHCK0zOOFxycD1Jx6+vpXg1KT5lKa0Z9Jg6qtyp3X9aGve2VolhFYQOyRQv8A&#10;a7hGYyyz7wrAAc53FO56M2Opr02Qtb+BNNt5HtTeT2csC2R2td6TZ30punhkI+48jxIzpwQrL1DE&#10;HzrR11C6ihmXZGXlbiSISMqKqn6Y+YAduDziuonktbW0SB5C6xR7pGld5JXYE4y5yXYY5J5JJ69a&#10;4JVXUvSjvdHqyw1J8tSqvhV7ed9Dx7xzp1zBPpHhvT55I7jXtOjivNjHzVS5Yytuz28tUKgfKVmQ&#10;AY4pdceebWdQutIuZbe3a1GkQwiVkguLa1QW8auQemI92emP1W+jvtR1TUtauJI4phDutFkx9oUR&#10;5ZDtK8bgB0AIHbgkyWMF+ltbi7ti7NcSM8zIY0hR/mAY+hB2++Py9WFVKgk2rrfzuv0PnXhp1sRO&#10;VeLad7enf5ljR45pI7aHUJZJZIwzEyKuQfmboACSTx+PHpUt6mPKa2wI95imjVwTkHrgdiQODxxm&#10;tCysFGbtxKsuAqliGDhgOSD2PQngZxntUF3DHaRS3LumAwJjc7SCwOPYjPqR36VhOpDn511f+X+Z&#10;vQwyhFUprS34afjoeTalp7XMs8/+keXuZjHId3kupJ6DjGCPrz1xVa0w1qCCGyQwViGYDOACe2c9&#10;fevSZNMLWJj8lSJl3QlsEK2TgsfzPXn0riryxfTriPcAYnfdhk3RnBPGDxyB2rq9qq3up2szojRd&#10;P3pLTb+vkXWiJtYYl5lPyptGMDIYk5578HrxjvXV6XlTB5sbqyxiNty7Rs2kg+20IR1wcgfXAsrO&#10;Sdg+OAQELYbjlSQ3Q4wOO/NdFawOZQjs+1HwjEfKwJySPwI/75rKvVuuV69/wO2nF35Y3at+DNy5&#10;0X7XK0NvEVtXjG8bg8eGKnHGeehPptA+mQdIksbyGH7KjiIskmzny8Abdw6HPIx22984HXNeR2Wo&#10;QKAXjYLIyu3Llum4n5gSfXqTnitlbdL+5m1B49llcExq7J81qV4APscEnkkflUQrTjC8HotPxO6r&#10;QnKmopX0Wx5DJpVvPcy3RNxBFJdOCsw2mQByAGxxuJVW/Hj1PNXtmsKsIpF+fOARlkIDcgntjjvj&#10;HrzXtus6dZyNZSwIqKY3juEbLK8m7crZ4+UjPb+D3rgNYt0SX7G0bblLxyDllAHGFBH+/jBPQCuu&#10;niZPfbY87E4OVN6a3+evoeXtZJEgVBuYZE7MSytkA8D3wfb194DA8bw+YNgY7gFT5AR06456j8a7&#10;yfTkxJDCpSLarjahPTkAk4HHHA9M1jz2aTW3BJeNNqO2OoPA/IYwOv5CvQWI1tbt8jhVGTqdrW22&#10;MmO8RJDbJw4AKbuQApOdx4znoR71egG2dVVgWaNnVTk8jjj8z+VZKWsUUzbgzAIZAm84cgMW985H&#10;A7k966WKJd9vJBGF/dB3jcbnXoeucDofwrVtRle90arnS5Zaar/gIzoZGg1GZGVotpwx2cMCCDk9&#10;eh/r1rv9KungeN7eXDEeXIrHALAHBzngkEf99DpnNcRdpEbozZXJG845OOSR+OO/fpWzp9qZky0p&#10;WVpshjlVzwMse2Oh78c8YJy/dTUbrVHpU6sqUV7N6u2nRX6npkMtxA0V81sqHdvXYmUAzuwcnpnB&#10;OePm9OK6nTtSmvZAGtonkeYOGxkMgBwgIPXtg/3W9Aa4rStXTebaeMOiRtG0q5ViwGB+AOMcYOTx&#10;zXXaP9keeRLaceZ5W5dz5KsdoGSOv3vu9fmHGCccta7gmo3Z6VKvOpUlRWn9anoMukagi287QrJC&#10;WZljjI2EODtXbjjBOfqOcjiptJt9QvJzeND5sMYKqpjxKhWQhAvT7oBwec9euDXT2OkaoNLjuXuY&#10;kS1UGVZzhLxtoG5vXgE+2TjGai0yw1ZbaMR3AM8uBcPGoKSyAgk4OSC20hcZxv5PHHFKpTbcvLb/&#10;ACPVy+DjFSnJNeu/b7j1rS7R76K2RrZoFUKQrZkBLfOFTtnngDng9cDHo+l6bBp0uqOJJba6trAa&#10;ld7ZHXcDwgXHG45HA6AZPUZ5bRrWPV7C2uIbm4/tMk7YJUAkkkGMgH3xkAcYzXtWg6HrkFhdWMtv&#10;ZmKaBLa5TyFkaW2AhKRnqMnBXAHyqn5eb7jdrarVeZ7CrVqfs6dN+69128/P/gkngqObV9KNxHrs&#10;MNnNGJLvzstNaHBRVgcjgBlOd393jIrV0fSk8I61FbLZSTC6K3c0j2pe0uo5p23sSqlcr95gAeDn&#10;2GjZeENb0u41HxDBoaHwTBf2unQRWzjaktwP3QMZZXmKFD93O0HJUc11HxQfVLTXvCqaXqYt7e70&#10;GG9sXl0u4tLW1IKC5hk7yEOGXI4ZsMBjJpWfs+dx1W/o3pY5v38q7oQd+demqs+m3p5GXp/h+eTU&#10;dVsbCy0S7g1bSbvTtTXVbZjLpIIUxyWrb0VZduWVySOACCcAdl4D0O28L6+fP0jRddjKPaWGkavD&#10;JaaZqNtJG0ZkxDteN4mZDGI2XDxqdwAwedgmvmure6MyCe4fF/DEiiG5QoPKKuWJ3F/M3LjIHlnc&#10;cnHrGjaTZx6sLy0unazgV55jJcvdSQyssbGGPcxwuc5UAAEHaMHJ0jXimp9Uehhsvq17Rldcya+7&#10;/PZFLXPAVzGNTk07TZ7LSNUae9v9BtxHDp0ImmkmitYGZhJHFGjRooLO58gEkEkD0Hwl8GfAp0yG&#10;9v08R+G1tri3mt4fBupJDcRKJYhIrxzwXBKNGu3jy8uysWfa6ts6foUutl7x7y6ETy+Y6sTHbbPl&#10;Q7D0AB5OBySQM9F+gvhP4e07UPEVpCFttellwk+nPpk3ieJJF3fu/wCz0ZGnIBBCo2CMEsQGFdlC&#10;vGbsoq/S/mdeNy3EUcDJqTTSd7X6Wuj5gT4UWJ8QTJZ3+oa7azXl3d6REr28GpxRNIEU3kMTAB1R&#10;EZsqFJUkAjlvS9U022sPEUV5Np2oPBp0cN7LDbwW8D3cKrFMbgRqQu35E2xqd2I+EzXXppunWfjI&#10;iyu7DRNOkunvbW6/4RK3tliRjt8tLRHXZHHuKBd5OwAYcgZn1HwFdabcmyfxP4c1y5kmdoZNPgns&#10;be+jJLQzxO/IQkhSrDcCh9K8RT5m5R0s3f5bG9KlKMqdOtJ2cdN9b7+Wh2Wmw217qSyeG9UL6YyP&#10;qdxZauzgiQNJJgMzkHczOkaKi7FRFLMQxr0zSLzXLu5udQjW0t5Lq3aFtQa3RlhVLYxrErKpuAyx&#10;q2Bux8m05PFeJ+FdOtdN1WG6iv8AUGv4o3EsNpIEjZ1w0RSLJBIwoXd8xyQo3EY9E07UdRe7s7Ce&#10;31AXWq276lYWt8oshcx7ow7K7iNCxLRgDCHnPTkc8sXKpCNo676fKzNo0IU6csMnpHq9/M7i21TX&#10;zJpTzeJJr0yQxW8un6zYi4slRHIe1itzIAquzuPmZ8EHhiQB7TDbLpN3pRu9ajs0hGYdP0a0zJpr&#10;kjZIznaqhVEgRUKnJyOK+Yv7M13VtUS28O2GqJqNs91bzeHtJs573UowGd5wlmiEARqkkhcHhWLD&#10;OCa7vwxpc04gstQv7mKwe6Mjy6pb/Zr2LzDseSVAxMZUxldrEkBG4Gc1EZu/O4b21b7bkvDSU000&#10;nbZdv62PrbwzYQ+D5YoLlpLW1vtGF3d2dttaWwhuhEqW8uAV3tG4LbsYZ1XqMHs9E1zwtF4ikvpb&#10;GG00y8md4Fe2MtxPceWUGXEfmEIFLImAoKglBtOPOvOuP7Ijsdf1KebTNOnaGwm0qENaLGxjZiu9&#10;ELE8fNIN2CgwOK1fDjwahqNs3h7T9V1qG0dv9DOlTSrKwG0yukY3RqAoDYPPzksuVBmeKlQqqNGP&#10;uX0XX7uxjDDOrB1a7va6ctl+PXY+mYob6+sLix8P/a9a1gJHHb6hfEQkQgoqqzBduwh9pGMjcnzH&#10;YRU9leaxor6pLd2FxbQGc6HPqNtELfTbm8t2MrQW0yktLtLysUjZlBKlieBXIeHPEeoW+jXFpdyC&#10;Cf7d5zQ2sbLdTqoZxCkaEbkUKhxjjPTgEdrZLp+q2ugr4njudQnntbi40e2FxNYS6Ck5jRZ5pNj+&#10;SSQpfyxuyAASVFTLEutG0W07avZfPr3v3PNq0a2HTjUipU+ba15NJX0d0lql5LffQ6PTIr7UtWt5&#10;7KG01C5mtorCDQba1e7nlkRC5B2KMiJlYMVfDHBJKgkaGq3kFvo15feK7uaW60bUxcrY6QkaWSOm&#10;EAESRlpmJeVAH2KojyFO4VuXt54U8PWmkeH/AAkNWkSaEyappjXUc815KWVVCo4kuPKYo5IaTe2y&#10;Pk85zlnvPD9xLp+u+EdGjtNStE1zTrfUmaaXTllHEtwqxESTybNyxSMERWOVOcDolGHJyqei3kru&#10;OqTS8/L/AIdnzqxM8TONZUrLRwg3GNRxjK0rXd1pa6S1W8ndRJlnstS0yW+tzrlprfiGZ2Tw3p+j&#10;XUFurkllAuSjBWk83fJ5r5BkQMQ5IHbW99eGeLSPGltothLp1zHdWx1fTpLs3AYSRyPYyRqUR4gG&#10;QuxC7pRh+C1RxJ4jv44rmYatJpENultqUVothHY6FasDIqQyI6pKzyqm4ImCUHMhCAbdjouk2uha&#10;ZNfTa5a6ne+H4bZLo363EztgvJEkDn92ryGUHuSwPaumGHnGq6uHVlvropW8td297pXvofNY3F4f&#10;2fsq7UnzWXK1KUG9kpWWkYxs04Tk4tSUnozl77UdW0PUGt5fDVj9tvtcW9ha2QX+mS7TEYYBGGyS&#10;Y4kD4fIOVPHFdldumsaLJf6nAr366e4kg84JcwrD5KEmPdlCxRyIsKMueMYqSG3mnvbPzNWhu53l&#10;Fw+o2QDCLZteURg7QEyhyWyW3szO+STiRLY+KNXEai4sNHbU0t7ppZlu5TuUt9pluCo3SO0bOfuj&#10;gAKMEnpjRnFyhVldT0UXay/vadr6s4nVp11CrycjpLmnOPM/LlSb5lzW0XeNna6vZ0iynsNMm0tR&#10;5F1ppbVtBvIWVJrgvG7PaXOFyd+8YQnYfLZhklRWuLa705bj7HOdMSbUZNSgCFXgMs1tHJLbLIuC&#10;HaRTtjIBVRHyQebOuRXggTW7exsdTmvtONxGJ0lJlSEQ20hR1ICTKVQ7mBG4g9MCo4tetZYF1S30&#10;y/vbWOZTdfZnD6jpsifN5jOpKoF2MqMQflXn5s4tUqGFbpSbTitN/h6beVvPY8+dbEYtfW4RUuZt&#10;SWnx6XXvP+a+6+JyStdpKIfD10lhf6u01rdxq9rqlpAzXclpNFIEJVEBkKSliAEGBknIrGXSE1O3&#10;nubC4tNPmtJGgsLUiQXV0jvIVLyv1OBjLkk4A44rUvrVNV1KLXbOYoptUu76AQFZbZpTudMFl/1b&#10;+UM4wxx061iX+sapZWgtreaSC3LLFJc26BImNuzFfNJ4Ugkngg5cZ9vKrQpwc6uIheFnZxWr0SUr&#10;9NV99zXCxryUY4ao/aNq8ZP3YatuNnF30bXdq2zuzjPDfiWZ9YtvDNzdWyyCe5aznmlt4dkywuyZ&#10;nkKhVLoqsu47yOBnBHV+LNTe0hm3XVhqc1nZRT3M8cWyOCQAw+QjBipwsX3wSu3GBivmP4qaHq48&#10;RSalDcLfabFFClvHDKsV5ab4olKtFkMCrh2DKMDC8mk8H67davdxWj38xsJ0bzLR5C0NzK4IMrls&#10;MWX5gvtu4zXwtLPq+HdbJcbFqTk1CTe6tZWT00fW70P1CpwhhsXhqHEWFqR5OROpBR2lfmleW6bX&#10;2bJX1ba0PZNWsn1OGS4mQ6gb0EpcOrNErMhkHPTOAxOe30zXwb46+H+saZ4lu7rw+xk0iW8kvHsm&#10;YRi2O8sBHjnBycBmOOPUg/oC8h0+xjht5VfzF+z75x+5hj3KGZDnqFVxk4GB17jyjxdo7wTxRWwW&#10;4Z7khJUVjFINrgZBJGNzDJPIC9QM1xYiF4qFa9+r6pvt1/pCyDGVKFSVKL93VJNaNLfTZW0/E+Td&#10;BvBAbk3crTSEC3YxoV8uRWywI/uqM5PqOvavRtHuLy/glljjnMMZeQTMv3xtYJ1yScBQAccBsDOB&#10;Xkmvx3Og+INRimlje3ktv7Ri8lgjySF1jKAZP3eOvX5Txyp9a8H6nCtneW9ysqyR25jQybj50zbQ&#10;DvyBhQJOnHzDNcOGdFz+qV9LN6/l/mfWRpp0XjYK7duVeXUisLqWSK7siqRM85ed1bMiqQSI8EHA&#10;AZCwJAKuO+CJIYwl4U82NEjiknJIOAuQ5DYH8RJHuSMcGs6SLV/7TKO++0UMSjsZZG34aTysH2ON&#10;3fPUscbzWFvqNlGcRRly0vzEnIUZUhuffAxnPQesVacVD2dF6Rfo/T8TaUmr1HvJa26HDXslzb3M&#10;kkp8xF8yRHIIiE0m6JSODjPy8nn8s1+IP7d/iVtZ+MVvo84UReG/DlrBHCwdIkabzZpGyepYhThc&#10;gAAk5bJ/dTUbJJpwjs5eDJzGnmPMSqqqKo/3R0HXJyciv5u/2ivFM3iv40/EfWLhkIbxbcWNqEXC&#10;CG2xbRDGcceXIAD0G3HPT18mTnOdR3sk9Ox8PxfV5MFToSVnPX0sv+CeIviOJmZW5Xfhhll5Oeig&#10;dCOnGR1qEqpL25VCquRJgbycuQ3zdCASRgDHtUku92WQuzNuKtISSq5XPzdux4Pp9TUOJTcebzuY&#10;HA8zBOSxPbGAWBz7Dmvd1dpLqj8ycoxfLTd1bcfH5QZULbpym9JMCNWypjPbkEg4zyPmwD1EgDOA&#10;5UeWqBsCPByQVLnJzjAxjrnGPSookD7V2g7WLld3mFsbQFdSAFORjqfu5yDwHkbZPMVlIZS6DaAG&#10;AOSCQPXGfU9euKpKPNpr3t8gjNyUFa1v8/8AgD3CD7iHcmAp4RQDgoQeBkjtg4I75xRslQxbShMk&#10;ZiLNIF+Vo2X5OccYHUnGMdaiXiYSO7q+1SIS2yN22qGJOOgKMxAPWTgNjFSlVJLFkAEWJdu4Fcru&#10;yDjPO7tj73Y8Vq9Un5EyhfmnTXy/P5FyMgskqZERkBZceYrAFRgDseCMe+PvAipoZDJj94mSBIwK&#10;chWyAWXOQR6ZGcdqhRFKiA7drKWKuuWyMtwfzAHAy3JqdCHVgGAXJQldq98nBHcEuOcd881k+WSu&#10;nqdFNU43VNW/ruTNcRso2xoiIA0pklJ3vjaDuIxjhiMZ6jikBQM7op44KuS2zIGBt69TwQe5HsGl&#10;RK2AqqQWdnk74QdeoICx/htPbNPD/NIrIMsQTuXgnADbl/A8+3vUy91pW1/QxktLaa6k1uQpCFiz&#10;hBuKthgRzjd77QT9B6VaTau0Oy7kjB4AxgDAI78+4HQ981QJO0KCFdU8oMwIj+UhWI9AAjdPT64u&#10;qgM4AXapUqHcYIAOAWx16NgYPXn1pzUtt2XdxWq2/HYsI8TKZRuLRsAdi7k7qVLevb8falWWOYFk&#10;LeY6qAxjBUZOcZyARy3TPJHHJqvES7GR+WmOVj25wePvHPByCcg8ZPNS58tc7upCttBlRPmKdPyH&#10;bFVJxhTTetu/ov8AIcJOcLPT+rD2jI3Ajy2RPk4ChgQCM88jqcGo5Cm2EybWKkq0ijD8kYAx+v16&#10;1MkiOYpdq4CN8jjJRsYBHOfu4PP49OTCLDIGcOfMJjZj8ozwOnXHP19s1nzNwUbahKMIq1O1k/W+&#10;xE3/ACzc7SNzFQi7yOgHcDjP6+1MGVUE/uUU5LyECMjgHqeMZCg98VMIJBGUkkCszYLAZK4JAyMj&#10;qO/qDQWbexbKqVYGQHYQuMZz2IOMcenHrSetn95MY+znr/XX/IrKgVnJ+bA3oo2nYdwwdpGOuT7b&#10;T60SESFSNpJiKEkgiXccfy/kKmIwiqGK/KkbnAC9dxOCNwzwOvAprKDkkD5GGSF3FDuGfoflwc8A&#10;YzVSlezf+ZDpPaXvMhZyVmZXR0AIEjApkAgZAx0J9ecH16G4AlXlZmYq7eUvB6/Lv6e/cjOKkbO7&#10;eV2tuyOWkYHqSR6DAB9lHI61CWEmQ0qgHcMJgeZk7iwJ+YfebjOPnOc8EZwbT5L+f9egXpuGjd+v&#10;y6iNcbotrqQxVlY7cMccFenHqSSB174BYiqULFUMToSFTLH7oVcDHHIz0H5nNSl0KhcEIq4aULuC&#10;AjB56n16dzxUbYXy2VwJASqhskTEDcqnI6EDcR6Dp6aKUH1JkpXUlK9nd/gSKxWRomG8EASbox5P&#10;I2/dz19vbnrUzkmSRgDmTBDswBPfOTyTk9+pqGJldUSIeXtYxlch2P3Tg8/7A69Me9SmFXAVzsVV&#10;wSnCjk5ZfxDD6rSl8Xv9SpqTkuZ6X/DqClEZAzBssGl2qBHISOpJHbB468j1FAVwwwsYRjlQy/Ix&#10;PUqwPrkd+aJGWQsVRECEsygH91tII9iOuCD2pIX/AHsqfKWZSQWGBkYzjpx8vY8nHFVCUXFykr6B&#10;OpKycdtmPLRM6KsnzCIMD/dyScr64K5P/wBc5sJOB8uwoWGxwHBVjtbPJHrj1H55qNWWQMoZSVX5&#10;A2FLHJGQOSMjA79KlI2kojBXCkq/8J4wD9eh9hTdmuW12PRR51onb9CeNkUOqCQHIVsAB+h4Yc5O&#10;P/QutOUMzKyg5BBkZhhQM5yeeQM57HPtnDcFyW3o7AlGdGyrEdO/UknPbirALbVVmbBG5sYDZ6EA&#10;989cehqIpxXf/g7lRjJTs9UNd1EmyPeFYs+0LgDA44AwMFlPI5AI9wfIrLGzbg8fyszZYZzk47dC&#10;enOKlTIIfYzjPyuEySMjOfYe/HH0wxLdCSVyQ5bBB5JByvTr1XI+vIzVwlFxvs189SY0ldzl+PoM&#10;IC8IdqMxDE4LLxjvwTn69+O5ckhUkRsHdjjK/eXnpjtjJGfxpWAPlx5DsEDZG3epIB+YdQSMfnTS&#10;ABlApGzJKrjnsCQec46+3PalF3d7mcVePM7pr8RVm2uxkG5y6pgcRrhcHcx4zjac++SeRlA4ycJt&#10;/ehd2CTgA8+nTjPbHvTtjIXdg7Mw5GP9XgA8joPvH68DsKPL8xGOUyp2Kh5baDg5PqM5/GiM1fa/&#10;MbRT5LJdP1T/ACCVnD88kc52lMAMWxx1GecZ7U4bgzH5ipTlSdzlQCxG3sBnJ/Gk2KYyA6hiT8zA&#10;nK7S2cjnjkcYPzcdyGSSBWLIuBcMSFBGEGBkkc4PTgHHuetXByi05egrQT511a+fQXjZllClnClE&#10;y3rjtx945PA4AHXmJiGRBvCEnAwNwXjIz2PbJxk8dOlP2hnCxMi4xs2sQRjGTnqD1P1P0FDxld26&#10;RWCNguBwFHGFB4AHHrxRGSvd79fnp9wTlOKlyL/PYUu4MrNgMjjawYLGnr3weQDnt+OREWdBIVYk&#10;7t+x8FwckEEYz1556H04poZPNDI7gqqycYLID3GD1JVs/wC+eoANCAHKbTtP7zD4D5U7cgcZAI4z&#10;+veE0pNJX7kaSS5ut/6Qb2cBVQkPIxxtyQCOev4Y+g5qnNIoO9pflEQeI798b/ezgkfTrnIJ9Pmn&#10;YCVizDGxCwGSrkttxz+hBx+lVZQYWQysiBGL5AAjAOQ3HAPGR164q4O0rfkS5296SXL2AysDtdHy&#10;ZACMcgqMc8dMfXqMe6SXCSPGEI8sqdu45dsggDk9Rnp9aglIMSS7mYl2YxIdpkI3EkHjIBTBA5JP&#10;Tg4b5xjy+ckq0RfoACHX7oxnG49T2BPApxtZW0ZKahTa6k7lWLJMuVzsc+awDSISmcHs20MCDg4H&#10;rVIStudNpwXxkMOeQQcDHXBzmpmVCm1f9HlZl2hszShSVBAzgnB25JAxtHIyaqqVLISrbBLtXJGc&#10;k5DHnJB3j6AUWalZ/wBdxys7J6SJfMYZCwBFBOFyTjn6H+dFVhjAykgIUAjam4YGOcyA59eBznii&#10;i66JfcH1iS0v+JpxspVQSYyZGOOcMSo+UZ7fLnn3pFYKyjcjx5H8HmBTyCcjqM5GO56cmmrMyhy6&#10;nCvsHZm3FT2Iz94Dn3FMGfLkBjjiV5QvyIVMe7pkYwM884zzWCUZNprbr/XkKblJrmZKxwgSJcM+&#10;Xyw3ZDb8MfoT3znc3OMCjLPuKiPbtBfaDv6FSPoSM9SevABFG1N8bhjCSxddjgEADAOcAc5B74zz&#10;StK6bDsJUlgVjUJvALjHptw2AMcZHpgNckpRfbYas4863/4BAsoWUERjcPlTzFBVVORtznOANxBz&#10;jJHNJKdoG5hsgXchYshUMCCGxjqBjJPO71NI7bG+c5cMPnQBh0Ddh8w6jv1z70wAbI12I5LkkqPL&#10;RVAZgWwPUEY55x70lFtyuhRWt2+xEwdpFQoN53k4IUAEx9Dzjo2R14HNIWLOV8sAKwDjACkkY+Zi&#10;Rkkbc56cDvw9pPLLsqFScgOz42qCuBt5A53jIwT+JpglJcmRXKzbT8q4wGbHPGTjeW4PTPPak23t&#10;uXytz5peX+RXjKbAIgyxlGddvyqOd+8ggEDn7vv704x4XDKArMyMygYjYH5hkntySBxnPqaWPAwN&#10;gzGDGMsWKEKrkHuBnAwOCfxNJtG5kVgVDGONfLCkAAFRjPPI6eqnjuakkpXWvW3oFNNK/Wy/4P5E&#10;KyGT7gcShd0Z+aMqy85UkD5iQDkcAkEE9aaS4TeAIQiMpSMEbABtBHUDG7b15K9BwKJJOJGiMabd&#10;zKc7kHBxuHBI6Z6E0vyiQxImx2LPtiyjRZcnBAzyAMcdSvqaaS5ea+plT5Jq6TvqL8gld1zEwGdp&#10;fndzn8MEDjOahBKuVMZLEq0yI3l7Dwp47j5SCB2OeelSfKGLxqNw+csOEI3L8wB7HPOMcn3qNSTP&#10;GEOxioJO0AKBuABBHAJBPHQrk9RQpXW3T/IttPR7/wBXARuVMbbXdpeVMbMyhthIGTzyH5x0YGmu&#10;mJEwryAsWOGyzEDggYPrjJ44PWpiWBjlL52rxhg4cDkbx9ecMMYOcc1C5LFd2WYKFZC+GOAQXwOg&#10;JRj+Pah7KV9EEowdJt/F/WnoMeJchFIG8kgSA/vVkI5OchfvKcH6fSdyrJuBZnkZyzBCG27AT9Ae&#10;cEgcjrkimhnX92XJOwlQyGFyBnGBjjpnuMdO+FjYyAgsCEZmYbgx5yduc45IXpwcVLv8UXcUdVpG&#10;7e/yGuG2Y8ks7P5W8Nl1LlVznrnGPyHJ5IjfcCCib3jiOVB3tkhSvGf98cnHzAmppC6hwwYqJBkF&#10;PvcZx06k4Xb1PPUnFNcHzXycxxS7CWUnBXKg5IxyE/EEdKUOTZrcSv7Rcq3t8rDsxkFd8jsQBgnz&#10;DERGcbiSMZ29QCd23IGSQ0cNuAZ3diZQPnGACOmcnlTz70rxh0AZWUSLmJy3zABmGcdOCrDp696Y&#10;SwZvNVUZ5OGkB3A7sjcD6/Pk+mOeTTk43132K54yXtWun4jWdig8xTtb90iFfmQByhAJ6jgEegI9&#10;MU5Y9zAoCxZnZlViBKUJzkAjJG9VJ45kGTySTy0Lr5eANiOQDhUJYKWYnoBkA/X3AqQyxxkSrx1j&#10;BZ1EsnKnGQSSM44yc88UP3bOP9XLjZQd31v8hQXeNE3ByTkhTtb2HXjqR/wAepo8xVQKQxO1gBG4&#10;UKQQV3c9G3S5x6AjOaTzkXHlAJhAuwr5X3VThRjjgjkdfmz1qRJFZApLechOWYDYTjIwTzjJ6HB+&#10;Y8cVnGfJU5ZLT/gGbtKUuXolf8CMFZSwRyCr7n2Jt+ZlwqnOTno3TjAzSlzmIqDsKhjJ5Z+dWTdw&#10;PcsCM56dTUyYdE8xjmMnMDsGdQSWwTjvnJ6D5s4GaauzbIACsUjK7RiMk5kKDG0AYUhm6YVRjIwM&#10;jVO07LZGsFOpZvZ7/wCY5gVhQwgIIowQGDEx/KEDcYHyjtx0/AvVmImZlQlGCBIlMRxkYypzyAGP&#10;SkcAyxPIWwWBRhnJyO4yTk9MHqQfWnMpIJf5SEyOHCocqT2P3e49zxkg1lKSjTelrFyilNN7fl2I&#10;0IG0DbkMEZcF1jz145POBzzgITS53zZlDHONuMyRbSTkjHUEYwQQuM9QQQySOQksuFYo8g2qrqSS&#10;WOVJ655zkk7/AFHNhSpZipeTzAUQcZJOB+GRux+OOhrRVdE7af8ADGfLK3OnqRIXBOQoiH7mNuCQ&#10;FDNyRwAAGJzk4HoKfHKsiuASBG4XJ4JJUhgAc+o/HHFNSME8hSUUsHAHJO5Djcec4bnnO0jnOVDG&#10;WDtIxQvwy52thiWIzznr1HqcVHMuZa+REU+WPM/67feOVlYB2MexXKxPxjAzL0xnK42+pxxxg1Ir&#10;qdpYHcF2KXYRDd90AcdCMc9AeDzjLNox8xVlZt42ruCHJxgZxwMjI9uucl6FDtcBgVbgmNguV6kk&#10;DJwcfhiqcbavX+tDo9/RyeiX6JjPKSTJYNuVCqAgBznaQRgccrjgDoKQMDH5g2uSisAQqKwwpPBw&#10;BxkbR/8AWqQIjktkKXQojEFdmDuUndycBhnt07UpbIUgMQGMhRjlTjC/NjkZznOAOPWi7im30/rQ&#10;mnC7ipv/AIK6EbvG75UMQGMISPgghiQo4HTnG7B4A5IpA247hAsYQkBSoygP5nbuBA6fc6nHLluI&#10;4pUUoAGB2tn5xyR+QIA5PTnPepZGjJDOSSGxu3Y553HA5BIcj2796zeqUVHp/kUkr81/IigMu0Sm&#10;ME5DIDIqmIbjyP8AdJOR9cU1FQq7YA2Ksi7lMSOu4ZXHGNik8H0I4zinhwrbCC5wVESOCRgjb8uO&#10;c+/PXggE0I3lAldzZlKn5NpQE857+nb1reXMrQZjKMXBST20b/MbH/tBHCkRtG4wVB45weDnr1Hy&#10;9+QAlcyZQKwjCnBO5Rk5U464xwenHXJIpMRh1CtgoxDYIDSEAnJI7fMo/wCA44PWyIjIq7sIwYFA&#10;2QMgFeR0BAZgOnDms4pRaUNv+GJUnqorR6ECuWAjIaR8hFV+WUlsHnjgkg59vWnMhlUysjES/OTy&#10;AvGcDAwB8x5AwKUJsZgAeVcKIo/LRvmJ9Tz8q/gRn2mSTLAHzcIgCuDuA5OcnsSDwf50P3op/wBM&#10;0hzRq6rpr+X5DYggYKrKHcoVLLkZaULjdwATjGQcDI5qb7xZWQALncWTBcZyqrgc8YyCexoJjKSO&#10;WWLO3JUAkHII4xz90cY/ClbBZgPnkLCVuueQBkD6benTHQkmhxtUu9USo+/yR2b/AF6j4mTajAZD&#10;R+YBxIGwTtIOcen03U9AoIjCmNCnIU/IACxA9fTBHckk4pvmSbSC5CIc7gDJIxb5mBJPRRt6flxm&#10;vF/jd8WdO+FHhC/1q+uEE5jYWcRchydmfkz9V+hbOOtXRhUqSjSpayk7Lu3tYqtVocjcpWS1u9vM&#10;4f8AaR+OukfCPwlqT/b4JdTuIXhsrSR91z5jKSMr24l3DB7ZPav50fHHjPW/Gms32sa1ey3dzdSs&#10;4aRiVjGc4A7DpxXoXxt+M/iL4u+JbjWdUupPskTMthbCQmK3jY9AD3xjJ9q8JlkL4+6Ryqk479f8&#10;+1f0FwbwtDI8M6+JinXnu+y6L/M/C+LuJpZvW+rYVtUI7f3n1b8uxErBWyBlSARg8GvvH9mvwxFB&#10;pMutSw4a5OSzL8yqpDd/Yk8V8J2yM88KbSy7h8uflwWxjFfqr8KNGGm+EdFtVjAlmtY5cgYUFvnJ&#10;I6855GM+x6H6vM5+zwMnHd2SPj8BGLxcVJ7fqemGFGciNdxL5eU8ld2c9eoP15qKW34ZAm5nbG1D&#10;uZCRgHHX0/OtuO2iVCPmzGW2nG/A4YADA4zuHfHGKGtwzrmNtzNhwCSR7MmcDn6/U9vlnLm/d3/p&#10;6n2FKHLK667fqeV61p0j206mIGUthA8Z4U+vI9RzkY/KvmPx3ojRSmULu8pi7HaTkA8frz9OfSvt&#10;XUbQOGHLOQEViSxXpkDoeoxjHY+leI+L9ASSKUSKrMyFQSC+7PQZ7Hk5JxjHWsVJU63NHdM66U3P&#10;90/T5L+kfJtsCFaRiV2gGI4LFiCcn6c9hWiY/MiJZgsa++0HJ6dc81JqVrNY3TqVyN+UxgBh65I6&#10;f4GoS4coQJGCkt0whHUD3HTmtaidSr7RPc97L61Np05dNPyGsiLlQPlkHzYxuBwOf5/pSW6kCZ15&#10;8t9jFjwRwR8vfg9sckfSrkgLTLhjtHzrxuQdMc9seg9ahEYWUjduV13K33FLA9SfwrkfwtP+tj15&#10;RaqJJ9fv0KksC8yx8AkKFLYI4zTYPMLYwSrMFYA8E88j05q1KiMf3asASTj0x+n/AOqo40ESxpl2&#10;LElyHDD2Hv8A/XpxqL2XNbXQlu8vefu3/AsYYho3jVSP3bA4D8Acn8zVEqGQAheu1gGLMoPU/qfz&#10;q/GicMzOJPLJB6EnGMZHXoPpiokWMiZdpBBKpjhj7n/Gpg3GN+hdaDrKKkteg1Asm1POVNv3SfTj&#10;j68D8zUgcktkZBYM6MQMkHGeOayrmL7PIJhlgWHXpnGc/rV6CQuDJyGkBBYMMggnH55x+NUo2XOv&#10;kc+HrSUpU3oyWSQyFEBULgADGACOdx574BrVtHXYyTgCXblQT3BPcezA5rKO7MbGIqG4L85A7D8g&#10;KbJL8yKCy7QWLeZjbjGDx1ycdP1qJx52kt2a+0Uajb2X9f8ADnRnzMMiuI8J/Flg5yScEepJ/Onh&#10;2kIaQF3X5ODtxnkdsDoar2Nyrq0cjZLR797LnOBnBB/T6VZjASSaN2IV8YIb5jwDxj1yOP1riqwU&#10;JPq9f+Ce9havtKbs7L/gnWROIoYFRIzJLGCqjjZkdP0NWozNdyJbqoCKFMqt83IIJwOv4+9U7ZD5&#10;aPG53xkI5Zxuwu7Jz+WD0rat1MEjy8gNGpJDAgnpnPb149a8qtUs04rU+lwUFON77NL5dzvtKFqu&#10;mmFXWNIAhCbz5shJ2knv/dI+taomWSLaQlwgdGTy0KgKpzz+I6jseTzivNZNehtpAgUANbAZVtoB&#10;OQM+nT14/KtiDXB5KBI8O0m3DMGXGCC2fxxivNq0as05noUayhK0P6T/AMjoNXmV4VslikiieXeW&#10;Riu3eODuJOM4yM9Pbt55qICNhH8xuFITHyvwef1x/wDWrvHUXOZJDKVaL5pFGQSTjbyOemePTvXI&#10;XcBdp0iDRhbghkVgzjKhSQcDoEX8vrTw81bk67mWLw6rU+fbS/pax5tfqkN5EAil2U9Tv2YJGFbo&#10;elXLOTBWOIxD5D8obaobJJwenU5P0470msRnCKNymNi7FjvZ04BX17fjzWTbT7pvlLuyJmNAdokz&#10;jPHTjsfaveor2qjKL2PiMV/s2Ibkt/6/E9BsCzhN0vzIBLgNuIKsCRx65wPw9a9UsjuWYOdsM8YO&#10;3b5gxtIOQDkgjjr2rxnTJC8kOQ0aiUsrMDgjnB6e4/M+lenWl6rSJvaSV1iAKKMlRzwVHc8A5OBn&#10;ngGuDGU5TbR7OAahJpu7aT+S/wAz1Xw9eWVkY4GRT5sLMkWzMjqzhAw56ZB6cj1GDW/qtgqzTSPE&#10;ktvbQi8hUKJGkOOQMdTk8f7tcbpTj7dZssaPGqlZXYbZCA2QoUjK87SSDjIPNetOfOiWaGEklC6v&#10;tyhO1Qy5+gXjoN3bPPymIc6dZcj8j66lFVaMVF6vT8DkIvDUM05vZ7dlFwfNWSSIpgBQcHqBjdzj&#10;Hv0qXUtMcosiRRmGIHy0MwxIOSOQOAwPbnnp2r0HU0X+z/tESbZETYUkUkgnai4wOOS/ODyByMVx&#10;VtczyobQKIdkWXlYEwEliduSQNxCnoc8His6LlUvNvXt9xhXjKnRjZaPRs5KCxBt5y0YJtoCWLNh&#10;XACsowRndlcYHX8K8+1e5864XSn8nzZJBLOQCxA/hGc+qjpz+depzY03Tb157hGYSGRFLZDlyQqn&#10;PIzx/TNcRDpsMsS6hIsctyzF7iYgxygDBUEnkfKwwD7g+leph1CT97X+txV/gUo7rf5aWNKWyE+k&#10;RyxHdKshVEVAw3MQMN6Agkg+o7jmuavdMbU5YLMbVa3iVElwQ6s3JDDPQAgZH5cV2WlXFujz2l2i&#10;+VHIsqmOUE5YYXCg5PJ56/dqWe2hWSO7sS4S2cBxndI4Y4Ug9OOD/wAB7iuimnSfN0OeLhO6qp6r&#10;pt5HlrJNY3MtjNEsF1aztBLGwKsCpC84OCCF6+o7VpfaDbvA7ltkWN2U+WQHDce3zYHtXW+K9Jg1&#10;G4N9aAmcWsct4+/fLKxGSRgcEbjxweCc1xE6yRxA/vZEiZW3FBvOVBYhupIyR079aq6mrXs2a0Eq&#10;adTm20+86a2b+0JVZyFaWVWj2AEsAeBjGAowePQV6NZwi2t4LU4minkJuhHhhGAGVWGRgHLdenHI&#10;6CvGtJu5lmSR1JErbYCcKygAZ/HOT+HSvU7XVltcQ3DOwvrVYxuUoxRWBBJPPX0z09zXLJNSlfS+&#10;h7lKspUYw2uv0N250m1vtPlkVvsbbjbRSldwSWPDRqCfvZBPHYcmuN1PSBtigliBndvMDld2wjJU&#10;Bh16A9hn6Zr0sXGmTKNwlHnwl4omwIZHCsFb0UgNjOP4j61n6rpK2T+VE+f9Djd0RlbDOfOKqegO&#10;1x15BOKxhOUWoyeif6jq4WKi33va5442msdoaNpQzmFZIiCZj0AyB16e/I61iyaZ5U8sUkX7sx7g&#10;zBUljIG5Tg85O4EkDn3Fetz6W72lzcwbkeF85CEwo7guiBf4ScbhjsDwMVzi2JuIZ5ZlIlZSd4Qn&#10;bg4HI6AqVPHftxivThXalc8mthUpLk7afgeJXFhtLShJCxcyRxyYXgckHt2Oen3ulRRXFxatEoVX&#10;3gr5kmS4yBg46nGMgdOK9TS1hNuy3CmVEnwbkjDRZ3YPfH3ScdevrXN6poH2SUTROJYIIgXkLK0G&#10;Tkg7geo5HoRXcq0XZ1Hp0/A4qlKavUj03X9eRx15aFrgzxu0r4ViqfJGD1HXHTKkn3NdNp1yjCOC&#10;WKOCTZmSFJGXcWJG7nPPGMfh7UktpIbrcrBJAEJZl+Vgp9Oh/wA5qOGz+x3cskymNnVSZFw4Ykj/&#10;ADgDHpV+20s91qOnTlD97B+7Zbm9byWlvCzSczuNiKQVYnOQD1BwO/qe/QaGhTTyzRXMRZHjlBig&#10;ZygO0g5Bx0JXt65xxzl3UsEK7BGjBgpa4ySnoWXPGBgk5PfpgZra0eyYCGWJikolWUlcMYsMR8o6&#10;8lTya5ak9NHpf8D1qNJupzRerXbutj6bs9XkvreygmZxFPbJshkjO5s5wSOuTjGD0zjHFdtaQvYo&#10;lzvaIwzrPLJDINz7PLKrjHy7trgkc/PgdMV4XoerNdzwLcypE1k3kxRj7tw3QMT6jB9utem2OvWM&#10;bmyv7iKJZmj8stKSkgBZiAO7HI/AHjmuGpBOq3Fn02XYehGEadWOi1dj1fT/ABAjyWH2cq0pljKz&#10;H9xHISMOSzHoQXHHrnHr9ceCtU0/zbcXTRzXepaYkfkwOYobdoQIyvXauUXeSSA2XBx3+DNQ1nRb&#10;/VYtP0q7Gyy2z3TxxbkMhGceaMHaQeVyPveq5r3nQby1uNPFtfXkyXEislqYMXLzZIxv5ztKg888&#10;7QRgnHIoOLcabu13Po61HDzpU47aPl7623+49tu9Z0+TT1S61a7jli1KGIvDMojUCVNo3vn5QA64&#10;Q5JYAkZBNfxN4gv9ZuLdtQuG1K0UCHTUWSQizhilZolBJUZ+beQvylicZ6nyvV7G41DRCsNpLnTL&#10;kXkkcw84COFQQzAZXG5FOMHG1amsrnX9U022WyjWW8aXy47IgS3IkfKLBDAASGJVx6jnB4qWqijy&#10;KLTetyKNGnKq68Wm9bX0stFfTuey2us6fJcQajIiw/2bIwaKa4LpO8jBVVVznk7gOOQ46YJPq1pq&#10;2n6JDDaCwk1GbU0MpeBZPs1o5+UM8ykYxksBkgkfMD0PyRpyalpN5f391b3XmiZY3t7qNxLEIWVC&#10;cEnLYEvQnDKFx6fQuj65LrUqWM0jW6zQBraGF5cSYGXbzMcMApON2QATjpjzsSqjm4X2/TU+hwap&#10;YenHE1EuXd+ull+vme3nxPqCjTbK3jktrUbLi4vZArx3Kp5TMuQcKNzhWB6ZOOxr6G8DeLLi71Zd&#10;TFjaRXy6fHY2R0iKPSkCQPvE+yILmYmVg0j5Z8Ln7oz86/D+/wDDrw3Gn6nDa39oLS4015dXtI9T&#10;aBmhKZjSVGCS8/LMAJE4ZCrDNd14U1VdCv21hLVJ9OsZUklt/tCwy3SuwQLGT6ZBOAeA3HSppVZ0&#10;1CopO7/DY9nFVcPXwcqDp6pb9+Z+u70PobVbLwp4svr++8U6h4lt7uTTJpbWLQIbPT7qG+VCLYTp&#10;OmwwblHmKoVyqYVgx3Dk9Zt/ClpFp0OpHVILN7b7TaaldapEtzKTPJGMGJ2BDFSQHAPybiuGGeU1&#10;rxs9ze22piyx9tuzDDFbSNLAsTuT5anv2GQADhuDkirnjfXJdA0aJ4vDME0Gu6Tc6PJHc6YNXhs1&#10;vY2ieRPNV1SRVkWRJgFaJ2yrKQCd41KPLOVTRrW9r79/yPC+oYpxpK+j2V0krdjqvh5o9vbeIkgv&#10;PEmkXehiGJ0u47h3jtFMhj23CSIjEjCsVTeuzGBnOezvRdGawhgvrLV9Qs0maC7t4Hto8BNwLoQ2&#10;M/LhQWxxwFIr5w0KIQyWktvBIsU4H7hrYw2Mka5KqzAcsN68knjnBzX0z4js9G0zSre8uJpH1ttV&#10;a3ub3S9VTUbOYLEquGlRmWVGfJjlhbaRuYM6shXz06VSlegldO/XYvF4KccWuaV1JWS06aXf6k2n&#10;Xl7Lqk13PZwW6NBthto8uVcoBvZpMs7ADb83KhgVIJINjU9cvtOMM13PfRRyToqvJGEBC7hGiIB3&#10;LKCSehBwDnPI3F9ZWN7b29teTXd1bPEZ1W5Mk8TSDu/OFJIKgjAHc16RZi/DXtp4g8EXeuR3Fg93&#10;ZvqnhCSd7WBY/NN5ZSXCKMA7R50BY7TwcEGuSpXlOk4Tk4x/U6qFGlQrQqpJtLVbaabfeem6R4o1&#10;FtFhnuZ5HlZzLJaxB71wT5SCd22BEUjYmQxOVXpvUH6K8Fatdy29rbwm607TGtFi1OawhKMSu+aS&#10;NzuVXJYPtV2zll4OQD4d4Usb210+71DTUk0WzktClzu1JNFm1GCBkeOJLcKRIC4jZY8gKYVbGUBH&#10;T6Ks9jdfa7h9Na2adM2lzcG5WxVlQHchYMZHYOxODtwDt4C1hVrJOEtWtP60NXQoYyE6cbRs2/nb&#10;7tHsfVFlaafbuLrX3vkd7eRLDSn01tLvnd0OfNctlY87+FUMRHnnoO406TULqzsvD2g22s6rqupW&#10;G+aHU0+zx31yATGLaE7QscRVcSXR2/O3TcqHn/Bc87xWd7YXFxqmv3UJFjYwo0hsmZgJCYgogkDB&#10;8guXKFVygVia6OXUL3w7qFzLci10fULqxkNzqaTf21rGotLFKrxG4VmSMK0is+1d+5zl1ZCD1Uo0&#10;5KNRu1Nv3vTe19rv8vuPjcRKrKtPDwtKqtYpvRyWibive5E+qvd69Ezs/Buu+Ipoo/C3hnRbRLqG&#10;5fU76DxAbOTy3t8sgS5eQOSrZCKH2nAyxDEV6mlzrni1JYNRsree/RJNMnuLyyK3Ec0aJISkYZY8&#10;2qFWEYXCEqW5wV+dl+KHgjRNM1m30yyfUNcksH8rXLp/K1SJ5CNuChWMR5AcKils4y5Chgngj4m6&#10;ncW0GgS65rul6NdXE0mpS3eoSSXdzEZJDP8AZSBhnfY0ZC7slxnvXoYfH0KLhhKlVzjJPRfCtbRW&#10;qSVurvY8DMuGsxxbrZlhsLGk4tWc0+dtpuc7qUnJOyShZN2V3ore9+HIFvNJuNG8Tx69YpazC9sr&#10;izuVGnG7gZ1heYIpAyzEqvCjbgD5TjrbSzsFgWGS6vJ9SjijS/sL9zPI90FEkr2km4h1UBVOMY38&#10;5yMcJpt5eCy0CG5nVNGsNSC6Vp4ZXu7F/tDOV1IhVU/dMIDN8hDDb0rqtZ03SL/SD5DzvcadfyvD&#10;oukzkags0W+JmUby2HaMbUwd+1WDDA2+rhGp0dYe9GK+J2dt+mmnR2vbprp8TmFOSxdqs3CM5v4F&#10;eKadr67c1lzK9k9pWScrtxoizR3NrHrM32meRYLZJglvZzWTNGX3ADc7pKCwXJIWLOCwGM2WFbbT&#10;dQ067aGyvmljsrVZMC3+1Ry4gZmcnhlSMtyCWXAAXpq6dplk99H4c/s65lew0xtZ1GORXnvLWRVk&#10;Z7QzHLBCzAhWwQXz82OaLXNra22kRXWl2Os3CXU0V3bvqbR200b7iiRuOp4TBJJIHDY4btcaTg5T&#10;SV047tromu9/e/4BxUqtRTVKLcrOMkrQi2rNxluo2fJqnpqmpWZoeFPEf2q3jh1IPp17ApurW3gu&#10;DNNAWkjutlsZPmdZChU7s4bAyOadpqaeur6pe6S/2cahbvYQWl6Vy05VBIH2LtIjLzRhj13ZB4rO&#10;lt7/AE3Xra3vIJ7trK1jso7xgGhSWwE4iwWKosQzMPmOHJQgFtq1Bd3CXYuxp80xnikhvobO3tFi&#10;t4Z1G7ZIwbB3CSXBUYGSOcHHJOVWPIpq7g30s3ZW0d+z6eXYUsPRqVqk8L7tOrFN2d4rmkt9G7X1&#10;97+99pm5LqltDeX7WcTrdxyy272q2/291nuZJMGIqwYrHjKllZVBBJ5ALdc1d7+MQwa6s1zeKl40&#10;Ec4jhcyQQN80Q+VApyu0do+cdK5LWbS/e21MTXYt9RZEt/tnnNJG6R5RijqCWAZAQVx8uMZHR+la&#10;HqWnq1pLdxiYzJJf6uYpFaIlGCo6jJA3LtDdQN3B6DirYjFyTwyh7kuu3V6b7/gawwGBhCOLlUXP&#10;HRJq99Itu7Tuk3stW2lvZrzLx7pHiG41Hy9UtIbW+tXMcNnaWqwxxwJyG8tgS/O4l3A6qMDHPL6B&#10;4UktJoZUiZ5DGFEqrgF23qAp5CkleAefl6EV7V40a21Gymkl1CTVb9Bbw6VqMX7r7MIpZGlRyY1M&#10;okDjLn5sgfMMba5rQLiMTXRLDb5K7FcYSFV3kJGMddpPr8uOetfG5hg8FUzF1Kj5pbxu9brvbS/6&#10;H3mXZzjo5D7OEVG2jSTSe219bavdXunvo3t3ENvFo32MY3pJGxnLec7sIyXjXPbdn244yCDXC+IL&#10;O7u7TfZW4aexti0Kyt5KyKQxy2erYOAeowQMk4rvEAvZRFHk+fcI6wkFFRjhTnc3PHfI6dqLq123&#10;115ssf2WG4e1hjDbxLsAwynA7FRuIGcHjrjhxlD26dTbZXX3r7jysHi3haqbd56y1v5J6eevlufA&#10;Pj7T7yDxFpEG23jmnjlXypnBdW8xXJ6AlcMuSehxjrx0J1y30g2doJ4xfMomk8mXOxCFLMpXjH3R&#10;3xgjjmq37QCX1rrVnqFnb7I9JMt5c3QVnLwkJldo/hAVmz6nntjyVdXe+s/7WklaK7MpjWO5AXby&#10;AI0U/OQNrgt24GQSK+WrTdCvUpx02evVLfXufqGU0ZYynQb+HW/k3t8j3m91yB4TcuiSpDEZZ5Vd&#10;jPCoDljuPU7QxPXHsaqWN1P5+hyE7rXUbKO+ijB/1ImjWRP975eOeOTnpiuU0dJr2CIS7wJrZQts&#10;GybgkoNoB6gKT19Bk+vc3cUNj9iRIXtYtKsvsUJe3IkXy49i844wSFBPPXoQa6rzxFVSt7llf77m&#10;+Op0sNWeGjqtV/XzOd8YXttpei63rsiCJdPtbm5WN5NiusMbSSMCT2AAB6Dd34Nfy2a/eza3rGqa&#10;pM0ksmq6hPqLv8sTSLPI85dg2ME7s8jgEDbkV/Q3+1n42TQ/2fviBfgvFLf6Mvhu0Y5iklm1Nzbb&#10;omHO1UdmJHXaQelfzqTZMm4smxPvvs5XBBUg8jPA+Uj29K+lyykqdKTfws/JuMcU62OhhI2vGP4v&#10;/gFJ1V1EjR+XI372VE5QlwSzL6/w4OP4RwOAI1LbTJsMYZ1QZcopG0gjGO/y/qMNkEWYgQEhXeyp&#10;IEk8oll6hCO54yM+wqCWN8SneY1VghHl/MMFi2QCCOQpDEc7a9JNcyS7fifEySpp8qV1/nqSZ8mV&#10;laPJCFhuBQMCsrLgkZ+YKwHQHYMetCfNJ3+ZMLJjLFSc8tnuDkepPHAppXdKRgAbnRGbGdwfYS3G&#10;eqk5z2x7UsL+WkWBvjbLyMU3FSiA8DGcncTt6/Kc9MU4QWrW4nPmlG/f+vxsSllfzoy3y7NkZjU7&#10;8MCDyPuleT2+8eehqQOBuChwHyybAVliBLZwMZBU7gBnjaB1FK/miPekhCgK6l5NpBBVWL+x4PTu&#10;O9SbGjdUC8SAbpsY3E7uuB14U88EdD6CknKy+ZVnHV7P9SJPnChjltn3i3BK8jOM8H1+mRzVgqzJ&#10;nYhLKAiuypsIcgnJwAcFc5/uGhI2ChQQzFRsLAKgAwMcc9gMkc4755mbYxBG3IXYpdyFO4YbA456&#10;8nkA47kVMnFSSittvwIhB87XZenp/XmRqXDMUJMiHGwhZFIbnqeQfvDj+8McrzYA3eSIlBlbCljm&#10;Rmwy7QDgj+9146ZGOKaqs7xkbAhbcW3FnUMG3AkdSM7R+J44FWW+Ty45PlUFT8v3T6r+PX8etN2u&#10;py3Ro2pNSWje3kIXWT5gg24EokGBGo25x8w6YJBPqOo7zKsbNJGwVmy0cshIBcBiDtOeOg/Ag1Eh&#10;GSOHDguFIWMkFeuedx3DJJx1HWplyxG1drIzAFx8zfL90HuMZ46cnvmhyahZIbbqX5ld/wDBJAzZ&#10;YKAZAhd8Mu0cgEc/UdM4Gacq8J5uEAXLK5wqH39ev4YqPEciIrb4/wDnptUHgAnHTPGeg659qkQY&#10;RIiHeNMkSMAWblev8Wclv++etDSnJJ/MyXxP2i2/HYQ4DsQxTCt5jI2wv2yckD05Y8bRUuWWNAI1&#10;ccb2GBgcbcjI65PTng9Mio4mYk7N6kn5ZGJKr8oAOTwOnQepJ95ANyxsGZsvtkYjdg89/bDYz6fm&#10;OfLZ2s9jRwUbuK1YMsWxwQoLOIjIQqAsQDu3HqcAdOBjGaYqCSJcu7PtH7qQ7Qygqw5yedwB/wCA&#10;iplIVY1Yl3eQKMgklznLn8QevHIz1qaVI2YMXl3AH7g2uxyOCfQcDPU/jmq0aTW39It04tqT3e/6&#10;lLDNGwPlqrIYwrPkElWHGTnOMnIxjggg81GEQRsQBlmaVmUEggAH1OcfMc/7fqOZwdpOdrqXLJuX&#10;eehy2e4OeB7HpUPykB0MiwMThjkKSCVYAdc4IGO2R9aKM29VsZqMKdRyk+/5IjMilXLgIijEjD5t&#10;4YjBPoRg8j161XJKN8gCZXcq7N6qSoRSACepBYgnnPbNXU+YEoxU7idhfG9iAF9zux9cL0phIO5n&#10;cSHzFO1QrPkc7WAHA+51z74PWYJ9Nf6RMZxaS3uUpJmQniNVBCupdC8hY8cg9gsmPoeBkGnfO5Ul&#10;ULeXvJxgjGcg9P8AYI/3fyllUcbw0SMm4sGKuMMWOMHPUL9RvHflGKKm13O9SXk2AuFJP3QeOAc4&#10;z/XFaK0ZXitGKPu1nGm/PX7xTK5D4GyU/OrhOXOdxAI6+uG69DSjzAqcZKMqPvYlQp35I7Dk7uCO&#10;n1y0ogXC4xCpVAvAUA+vIzgY+hP4IrllQ+ZKGLANkZYAZ24OMnHIwc8Z5PQQnGMnJPXt5bD5Xb3t&#10;+hbJUGEIrApGzMSBufbhSQpGecEDH9/GD1qNWgiVpGjHmb/LjZiSu05Zzu7cbSB3208Nh0TzPLIi&#10;KNHgAoCrDIHbnB99vtio4mZiGk3KxYLtMgCtkHGPf5hnB6jgcVcNbxb0/wCCHK5P2S/rbQtRFFVV&#10;3rks2Q2dsJOAcfTj9KmYBxuO1AMKBw248An+XA7Gq4VyGG2Mb8jzGQMQDgld2M9weeOPxqQOARyM&#10;PGVQuQpQBhkge3GeR+tTUil7y6/8A25Wo2mumxZDhl+bzWd8bed7MTyTwMYA46+nXFTBGDgqfm2k&#10;oz8kZ68eg6fl+LF2lX5+VSGGP9YpC59j7f41NFhmRWJcJGSME7s8cDjuemTwMU/ecm29FcV5QVlv&#10;09NxoOdqhGZHO5RwrFcj9ep79unJoRJZAExlV4CMhYtv4yuD6lF565HUk0bwZlwS2PmGDuB4yOCP&#10;RuOO4pVUmRfnZo8NsByWyDv4J9BuOMURjFQeuj/r8iP3lWPNLoLEwlVsMQigtGEOwtjnJPcgtwTn&#10;jHpgsPLGRcdlkcZIckA49Ox/MU8uASiZkOVWONo8KxONoXjvgD/9VMiJZcruK4zhyGHTgqSeeeeK&#10;u8HDmXoVzaxkl5ff/wABMf5sieaGDbCgyhJ8w9cqD2zjqQcdfSo9xlDTKSh8zMwVCytySSAD05PP&#10;fd35pMOzMJSqRsPlZm3MMD/FfrxTgy7FUSKUcYRdgZDjJxz0x1HpjtjNFoq3Lv8AgQlNVVUl8MU7&#10;jeVcxlgTtAby8ncQDkk+2O3XrngU5ygC7UyzfKjOdsqkgE4PvtHXrSPNGrhY8b25lY9YVYHjd69R&#10;+PHbDJQzNvUKNqbQg+QM3Xg54OPzz+dR5XZp6+fyIUYqHPT+Fb/oMQuBIV8ssFy4xlgMgHnp2z/S&#10;hmO/ACFXkAGWACZ2g88A/wAX505nSRgGIQypnZwcYI5xweBwc9c/mhaN2LOJGG7COSFVsYAx3H3T&#10;n0B4J5FZ2k5ODRXLKS5k7yvr2sJ5553qixnqoA3Y6Z/Tn3Haq5Y7nZwmNxCEENnHzZwD2yenp6Yq&#10;POY/lH71BmNUQsUGAvAXnt2549aiklYleQiIWWFi2SGA+ZvQYHcVdoO6T8n/AF6jiruMY9dbdth0&#10;mDGT5bh2Y7mYYYnk4PbnqQaoyMSgd9hKE53kgcRxggHOOGLZwOjZ7gVI0ytxslcrGoZsFtxzwWHU&#10;gndg+pb0Iqs+xEl3PmbzMnY208kZAwR09D1yR7FpPmu0Qk3Bxi01YFlcbAVDMMAkHKsQTnGOQcdS&#10;c8lemaahdSG2+Z8gj8w4IY8bj1yM4B/DHsSVgspIX5pEDHc4AwcDJJ43cHt0x6E0pGSyJLwgIwrh&#10;jHxnaSOP4ieaJdE17vclXUPeGvI4TcoAIy6hjvBGecnoBl1A/l0zCsm9A5cSLnYSSSwUEgZGeDgc&#10;DtildGZcuRKpCyxFl8zaJFDID2B2gZyMgntg5R+EbKtGFjjVdo2g7vkBGc4YBRkYwMAYFUltrq7E&#10;tqr7y0tp6lcxL3kuE4HyhwQvHA5HailETzhZRJMm9RlCEJUgYOeTzkHPPWis3OnFtWYKFOyvua0a&#10;spjO84k53bSN3BBHOOvcdOKWPbtZH3xlAGiZF2IuCMcAZycDkeo+lIQXSMPIA+F2RoBIFLMMhWx3&#10;4GP04zUZdhFG29SGCssu/wA1HB5IA646kDv061ElJvnWzJdOPteWel9vyJpGfzEXJjeNMyZjVFjy&#10;4GMY6fdwAMjJwcGoyzgEoQ5Y7pVyNucc56cHp+J709lETTgIpygBVSH8zaeTnJBwNvQdsnNQlQsS&#10;RK5yPmAztD5UqC3GCPnz6AkEcgYmDvOzjoZ/Dq3qlb8P6uSl1iyWLIy4ncAhOGDHIJ5PGwjpn36V&#10;DLKWZtqHAYIxAwMhQ3XI4UNnpn5T6U8EorLuDqoGCiZwxIORzxk5P4t+FVWOAjlZDv2uVIKR7SCQ&#10;AemAw78VTjzO/bT1/wCGNXKSgm1q9/6/EUbXJ2Fl2NtDtnHIAbIxgYx09zzzUarGxEYkXeobarDd&#10;u7HHJ6A55wMDH1k3rKEbJAdCinOVPI9c8YweP61WYY+dd6bkVAA4PmZIIyByG+YcZGfxFN25lLoW&#10;/fnzJedu/YVoxGsyOcShwhkIzgE8g8/3t69M4ReRkikLsJEd1Kg4X5+FkxuPGBjI/PkDI7IgILIR&#10;wWd9iLlgM8knr1B46nk/RkjFhuMe3cQqJKCrISctIPXjOP8AezxUuPtHyt7/APACEnJK+iFcNgsC&#10;pQrllZvmQbMgEjoRgDb15xwRioyzuGcyBkmG8SAgmRc9WYDgfMO4yepPIDshImf5Xd03t8nDsikY&#10;wM4OZMdt3BIHOHBpG+fo8eQ5xu3kMSo65Ge/Ocs3qFFQlyxs15E1oQvGNN2lf8F3GgMhXcDuClWZ&#10;QI2YsQSzcEkZ5B45b2pY2RHkDEbfLII2eYj4ILDB4bgZ5BBMe3ackhkfBZS6ktHIPnG4JgBFVjwe&#10;cnvn5ePUKzYK5dWIyPLIJ8x8SMuGPOc7Ru7ZzniofxtW7FRhPnUZf12/DUYCCH2xjbwyMJMlk6Eb&#10;upXB6Z5GMjPNMhJiIKKeW5OctgfvMMTyTgjp/e7nAoLbo93ylHfErg7pGwdgz/tDnr60qiTaZA/m&#10;BWCgvFt6LwoGf7wUjOcBRjGapRSV2S6knUcWtxySMMfdJXJZD+7U5XhFx6huOvGPxbHgEB1CkMVL&#10;hQuxW5UA57DB9c54PGVRWG9zIAFJA+TLYC5wB6AAAdxUmQSQGGZF4bkEfMrDd05wCP8AgVZJuM03&#10;tc1jNOCv11/Eh2EjzGDMuxYc7d/zNGvBxwAWLDgkkA4qwqoZWdJCv3fL3gFFAbPzEc4zGDgk89+Q&#10;APlpMAo5b53UDd8pHIAHPViQQcg9CMZDAI44yAj5dQFSOMvI/G4Ljglicjn0A4rfn5YystTKKcPc&#10;Wu1/URfN5ZgWAbc6MQdjenp/FjsPm7cUj7QHQgyZwwBRoRl/lGTnj7rEngkAHsKeWKmMKVYABGkk&#10;XawyOMDPJ5HPB4HrgRn94rI2dqylWRFKld+wseWyM7QM9cKOuaSkpSu1poEaPKlySa/rRfkKsaKz&#10;qy7YyRlJPvSq23IUZO07c45zwCTn7ygqo3K4RtxkJVcrL8pLjGTxyPfB69QULbcEscNwofhH3ABu&#10;/JXGRkH2zwTGHO2NGCMysx+VSEkIABDfxchATgjBBHGQApqz1WujGoKyguy/r0LBG1UfajSMpwCF&#10;5+ZiwA688DkY4+mWKsYdwX8sqxIdiAZNwJIyAACOBgYJ496eQrxmQs29FeRsNgqnls5bGOpVT+Qx&#10;yKXawYnMqOWVAy4SIn7rK2cHOAVzkc455IAm0tVa99f68hqmpL8fPYUxo+5+DIyjywUwXDFQMYP+&#10;1jtxg88gBLxkgkSBRjIUAgMPvYyW6KRjpyPWnF3VFELxIRErhiDvVNvBB5/uDAwOc5poCqCdplkc&#10;l2XbmNtoBUk+xH6Ac5oi00uXb+tSZR5G40tHf8yQur/vTIU2lCy7duAoODyMAjnPbjvThJEghlO7&#10;DLmOQ5ADNggn0yzIO2dvQHgOA+bZGylGALSFC7IAqjoRgnPOAvfik2uhJ8wctxKvzqwB2bcZ9VPP&#10;065NVpN3krxRpq2ql9X/AEgBVw6MxG1HJ2lUAYJn5SWHpjIzj05wW7t+WUsjlyQxXJXIHIzwT0GP&#10;YCnkQkGSPEbMHDlVC5GWDLkjkAhu4A3dDTYmDDbtlLiFSG24fO9UwB/dyy8ngbs9s1muaX4fIqMe&#10;Z8kt/wDhhy7iS7EAjDFFXcrAjAIHPGCRjPPanqoBV/MZTtYswAO3CnaQe+Cc4HoPekmxv8xHO8jI&#10;2kAhjwQMjgkZPOCNwGPVrEtsyrZ2gIDtj3FsNyATnPAPoSelU3Fu7G7Q93s/w0JdwgYY5YMqgMoK&#10;nqCB6/ebnjBHXOKhBG5kbLu4DkAnCZ3NtJ6Z2yA4J7D0OEBSRpApKRlzlvLBLMXypxjBBw+7uSRx&#10;1BTymViXl4KqzsVJEZ+Tguc8Bog2T1IHHApNRtvqc75pTtHa/wDX4fkWxvjj3l15V43TC7zuAHJA&#10;HTkjjuOaarg7MlX8yXYrH7gOSMFh06j6c0yRGiJASRwDvEwG6IHjKc9c4+nDc54phddh3KqrjcUw&#10;CAflzuyeDgtuB9MY54E7xS2X+ZvKat7OS6Xf3jmKCIMSxD5kEbLsCZUEkc8E8D8fUUqBG25JYrHv&#10;ba3lqrYBwBnHQgDI7nI7hZDh1WM8nB2k4UEkHr3zgDnrk+tI5dWiUFgMBfLVNjAtgHdnvjcc9sAV&#10;EYua5V5kybcr32t8+pH5bNvbYojKhcq27PXOCeVxhcn8CDzTxuKKoCh12sDuARe23HbOeoyeD07o&#10;6jy5A0jruRkjdTiU5GM+nfg47dKmMjMGLRmRXJDh12KMkktnOOh/me/D5ntbe3yFBStZrR+nUjRH&#10;CAAERoTICwyJm+6Oc53HPOPrTsFH+Vs7CoJ2DanIxgY68jk54BHemlCjsiEkO67Bny1JDbiOOv3R&#10;x06dRmpUVWdhE7IyyBkGzYBtByOnByD0zwMUpzblHt+RFNXXK9HqO2l0j3IysFAVwA5UkAux7Aj8&#10;RkDgUi7H3HLKYyUB2kAsVIGWBB4yfoT0peVhUswRRlQFPlsoU4wffAHzcjmp3UoS7mMt5oeRSgHl&#10;huOT25wSfQe1EVqoNaK2oONS2vTciXcSseEDFtgKqM9cdMZ3fKBz19zUqMVZpOEDECN+HjIOOQc8&#10;KScYOMFQO3LQjOFVpSYym7JAUnK9h3PQn6ms3WbuKw06eZpQtvEpllJCxq2DuOT0wMA8+lVK7sou&#10;+xrBRkvaN6mB4y8baV4K0a817WpkisbO0lkaQyAMCBIVJznknacdeCBnII/n6/am/aJ1T4w+K7qG&#10;znlh8OafI8FnbGUhJgpwGde/AHXNe5/tm/tL3Gu6hdeA/C94Y9PjBGqXEUvyO27PlgdONq/hX5ly&#10;sXZ2LEuo3Nl8AjJPf0r9l4D4TVGMc6x0fffwLsnb3rd+x+R8b8T803k+Blorc7Xftft3Ecs2SDld&#10;2dpG49R+fvVRiDwehB24GR0/l1qVinykDOFAXDYJ54qvnzCpGBtzwGIxmv1eKtE/L53ulF3en/DG&#10;no4Emo2KAAg3K5DHg8459q/Xn4fHzNF0+OIeYi2aB22qM4CnODx2PPbPGDgj8fLB2hvIZQfmV1IB&#10;5AwcZ/Ov1m+DmpfbvDGlzh9oaFcbsgOAHBbj02McZ52n0JHnZtBuhG2y/XqdWWy5cQ5S3t+HY9q2&#10;ZTe3l7mxGmxgrcMBwo/DnHPvyarpHvMMZAlRZmbLZIyGAz7cgLke3HU1fhUH+6pzvBKnadqjAIPG&#10;Mnp7YpdgJCiZGKHACjdGcjBPJPGd3TPIJr5mPK4tR3PpXObanJWXb5mRNZyFQyqoeXIwF3K2efbG&#10;RnrjP06cNrukiWJwYmyYW8zapJUbd5PHJwEA6clh3IFesfZgCIZMiRTtZHy7KQ3C4wCDuVsjJ4Kn&#10;Hrj3VmZIjGfKbgAiVTkY+9lxz3GcDt+XPUnVjFJ76fnuejSkot1er/PsfDvj7w9JbIboBSYW4UDc&#10;gXnk44OBz+I7GvHEfYJFbIABI4wrD/6/NfcXjTw5DcQSr5Y8sEq4lUEZOeQR24xjjkjA5r4x8Q6a&#10;dP1CeEg7ImLIAdpkBP07Zq6FnHkl6npUakoQUmle6v8A15GfFM7synmM8qdvPQZ/z7VeWGEFcdQo&#10;O05IJyMAenqayY5fLZY2jf5huGxs7fwz9OPp71rxIGjVoyokPz4I+UqMk5/LpWVWPM72tFH01Gs6&#10;ijCO/wCgiROWJc7QeVwNynBGfxqo3LsUIG1ixQAs69jgeh9fpWuFwikvhwBmNfu4Ge/t6Ypj2e5T&#10;MsgIZS0jZOXzzg+nUVjdJ36I3qU1pybfoYaPKrKQCNvKZBO088ntyKlCtGmVL/MvzKyhpEHA6Vfe&#10;Ipg5I4VVAOS+AOo/PrVUMkuHVwu0EKFBBPXv+ORVe0k1btYwqqUOVRfT+v6Y+eFXgTDn5iS6gYx0&#10;yG9RjH51SidY5gqoxXJzlc5PYfl/KrRKlNwyxbIO4HIYDg/rWXIZN+A2eNqsD5Yz2GT79T71dO6a&#10;it/6ucjcpL2tr7X+WxpyMAY/mdUkG3cV4HzA4NSTxx8HepLKwwwyH4XDA+3OcetVDMUVI2OVZf7u&#10;SuMZyc+3pV+DM8ZjbbmNSw52qw5zgnr3/OlySjeZ0qpCcY8+je6+6xYtghVHZQdhCMeQx+XA4+vc&#10;VoQyl0IK5lKld2BtO3qffgVi2+6OYoMBSMsSSHP+elbduAIXlZ0Y/dUEgNzjk/lj8a56rbaPRwk1&#10;FqM+n/ANm1uJ1MS8JGXwQTw2Bk9fbP6V1l3KF0oSYYOchVVFDct69e35VxcaPKUwRnYCzAndwflI&#10;H4n8jW9YziSNLe5lDoCEXcD1OeVPTJ+X8q83Exk4qKWp9HhqnuST6W/QpyTxsUmkgd3KqFG3DvuO&#10;c9SMck1tacxWWMGLz4OJemGcgnCrxjggH8OvXLL2KMS26A48xNiFl5DZ67uozxW7A3kQxxLGrvM5&#10;RkjALsQFb5h19D+FcdWXPZxjoe5Rgopzb0at+rOktpGnXzRkKqbpCBtj5yegHGAP0/CubvS4gZre&#10;WNcSsm0EMzqCM7iememPYn0rohqvl2bQxWMcSyNh5Q2GAGB05OM5HY9ay5ofME7RwqsAiMjpJ8pY&#10;8n88KR9T1xk151Om1NyXY1rrlgm17tv+HPOL0fap7qF0KlIyHKgFRkkjae/Q5+ormY4THckHbxIF&#10;iJPygELyfQcfpXqGomOzilRY0aabCuoGMrgMAp5688cVw94rRBpUgZR5m0nOSFYEn8B+XFexg5Wd&#10;ls1/kfH5pF35raf1oXNMnYyOysTJgbllOAmw87ewGDj6122kXypNNJMfnVMlgpdjgnAxn1z+f0rh&#10;NPtZArFZRsZdqhTjKgqR/k966OztLhpoWi3EeWXk+b5Dgg4Y9c89vQ08VUpxt3Hgac6lJuOlu3b+&#10;rnuPh+/uGtzIgRHaIbAfncSHOCR37DsR717h4UuXigi81oppBEsbSMcI24AEjuDxXzzpdtKyxsJA&#10;kZHzptwxb+EEdMLyc9OFFe7aZbwvplisN1N+6uAZlUM3nA7t6j5uQflOffrxk/MYyCcW3vc+hwM5&#10;UqShs/P5fmdheJbRafNDC6NIxOEePOPQnkY4PT/Z6dK4FpUS/ktpGYNI7FgIx5aFjwp5A45I69fy&#10;22/tO2+zMS3kkZlLxHzBIR8o3+gwcDPPPFcWLiJrrUrybzPMto3IMi5L8NhkHU4JJ/PvXlqj77VL&#10;Xv8AgepGqqsX7V2vsc34jYXF/a6aLhIrKKV5ZEQ7o12ZUEcHuo+hpYBteNrY7oJJGhkEiDZhhgkd&#10;sAcDuC2T7cvqd45vFjt9zuUdmQ5lKhiGHI6EcnnJ+ldPpEdzLayS3PnbC4SNmTy8bQcqOOp57c47&#10;V611yJrdL/IpYWNWrv7v59bnVtoKXEjSQFBIwWbJbIJRccEdwDnOf4j3OQy30vdb27RyyTZmCGMo&#10;I8q3XOOOM8A9Oa3NHSSTT0ZTJttS7DYP3vl+WH3ccsMAcdgOOK3Nb06MaXp17aSRxxoEEiwZBJKk&#10;qznPJOM88cA98VzTrTd9e36HQsLT5/Zx6Hn0trNY6gSkayxq4ivIZ3IW5Vtp2sAQcHocEEg8Yxmu&#10;d8V+GorbS01WBkCz3DWs1nGN/wBnz8yEOeqkZB7jaM5yM+tTaStwsOoQXEty1xiPUBM2UYMCpYgg&#10;jIXIHcdmGSay/GGkR6LPaaDcXcc1tex/bI5fK3MY5gI1LDPRScFR0K812UavNbTS+5NTC0+aLjK7&#10;7eS3/Q8J8OrBdS+WY33ElVdFBKHBwQDx3I984rt0kuLzaZbOQW9gRp0uoNA32Xc5ZlDPjAZgGwue&#10;RHn1rn9Lt5tA1Se1dVZSQuNu4HJAXb3I+nb1rsZLZQkKLLdwwPdC7lh5W2uCQyiR8HGV7DaTz1q5&#10;VI8/O9rXOiCcJezkk027d/60N67vLe3srR0jLNCEMcZb5ZDuYByOhI6c9OAAOc9ZBLDdaemLfdPJ&#10;F+7nkH/LQDO1lHQNwD1xx9Dza2cV3ceTC6SMoCBs/uRwGbc3sSc+/tgnoI7W6tYEcRqLdJf3jodr&#10;q27C447n1yTx05zxVWnK0dYvr+p6tGnCrBR6r/LQxGumitrohFi3XCiezaP5VlRXAcjgrgPxj+8e&#10;vFadraabcaeEJeGS4YCNn+XeScHP45A6Vai0OS5i1K7kjSdpZnCsXBQjIKL6naAOfr9Kzb5rawFk&#10;UXzfJlACEHzIjtbcrf3gRuwB0rT3rXirrQ56tCjCCkk73fpr+Rx2veHpLK+EMQilS4ZZY5o5N0Mo&#10;KMHUr2Pyk5zxt9DVI6O5gWCWFW+VlmhZlUrjB3DHBPzMBj3616NrjNfKZJopIU3FlZbcWwz8q/Ko&#10;GNpC4UA4HOOuaxJtLntbi0upMvbsQVVyWaYAAKvy4PB+nAPvWqxKguV/8MyMNgYVKTklq7f15nnE&#10;uhzGCWSKeJHt9rwRTIrMSRtyCTgDG3k88g4qodJ+2xNHPE4eJVLbk3YxjGTx156djwc16LqunC1k&#10;Eot5EjnRiXjIRCCSAdoP5cdCOoIrQ0qOSDNrNbRjzYkkjnlj82QqCm/J6kcsce3HJFbxxfK2reQR&#10;wVaN1y3aV/0seUy6UWjhga2WIl1NuxfKEcZbnpuIOQfXHauq07RpmQwxw3JuZW+zQw2wM7XDbgix&#10;w7VyxJPAAOS2BU2qaWbm/Npb3JMwkdFMany5CBw2DyFAyRketbegQa9a3SXVtdNFd2kwlspLe9Nl&#10;PDJGd6NE4IKMpVWVgQRtBByOIrVoVYxjDe9/kb0cO8O/aKydlf8AD9ClBYajpmqXmg67aalpGp6X&#10;O0N1aX6fYb6ykgYieKVThlkTYVYEAhlI711wutKs9NRFkmunnZQjqm5ocqARuPYHoTjr0GTVDVdK&#10;vNVu1udRSWW8ud8ktzPdPc3d407fO8khJZnO5mJPuc9KSLT4HD2yBrW2s8RyRuh3SHAI+Y4zjJGS&#10;fw4NQqkY7u3+Z6lCmp1Ent3Xy/NnZaZZxQySXl8be1glCeWy7Q0gKgAvj9Bgc8mvTtF1650y+s47&#10;OVpbfJSaccRpGMc7urYOzAHoD61wekwmxeOC5RJQF3LuXapHLbAR2IHH+Nd3pHh/UJbiO7tXsQJo&#10;wPJkk3wuBg8gnBOUXOMDHvycOeUpc8Hr2Pfp0I81qmvRPy6nrN34mjF5Ffm31C5i1URobe0zNb3D&#10;JAFJcNwFIZ2I6ZyACcVN4aOm3WsQzadYajpfnYldriRy0TZZiW52qQc8cH94OMZIzbSXUdRtmszD&#10;DZnSz/oMSSq6SORguUHIXCn5uegHbA9C8PR6g89qIbPT5Jr5ltb/AFVv3i24H8XlqCxUEk7R/eYC&#10;sq0/apQu7b/kdGDw9SlHpezWu2n/AANSx4oawhg1PTotYhhkuYoWhigtnkmxuifYX6AfI4AySCW9&#10;KXwvrmpQaXaajpF9BPb28xgmlmyzvyuWRMHkcEk5IGOOgGVDaa0dSkllRVYO6easaA3EJ2khUyMA&#10;K3C+jHORmuXNlrVgWlgheJXkK20aSLJHESVGwgYLkljgtwPX05HNSbm9/wCv0PQxMJKhDDwab0du&#10;+ysfW/hzxzZx2f2IabJ5l4rMHkUpMxABLFPvDHJOCRxjkV29j4tmn1RI/ttkkUdr5JskkQTSMyMp&#10;Byc9Gb7gGPcgEfKXg/xT4ii+z2uqGH7Y12sUF2xSA2yOoU+Yxwc56HoB3HNeqpq8MHiGK6tzZzXK&#10;FBM0TrHITlQowRkgls4xkA5IGOMqkqbpWV9Wv+D9xrhoV6cmuTdXfXW//APqWcw6fBpesQ24Cs7S&#10;tbNKrZZSQpKkdCTgHGMuSSOte1aHPFrukMdTkt5roQTNLpO/zkTegKqgzjGMcY43ADpXxZ/wseW9&#10;eOzay0zyYkLSSPMYpCpJGSWIAK/LwmM8cc1q2vxZltdRjRY3YW/zvNbQiKB0UfPlmI4AB5wBx1Ne&#10;cq7oTlo7eZ66weKx2GjTcfeV9Vr6I9guLfWNLurmy+zanpul7d9oZreRrCySX94o88L5as+GChiO&#10;FyOCcdt4av8AUvs02nfbLWW1vZBLmeZfPmdSkmN/LJxEn3RjAIAODngV+Ls/irQ49Nn1y8ksnMbw&#10;6YqOdKLxxuI9sCjDNjcAzc4V+RuOaB1a70/VDA4VYrSYGP7NtFwMjepD85GM5IBAwfauePLTtUp3&#10;Sdr+X/AN6OExk26E4KMvztbX1PrfQrfxOEd0WzvZhDM0VvBZvqckQEbBiGRxt2bWO4AgEc5FdnYy&#10;+Irm3k1m+i1e4fQNMhsL37Zqct2beMux3FbiYiMF5lQwxAAEgBTnA8Oh074iWuiaX4jtbe81Hw/N&#10;eiwlXStRtW1W5k8oTNE9mjG6aPEyF5hEYwE2eYGDY7/wL4v17xBf6hptl4fu9W1C9WS1itDoJ1m8&#10;jBDL8jyowSQhgd+5WLfxdBWtZS5/ZxhL3tbd+3Q4/qU1zVozhKz11SaSdn17H2R4D0K31abSZhan&#10;xIbu3ikn0VbSRozJjD25WUJG44Bz8ycDLHhR7hLqlxZQ3Os6E2oaTqOkQjSrd7SDTtGvND2yMssR&#10;Nso3nnyg8RDEKGPQ15n8I/h18cZl0280zwldQpKggN3q+pRWjWszbQBHGqO+7EijylJIK8sMV9O6&#10;d8J/jd4Vivbf+zvDttDeXDRJqepaRYXWqXTxoG2xSPFPMirsGXR0VTnhiGr0sHl2Plh5WozjHXVL&#10;bTTr+uh8bmWaZdhsW6VTE0XLZRlNK6v7ytrsvLXZnHaJZahPp8GtyStaEOGvZIYDBAkCDzGeaXcQ&#10;BnahwoUhGG1twNeyeH4/CvjrRLqSDSbLxRr0U39mRQahcXunx6iuyVWitJIhG9sshVURlRfmZCWR&#10;A715e+qeKPAj21x4g8FQeIkXUd15c21k+oWMUpZpJLi3uiFjEyZJVtoA8vgjLNW5qnxH0rWtej13&#10;S/DWr6bbRK8UcNvdFb35lkNtJI8cflho2MjBQCDt+YkZzphPq+CpqVXSSaTi4vXz2f63OLMcHjsx&#10;bWEi+RpuNWE1ZNW91+8n73qu+m551428M+I4NS0Dw1qHgrT/AAJb/brqOyik0i1sNGbzVkbJ1SRn&#10;nug3l7YzdSsVRhzyd3pHwS8JQT3dvquo+DtF1SbT9Dmt5ZJNUEc1q4nJW/mV5FikdVkMcabgoAQ4&#10;3Yx6V4vufhf468Hqt/qk2kDT1tJN99qU+v8Aia+uy6reyoZJSZWwJFZndB+8wF6Y8I0TXVtLObw7&#10;YTWd5b6jOp+33Mn2WK2k2ssKu5cgqCwLID8+07fRitToYLNqeIjJVINaap9kk1bSzW9ti8FiMxzj&#10;hqpl8qUqFaDtO8ZxWrvKSkp+9dSu1zv3k7u7PqCws7BLHU9J1VINQ8I3Xic6VYX9gf7OntDbib92&#10;5h3oxDOCHEjjbZnGc1c03RYluryx0K1vbiwvnaDYGikcQyK4toGlG19+VXeRkMQuCAtedaOuoSXF&#10;jJdyW1zBc6iftC6RYx21jE1vAwXZbo5VUOMsduflYsBvGfftKusqvh+ZbW2u4Jo7PUdTMRkh0wRS&#10;HMUYyxPmoWYuy8tOeTtzXvUo4XETU5x5WtE+r62v27X87nwWdSxGWqXJPnlPWS15U1ZOfJ/Mmldx&#10;SbfK0rtJ4NmYbZG0O7vbfTLrQtYdYTayiS4vCtuR507CTbLtYBVQcZjDZ4ydUacIrzRGdB5N0Tp4&#10;SQ/ZDJcBl/fA7yI2WP5RGpHDIM5bcyal4Stry/0+eG4t3ltIJ44opI3B1GSaV3HlygYysZDHzCDv&#10;IVcgc3tI83SfMtp7d5rsLJbT3FywebSJngZC1uoGzzM4A3biu4nnpVwoOlP6vVj7qej30VrJrvbT&#10;8WfN18TTqUvbYWpebT5o25dXzK6b1s3aXWzfKveRgwrrmn6dqdmn2m/07TbUayP9IKaqhlkdAfOf&#10;JcM+M/ePIxwONqWbQbe+svLsBod/HCYL+xurUxm2Ro4Y4BKVZuUHmud+ZG83ccHOLGnaLPp0GkXT&#10;X909nqFi7amXnD/aInI3pIzLnJKjGWx8rHvmpdavtQm1BG1VoLvRzaGSKW0t/Ou1VYStsBgAvu3L&#10;ulYD5RycCqlP6rQUZJ9LJq9uq13S1t95hPERxGJcaVnG07uLcXJ6RacbOMpNqTto9VZ33xbi4kut&#10;LtvtlnBbXUcTFrm5KX9tcLcRCOOFYs7llXg9hgL0wam0/RZ3ke9ljuILNNH/ALPgnd98jSldkR2Z&#10;Crg5YcEkx88nNaUWivcWsltFHPMYrn7RDdfZxcxxlZUjaQfMcHYgUNnqy54AWqtle2tws9leamJJ&#10;LSJhFD8sE8QmnIRJDnByZpXLdAsXNcEoyU4yxO9rrVWbXf5dhvEN0ZwwfR2kkm7Rk91va7dveemy&#10;WxxXiKcQW6288FrO8qPcPfJM0t2i7wqI67yqE4Y45PIGRgivD21CO3v90TXBjtpWkKhiURWLKAck&#10;r1JPGMlSeQM179daDOt+LmCOC7tZvtBSS4l8yCZLb5irhATuIK44Gdx5CgmvOJdDswp06SKaLzLt&#10;XldMLEEG4AAYO7BYDrnjGRya+PzfA1qiVSXuq7S67JW17M+/4ex2BpUJU5Xkmruz7tp6XdrWatp8&#10;jW0C7hRJNQlYSBIo5LaJ2AjcvsfkemCOegINVr+YtarcqxZQwDMTl2POSc+ueceh9ayoxb2sAgMo&#10;iXczeWkI2upJILnO7IJUYHXAGe1UDLPcxuTPIIioOx8fOFPy5HUdByPavBxNVKl7Na7/AH/1odsM&#10;FGeJliE9LrddO36nhfxV1EHVYLGeCRodQtdjzLGT5WcKwYDqDlCOP4T6GvnGPRLgawRabrq2hkYS&#10;K8zSfZ8tglgx3YJOBjPXsMV7d8WNThl1vSo2ZoCI5I5FV/nJaXYqjjsEyeO5/u5rxqfS759c86zu&#10;ZIbC4At53SNVMygByWJJ64z64XGea8DFSjKV5q6TWnlp+F9/mfY5XGeGSnSdrp37XR6vpUE2mvbx&#10;tcLBDEQY7qN1l8sHL5JweBzkfh35H1iLxB4hkjiYOtv800AOBICzbTs42hju4PYH3rCtftctvBbx&#10;vHGbVjDOqqSHY4+bd16fw5xjnBJINPTdMbSL3xDrdrIqy3UQtVSNw/kkqw3AHP8Adce24H2qqicV&#10;H2Lum1fvYzdX2jlOrL3orTzbat+B8F/8FE/GlrF4M8O+G7a7KXGteKm1GWBQVge0somUAjdwDJIc&#10;AYwOhHFfjqMo5wEGxSIyoKqoPPPQDBUHCgjBHIOQPub9uPxXb+IPijpmh2LtJ/wiugQWl0S4x9pu&#10;P3koyGxny1tBk4OQR0FfD7CMlDtOGHlqWUrMeMBgOcc5P14I719fhoKnhYprVpM/Hs7r08XmlWre&#10;yjp81oVt4IV4cMrybXXbuK4OMcHGRliMkYyeOmSNx5iyEp+8zI6HCiXG5gMcdQGHHPB9BTti/dQu&#10;WGcvtCMFbZtbGc5OwjPr6cCkOwSlpDK+4KjqpyrgAjk7ecAtwOeR0/i67QdRx2sv8jxHzJ82gr/u&#10;2baXhVYgFBUHcxGGGOnYnPJzk/QiDDaxKqFjMMeTtY5Cqr474GMgDAH1qEBfKY5dtsfmFyplUHOR&#10;jAOcnnPB9Bk7au/Og/djDRLnO4FP9WcegJ3K3T0BOelUnFRbW2w6bTipu11/X5DCoA3jJjcpvRVG&#10;wEg8HkDOAuQSOFHNSRMGCozfOdxEZAf73IBI6DGRnOMd6QlWWTnC7t7s4BVepPzdOfmPPrzmnREr&#10;K4V+YyPlbG5Tg5Dcc8dc9CFPWo5XZq2pnH2nM6iWi/pj/wB4VIJVyoIXcAxhAchdwBxkBVJyTjPG&#10;BnKhGdVyVOSfM+UAuAxAyeg4OCcZHJyKem5ApZgpJw2TuZFj+XBA6hiDy3vknu9FTapYANvBdSAB&#10;Lnc5Gc9QuTjvz6YJzu8m1cqcJRdk9H/X6D4S+4iMhmVA0UZ6BiuSevXJA65+U8YwTZdwzSZjZVcg&#10;gInLEBgD2IOPfjdyQKgjkRgzRBoxvZdzkAkAjoeR0GcAg/Nz7SqE2mSQsyhRJGcY6/XP93p7/kPe&#10;y6f8DQqN4xdnYbEZDgbw2CAx5lIAGCd/c5Kexw3JPJuRMgYvI6RIoOXJAVARgsT0yPf0OajVULD5&#10;WDhSS6Ly3zHAz6YxgnPTpzmpQnJ8vYrMxaIn5ioAGcnPPPt3HoSZc1J2trsNxg0uR67lgGJRMCih&#10;wQDuYK0hwAcDqSCpPHOOfWo0UsoZxtJUsQP3qgKOnbgnj9cYoRd6lVjQ7wGaRQRkAgYYdRyxPQd6&#10;eikBkQ+YrEjaw2qo3Z4Ge3ABGOFxzxVWilzrfX+vvCzUOZdP639RJVILLGgcFSc9Iv4cfU84wc/d&#10;PSguAoQ5ZgNhRB+9wBhcHgDknrxz1FOiG1duNrq7eWwAUOc5O7jnqTnr9eKd93KqAjK4Ejg4zkH1&#10;7/p14qZK/uJ6lNKSbb3X3eX4MYMKoUPuK4V3J2EHPPAGRg88/rUqmRllLqJfLOWAxHg8NggY7DgD&#10;2pEMgjy2F4zksCoAJPHy4HVePrmmkp5lw7YDbi+5gArfK2FPU5AULnjrjvUtSjZtijzJqb328ul/&#10;mRqX80PnqhlTGCD7jvjOOe+enTETyK37zBZd7eaWZeAATnOdo5C55GM9BU7M7uqxoq5OwoMOrcOw&#10;PUcdAO4zmkm/eKN0TlxGFbBDNuznaM985Az1xWj1av1CUPeU1tdry7X+4imjjUKuCY9rrIMKychg&#10;MqenYn1wBkd6nyFkZTKXbKAtyYzgYQ8DjCDqOAO2amw6hhk9fMUbArbSQNvA5OAP1x1NKdqSq0JU&#10;5PmuojxvO0K2MfXGD6Hkno4yU42+VzncVUmrbEQjcnL7yXQbc4Mfbg9+B29/anLG+3eyEh/kkQ8v&#10;xuJx6fwkn061KqOE7sZFBVt3UDKkYI9fTsPTFVVjZyFOFAZHdDztOMn69Rxnog6c0OWt1voNrlu4&#10;oJERppNoUkxK5SbkOTjk4OMjGfXkZIzw4grg8ZJw25VOBggYPfAJ+969TQ6bw7IU3HEZdQECnoGb&#10;6EgcnqMHoKc0S+Y6sQCyDKtyqkY+YDI+hGfp2rSKXLzPqh3m4tR2X4CwuwIBIJlGfJccMNmcntnh&#10;u/G306kbh18x1XeYwy5GJCAAMHqc847889DikwvMrSmPY5wcYUdAFH5Dr39aTDNtYthgdxBBJHoO&#10;w4xjI9OeMZye6vtoa80nBLa36WJAjmM7ndHYYID/ADpkgg5BznoM+mfrVofdVWf5TKeCgYEEZGPm&#10;z3PHAx69ooQN3yhVd0+ZwS6ruZj0zz0X8wO1PjLBtkj7o/KcH5CBEhjZmHIwS2du3H8XpRzPms1t&#10;+pCd5Kn339Ny3CQ4OzIZMEbmyG7HA/Dg44B69alEjQRKEOwjLLyCrlWPXt6g4JBxVaFsl/MUExuM&#10;ybNwPIwcj34wOfm7VIBztTaVQZkfggZ7dfx5HGR16UXlL3JERikrxe3/AANCxCdxDYJCDy2ZgCTk&#10;8knqQARnAJ+U9akJdlAT5XePeQTwcDdx6Zyv4j6YqrxvOc+aPLHXjI2njr1zz9OlTsRwDtDHO9yu&#10;xVxnqep6njOBx6VaTa902jCfsuyv+P8AkPEzsHAcYj5Z0BViFUYHp1yP8KasiCMARFCyBCAAjRcA&#10;ADPA4Ocjj5e3eJASQpcsh2gMpIQA5IJI9MD/AD1cVMroBs2uwgZmQsUAwOGA46du3aq5bRTve19u&#10;o02klHfUcWV1LuRhwodgpIUDqAcdO/qcdOuE3xofKVS8RAbDNtV9zAZJzjI5yT0Bao5HMY2I+fMG&#10;4g5ZcgnGCMYJyOTnOBmjzcRo0kSsu4xrg7iAclSTxgjBz9QOg5hu8bvXYhp1LRtr9oV22xMXV2jI&#10;875T8vUr7DsRmokbeFhCu/lksWLII49uzd16kB15AIGcZzxQ8e8NtkCgLsXA2qckgkgcDgnj1Ax6&#10;mskyTLKQFUghWjL5VcbdoJJ4HIx/vde9NcrV7bscVCVo6JMc5xIhG0ICEAeMBTtOfvAZz0znPQdO&#10;tQSyZwIwfLBZWwPLCNzkFe3P1JzTmVS4UMvmQ5jdg4bzCHxhscHk4BHJOOfWuZRsc8HdlXVmKx9d&#10;wHXJwVHHTjj3uVk3be4NShzJu/8AwbCsUVF25Y8ABjhGww6Ad85GMnvUJkcx7hiPZP8AID8pdcsv&#10;vzxnPuDzTHdGmJ3I2AUiO/fgkKSyg8BuFJxwcDOetQrNiM73DhRu3Mo4+Zicn8QMe2D14E2m+Tds&#10;xUop88WOlQsruh2orF3ypIJ53HHp1z/unkGodz4BEYVigjPBliJZSeGB9AOhA5HTmnsQ21ju8zAw&#10;FAIICqcD2Bzyc5xxUeC4+VgQX+Ufcdcc9OnHP5j3NHO3ol7v/DA3GNVq2jIymFGDI+X2hTGNoX7u&#10;Oe4G7HXp1pGK4cpuxK5OARJtPB4ODtwCBg9d3c80wsPl3NGA0hRYmXG4q2cdeQd2M9cDvTQWx5mQ&#10;GeQxKARgDC5UjoP9Yn0HPbjVuT1vv/wBTk3dLtcegiXPPlhVCk8AJxlsdT1HfnB5x0p3mSGSJSDv&#10;DFRucgA58zhc8jhjnHQt3pJAuGDEKZFADFS0q7sbQQR7t1A6jnpkTYUUMzeYVAjZkz5QzjPA4PIx&#10;/vURcWnPW3/ACUWl52VxY5kVFAkOCNy4yODyO/oRRTFUkfKSqgkIEhQrgEgY+U44xweR046UVkop&#10;q9yU6nl/ViypLPgO4cAEMxMhHGCQoOMHGd3Trz1pTvlYqThTIQwIwNoyA5yOMrgkduajXO0s2Gbe&#10;q7VUFwQc8455yMYHY/WkU5Zi8rABgM8fKFUA9s54HY55yc1lzOMG1t/SKlaSsuuxaZWK4BXBUDOw&#10;sMHAJwO3Ofp1qEtyDFJvKK21SD8x2uyANggM2zH/AAL3pCW4/wCeZlxkrgbfmySB6DqeOB3phR1k&#10;8x9qgqYxGqb25GSM8dNxHTPHfFP4ItX33MZR155ev5E0hAZsK2EVlV1VcFQMBj6YzjJ/vYx2qrIi&#10;OvzhchgFJIJVmVxlR3wowD+oNTMWQRxxR4RXwG2Z2kkM3GM/xHpjPA6cVUkkD5Khld2bbhRjdncz&#10;D1BVsYzkleelSrN83Rt/jY0lUSgqb3sDzSs7K2XaOQk7ixAPzE8nrwxH496FlMqAp8geU72KBCpL&#10;AAAkdM88e2eBTTkgsSMs+xo5M/uxhSAem37x7kE9z1ppCRlXWTLyMyOgQgAsMDbxwQcHPHQ+tWuW&#10;9rWSFD43d/1oSRlg0m0qFZ8NKoYEkbsKx7AZPIB4B6cGiRkyDIoZg7OxLfOhALNnr/DyWOANv1xX&#10;2MjnMu4iRgYwuzgfOTg9Rgsc/wCyx7cgWYZJB3yKxctGGIUkcg8ep446nn1LQk1Uj2G1KMLdv8xw&#10;JGWU4fAxtYgMVDAA+mTtPOSMLjPOWIZCykgB0jKoNxLSbTggdOMjnA4OfSnmSZI/3aoJgNiuSNkJ&#10;OQGxjDfMSQTwN2cVGsgnd5kykZTfFGDuEakAHvnADIM9cydR1oUXK/M/Qh+/NOb17FhwyzMFO+NB&#10;lQ/zYJK7HB4PQjscE9ab99l3IGxyMEvyASCfYEt9cAdeaj/eOpWYOU+0BAz5Ow+UCzANz/EhGCO2&#10;expHRnlZ2nEci4wSA5PAcNhlIIBboepUggiomuSainrb/LU19r714RfT77EzEHb8u0FSwywG1lCn&#10;BC84OMEdCfqcsRtwKNCY3zhCkeVQYAUALgYUlTj9cZFMZwzNI29A6HZl2XdkBowDnnPy8+w5ps7S&#10;9Cw243Fwd5J5xkcDqGBz9a0jbS/VFK7vOatccu4GaMBm2sXUiUJlflIY55yeOx5z6GnF2AhMrRxp&#10;LLuIjcBxkYGAGAJBz7gg801FIwWZwGxkquASAVHbkAk4OOn5lpicoREquN5DKymYfxAhwcn5dxPf&#10;gE/TKUpe31V0Zyb5eeDt0/Ul2NvLgKkoJ8wBgjbic8j2y3zeopzSZI2hkfYkkXy74iVI3YOOxXgH&#10;n5sZNJH8wZeFUA+X0Mo5fG4gdcAdD2YimoYyV+fcj/u9yth2PCsF6j5cEZOM7Sc560rtNr/h7l87&#10;lfvoSM0f2dhGGwuQm1sSKzFsgdMFQvQYH0JNRSbmBDFQyIJMuPMAyflxkHpg8fXimSb0w5DYWPcY&#10;wCFUH7wIU+q/p6GpBIpVhkcYZgin5vmJIJIPTaMY4OB7mmkqcklqFm6nNe6/X+rD5o4xuIYDzSZJ&#10;GVQ/lA/NgD0JUgZOeM84AoMbBo1BwsKgoGIAA3Ak7zwuMs3ODxk89YuSzy7wpSTZK20KQVAGSTzw&#10;TnPA5PTkVJGWj2R8OWGJA6YVACV3YAxweCMjoeuAaFJ3tbS1tSoOLk5taKyXoKcMWaVVfLCMsigu&#10;oCkY4IyQctk4Hz9acZSskRJCmVgAUiLqxbdtIYnGeF4H5HupDNsaQt5jIUdPvIxAYZ6egAA4GGHA&#10;yaRYwVSMYDl95WVsMMcggD0O0jtwR3qYqEXroDfJUTgtGOTCqSGYrFITJ85TbnJyFA47AD1B7jBa&#10;yQBm/d4GDEcbjjYqjPchAARzng9RilmL+arxthuS7EEIAynHPI+bOBwcYB5PScO3lhXR4mCkhC2C&#10;/KE4OfVc9uD+NTvKKXb7hxiveu1a/wDT+4arsVB+QFmzkFmDDOeDnhcbfTORShjEuARwcZyZmA4P&#10;fH94nJ7kcUAHMhEuSm1kckASAncc55xt4Oex5zTESTdIMkOpxswAjMpI2gHB44JyOpPUA1UXBxfL&#10;p/SFBy5lBR07khkcb2PG6VtjRtknJ5cDAPPXpzu9RTjIVZI95xuCPl/KJG0j6nPynPBAI64JpNqq&#10;p3BEcR7WTG2NcKMnPQA8HHscZxTdoDMrBgEAVN5KlNpG7cQByARyeMI3IPUfLuTeSfNJ77fgSyP9&#10;3YuAfnleTJKD7uTkcdF+7k/kKiSQ5jLcs0u5BkMnIJztI4OAMHPBAx2qYBlYIzFXMm0l1wykFSdz&#10;dQQwz0/h5xkiowp++wcLn5SyjdFlck5ByCcFuvJPcYxMbcii9NQbbSTeum42PBX76AsSpBIQMSUO&#10;4YIyRgDr0Y/WpGd+owisSHJwSchhvUjuMr+BIBPUQEEIxMavIEL7ZJWUiTaWX3P31O0npnGAAKUN&#10;MygruVCF2sCdygOrgEYyepB6Z9MVbipQ02/4YU5uLSatfr5EgJ2MpyRIuxAzmRJEG4YIzwD0x0Pf&#10;1ocSMrKruhHzIQ2R3IAwPQDOM4DHjg1FGu0qkhPzKN77QsoIC5JI74JG73/J53LE2WVyGUblGWZu&#10;AemOm8Y7ElvXlcieqf8Aw4RfPF8+j2/EmzsKHa7L521ERRIrAYwSM59Oe2eRimzSSqkp3NIQpJCf&#10;Pk4yCFAy3AOAPfikJbDKDGIm3KVOXfJBXAC+hVcA+/qKey7ZMsoEUzlnDLyNxOM+ueOf9npk0XSe&#10;m3/DFqV0pJf1s3b+txqBU8tGbJ+0LDHJgsgYuFAY4ycM+fp6U8B3jVRHgqmS7YBO4gZbnBYBtp6Y&#10;Iz60hPmA5AIchkjIycdsnrtOHyRjkjBHUSyAswYYKkgnJHmIRhgCRgdQOgHXpiqUEtXqxxa9nyy7&#10;ESgFCgQFGQq+5gykgjKcqAOQV46jPJGalilZJEjJCs5DDLhiANo+UehGTnpyueSKTnymRvLVt/mM&#10;/lgdNx+Y56Z5OOpPfipShbzGwJM5TB+UJzgkH6B8EY4bgnkVKfvPTQzppp6sYp2IkrOxYDbFhCHz&#10;kkKCOR04PepWVUBCpjy4jtUR7CoUZA/DkbaN2AZ36KmMEEqOSQFGM8YPoD1qVRKxl+R/nKxyLjyS&#10;uTggA8H+E5Gd2M04rlTsau65e19X3IpBGi5yCAP3ZBwOnB3dscDnru/Cvz5/bS/aRt/hz4fufCug&#10;3cx1zWLdrbbFcFUto3RkL7c4xtJ7dWz/AAivpX4+/EvTPh34F1bVbq9NtcQ2b/YScLJIwTKcHrnH&#10;HBHI7V/N58R/HerfEDxRqHiDWrqW5nvJW4lbftGSducmvtOCeHJZzjfrFdfuKbu9Piemi/U+M4x4&#10;jWTYF4bD29vNaf3V1l/kcVqN/cajd3F3ds8txNM0sszsHLFiDyfaslipySpxuJyG569/zqUsSGHK&#10;gevAb0xUZA2k5G4tjbgk/lX9CU4KlBRgrJbH4K5yrSc5P4tW+t+owKMYAIPQgdT9KjJVQTtyAMZx&#10;ub/GnvuyATggA+471EQBkjHUjdjOa0s3ojLnWijppuCyNHsxjduBB659c9+361+i37NnicT6FHpz&#10;yZELBAocE9cgAHtk5yO5avznUgfe5yM7uuM9a+kP2fPFA0bXxayS/uZ/lCjpzkDjr9ce9c+KhGph&#10;+V9jbCVnHExk3ZX19LH6p22X3Mqkrsj/AHWCFblvmwOmd6rgdgO9aogRVcbA4I2SAMWGxs5x1wMZ&#10;xgcAHvknk9AujcwxTb92RuJBwVVsdiD1I698e3HV2svm53vK0TKGVwzKWHXJyM4JLjPf+XyM4OlB&#10;t/1sfYUqq5FJbv8AB7kqwSPISkbgqgVAVLtnnBb2wTjOenrmlnshGVdw7S+VmJx1y+Cu0ZJzkgjH&#10;XtV9Y5TI7GVJG+ZChIxGpJLAHg4wenfOOckVYe3jKeanBPzJIpMYwFLA469FI5zyn5clSLnOLe1l&#10;/wAA3jVSpyvfXX7n0PL9a04vHLIEK2smV2zD5eecDnnhUyOe2TXyB8WfC5jD30EZ3WxxMqKWBU45&#10;zjscH26V993tistvKzsGMoJ6AsCTwuOcjBP029SeD41428PLeWk8Lx7leE7lKIWIPyjABOcfn7Co&#10;hNRavun/AJf8E9KhOHLBS2a/DzR+cgkcSKw2Z6E8KB6A45z1681sLOWTKlgyDJKgLzkk8fjV7xXo&#10;M2g6rcWUqhAJW2EgoQc4A/pWBHN5Z2uTnhSUG7dwBjr6101bVYXWx62Brpz5G9uvkdRBKkiushVi&#10;SThBwO+c/TI+goW5kRWBU8nkbgykE8MM9+KzISp+WLdlRtbdGMkfw4q0JEJUPw+3J4+V+OffjP61&#10;w1FL2n3fL/hz6KlpQu33/wAvvJbuJlUmOQtuG7zPM2kdQee/TpVF0K27bGDbQCxIxtYZPC/5/GrQ&#10;kdkZcb0AKqgAIc5ycd6rorIrJKMIAGKSnbjqBk+oqKenxdjKpS5lGz/4ciV/MjUsCGBIG19jDrk+&#10;/TjHpSC3j2qwBkIlyAcYxwT+I4574pTGDLuVjhAqghR+XX0+nUUsbGIgTjcoPQ8jnoT/AI/WtVZu&#10;8dH/AMEw9lZXi9OvqramXMksLK+CyZ2yZAO0Z5B/UVPFMwmjRMqhG4sRxj0U/katMsrIUVvlZcsH&#10;XKlh0HriqDRssixyKQQ+VzxtyM5/HrxV0rSjySM6kbT5npqtfuL4uSs53bvmOVkQ8HjoSevI6+9X&#10;RMEj3oHwV8wqi7kHPfPBPH61kMSPkOGzheEHXg/QdOtTQyyqDGQpjdioYDdsJH3foO1KcFKPNbub&#10;0KnJV5Jdep0Npd+YrKhKeYg3FOi/X8f61tQMTCxUgyvMJMNnAOcnGe5JrkrBhkspYnfsG0ZzzjBH&#10;1Irf0+KRGIYFgoLvwrKvzZzkn/Oa83EwnCV4vT/hj6TA4mM4uM1dOy/I7ObLiCQbiYSAd4BVOOh7&#10;envWhbXUjXD3TySu4UiUFsYBQpkA9MkEenGa5eGXKSLlFSI7tznDbh6H1z6etdBAsy2zRg7VI3jC&#10;cjuQcduTXl1r0/ci/Q+gwVW8uVrT/L/M1BfNFCQwJE0xPl7c+WC2V5PrknA46de8V5eeU7MpnKLb&#10;5kU8OecEn2yadb3E8EdvL5UcjMweFJP3iyAjI4IwexxWk1uzKlz5SGTZ+83D9454YDP4r7ciuRTg&#10;oy5t3/wD0cTQlVpJ0p6Wenrqyha6dcahbs+190bAhypduSAAx7k5UfiBXL61DLE01tG4eOZN4AYH&#10;kqBtx6DgfhXpVu3kQLHI01u7oXYbCkU5UBgo56khefpXC6/AluN6nzy8nngJ1UnOVX9OPatqNT94&#10;orRP+rngYvD2/d2vZb+a/pnP6XIpHkylcg87mztzjj1xz09vavSbF4ltxLtOUQbACBI475PXsOPc&#10;+leLx+aHVfnXacuzpzyTg5rvtLu7w4aSVVtwNiqihWACgcfj6/z692KoQmk21/Vjw8HiK0ZSgujt&#10;+O33HpUWoSvJE0TKm51WHCkKrYOQTjuOSD15r1nw2xtdJtobi7mkmt75TIoO2Q7WJJODwMPke2M4&#10;rwGynMTQRRs1v5N0DNkNtlXLE5yQM8dAOAM59faLDU3jiEL27Suy75UJG4bfkJUjGCOmM7ht6kGv&#10;nsbQcYpJ/wBep9JhKkatdRk99/waR6ld3Ml2FZt0RtoTLCsbsyy8lgQecsOFyMHjvzXgHiDWbyfW&#10;71LZoljtSQiCRnt8vjLOM4YjAweDktjrXdeI9dGjaOsplXYYC0as2WQ7hhB7HdnHqg47jw5JJZ3u&#10;biUyI9zIZpGQhtpzgL1xgfLjr24rDCQkr1GjvnZy54Oy03/Q7PSTDBIjXQM8vmCZnZfMI3ckZ7gZ&#10;II9vz9U1FY49Mt5rAxxqgH2mML1ZmPK4znIk5xwFHtXj1lKBJahH2tIpjeUDcQNwwTnp0PI9a7q8&#10;MkN9bW1vNJLayQoJSwCRwEDJwwPGSCOg68njNViKbekfmdNKslFNO6327HpXg64XTvMkuVLrHGz7&#10;WwoZBhtp47568gZ7c50RcRaqt5bQN5FtIPNkWINLFbDBKJnBOFBPr93FYdxpcrLZrHPD5eqW4lMc&#10;MmHZNzKQecKR6Z7A1q+HZovDWrzWjCWETKsNz5p2h1OYjHg55yz9ADgk44zXLTSlK8076r5nTKpO&#10;/taXlf0LPhzVDp0V1YtEb6C6j8gG4hLuvIZXXnI6Ag9w3ocV3XjbRNK8UR+H30iG5Q2mjQWWoR3s&#10;gnlinTmWRGwMpJuDgclSWG48E+d3+/Sb5dYtURNL1PUZ47W1WT7TJAYdhAc7RuIV1B2jnbwK9W8J&#10;ao+p2uqazNMN1qhvfKIQNdBWQ7NoPU5LAAH7owMZxEazo3hJa3+5JI9JwhXjCrSfl53b6njfjf4d&#10;X2kxRXUsbi+W2jPkyKVa4R1DRMgHOOc5wazNJtl1DTVtJ5G8wLiEoAZJCBjJbHJyenf3r7P8QQWH&#10;jO4s9TnuIrdZNOs9PtNUt2MR0hrfaMLECFJG5/mYjJ3sAG2sPnP4gaF/wi2t6VqENhLptpI/2W7E&#10;EzX1jd3EQPnXMMzZJMjEsQPlXjGOa6IVHOm5x+FPX0/r8zP2blVjTm/fW1tEnpoeXwWw0/Vre1cq&#10;iiUyTOpaJwFIUqyscHJVjzzkY9M+m+IIZH0m3l0WW4e1vxHc3dn9xLaSFmcqpDHcFLAqSAcg/Wq2&#10;reHY9UhtPEgsZjDfStA1zL86y3KqjMqnBTBLlsHpjoc5G74DvoYtS06z1BY5bOOZI5YpnDxlQR8r&#10;bs5yAQWPbvVyjSX7prV9f0O7BuSmq04fC9V3ZV8NROiyhpkcbHLRTNtCswDEnOfXr+NT2unRTXN+&#10;80cCW3kxiSOWASyAh9zvG5HG0JkAc9Fy3JPqniTwfpOjeKprbRJLm80qaxSO8lcKYo74vIzvCwyP&#10;II8kKWAbg8ZwKs2fhPUL9riGO2t7iTyjHuI2yzcqG2kDAx8gJJHfqSa52506yp32vf5HoVaMcRRl&#10;UWl7P07nkv2ue/hfR3s1ksba5YxN/q84+QFueCwCAnrhRg4UZpC1aC42LAZYopBi1YCYwBgQAhxg&#10;c7gOOoPoM+8eHvCtpbyW1zHLBHfw3rwTadKhlOYQG3tgbSrbGB5GdjZ4JzmSeD9T0O5c31rK1tI/&#10;lWzJhoMK6kpn+LZuVScDh+4YE89SerjF6P8AA2w2E5arcUlFbebOCvbWy+xzodPht4pYQ8gk6wrt&#10;G4gHGD8jE8+uMDgYf9lJPZfarNWb7PEoO1PNxh0LZHGeN/bB3nB4OPrzSfDN3PFeahbJBPNa6arQ&#10;280LYeOQBDDAW6jMjZyORuxnOK8wl8FyWEVsLO3dGkJeeNiWdVJwwJ75DHpnnB9qxjWdOneo9Xf/&#10;AIB3wpwqy5YrVO763a2PnNvC8mqyw3tqY4JUIDzMArHaW5cgc8Asx789ahl8M3ljKJt4uormEESg&#10;M0MrKuAH9eDgHGP1Ne06v4Yure1EyW7QxzqYltyhbdGoHmD65PPrjtWFYwyX9oytcmB7SRI4o3De&#10;ZMGypKnGMLtQlScEMMA5ON6NeL0T13Tv9+/cmeXKcPaN3T2W7Rx1rFturBngS2uLYp+7QsjhscMM&#10;9COfck/WrmqaZbTf6lYpoJp1nRElBKqnyqWCkAHKliG9uMHNdbqHhR5by3nu5pbiS7QSWrPFiFim&#10;yIOWIyR91dx6mstPDWp6XIkMFuk5SUyCGIPI8hI3AYAOScNgcdT16VbqTg05rTt5/wDBKhgHKaVO&#10;V19xpWWlw3G+GW7WUC3MUCooElu38DDjOAO/PBPHrSs/Dt+n+hxXkn2mU+VA89wN0GGDEsgydvIz&#10;xnhsEjIrptL8DfEnxZdqfDXgTxXqGqMymCHRPDF7cSXwDE42xoX7suFx0OOdxHtXh34MfHPxbaW8&#10;Nh8LvFekyaUmYdTk0VtNjDyOGmla6k2cKUAOOg24wcVHtKk5NONkkrefU9jDYeNNxqOor31V9lsv&#10;U4XT7G7t7Gxtpb8G9W4YXlwz5S4OEAAJ7KQc8HO4YPGK9Wntbex0uC6h1v7HqyzPOtnFOiW+3byH&#10;2rnY7AsM85QEDAY16H4E/YP+KeqxPc+KPFvhjwjNHO0/k6l9s1S7vU2ZbYyII9w5A8x1zjAyTtP2&#10;l8OP2CvhdcRyQeL/ABb4l8SzG2jAksobXw/ZDAVsyZ86U52y4UMuQy9M84xUpzlzNLTS71O6sqVO&#10;nGNGTnbfljffpfY/L6XxfcWspEjaRcXaMGmMN2NjZTkBvlB2qinBA5dsZIOall4g0691YSWljq00&#10;3yvK9rbXF1pttkniSUIYlLA5zuyMDC4wa/oH8F/sWfs3+CLOBdL8AaHeWjQi8u57q0/tiCIuVjSS&#10;4Ny8jO79gPuhx8245H0p4J+Dfw28M6XcwaT4N0S00+cs41AaZC82pSOVMm/cedgj+8AMYbHcG6WH&#10;9mryqbXfc2dahyxrrDtvRXb5bvr0ep/OR4c+DPjnxjqts/h7w9rOuwTSq32i9intLXKqpMKyMmSQ&#10;Nq7o1K/rXuNl+xp8d573RrhfDWrpBqkIETLN5lxa/OIiJDGoG9SDtMRYjGMg5r+gvUNJ8J6Td6XZ&#10;afpciaVEVuCzny3+WTA2FQAqs6tjHP7tiWJ5r6L8P+H5tP0Q3niNLjUbXVJILP4faG0jXepTSDez&#10;qV+6sJZ0BAAYuYwoYsDXp4fC4WvF8uvKt+nT8+ndnLj84xWCpQrRgoqbUVHdv09F7z6JJt6I/AbS&#10;f+Ccfi7W7xLW68XzG9N49tc6Vpelrbu07SRxiC3OGYureYvlbOScAgjae21z/gmRfaF4g0+4vtb1&#10;a507S7gHxQ2uaxavcRNvZohJaoqPHtBRWWPzcFWy/IUfrR4li1vwL48XSNd8OWSWllpHna34bs7C&#10;VtM0a41WSP8As2a4dSH8zaGZUdgg3ybkYgEdevjrTl8QtJ4WgW51JQBLe6ikciymRt0yLbBVVEYi&#10;XG/LZO8nP3uOs8DHmoVoKLTSd1rp5fLuRgs4zxVadbBz56ThzJprld0rNyV9GndOzvdNXPHPDP8A&#10;wT9+GGleDPDmvyafousaPcg6rqU2kWe/V9PgdF8yW8U3rpDBHuO2NUeQMqhmYZJ9S0f9lv8AZqi8&#10;ZXOmWPw40vUbZAp06/0q2S41G5bYjK8x8vYFBLHbCh4Qklt3y/R2ieGZJfAnia61yawi8P3+vR31&#10;q8rv9lsVRlkmm8lf3ZVhbCNi6kqGUphlJXhIfGdlZ6VJpeiLcal/ZWsvY6Xe6AqxaeyyMkTz6pqO&#10;fNaNQm+OBQGkfAO1dzL9BWwuG5qUuSMIuKlqk726ej3W/Q+Rp5lneYVMVCOJnVnCcqd4txjFT5Wm&#10;2m7yg3yNe79pu1k32Fn8DvAPhNbDTtF8P+HLW4nus29notv5ml2ThUkQTySDEjhZ2O5V2rhsYxXX&#10;6f4C8Oy61b21rqiXd7Z3cMFw+gWZuIbWdplDwshVY0CI+/zGDLgcBsiuY0231i8lsPtt1p+n3GjX&#10;/n399pdudUuNaJbYsSSopVSUIjWJUOflctltzM0jxn4Y1SPxBL4Kvr/QZdITzNRSCO6sNU1S4GEY&#10;s/msdxREIwQdsbEqu0Ft6ccMqkZzikukW9Wkley01Wt/TQ8CpRzydKcKWJnOUVaU4xvFOUrR55Wf&#10;uyVuVK7199pnsr2BsZZbOynuFQyJalrmCbTkuECQ4MDrsiibCndcoNz7mYOflY27G6Q295qjXeg6&#10;TY6dPthe4judUvikC7AlshZUKLIjbwo2hUZmOK4zTNIkuLbR9W8Va1cXdv8AYUC6PLOzQ2yE/vHf&#10;cdssvyA/vCN2FA6bqXXtci1Jln067kt7DTrd0tU1iC1tJ7h94UWttZpuiZQrEhQNuRl8tkN6NStG&#10;C5np2Tf476fr5Hyjy+VessLCpzvac1F8qaeqV4tScrWu42jry8y23vEGmaXc3Wn2FxbS3893C7yP&#10;IzRQ3k6yr8qx+VujVgZOW7MMdKWHQPD8rm+1BbfTba9uVFjp2nadLeXCFgADEdy7VO5Qkr/KS7nG&#10;NrHlk1nxHKHutQlXw1FfXzWseqajrCSXFyI7cuQ92oVAzrtDRKD80oBJJ+XIttRubW4nht7S7jWW&#10;2LXMuo3byIgCThvsqbFU44wRuwQSCAxA4J1KDnzSpp3fVa6Wt5+etvmdtPLsw+rewp12nFauM073&#10;d3Zu8Fsl7qk9Gvdukrnjf4eeHVvbW/1O2jknti9nZ28ypcWUIkVVea6txlJJI/nVFJBLsSuOozZv&#10;A/h+TS7VNPtrGC5LC4+0tBIl1Ay4lBAIwGZsR/KAMY5yCa3XvzcRQRywQTXqqs07rOIozGRJtd8/&#10;LuLIMMrEKoxhjk1HpV9czTvNLDJe2Vz5MSLA7RpbpHIdywuAQFC/KOpUpktmvMrUcPGu3TgrS8tu&#10;u/qejQxGb0MHBTrycqf96yfZJNvTeSu7PtqReDbI+FxOL6KG9WCPyDuRfNmmMoSVGJyAW2hCD13P&#10;2xn1HQdPn0a0la4u7eTVdVN1cy3N1K8tvagyyKswcoWOURwrAFnwSAiljXB6bBYzXMdrNY6jYXyX&#10;73i2sEqXdvZWryulsojCF2lYqBv34LAgL1Nat3cNYRxwQYuQLuKfZJanYczK7O4kIYfeKlQm3CDH&#10;UsejDOFOkp20je3z36Xv08jxs3VXMcTKLfv1GnLRWaV7Wabilf3mr2lp0WvU6Tp0t9dWN5PJdNYa&#10;XFNP5CPtN4zBoY9vG4cyI5HIwjcdANm2BjuNRs7+7RrWKaOW4kdvOfZJAsiONoJK/PhU+9k4OAuD&#10;G96skUFxp9u/2eW9aN2cBo7iJIXSEbiAGJ3hyVGCZhgYCsX2ghurOSS580GLV7SO0MFt+4LKrb0n&#10;Y5/dlpHZgDuIiJAJKpXTShFe6t9/XS35W/pnyGInVq81SqrRsopJax9/frrdvXqmnskjIvJ76Sd4&#10;dIskvb60ikhxFJJdxS+YskKbnwEjyjSNhSwbA6kYFSyMsN4YxYWmjNHamwXTYtR+3X6O0UZdnLKd&#10;oXOAVyq4Chsq2NVZNlzPPo1/PbQrfLBKI4JILa+nS4VDDBIQTMGGzI4Azg8gisK58NaRreptIqpL&#10;fPNb+Vc3l3cW8AWZJpgrPEx+VdkY2NkFmRWyCyniqQlJqcHd3ta6Sa8tG+nzPQoVKChKFdOMFHe0&#10;nJPS6knKMbJt23aTdnYoWMl5baQGWS3nsrq/mvbOTHmGUxzSx5WQ8Mu9BIGTOdqHOM1lXweRrqO8&#10;sVlSwlN1stn33tmv7xQrQhcsY/LkYsWIAlUcZFX9P0wX2twGO6tYbLTIJTcXS7Y7d1ZlJijBKoAE&#10;RyCAGO5hk5ArETUdQN7qNwlu81nePG9xfRMd0TELMVJB+YbnxnJIJIz8oFfOVuZUlzXUNYrrst/S&#10;/wDw59DRgnXnKlZzVpPeLXNKyV7q7cbvu+y2Lk+u6kLgLCiLYR7LWKWSyRrlQEl8tgWbarkyYZ8n&#10;7oHzBMVi3c7al4fXULsmaZbh1tt5LSSL5vV+OcrtOTnOR+D5ruW8863gFy9tGplaWaIxeZIyKgYq&#10;CTtDOVyTk4HHas/VLuFLNLeAIk9vI0tyiZwyeYdpKn7oCsAFJzz715tfEudOcHJuNmtdr6beh6eF&#10;wsI1KSp01GfNHVLWyT+J7+9dX/Ltxt8iTSncJPLwzuEbKAAgZZuu0Fl5I79Diucv74wXyWarKgKe&#10;aZFAaEqO5HXnG3jv+db+rsu6JpInt/NnJij/AOWRGRjPI+Uh2weenbHHFeKbyOGfTpQwWaSeT7Qp&#10;TauxWGRuOOCxPA4/I18hjKbs43s7p+up9thH7iurqzR5B4p1CzS5ukvEjkurrLBm+a5tQWJZVJ6A&#10;nb06bMDArlZjAkFs3ktF5sZZ9xwN0bFnOSDyMqAQDwwqfXNOl1HxKYYjv86GaOLzHHlFxld5Yf3d&#10;jnrjJp0lhcLcW5UqFjXEMTgSAOQvJXp95QPmBwCM14+IlKUG4x00X5Hp05Qp0owcveetr+RNeWn2&#10;RQIX8kxzkSkjY8r4IIbuTyv02Ae1cTqfim10nRL+bUiIYba1nvpZlk+UyYbcTkdCvXuMk4yK6q5v&#10;Zbqzub2RmaWTCqoVQmezk46nGfXnPPWvkD9qrxl/wiXwb14Jci21PVbeHRLVIjtlJuSqu6jJydiy&#10;HDAcA/WujCx9vVio3/4Bx4+tDBYSpVlul+P/AA5+QPxQ8S/8Jp468UeJUAWDWtanu7VCjofJ8wrA&#10;oBYnIjWIEnrg8fNgebMoYnejGMIo8sMDsznpxkY6kkDhuBkVZmTaZmVgVjlZ1yMvIoUHgd+pAJGf&#10;bgYrTIys0eWVkbDlWLpvChSeww2Mj2PrjH2HLGNOMYPSx+OOV5ynPVyvbz6lVkVVVxIEcoJHw+3L&#10;DaVO7qM5fjn7wHBByxgUeJVJRSXRV3uX4JUDb3wTkt2BHNTsodGLeYrqzERlCztgHPzdwNwB6D5u&#10;nINQspOyRcBCpVONhIcYIxjHIC457dOONXyy1+f5GbVlzR6jWZ1iMmAXMjISUUswCjIxySSXj+bk&#10;YyB2InYF40aEJIRtkVHmAMo4bk44Jw3Bx74OcRFQ0fy7TuDE5wVAHPK4AAwG4HA2+nFLEWLgHhVK&#10;qwU7TnqAvHfI5z0BpJXtJq3UiUeSCjLb7td0W2K7gryAMspgIX935mGKqw57hunHHUcGlyCzKAwJ&#10;Vysexy7FfnwW5GD2J71CDJII2YlSpGWEeCOPugf7xZsHJ+bqTT1jEhcbVZViLSBGI8s5IJUnjsFx&#10;x3/BQcXO707ilObThfQeNwG1Q4LqoUbiHBDOrZJ65DJwemzPXpOyo+CpO4EMcIVY7gEJz0yQVG7B&#10;xkVC0blCcMnykM4VQyAY9PXJI/yKVQUEYj2lsYKqn3TnPyjPQHnrjAGKdS3xRe/T0JjU9zm80WVG&#10;24LYwEUBWDsscrYZjkEdwwxj+7g04BEB2xyBjktG5AZtvDHdnvjdnr8wHbmMptaDcoPJPlF8uzMT&#10;sGc/xcAd8HORipFJjJLoPLfDbpYynzBF64zznJweBzgjPMydpXjt3+405HyJvp+N7f5FhVDpFhmS&#10;ONwX8raGORwM4xjlR+FWmbkS+WQRFhCWyy7kBYH1OMD8vrVKKPau4gqdg2qxIVmBXaccEgFcnpzn&#10;nNWIsJOU3KFdcJGWBZducnBHK5Ibj/a9aiLi372//BHTje0ovVtfj/kTJKcMoClx86ICSi4ACoM9&#10;yQB68DjnNWlRmZ4htKBiTIpwjcn6Hac57Yz1qOONxwWLyFmGWAVVLADIHvhefYUiLEhKCVmcAbmb&#10;58PuGQ3HvkDPPfO7irxurb/gEmk19+nb+kMAddoWPBVzwWLORk5JPrwePY/hJI0h3EBV+VUZVlwR&#10;hQAdynr0IOAck5pfLkypIILEyhY2VWbrkAkYxnGfYVJ5aqIyoBZW2lwDvfncOfXB2/THpShGyUba&#10;9wvC1ktt/l/n0ICDCz4CZkJUg5ULnbgAYx2PH/1qkZQFZSpYCXzEXaSzNxk5Iz0A/mO9AXMkp5Y7&#10;OHZMqcFeA3TOOnt3FNaNlUkYLouBFkBGzyRz2HI6cZ6dKdpScdNCpSlNXhsrfISMQ+duJIYybY1D&#10;bYinU9RknOCCCOhBBzwyRJUYj7QCshy4ZMBipGQSfXbznHQAdMkCv5u8LIMDfnOJMkEg/wC7yfw7&#10;daGMm5VCu4ZMhn/eHkj5QfTr1Hp0olFc3uijONSm1LbmI3ZB5RDkshCMocgOAAOPoAo7dKgMQ85o&#10;ySgcbjF5hZZArYDMT6l412nqSOvSnj5ZZDKQCzYgVV3M/BwwJ916Dtn0xSski3G/H7oAKV2AM+XX&#10;Zn5uMEbuD1B6gVTV5WT3RjTlze8o2V7eg2JlVTDGCWWNjvdCRkgY6gDgevcHnimyBcgBDnBcYbzG&#10;Y44UnPcc59R0GaQRgsQAimRMD5cINp4J54HP447VNhlcrGzFcSS/NgH5Tu28deMcDqcjHNTLa7/q&#10;xraTjHm3v/mRRzbXJBKswO1ApRi5GcEYzk9Px59acR56AyYO752VTwPmJwTnkcDgdMD600mYMxId&#10;yULPGRj5QcZ4yNpIXnAILKM88sjSXyhIrBHQshEgC7PnOQ2OPlXB9SVHPU1spucXzb6Ez0XLNtdy&#10;Vi+DuEmVXDFOu7O7cvGR3GeevsKjZQEjUxiQlt6FnL53KeG9OARjp7DjM2BhWXKqWK8tukXCEkD3&#10;ABOfbPHYTfNneGEbNvHfnAOR1yeMVlrF3ey/MKaU7XX3/IVkd93lsFCAsxTkbSwjOMjlScHP+0M8&#10;4qWBFyIiW+d98jLkISx+Y5PTOMcZxgcdiwIytGfLdgseUMkYAJGc8/j/AAjt09Z0zlk+XOCxXncR&#10;gZPT1yM9yp9s1KUVJS12HCK5pJb3/pEh2K6xk7VLbi2OACSBk9zhW+lP8tVEhChAVADvhGbGeDzj&#10;vjJ9KTbuVN6kjPJYlWyDkYHuGIGOvPIqeNUjVjKEOS0i+YQqx4U4yD/s8Z9yeetK9009WvxK0m3G&#10;Nrf1/wAOQ+XtQOi7vmBO2Tec4wR+A/D60oZmYRDCRk+XkMTHkZHyjpxz+QxxipvKaOXySdrrkY+6&#10;27IVs9/4GzkdRz1qu/OyNiEI5GPvcbdwye+WAPOPm64INVBOT11/QmE5VE21ZL8drDwrAIGjKuqK&#10;AyAFH3IrLg4wMhse2fal+0MowuGVDlht3LLgdeCD83AznjPfpUGQQSz4Uodip8rJg4x75z2HcY9a&#10;jZmwu04VNrKwYtNyTjPQZPfr+FVG7dpBGry69X29ScvGNzLvyCFLt82QpHy889gP6UvmsqrtYHKN&#10;sGPK2jPru5xgHPHUDaSMtVVy+9YnG6M/u2DEbeMYZQQPvKBk+nHeq5fLjZI/lhBhdvBPAPHbnJ49&#10;B6VOluR9f6sHPyOUVrf/AIBNJckgcAFmO0AFmxzyR14JH+Tmot7+YQzGUqPLMgcsCGyW288A8ngE&#10;EGo1IBXOFJ5XeSNozkkL1x9TUDuyorxkcPwrjcq/K3y5JweQMFucHpnik1dckdtSY07TvP8Aqw/c&#10;udo43AkZz82BuPfGcH3zmoWLAsFbcCG2s6Bi7c889sBTx/tdOKWaWRTJGjKiMcSMvKnG75+eM/Nx&#10;jHAPHORDmVA5KEZG+JQSwXJBKDGSRyeewHvWnK2k27MqSSfuvfUUkDDJwowN5JcsRwTnrgk5OajC&#10;sEAjYmSZNmHJ3Sc5BJAHQspx0BXHPJIdpG/ZlvlXcTgqq9AByPlJxwAMHvikQhtxIZyrGRcYLbQB&#10;1IwP4ec9z71pFVebmbXZGUlG/L1f4PqNjKIYwiSKIwqqrMztKmDswx+8MIx4PY8AUyX5WJePdiQq&#10;WL4Ix6r2I6YJ9OnNSRowRmZdgRzgAkuuW+T8ARtxnOAfxZIPNVkjDqNh4OPmzyucYwM9xz+fEu8r&#10;6Wa/r9SHPmjzR3XQa6tHuYFfMUssjsNhcbiVAGOcKO/TOOe740dT/dYhi3ViMAKA2emCSBngc4zg&#10;0/IcNGSPNc72JyRn7xzxg8YGO2B+KRI5B3OVk3ZXaADgAEgDIBzk8n1HvSg42sn56/13KtGcrrt/&#10;kKyR4dCV3SPsbLkEgrtX6Z4I9MD0qMK2yPKlTn/lmAuzqR3GBwPfOSPSpsbmIwEAASQIAJVLbiAC&#10;PXGAO+TintHIdokbLFlC7Y9oTGEI/wDQuCeDjtTik21J7lytL4XtZEAIAHzzk4yTHI6oSeTgAetF&#10;XEWRlBJkBxhgsOQCOCPzzRWDpVL6PT0J9vXTtb8Cgx+QYZ03MHUOpVmYhQo98/LwTxnjrUipPOcs&#10;oZOEdgcqc8DjpzsY8juepziIfeDu3ygr8gLYBIzkdOTxx/tVMybg7eYfKywLKMEbjxwPQY/75Y8Z&#10;p1bOVkZWl7VRktLq5Exi2iRiSF3gZPKjaRn0JOHBbHQjHWnM07KypFLxIwaMLskQAjufcHHOenFJ&#10;krI0ZZl+UbklbIAJHAOehJX8Gz3NKihCURmdSwMaZ5OAM55x2B/XqTTskr9u44ON7R/p6ESSEx7c&#10;kszYZ5FLgE7j16ZIU+xwOxyWb2O51wuNqMoXJALbj1ODnapHQ4zjOae2UDbXWLzMSZZCo2qQWIXg&#10;Zyy/oCelQyYCeXEVVzG5jypcbiflJJ+jdc8EY61CSXvxejYleUfeWvb8hM7jJvLxqHG8nIDZyOhO&#10;CAc9OuKYrrI+5mDKFJdkQyfc6sCATnaDgAnjIAzgVJKEkVmYqACrKSx8wgEgkjoMEgjOO3IwMws7&#10;7sKG24AC9F2thsAE4HLEcZHy8k93zcr0d0OEW4qq1vuJJIQSAV+XpGTy+DhdvQHt7/N0HNE0hiw5&#10;dowx52SlMjcPlPXIIVxx9e1NDSLsXf8AKFEUgXkOT/F+IJ4HpTHZVPmMYlRNxMiqAI13Fm4yAApZ&#10;W+U4IB65q0ltLQpyg05yu7PT5D/Kw8cedzjYoKNsLAKBgsOcEegwckH1CiURGPLbpA3l7jIG87cw&#10;B4xxgFeQfSmBmjXey7GXDQjbgntjjnjdxngZNJ8zIBsILOAxOQrbyd2G/hyCzcdwBxSck9EEGpVF&#10;KCt5fiKhf5nACswRiFQIFJCEjBOeSvT0A7cUu9yz43KN6pMuS8ZUeX15wScEjuC3bJykbbF6xjyp&#10;AA8ZwwDOCCcAZx8p45+QnGeafEjFVRImbO0hmKsQdu4cdf4gOemCOuahWk22u/6GsFD4V0/4f9SO&#10;OVWxIFdGX94QxMhGNrbMDvk7ccnig/NFn5iVkJZwwAY7dxC5xk5J7HjPfFIqRxuXO2UrAoifJ5zw&#10;XZsDAxyByMkZIxSDCxvAgZofLC4QlAuORj0HyqQO+3IA6ta5U+aK0MZ86Xv72/C//DFkcsn3yG/d&#10;4X5QTgLknjrgEZ5B59Qa8UThdoDJC7ZDE7SmDklQe6hAcjgnAHUU8N5qpiRVRowzKR8/deDnsxHX&#10;jJwaP3RVndnMcm6MeWfmDAHIGPUFWBH93rnNZpKTSWjQKldJvZbfh/wRzBixUtuHmksqfK0a4Una&#10;ffecZBPykfV2AFSORQwEO6QqSxHyAEZPXJcjk4zjOOcRLyoG8DDBSVB80FgwTjPBBRvlAHQ96eMY&#10;EW0yZGW2lVBBHyDAxnjpnphsEZORqpLllLRRdyYJQm5x2tf0ZI4GG3yN1HmfPsTJ457ZHuRxk9AS&#10;GCRlyobcI5mhKH5ULKAzLg9huHPpnHfDBEE8sx4iOQEiS3z5uA44GcAHIIxnkAZ5OJVBJl2lXRJG&#10;TJjwpAZhuVeSCQowQejEd+NG4c7k3qaU3Jq0Ouq+8RjGm0xuXSQAEx/uZCXI25PfDMQcHAIxlgOH&#10;uxDRFAHTKsGGCJPlGDtz6Z6ddw4HJqIMIiqoXleMjzmLSKWBYEdeMADBweME9xmZNq7GVjvGGaYt&#10;3JKgZHPJ2nv0I75Eu61j3HzqM7N6W/Hqx0YJjyGEpRmQFZgElIDAtnrkFUOO56YHAESQPIULN5/D&#10;SjMwX7qkeg/hPAz8oOO9MMwMT4QskTblYP8AOG4bnngfKPwyMY4M2BuUAuW8xlLM2VkOC23cFxzg&#10;5JzjHAOMUOTi0n1/Im8ZSUV/w5Gv3kBDCNgF2rlpCQSWyRxyMcnHQjvUmSG3BHUbF8zEZWOTqCVO&#10;c8ZI59RyahJ24JDH92rcH5lB2DPfbgFcAjnJPel3y568qrDO8vuJyoBGB1AB9Bx1ycSk1Vc13/Ox&#10;SVNvls9P01Jv3sRk8vByirvUEOAcMxU/QnHXORTiXx5S7lkcDEnlggAnATHcjJ+u7HNNO1GYMjM7&#10;gDK/LuBGQGPJ6465wMcnoFMLlykcYcNIzHZgs3TDcZyTgAfgKJSu+WH9bDjKUZ8i27fLX8CRWG5V&#10;UHacOu5N+Qy5BBHQgB1wR95TR+6zMCVZWYqyuhUsxAyCuf8AeHXow4pVGPmEmcoxXDBljwcnvjjd&#10;n/8AXimqWDQAlQsYDEDCtkkEjg9Dkg5B5XPpUttvbR9ykp2vy+6v+B+Y4hW3oH8tVzIxdgpUgkYB&#10;9wQR680O2JAXdeGMeRJtbGFDckcDIbnnrznFJDufbI6guUAYBeF985HseP1pdn7t2KlF5EbM2Bxt&#10;JPXnllJwM4I604tu1LsVJKcHKfxa/d0G+W+XRVVlUBiyNgLlfvYzn5R1OOnTPFN/1wcFN4z8vm5x&#10;IzDgA9TgFR7ccVKrHaXXMg2q7OhYoV5DE8AkgFVyOOcA9SUdRsUAkgDC7v3eFIVfl7dTkkeuM8cC&#10;lJyVlv8ApuRBRasn5ELKB5pEbhm3AI6nKjay4YYxwep45GccAVYCIyRoWOJAHMUanHPBBBGWxgjp&#10;k7efSmFgoO0h8xkEFAkqjaCR03ZBH5cdM0qxkPlidgVsiRCzHkKCBx6nnPQ++KqU9XYvmjFuUttv&#10;P+tCVz5bDkyEINwjUsA2R7ZPPAxzyO1MUIRmX5XL8qcbt5yx7AAcgcDj+TdzlGG4kqSSCCWkPyZL&#10;dMZAXp6ilEClFHmbW3qybH8lT8pKsQvcEDHHGBxkCphDlik3oTJ2b5E7WHKTIqyoSj5EbMWwww3U&#10;E9uckjHU4I5zJGI5QPnYFHDLGFwkirhQBjkj5Tj6nkDAEZQxAJlDEYtiq7BkTIUZHOQCQ2DwQGP1&#10;MhGI3dTG25CzEjJO0b9w5x2z/tYI+XORTvOKj07kqPS3Qc0bKGjPmKsj7NkjZKgKzZz3ztH6Z61K&#10;oAIiyUVFXaTiKNixZjn3JwxJ9jnrTpE6FwC6qRJGyBmyowChyMYyCTzzjGKcySDywQ24KxGWJzjc&#10;3A7ZOOT2BGcYo5XZc+2r/r7hxUZK0XYId8cZ2soGSQhIQ4+TgA4J+8OmTg5xisPXdag0Ow1DUJsf&#10;ZrS3El04YB41Ec2SDwSAFzjPJyT2J1JXW3WWWRoxGEZnkwRsXGWO7OASNwz0HXBxg/lL+2z+0xPo&#10;32v4d+Fr9kvDB5OqlGaOWP72VcZ4PLLkV6GVZZiM3xkcDg1eUt3221OPMcxo5Vg3XxfwR7fgvPY+&#10;QP2vPjve/EjxjeaVpt9K2gafIYlgU7Y3ZCV3EevyjPJ5NfEshyDjIY/OwB469at3d29xLJNNIHld&#10;97kncSTknJqgWPzn7+R1HYntX9K5PlNHJ8BSweHXwpfNn8551mdbOMdVxlWW+y7Log5O5SBkg/xY&#10;Ixj/AD+FRcK+/BBYkZY9qcWLEkYHHKg8nt/T9aad27IHTJztyPX/ACK9dXbSZ40pXTUERgZHBG1B&#10;jvim5bODtIZSQRzx/kGnMflIw2AeVUYz/j3/ADpDzyqYKjgHBJz+vaqulqibuzihhwGXuNuCCcY4&#10;Oa6PwxfyaZrFndpJtKzBcA8YJBwfyrnm+YkbiNvbaOmPWliZiykFlCuO+3ODzmlypRURpJdD9ffh&#10;j4gj1LTLVlckSQgtkgjJA+72A4yec5Hua9zsymxT5abQMDy3wFHT69CMAYOMV8Gfs+eJo57BLOaR&#10;FaNPLVSAyNkFTweM4Y/rgZNfcOk3LOBxE0jnyhLuAlTCljyB04HtwvfFfL4+nGFVpLU+oy6qqkI2&#10;eiX5f8E6y3XeCyuRGiFiTH8jcYGe4OeM9DkVokZj2lSCFMnzFiCGCqSSOnJA9D6dqo2bpBJFgxou&#10;AwMjYQtgqOc5GCRy3HTgg1oQM8gik2TOHAZGbKBwy5+Y4zlQVPPIx0rzGuaXNDpY7nNyiuren5Mf&#10;JaxzDCIyBccbhuDEAMGwOcYJxjt71x+saWJjdSuAqkFUwAjEE46E7ehLMeOFOBnAPdqsih1mCPI5&#10;DElFCvuB2ksCeMMBzzjGem6oLy3QwsywhQq4aQEkcgksOMnkYxjHPA5xXNNPn93RM7cPP4VN6o+G&#10;fi74GW9Sa6t4m8+2Z5kZFyMd0wcn0/Ic9a+PZ43t5DBIAGjfa+0bcEHv+WK/VrxNoTTW7K0LGNvl&#10;bcAxByuRjkDJbG4Y/Ovhj4oeCDp+oXGoWsI8neWnjjAATkkfLjkYHJ4H1ooV0m7/AAnq0pRdnD4r&#10;2fpoeN2pdEMseCCAW+Y5jAPpmpID5k+11yuSFbO4Rg9eff8ApWcjSh2XDIAuBtGVfkEjB69B+dbF&#10;sUbDqvABxkEgAdSR9T29TV1I8rcm+h7mGxM6sVH7P9XNyOyjQLwcsd3mbsbjyO/NSXNsCjxSHMki&#10;kqS3OM5I/DFOtyXTIkG3kQ4bIBHIb6H/AD2qKQzSMVkBLAFgWO0AHnr+HSvNk5ue/oe3TjSlTin5&#10;fPQzfIEW5OAzchWPy4xnP15rPnUu3AdlOQBH97jjOOvr78VrvH5hBBYnJAY/MW454z34/KqjxO4K&#10;4X9394rgMcZIOByev+cVtTbTUuv9f5mcouCfu2i72+9f8OVY5TmNWBDqhBBH3iQf8/jRMwYq7AnA&#10;yj4Cof7oB9KumMDadoQkZABG7IONxP4Vn3EohZVYlldmCHAOPc98nmtablKXN1RyVaUaUV9Y26rz&#10;0K4lBLAh1Zhghu2cinOmwYXqoyW+7wOx9OOfwpJoXffJCfn3ZYsOuf8ADNIS7K7HzNqoc4X3Gefp&#10;/StouyTht2MXzJ3tZvZk1jL5cojIyysJSS2Q/QDB9eprqIJgsUpO+JW4TZwx7lh+Ofxrj0Vd0Moc&#10;LtOChbDY/wA9q6C3lVIZOTuBA8svu29Mn0Pt7fjWGKSqyUra2PRy/EtVGr2/pG9DLF5kcoUvFuG3&#10;JO04weg5wSV6+lddaQPdb41MvliHcXQkAHaDtz7lT+VefwPvjCsAwi3PuU7VJA5A/Piu58PagkO4&#10;mRlQxmNQwIWQ87cj2yOK8rE0VBcy3SPqsDiIRi97PV/ev1OoihljjVdj7yAVV8MqEZO44PAHvz+Y&#10;NaVuJHtryaSVBKGIAUEIcFsqgx7YHbgDgDNZ1rdS5Ek4crIDErOwcpgnHA4IP8hWjHHLM5ijYxW+&#10;GnRNu055+ZlB46ev/wBf5+rJqduq/pn1GGrKcErX01/r1KTfapEhkkZmeNcRqykhFz06cDj8PXjF&#10;Z+qBsq0h2KAEV2O3OcDqfQn8feurulb7NcG3YvcAI2I2OGySPvAcduOOKqalZj7FapdJG00r7oVI&#10;OxWwfmcDoBz147VVOacrt6J/mefjaUqnM4q3/A0PIBamS4mJLA/cy4KE9skdsDkVr2WYW2qyko6y&#10;O3XgEgEfmTg1dm09WlJmyrkF+AVHG3BGO3H+eapCOZJXeBS2x8srNuZsZ4OeeAMYr2oyhVp2v2Pj&#10;qkJwxLnFaXt+K2OvicC8Vk2tGZvObY3lhccHGSMHGevpXe6VqNyhPmKjecgSMKvmKhOctwfl+8R+&#10;A615RbXxLGa5IAeLcEHzlW/+tgZPFdXp98z7RGxA+zgLIJC0cboDkqcfQ8+nHSuStSlyO9rN/cav&#10;ENVo6a7jvFuvTXBtdLmMnn2z5L7cK6kYCntklQeD296ruTbae01wAuIhK5icOfmCMhyueNp6duhA&#10;IxVTxE0z3ljPKoZ7q380TRvu83hdu4gcEKRweRgj6c9qbC1sYbWN33zyq7lJBIVAAY9OMZ5/DmlR&#10;owuoJXdzqlmLcWk+n4nR6TqVw8sMhjKKrqjKX+fB6nHT2/CvUIbqS58l/N+eIiNRGMYBI3Aj/gIy&#10;PavGtHnWPadykq29lJxvySFwfxI+ma9GsLucwfaAGWONdwQNujAJ7Yxxz1Hrx0yebGYdJ8sVY9HA&#10;4qKhGcpdb37nren3rreWcN1I4iGCshT93yWDKD+XX0969PuNAstc1NLvSr2aWa4ZWcTIIXSUMQI4&#10;2JGVYIgydvQg55NeO+HbgajumlfeIwHWNXBAwTuwO5JHb0PHGD2supNYWU01oJSWmEnzoUSMOWJT&#10;8MnjqOfXNefy++ub4fLzsfRezp+ycae7S/zN+5mude0K505jbWl/peoyXN3FOViu7qW4kCTCMAZY&#10;qV3HHCqGxjNeqfCewtXS60e/tFdZbV4d/wC8VjMyfujhOeuN2Adwwozwa8Yi1IfY761O1Z7y5RpW&#10;TbjzlOwEEDkYLEkHBxnnk19NfDbw/LfeHdXezm8jWNJs11y1mRwsjmCZfPRWLDlEYt8oZv3JOOCw&#10;yxKpPWjrK2vn3N8v9tG8Jq0ebR9r/wCRFolpqGi6mdHv7W5FrbMqSqAyyxv8uUK4LAr34JyPxPf/&#10;ABS0231nw1o3hq8iQpJZjVNMuZkIEbSFd6bychV8sHI/vjPJ41NOtIf7E1CYwPdanPH5sJQMjQXO&#10;4SPJK2MshCOhAx806tk7Sr+k6Lpeh+M/DOp29xfw2ktvo7XMc4tftJnnhMbpbpwMGU+aNykg7kHB&#10;zXk4Hm5vYX0lr6rt+qPVxanJLE1FrF/pY/N/UvtthpptbqdltLK9ElvC87KhYjYXVRjJwQQR689e&#10;MHTtXe11KO6tv9IjhjUShUO87SPnK888gY55xxX0/qnw+tbrTdUlFot01pPsa3/eTTxOxlZSACfl&#10;IiOOwx9M/OWpaBPoerTK0KPbyLHI+zcDbZVCwORuyrEgk8fJnNetiKKsn9nQWExa55UrLn3a/rzP&#10;o/w/4ytNRSwsprSJkljz5hUo0wHy7ZDnqGdio7BOST19pXTdPtrSLW7PVJl+2X7W402NE8mEwlGe&#10;RnB3EsCOmAWUHGAd3yR4Wvkjlhfy44jFJ5iySEDzcHgqBnseAeuPSvqjwvBBeQ2FxHOfsktwkU8A&#10;ldIbZ5SU8zHKjjcc5DfOwAx186rKaqWq6/8ADo+kw9GM6a5l8Vr+j6G/q3h22ill1DdAVmtIJFmt&#10;S/kP5m0vCWKjayqp/wBkkZDEdd7RdPmvM6dqmnoILxDCtxKBNApG1jscjIPyAn2J7Zrs9W8Lz6LH&#10;pc2lzCTTp5UkuBcq5t45UZlhLEgqTjKjcOSx4649N8HaUupaDNp17EbC5Z5J7K4nhkazWTa3PmKh&#10;AJUH5MD7wAOK5q0n9YaSs99NrHbKEFg246q69d/+Aef+CdHezmLQMrwDe8kco/fW6o7jbnvuG1hn&#10;sBwDnHpfiH4OWfinT7K+0ixj0y8t1YaoYZn+x3IOVjk5JEbEYDHIQsQcKScz6B4U1y01BYo9Nke0&#10;lUFbyCHyXBAAZpASTwc8k8Benevofw/qc1vaanoELQR6df7IZmkUMbgxsCNrFQSVwwDDgFjwMtTp&#10;Tik6VZPX80RisNiOeOIws0npfXp1PgHVPgtrNrdRrdPMqREwRgqDGith2Dgj72RkfKc8k9AD4p47&#10;+Fy6EhLQ2ayPfokUiSAsJJQ0obCjccCN23DPTnnNfsb408GzL4V1W7sEXT9JNnZ3VtZ6nMtxc3t1&#10;Ci2kbxFiZMM0smWXcBhi7DBK/mzqC+IUvtRur9JWtfNIjhnLiNNvylkTnGA2MgA4xn20rRp0Irni&#10;9tPkdOXwxOMaq05JW0ae7v8A8E8f8D/BzxFql1DeajKF02BTIsjuIpZFHAEZY5JUZyUBPB6YzX1r&#10;4R+GnhfQpbOePTrVmkmjWK9upBO8LMwBZyccAcnHHOfavN/CGo6vrCxw2ZNja2ZWVk2LKRkxxsXU&#10;nH3VIycnKnr29MtL1r69h0G9vGjHmwyXDCTy3O10ZQMc8Nwef4eoxXJ9dlOMJU1ZO2voz6fDZRKp&#10;Vl9YeitdLfpufX/hD/hH7BmiiuIVuhvHmpGscdwwJUuSB9w5bCjGQoIyDx6OdcuNTu5rG0W7usx+&#10;RZwR/vHV96JDGueQroXG3klgg6cr4JpPh7w5FPp6ReKBaaRLdRpqd/p1g2pTWMbIGmdIFYM7qCFC&#10;AgFmXLKAWHZeDP7QDaPqUOoNBMJ8pPHIZ5IJQQwOAd2UG3DsF5Awcg47HWrc8Z12uWXRP0/zOmGS&#10;4HWpHfTdNddvwOluJ9VuZJVbT7iyms32qL2R5zcY3fvAFwNvII5JBZc7hmvQvBHh/wASahBJc6Zb&#10;vd3EFs+p3kdtM4aS3SPzXOwISMZbHB5fqM5rIg8T3mpWstvAsV9a3Egl81USBrnHkoNp2gkbjuYq&#10;cEMzEnJr1X4G3ni/w5r761pt7Nost9aSaTcqwLp9mnJMikfMPK2LucgbhlcY6Vy0Y0vrEbJuDvfu&#10;j0K+IlhMFNYenCE1snez8nu11Og0zWLHVLuPSoLfU9Au7PShfa1p2uXTiZ7iKR/Ndy0cQRMSKhU/&#10;xO3L5XH0Ro/jFdG8FP4IVrC+uZ9QW9OpqPMvnCFX+xcEZjClTlehGTncSfmjx9Jpus6joj6fFDYy&#10;eGtMm0qa6hUJf6zLJeyXU1xLLt3ODvBj3ksMKO3HT/Drx7ZN4u0lfEtzcajptne+XbvcKVSaSKSI&#10;iL5QAB8wcnBHGd3pt9YcK7pQlbmVr20s7FPL6OYZbDE8vwNz5L680dVZ9b9m9Nj1y6gmgtp9bkvp&#10;Y7NRFBIGUy3FxI8f+qiBIBZDHhh28vAGADX1t+z9NYeNrLTY9Ul1FrTwjex3NtOsUlsthJMySLbo&#10;7oFjyCA0j7V3Q4LHC1xviy98EahBp2n6Z4n0PXkFqdU8Qa5paQeXbv8AaTM0NvblgZEEcsUKsEQl&#10;ojgABmGJ8INU1Hwz8WfDf2PxfBZ2finwxNCNGvHsrvSGu1mj2xyo4fyg0SOXLIHIVGXqTXs5Xh3g&#10;8zhGbUqbsnZ36q3Wzs7fM+IzzEVc84VruhB068IuUHJOL91O/wBnmTcVLdXSd2h/icaOPi74q8S+&#10;JdFjuLKS3Lz+G4nlGkapPE2yysZZwd8ioRJLIx2tL5TbSu47Od11NA8N3GqbLSJ7bxZbQagdWn8q&#10;1XSbuNGWS0tAigRRzPcKqouBiNQApHy+lftXTaemu22t6NfQ2ei6zFYvqs9jIttpusXrRzeSTbIC&#10;Q0UQjiVOG/eOz4IbPztrGqibw/Bb3kYNzbyRywwKCbNISmLe4MmcGQlCShU8MzDOPlvGpU8RVwbs&#10;5Rbd7LW+j+9fd0K4XoU8dleCzKUZQ54Qg4Ny0ULNLXqpK93q1bm7L3XRvGDy+G/+EKsbkSJfMtpJ&#10;oNzHOzaqAZZbae8fcCtusrrwjID5KAj7zVc8JWll4a8PX2k37vfeLtN1qaxudG1KFZItKnMCefdb&#10;VwoxnYXwSHQICCuVqfCnR7HRp/Dmu63LBren+IdO/sXWbKwiLarax3DmCOSUcuv2Z5fOTCsGY4yw&#10;UgctqFjeabb3MtpfPcWDaleut9fW4g1K/wDOumVoJjgMEzGoCMuecFVxit6sqtGlCtWV3ZxS7LR7&#10;fl530MoxwtfH18vwzcacpRnKVrKc7yi1ffRRtLRNxcbSsrL6Kk8UTJoRt9Gu7+PRrmea2tj5nlm4&#10;a3EJEboDtZyMbfMYgYOCNtY5+H1h8Pdf03X9X1K8u9P1NhP4ittNZdNSCJ4VWZC7MC8gdkiIACgM&#10;4OeteUaw15f3mharbajc2ljcQxalfqgWJIDaybW2nJJaQhtrEAzFW4UZx9J+K9L0/wAVeErbUzqU&#10;TNd2+nyWWoC6t4jJMJHYwtab2liRRhn3A+ZvX5iW3jopONanUxHLedJpxu+lruy7Pb8L3PDxsFkc&#10;8Nh6Nblw+Kc4VuWPvNtpJOVr80dXdNN25rWva/BrnhjxLa217Np+r2mlq4nvLW+1Bm8PKFc29vBN&#10;dGMby5kUrFAwd2LZKAjOrfHWI7/QrfTNGitrq4iV9W1cadFoek6UYmRkWCVGcFRHIwZB5e2UhpHZ&#10;kdRk6QR4m0C4tdXvGFjdX5sRtt49OsDLpVtczRNBBGqKqsTahnKqzB3XbIXBC+FdY1rVLW0uY9DF&#10;3GttFp1tNe6vFpNrZxWxjF1d3MsjMsjzYuZQBtQeYi7uC59SnGnX5Zp6ys3pZ6a7K9un3v1Xw2Io&#10;qhKq6cfdpNpxnNuCUk1H3puF2pKXNdK6pw5m9Ivr9KtvD6WhvmvUu7+4eLTrS0VLg6nBbMwaV7eM&#10;xkLNNEu7zd0hC7CoDnDY2p/2jBYs+rXnm211E93Noq3UUyRTCV0Qoqt5iHy9waNiQjDkfPzW1fxb&#10;putara+H9C8UrLPq2rJp1xq/hnWhZi+jjJaJpLmJ8RRoqnLfKpEJADfMKtaBc6VqYg867/tYxX7a&#10;pIba82aVpMVrlhLI5U+axD/JhiuZFI3E8NzpVFyUdN1daK+mr3u1f+lqcFOliaMPr2IjJ3tLlkry&#10;jGztytxioK6bTsm2v5m4nOQWF1qOmHUL+Sew0ydwsltZSC1n1K6C/wCj2sZwoVVChWES5jTONvAr&#10;0TQdKOnT6rJYXM1zqNnaNbWskcRj0q2tiuxmhGC5+YSbZHIDJExAGcVUsL2GwGizWcr22uPaxPat&#10;dIy6Yr3k3mpJNIzMqBYkVzuCg7FBXIBOxp0EVvDqX2K4nFrLcPJLNNbGYXMazSq0ywxYcmbacNIT&#10;hGXC4NcdKhBTUo6y6u/l+Gu/b5mOaY3EVac6bXLTvZRto1zJdm2rKyafvpuNly2eloGi2q6jqWl3&#10;NxeSWemvY3Goysos5764lupgqOFndVRUUqu1htyzE7j81kxSF5obS2hu9GK3DfbUnifSbK3hEkoW&#10;OVQdzSbV3FWYhVCgZbhL2DQHkuobu0ikgn00tPpEPmzNepJAgjs5IgE3AKzNJGpO8uy+qtoww21v&#10;pF1JoqRwwajYXEkWn3EbFbCJ5XgC4BCMqrJGoKOTuY4LDNdioQpLlVk1fZ673S22Wz631Pla+Iqz&#10;n9Yqczc+RJSjaKfKryvF6PRyVlypWjd2sZ9gZltJZhG8WoJYvdwxLdxzRQGddzbUiAEe7zAgT72I&#10;9mTjmvFc3EtxDbmGRbayLhJ5nZJUd3BKqecs4faCucBQCAMVJfwC20vTPsV49rIuqwtK5gE0mVEe&#10;ZGB+WRR84wRkDHqa1LZREsd59mg+x3CzSw2UtqJzZmRljQyxs2WcoQqoQyqznPzLgR7OPOknslfz&#10;Wn/A+4cp01F1rJ8zkktVZrTr3u7b7u97pPj5LmeXSrmW6leyS2gntNJskYpIsu+f9wcjYS8n3i+S&#10;BHjK5OKmoRXOntZ6XK4mafzJp2t5VXzHjdYAQVxhQAzD+IA/dDZFS3MEd3HZ2FwFW2s9ae+sg3lw&#10;OWRI0eHYRwquWUvlshu3IqhJvuNYvbvzIbZLgeVBLHE8FrFIMADaxOxioJwSQC3XFfPZhOdONrau&#10;yv8An5eS6W7Hv4eMebmVlH3pWt52jZ795S3d79dSeDTpLaxlgntryNZbcXUsslz9nj3KCwCjGX5D&#10;7umN+MndWfYpJqN1f2tnbWQjmuHgtnmIih061MocrAzMOd/mDJOQu/5SWyNG5Cy21vFLJ9ohjjc3&#10;Ekc37zUtnz+Wj5yPMZNp45KYGc4PKajexS20rQZtYJL94FjWR0ZE37jublmLZYHeMckgdAPFny01&#10;zN2ilt1fzt5/1oduEhVxHMvtSe+vKnfRtc129NtNFZvVotSXSWEU19DI8k0qJ9neKX5FWJgAeB1B&#10;TjBGCAcE4x5xeapJd/bLuXdGJE8mSNfmeQDDJnoTgqmTnsecmt+ET2+PNSBba9u9scMsnlxn7Mhf&#10;DSHkcTevXNc1ryCzS3uFkgMMkQlnUKQI23yEKeg6KDkZHzD6185ja1WdpN2ir6eb/Pv6H12V4ajT&#10;xHI/elJq0vJdPKzVvVaHKale3F3DLCs00VxFGYZFmjyBzgMGxnChizHBzhcAg5rhtXnVrqzjMiN+&#10;7LGViAJCdoY5JGDgEYB6rjHU12Op3am3Xy2ZZ7qNnYjkMJFj2jBGQV25J6c9BjJ8f8W6kjXf2O3C&#10;vJCrQoisfM3lshjnvwB+FeTi1CNm3qkvvvse65cknSStr+ljntY1dLe5n1SBZJktE+wmJFVZpggB&#10;GME4LlgxwwB3n2FY/h7XJtVuL64nSJnkiCpGpASFcKpwRgZLZBPTk49a81v9a1me9ijUpMtzKASM&#10;GDcT8gbA6Ftg3A85IHbPqXhaJ9D0qe3iuJJZtaQNqSxsT5oecOYycdBIsbAcn5c/wEjzeZTqeztp&#10;rdedtLFU03CUXZy0Sd/vM25Zbeya5nWWOKF2naEuFMhcpgHHHUlAD6L3BJ/IL9tDx42t+OIfCltP&#10;LPBoKn+0ZI5AVa7kCIFzwf3MaBcYzmZuT1r9uPB3g2f4l+KdB8D6IVjvvEWuJpaXEsZuRbRlnlub&#10;gqCNyQxRzy4zj91tyMivz6/4KT/8E/vFP7O/i648e6HNqPir4f8Aiq6NxFr1xbot3pt0VO6K5WNQ&#10;gGFG0gAEcem76zJOF8diMtqZ3GN6UXbz0s3p5I/P+NOLcFg8fTyGtO1WorpeWlrvzf5H40MhGSN8&#10;iPuChfndgCcjGMAnHJ6Ek1GzsWkGdwVhIojG903ZXk+uQW/4D3PXaurbaVBXasTEY3gB2GFB9c5O&#10;7HX8M4yZY13KFLFYwQcYZnPKhSfqQR7+vfdtSdn5dD5Z2V1du5RkJjMiHdtZtxkDM5HIDH6BcEnq&#10;TnkDFNU7yruFLeYCkZBcFBIV25HXgk4znBBqdkYFxvx5JxiSMryQMEDIzyB164PFMIUSCFHOGYQh&#10;QFLRsFyTk8ZOPz29s0uWTptR3/QiXtOZyltcrhWdNijKyIfMyQHXGM7u6/KR14x1pFGD91lDhZA6&#10;psR1bHODznOM9Ac8ccBUJDQRh4dysEkXBEYwHHJJwONnXOQevy1IoR1RipB8sM5ZizyfM8mDjsMK&#10;xJ7sxPShJX5ZdXcttzhd+v5IMACSBtzgkKFwJY8MA2I14OT83HPLn2xMsgUFEaIuytxlmLbTnPHJ&#10;3HkZAxuXpTFjZsMW3oCNyR5bHJ3HAzngjtxjv0DUCuRhchnJkEsflHcFXIyfQYXPI+U471N4OCS3&#10;DmcIOL+L9NC2pcDchby2iWXLSKZCnHz5XrwRyBjJ7cCp1h3LtLxqS/GcGRSNuOgOCMkZ68VUb/VD&#10;AdWYBA5PI2rnCgjpkr2529AKmVFjWFju2Bg64YsWBHcZJ5wfxI6nBKSXK++v4WMk1CXIl1v5E6zL&#10;ifeBgSFwEz5qjdlh0ySeSTznP1zKTuAbehXdtHmOxlI2nOTnjhsYHUZ9ag3Ak/JJmTeGUsAoxuI9&#10;QDx+QqQqmMttO7CPtO1AP9kj64z2yKla2T9f6+43lL2abvpp+a1+4kjLDAmJA4QOxKqykqMgdcZJ&#10;4569zxVpWdigVzsxj7pjwQFbr/sjn15pgLfKTuYSE4ATlADkBj9R2Oee+DUiD70ZKxiMALvkMbFj&#10;ycAcD72Sc84ND5ormtr/AJhSbvrs2OVTIUEwYKp3go21iVYYJAPqo4OPfrVlHdA4EbOgjDLgZI4w&#10;SSeuOoI9T14xHEB8zEvl3KsM/uwp4x9fkUDt8x9sOR9qYVZAqAxyR7ikmORyOgwcjpyAPclJy5Vb&#10;Xb9P8hOnFTTu7a2I22t5Y3OhUZz5nIYsMjp6ZGfoe1ThyGysTRoGXfG2FO/Axj/a+VScddoo2bVX&#10;edpYjYR8xA469h6jHvz2prSK8uMh4EiDoyDGcg9WyDyDj6561SlOC9mnsyasuWKSQxgkkWyRI2iZ&#10;Co4ycH5iTge5/Omz5A3cjBCgFSMEkBScA9SPoM5Jx0DuVWYM3lOwKOF3Ak7iCv1wcdPu1IzMWHIK&#10;4Ykbd0qcYHGfZfzP4nPL2l1tv+RdKKlFvp38/wCrFdoywJRiXCACJyVdj0G1j/hn3zUbbymwq3Cj&#10;blunzEkEjnGCBnA6+tWU2OGeNycYwOikbeQfyB/E02dyI5PmAfBMuV5wARkZHI6nI7EdODQ37vvL&#10;f+tBylZuVtFt/XqRpKz+SXXbIjbP3iZPBJKnB4GSSMk9aTKtudkXb5gEZJ+UknqBznqSB2yMHim7&#10;gilACQH3uQSc7sHIP0Pb19sVJIZMou4KCS8zuNxkBVdvB467s5/u455w7xc24A42Tk/hSd/PX/Mi&#10;MZKyLGA5aNgIgAuBlAT29TgAnjd6CkbfyVG535+RtgLfe+UE4AJJB9jj6KZFxIxUeZu2qq5lzjHJ&#10;PGOo6enUDmiNg7R4+VzGwwq7WTPIB556Yz2ycdTTk5dHsgioSV7Wv1GOPMJATd5bFC33BycEEkjO&#10;MHt1/CmMFSGZcHg4cnox6kkDtjHvwfxkErxgrIN0Lna6mPa0eSCNy9R6HpjHNC48twqnBQh2jG5p&#10;doycDODnPT2xz0q1KUZ8svIicqbklG/9WGgZ3bow7k+Xh+u4Dj8c4INKd0Srk+auDuznzCRzxjjP&#10;Jz+FH34lyzFQSQAAzJtPPoM8jBPOOmccSQqCzfvQzlt2xkGZAOhzngfKRyOc9sc5qTk7/IHCSh7v&#10;xb/cSAB8s8qKQgbaVOeMgggc56HGexBGDUsRYJvcMx3+XJsO5EfPY5PBIJ+h6cmoXJwpK4U4cErl&#10;XPGcEc8ZGc85qWJyQRIdzFC29xsM+OoOORjC/wDfQ5ptKdNuXfTyIpNKUrb/AJK3+ZZRQOHJ2iXA&#10;Jct5WR90gj1UjIAHQemRGzuDMijBEcoXCtx0wPYHjGajR5GVvmZiQCduVOOoPHT6+3rTSUaKQSsQ&#10;xbActvb5SeFHXoe5zkg/Sows+WPp+IJ042kt/wBNPxHuoKFpsTEx4CMMhuAoU5OANuV545HuakkJ&#10;aUo275ycNtCjOOeOoI/lj6VWeRS7Zdxn5lVFyq5JbI7cBeRnjjmniVirFcKsvmMQMnaPu49wMYPP&#10;BBz1q7OK59v6/wAi4P2lPRWStf8AB3HszLEQVXJT93yM5yQNxHrjn6VS/wBWdpBLbBG29sCTk4H6&#10;Dr+NO2kZR2b7wTJGFHpgenFV5XCGR2aQmIMMhyoj+bO7BGSRyMkn8Oomk3CdpbfeJqN+WG+wMxCB&#10;lRjIFEgBc8liN25QcfLt+vXnniJnRAu1Y4dxztZzmQ4I3AdeuO1SMg27FljYRpkopZS/JPX065+l&#10;U3ZjGsatGCqYGRhwGIDFT36r9D0qpRjKyv8AIU1Dl13/AAJWkaRdhBUyZVo2CpsxjDEE84x6nqag&#10;mK7A4IwVZBucuyZ5B4644JxwcelMkMxVpECndGXLSbhGeSVyO4DDBHbn2pr/ADs2d+wjO0pyM9we&#10;wyD9c4yO6baXZ6/18yrpQu9LdAYExbsNJujVld8AyLk7hgj5eDjjuecjK1ExDCNQSMgrIrDzCzly&#10;ck7QepZsnoOegyHPITCCE3oCdm7CbssSMDj+EDjrkE0kRRmkkYhmZlSTaWTYWwRgdjgn8hz6aOWi&#10;lLyt+Bg6kXK8Xppf0/4cmwrem35Vd3G9ULMMcDAOM9ScFQearIPuhojsMIyPQEBTlx1xtx3Py+3M&#10;gEhQZQSBiCWPVRkNtyOoC/JgY7HPBy5SFwGZg4jBO0M6c4BwMn1JxnnGOKEm3aLNOdygltfqC4bJ&#10;YOMMHw/7s4A2nP1wV9846E09ocbUUtkHy5WUEJtXdhcDJxzkc9+1PSJCofyyrsrKVMnysynBLe+c&#10;9v5CnIjP8u9VKqVVD0+b7pz9QecfxfiU1BNaaaXM0vZOKa1/QYFwV8ptjhvvgEPGV43Kcg5+U4+o&#10;5GBixHHCj/KdgkU8E4i3DAAU9h2+g7YApI4WUMTiV/LEe9Uy5GfmCkgdMITzyRzjtdLOBjmQgbsE&#10;ZiQZOVHHqpbp0cfSqdKys3df57fiXGbk0ktHsUnUlWBhZm2+cMt8pDLwQc9ehHXt15pTGz5QN0Qe&#10;YwVQgJ3YAHUkYXHqMdeQLzRrs2kgSELGpVhIJCBGMEH0AbPXOABxjMJtlCRuHVXLbgFXAVSchhgn&#10;rz0xjtmo5Ytcq08/zHKMoO89nfboQBQQDv8AJOOY1Zyq/Tj8cDpmirOZTy0UJY8k7A2fTkgk0VCh&#10;JK3MjZRptXTMJRglAAjKu4sVIBPQAenfP1FWxtdkfcRtIdVMaqDuLgYYd1XAJHXOT61XLl3YtEqu&#10;7EGNSSezcDnjrg9ePrQwRlKsQixyZIYlXVRhe3Ax2653U7apHG51Keyun3FhjhDkblbC7JWAURqo&#10;YjgYz1GOMg7Tj1pSuGAVlUkFmdUGMr8oLZBPoOOgx0qFsKCMJ5iqoLFidxDL+PGc+mM8nIFTKVVE&#10;dvK3bup3A5IIPHfO0e3f2pXk3eK0Yqc02pvuhjDmPGAxULlMBmGFyCeTzhSSOh7dgz5Gyd+3c6hl&#10;QgsFwqkD8EOM46n0pxcBQ2DuY8SeXnIJ2nB4ychiccHp2zTGdlVwSCN25Q6llJUFRgn1DMfp+NT7&#10;OSg2tyryXvLXf9PzKwEkZEu5ixQlnHDIQAc+gHyZ7424ByeXMMBmbIZWAjTBKggLwOpIIxjGeh57&#10;1IcASsS25WJ+aMu5U85Ax26ZPoKhGNgTaQgQAxksWCrtZcg/xDamB259SKUkpe49tPzCnBummvX5&#10;gY2AEm9goZSzxoU5yUY47AkbenRjnjrCowjLGr+ZIglkjLbGiOVHGOCQTwCD2PGKezHzVViMMFUO&#10;AQp5YkA59OcBR/FkngB0pXBRgCgjYgg7WRRwMnkHls8jueOtNuSmxxUWm3o21/wSBiA2852CUAoV&#10;KSbR95c9c4PUetOjAVwC8haFTJG7Id2NoIJOAMnAIHX0xTigEm4ncsaAH5dxBblSCvqAx5Jx3I5p&#10;nHAJLRq21o2jO9uuB74JHBx94dAKqUYTSsv+HFBN3p20X3jJAhPltIqu0rMkG7IHK7iATnG+JTyO&#10;CpwQd2ZwywKobdGC4yAjK7EYbOPqQcn1yPWmNNkyuwba03mFjtkRyAwU8ZHylmBzhu5JB5cWAXBZ&#10;WZOVYgqFZVbHUA44UE+56YwYvbSL91f1+BqoRjVUqejs15bBgfdKqyIACqkA8YwAcYXOAMn9KhLL&#10;uUMSQEITsyhehHPQAYx3wMDtTQgZ3dSEhUeWpONo5Unv1xk/oOCcPl8prdJcoxU7kfGH3NjPX2C+&#10;nT2zTSlflRlzVLXtrr/kSKShKlV2uF5G5SXzlwSDgj7w6c7+vNQ4EhYbWMajzHj++zAknA5wcsAc&#10;Ejr7g1IRCZFKyBpRkHJwFcAj5xgducDggZwcg03eFWRnjVCvzMwVTnbgqQe23Oeg6dsChpXXL6Gl&#10;T3oyjJ+f4ChUARUDOkuAqlSqgck8EE5+c9B/DxwTufFuWY7lJJIyqqSwyoGSM9TjpwAQOPlqBnCi&#10;cbY22s7A+UqEhXKFsHA4ByOOAAP4ciRCIlEi42qcMGXayA9mz0ABBwM8etOSUVrqTSVrJaK1wDl5&#10;AzsfkOAcb9vzbtwHbGcDr3PXoiSSDje0Y87OWiCdwc5GSTwpOSdvAz3I4QfJHtRz86sqbUHbG3OM&#10;jjOOB1GccMMkcjlsqCzHaQpBIzj+bN2x8ucYJyoLmbklZP8AQqHKk5J7fqW0lSQZYZOQQP4Cc/dI&#10;z6EAYyflxjnNOLbdoVW2sAFVQzqpIL8YHXBxt65HNQrKsYVo2KhHZ97H5wwLbFBHAAYAhunA554A&#10;WjVU2xxjYiRyYySqlBnBxz9zBHXHI4JKnGXxQ2FZJJD1G5lIUsVdc5VUJXcd27nJxnO09Qp5OOJQ&#10;BuCIxVRH8kp5TIHuRknK5zz8hJ61G0roqlQi7d5kZYzJsY+gB5yST29j1wR4VtpKhJGV2wpk8kkt&#10;hsgFgOcnA/iB5qoRclzdkOdWGrj8vw0+Y6YIrbmG5THu25ba+HZl6+4CgZO7HckineYhTccqjHeo&#10;kJUscZXPcZzgjJx83DYC0xixJA2q+NyhgSiEK2UUjvzyMEdevAoVmeRmAZZow6YUlEBCoQwxweZB&#10;1I+6RnmpvypK9l1JUusVa5ZRWyx3yE/cZsr5jscKV2rx0bqfXgnnCgxuqICVJU+W3l4SQZRiGzzy&#10;mQPc9zSySjDAMJDtAXbyqkcBSfwyf97NRLJmN/MIDxxPJLIqFt6gbn6dBsDDH91ieaSklZxRTpxl&#10;O8XvuWAU3hO+wEOozJnsQexHp06dMcSsNm0TIyhApjLIEfDDICp2BA9P/rxOoRpo/L2mKXymBHG7&#10;anXBx/EVHU/Kc9aSJS5idFCCVVdFD/Id+1uRgjH14wT9ROrV5LTb57mrnNRVKKun+C6AhLR3DPtU&#10;N82MESYLYUbge+0H5T2BwpAwrSISRsdGcmUuY9+/aBuXJxnGU+Xpzngk01HYssYVCkaiMxH5VkID&#10;BTk9f8QDnPNOWTD7htLx9RwWQfLuG0nJ+6v455Ga0i0r8v8AWxze0k3eOqtb8P8AIVIwpA4kjjwk&#10;ROIWUcgvnjszEH3B9y1eFVMqkiA7hJuVvlYg9evWQ4HO0D3AQxy+W4R0V1IXzdqh8cZY8AA5LHk4&#10;45p0ZQkhjGpEfzbfl2dA3ToBgdsdenAqVU6v+r2LkpW5YeT6epKgUvIVRSx4BkX5jjeMkHoGLAsM&#10;8gDBqNiqjcCNoJZCRsVSQMg9+oPPPINPJVYy4QsF3EhnA6DcN/Q9HPsMewyKSVCsdqbWU+YT8oUg&#10;AAZ4yzOOnGBwc5pa3cr6bMUuRWd7paisAOeQ6r+7LDeNwG0Dnkgbvp8uRTiokkVlJMjvlgWIUnJz&#10;huuM845HA9KRpNwYKELqTgGNSQQM88ZB4OQemSD1NJEcnb8qnzSoIBycHdlegI5bgHH16UnzfGn0&#10;/wCHLlU5qainpb/IkMayEMm1G8plCGL5ThmDYHXGEU5x/EPxiAcR4O4IUUNuUBGLMny9QRySfx9q&#10;eqpGwR2RAW8wSMnyIANxPbg88kA+vepYzlFRNhCKAqM2+RAMDLEYxnpnrk+9aKTey0M2nffVf8MP&#10;UxuVAccrtcdGQF2UNkdsowBHUqeeDUzMUZZJCCQyuJAo8xOi4J9PlA565IOKrsBw+CiBwHbI4IUt&#10;llxnB2kZ9cjjjPzl8evjRp/wq8M3mrC4/wBLMZigt2k2gsexXqQCRwPUduukMNWxFWFGirylsvO4&#10;51IUKSxEnaMer7Lqzyf9rX9oZfhTob6XpbodW1G3aG3CNl4DnGducDaR1+nQ4x+CviXxDqXiXVbz&#10;VdVupLu9u52mkmncyOdxJIPsM12PxS+Jeu/EnxJfa7rV20xlkb7NE0rPHAh6Bcng8A15SzBiSGIZ&#10;QFHPOecfpX9D8J8N0sjwMZzSdeSXM+3l8j8F4u4knnWMjCnpQWiX6v16eQxyGJ4BIHPy/LnJP+FR&#10;Mg+YYABPPX5v8nFOJHzKxQq3J3EnJphPI3EA4AyGJDZ7Y/GvrUtrs+OXM+aKWhEGOdvr/GAefWnE&#10;YwN/boBjn1z2pD1B3EEnGAc9+p9aCNwZTnAYAknp6VfmjKOrtLcac8cjB7gck57/AK0EkHBwQem0&#10;UZDE4JGeOf4TSAfMVP8ADye+OM/401tua6XQhYMWAHIALKB0zShyFUHjDfLxjAPY0gYKCBwDzju3&#10;pilKgBgxGWbJBBAOOTQ7JJyJjzK9me8/BXxCdP1tLVpSgaQEZ4Vfm6g/561+nPhTUzdWtrMshHyI&#10;24sVZSW+vYkHj0r8a/DeoNpuqWtzCxQpKuecgDnriv00+F/iI32lWzLIHLqODhQPQr+h6dvxrysy&#10;w6lapHfY78tqyhNxbskrn1bYzb40JQh5Y1clj5skZClgue3ORjnqK3YZEVSSqpuCAkqQSQoDZYdg&#10;eASOcZI5wOK025jlhgG0ISGKyGT58JyBjtlVY+uQfSuojLLAXaZRGT5uxTz91SQz46YJHvjp3r5q&#10;cailJPT+kfQUqjaSUvX5Wf3nQpMg27i0rthi7bQQOQFXHByQmTjOBUvkxhFKorlwxKOdjMS2APXB&#10;/P8AKqELkLiTBcSgBQghbB2lR142jr3zwe9akcnlnBTZmMKd3JZS4JIPvjH8q56uidJbHfh5xS9o&#10;rWX9XMTULR2iByJEDBQrJu27QuPl6YydoHX5evevCfGPhuC+tZ0eBZC4ZJUfGzcSc8DnkY7+lfSN&#10;xHGyI+0+XKGLAnCK+Qd3B6kSIMnnI74NcTrmnebC0ahjgZzlUZAQAJAv1bI9a5ay05Lf1/wDrhXq&#10;yaS3V9u1v+HPyt8ZeF5/DuozbY3Fq7FY25+Q56YPTp2rkBJIAUUYIUhgo4OSB/TmvuL4h+ELfVbe&#10;6SSNc7iQUTARhgk/rx7svbmvi7VtKutGvJYJAflGFZjgP0JI547V2UPfioS3R6VG7+GXu2v+P5l2&#10;CR1hUlnKKNyYADAgfKPQDPH4VqQM6xruKuByGf5ie3euRtp3ZgSd0chxljjOD0zxmt+K4VSyBiIx&#10;iQHGAMZwP1Oa561GS33/AOGufQ4XFUJzu5dP6/AszAMEeJdisTg4weCPr1zTFiQDDsEkZCd2OHHP&#10;/wBcUyeaRSRC4liZjkEZaI49OncGmwuSu+4OGRhh/vY5J6fj39TWMFHlu9z1lOpOd97339Bsjh3y&#10;IwCpYBWO0t6HPpwOvrWZeWpmVS3yMVGxiMr0yBW00UUx2lvmYZUryo9F/SmXEMpQbSmRkAk7VOBj&#10;B/8Ar0qVTlRNWMZ0+Z9P6f3GJEWWMhtpKkqdwK4A9D6cVMNoO5Wysg+6RkHnnJ/Ok2syh0T54/8A&#10;WKSQjA8MB7d6smFWOMEHG4BSeRn7pH1A5HpXTKUVBP7zy+ROo0ulrdjIkRhMMqSvdiuAo6ck9jji&#10;tKB0ZG8wEkpsTAxk5GP5GopcBXDHGW5yxyCc9MfT9KqRjGP3mVZhuxISTzgcj6cir/iQSvqjBKVG&#10;penr5fcdLAVEDyPFlvu8nAfPXH51t2RkRYSUPH7xUUElRgAknuf5Yrm4J1MoSbao8nb97dgrg5/E&#10;9B14rotJxIWj3cgMFYqcpwACF9jjNefXjKCaa1Po8DWV4znLV6fPQ9a0eW3uIESVCzxMmIlJYyHc&#10;dqr78jjqT9a0LQJLdW0Y2z74gGkQDBHduOMemPauasH8qATRlHEbgTp0O1WyQc+w5PueldlbXsEl&#10;5BboSXYK7yFiC+9eQWIyScYPXO70Oa+XrQUpuafWx91g5U5KKT2/QtxG1tZTEE+fzA8xzywIPy/T&#10;IP1wKfrGnloLVyXdV2tI/UsBnI46ZbnAHr61av7VZLxAkoBQB3fbnKk/dHv05rotTVYtHtk8tHij&#10;J37eJSTxn/DPqa4HOVNpvU6JKUZeyteDXzXU8dubNJWeYZEgtQ3lFfLMnUYBzjgHv3IrJBRyhRGS&#10;YjayMp3A7TgD2JA/MdO/cwx28lwsoiQAxskw3MAflIJPPpheMdB3JJzNUs4YbyBoEQNGQ2AuAhPK&#10;k4z6bs/7VehSqpyTk9F0PBqwaT5tddzhJNPWLUJWLPNHNIEMeM7F3EPgj5QARgj3ro7TzIpDBB58&#10;cIG0jhFlXOMr3xyevYdarT2j+c7IwJCvIj7sID3AHTJJPX0P43LS6eM27bEITEbRbclsnOc9ecew&#10;xXZUq+0VodDyHRvUco6x3+6353FvG8yaJHVlEKlQZBwTntj2bOfRcdq4PUbtZtSuyyGKG3YQ26lg&#10;/A+bnAHckcjjHtXoOrXsmZLgRokkTDzFkwCcZ+cDp6Z9cV5hcJM888p2Gac+W+XyE5+vbpj2rswE&#10;ly3kvmeVjX714arr69PU6CxnMKQCIhmX5QdpwWAPX6qR36g9uT1UN55MG9mAd33lAPlUgAKAPbni&#10;uEs5XVtmYydxZXwdyMAM4z24HH1rZl1EqohKrhZGZjk5fg9eP8+1Z1ISm7pHpYOpyq6ldP8AA9f8&#10;J6xDC0aMWXa5kmZcPu6/KwPqeTjngV77pl/pupRSwyJNJbuVuEAjbamc4XK8AncQc8gbgeM18e6M&#10;bl4pJY2kEIk81pGjwFbgKN3U9CMH1Ga938Ia2ttLFBvctFIH37WjWLBxkE9edv8AkV5mKpqOkFbu&#10;fW4DF06lBwfxdPlb+vmejyW0TuHt0LQeZk7uFQxEbiAeMjzAORxur33wBrE+k26XsF0omsyJBb3E&#10;AvSySF2GIzhcdBk56jjGa8Fs2NxKwDo/nyuyYPynAyc49T/kVt+EdeMertHNvEcrbZZARJCikYIZ&#10;QeQdvQD8AMV4tSnJ2k3ZH0+DxNKV6D3ep9HHxLdabd3dhdCW2dkjns3EjYCsysDhs7gcYOSQQW96&#10;9i8H3Fne6dHLpWsWs6sIzPpkNu8ZXYi7ZMlQd2d27HyElsZwDXz3qF/deJb23nmlSW6sY4bLTxDb&#10;iPFvGcKrq3Hzbi3zZOSRntXu3wy8P6z8Ivif4Y1DxXpU8OmeKvDp1TT7e+hjewv7C7EsMlxEr/uy&#10;6mNwpDArlemQa4Vh+Sd23y3tfz6X+496eIpVcD7GKXtGr272tc9H1rwVqd5pGqeM/DdpIbDTIotZ&#10;1d1j3zzRSyqcSKMqm6UEDI6MRgfLXxz/AMS3X7vWDdfv768uZ7hBKpMkqyNHI7bQv32aSYcdFQNl&#10;ScD7ytviRqfgi58d/Dyxut/h3x5p40OYXjQXV7JYtOt5bM0yBtsttIIWfyyp3QFTuUsh+UPjr8LL&#10;r4Vav4M1WKdpLHxjoP8Abmm3UeHjZmzuh3If4TtLBhlSyggEbR3VJ1J0oV6ey+JebfTyPGw1CLxb&#10;pzjZz+B90km7+mp5JceCry1sbi+tZXaOyu1EkZYIwOB/DnOMYP4YySMH3bwNqdzZWRW2Vfs80bWc&#10;0yL9ptpMNtKlgeqMjcqckjqMV5yPEoFjeNaXMX9oyso8m7t1ldhgs7yLjaRkD6gAYxmmeC/Ez6dd&#10;XunoVuLNJHuU+0nDruLEEA+p7dAD25rGcHWmpXeq+Wp9FlsrSnCo01zI+sLTxVdSWcmjytLeRzsJ&#10;FxvjiKKysuewx97JGQVHGQDX094Cu73UtHs9MuruSKxSWN5Ik2yRwKDw3AwzZJBP4ZxgV8M+GPFK&#10;/wBuRl1trywtJUunWMDyJGBkUHdgsgG9gVQgDPIzzX6B/DfxX4TS01a4tJA1q+hyyxfao1RjcFFy&#10;qH7oyV+XAJ4TmubDxpYiVnK1lZ+dv6R6eNq/U6VlBNt6W6N2PSLbU473U9F8F6HaTXl9JJi6e3ZL&#10;pbiRpN6RxRBeXL5+bdyDjGDx7X4i8CaRH4K1DUru7vbXVJdNEnh8WlsBFLcCQZWRt64jx5oOwNgj&#10;7u018GeHNTvE8R7ZLgwpPMJY7yGZxcJGGClQ4II3JtPpktwa+xYtbsdSspF0vUpJNL03UPJ0ez1a&#10;VG1K5gYsomkCARghSWfnOXwN3JpUa0a1Gaa9/b06HXWyp0nSq0Ze7pJ26vrr6hAmo6j4a0pNfvri&#10;6Gm2C2KoWLNaxAuVRFGF2rh8DjJc5PzcfIHj+1EuoajpX2Vw+rlmZlXfOwZtu4pkbSV3ZwB0zj5j&#10;n3bxb4nl0h3stK1GYQSxNd39vK223udg+XywOepIO77vy4zn5fnzXdVtrvUI/EEt3BEptPKt4oiz&#10;wMysxYhh7evO4HrjB5nPnSVSWq/pnoZfl1RN1ox32W3W6PDvEGlXfhu1mlsbmWK7BSNrdJViklUk&#10;suB1f7x4HPzZ+mp4V1ttTeytJbCaKYoq3V622Z0OAV+UpnIJIzkrknjoRq+MbuNtU0m/tJbezju4&#10;ylzdzSG8mJZXjcoACWyrAYAyueg25PV+H9E1GE22tWttZTacY4o1uinlSXITzXMagHPzFk+Yhh1O&#10;MiuqFCFOk/Z3aX5LX9D6vBYqnUUKdT4m3r59vw0Pcvhj4O1Ka31e+guLdbi1h/cLeSPG90jNsZVQ&#10;DaWUMSQxAKdySEPtLQ6b4ds5dTkhe0tJr3yo0aLbEWdywVJN+7AUsckYHqTnHK+EFnt7S01G5klt&#10;Lu08qdobMZeWUlZMIcHb5ZGckNu2j2I9u1iSfxz4cvtY8QarDqNvZXsdxqFktpaaZcXDSgRwNiIB&#10;Xb5grMkQCjLE4JNYxjTqw9nHSXT+uhninXp4lVZO8G7NX1X/AA+6bPN5rufToI9Q0i7WASxNc22m&#10;QIbtgkqn5VYsTg4xtPOBk9Bt9e+GeqwTaRd65qnjDR9M8RsiWOmeGYNDuL6/mPmIFe4uyfIgDLvA&#10;Yb33cBFVtw8CXwxptxc+bouoSaVbwxC4uZ5rKWeB5sStHAPLfcdx+XLMvCn0xX0n8N/hzBrul6Tq&#10;91BayXuk38kjWtw7SxahEw+WGSPO1CTHOykk4IBfgUYXB0p1/ac1o9r/AI6dug8ynCOXONe+6eiV&#10;7dE3Z3Ttr67lvXtc1i3stV8OX11i0vdUttUt9KSKMLqtxHJ5Czl/voESSclVyCAVK9AOm+HfgXxF&#10;rGg3/i3QdQ0nV7jT9Unii8P3FjFevNAto8d9OJWkG1Iop1BhPJM2Uww54PxX/ZXjbxBNLFBdaJbR&#10;Sv8AZLSwtijSxh9zQw8Ad8kA5yRhSeu94U1e48IyXNp4av7vSdL1mXy7iabTjeRrbxXDMEnyo3hT&#10;FGWKuhdiw+UHA2UaSre0qa02mk+qvtc4PbYmGC/2RctVNSaauntdN+a3+49f+H+oa1bldSmlnFgZ&#10;lXZHcB4FjWSRArocSFslyvzghWY4+bNdd4Q8M6IvijS5k1eSHSvB5/tG51Cxe3guLiOS6SGGK0Vy&#10;fOcrI8hHXJ5zGh3ePzePdbg1u3aDSPDsemx3SajFd6ZYMJbl9txLDDclribYGEhcQXP7w+Zu3FNr&#10;P7P4z8d+HI9ZtZL3wraRwutnqsFqGT+y9YSO3SAiENBDIEuXS4l3bAeMEfKSd8PRo06cZzfwSW6f&#10;XXftdIzxGYY+vVUYU7OtTd+VrRaK1m97Nm1+19d+C9c8a+Gbv4ZeL7bXZ9fX+zNQ02S+aTUrK8tW&#10;W3W+uIcLEhuRJkJEg+4xbOVA8D07x9rOpnUNA1yRLCCeS0tVutVs2thpcisixPKyjIREmlBGBy+4&#10;kYJrU8cfD/V/F1rffEPw3YXfhYXU81voVxpCz2tmJbSKJIPstyvzMUILSFfu7xk5Oa8ZsdTSK9S7&#10;1yHytQMEe1phJLFqbhWTz5Z5mJO8qXZskMx7DpyZniZRzGdepDl9o72V+Vppbdr/APDG3DdLB0eH&#10;aOVU6zqugmvfs5xkpbNqydl7vy1P0h8KXt/pP9mNP4jsNch+a3HitbpNRsdzxXDQyrIuEdITHBsI&#10;J5jHUcl/hTxZa63JNewFbTWPD3iN4RZ293HJcQRyiRhfyh0fBeZY3DEEAI/yMy8eOeEfEOo634HW&#10;5htrTw5d6T5bLJLNbTSX8yeXGoVXUBVKOH2OzD5ZD/FhdvQNKd9Vtrcanpehi/n8y+e6kW08OLIi&#10;72kmPCBSFXO0qTuABGRXtTxlOTpQhtK3yb8/Jo8CtgcP7OvPFaTWmnZXbvbTVPZH1z8KYdF1rw00&#10;t/d3V9GmmpYxQRRwW15chbh5Wi+0TRttiRkjJLEO2WUHbtQdF4o8HwyR6LNea20UOouukm7TTYLO&#10;fTo4yyxRKlv5fyR7U+fCMcOTu37j4+fFOk2mnLqvh2fxJoV9MbfTr/RJb6TXrCWENGz3NjpUdo12&#10;DvRnOyUIgRsBkNbGp+PbvVdP0+3m1SNbW5xBqN7LavHf+bvmLmTBJDsJQzZ+ZuASdqivRq47B0MN&#10;9WqxU7JWavZ67dH1+V9PP4SeX5tWzeWYYZunGU3eMlFyinHVqylHVq+jfNZJ6WS8xvb3VvDs2o6b&#10;azTQabcaiNKW3lu8rKxnaOWX5ifvgNIM5xtzk4JH2v4Y1RLnwfa3EVxayubGFo9NhltL4wTJiOJX&#10;gMmVXAXc21j94bRzt+Y/EzeHtbW2j0u/sbfV/DEza+2rXLrBFeWm2ZGjTz49s20opjCpucPksSMm&#10;Twp4yv8AW7vU7DQfD9zHrEml/ZodQuNKktUv5oOZJQAgB2Ki75pWAAVsgkgjky6usDXnFS5oyXu2&#10;b/DzTdrbeZ6/EuXS4jymjWjTVOdJ81RySTt7qTldrRxXNzXclrdbnt4g8rZHEumQ6PdWzT6/rFh4&#10;eaQWd+PMBiE5dQ0pRJZCxb92rSBuAc5CwTPqEs+lRJc6Po5uJJ2s7eJoJbeONnhilVTtMrKJ5kDM&#10;MlCvz+UGHUXVzZPpNk91bz6hots0EOnJp0A+168EkmWXfIjGCJFVJnkmYqu2FAN5+/wWl6Dd6jr+&#10;tato6yx6Xf8AiBrPSdOJSCEyCYkyOcH5URokGNucMcAAKfRxk+SVOFJXbfR623+6/wB9+1j4zAuM&#10;qVerWnycqavJLlbbS1fuvn5W9XpHls3zRkeqaLFrNtMS91o9zHFbmC3vLmzaeP7ULUW8qBTtMu3z&#10;wqgKEDbXcEcN2XhURahHeaRf24lsdOng0a2uDKotbyG2AuGjhO3e5eXy42kGdwIUMSSRhMb83t5r&#10;elwx6iIYZNHtr1dLaLSGmmkW3mlfeRsSJN7qrKWlkYNghwzdrol1aahPpt7pMn2+F7uGGGS8LTiO&#10;XiMXD5P3mKTSgEDauScdu/DU+Wqk3or6b3i7ar+u2tj4HOMROph5VHFJtR1XuuE46pPRWdno3Zay&#10;XKpJoz/Ks7W9NvcKouLSVkKwtMtzqt3c5jvSE5RUjdeFTAjjPzbiVAdqDGK70K2tI7iSC3vNl0qv&#10;IYba2gJYqtzJIeGluIFVY/4YCQMkZiaygu73UNNudG1S6hvFW+OpR6hb2jXS5d4Ynkile5iwQXUs&#10;iGTc+3hpCFPnRS2OgWc0lvrdtextcTXl39os9PeV1eBFALM7YVpSoKkFVyflxWlardPS17LbW6a0&#10;7P8Ay18zgi4ynF87k0ru7XKk4tc+jbVpN9NG0k9eVXvESGzurGGDedRu0Q20M00ln9gaMpClyYgC&#10;TshjIzwAJDyCtZ95aRQWt3JuW1t7e4Q2Ullc4INvJIyOocsVLhwdxBJYkANgCud0efSLvXvEWtRa&#10;lczrtjigluoVhaPzZG3RrxgvJG6scD5NxJyFJqR9U1O+EZhjYadNdzWunRSR/Z4rxoMxSrBIsRwX&#10;2x7WKknKHB3Fh488RSfNNrSTaVtetrtro3+iOyGBr0HDDqXwKLk5Jxu2lPlSenurReSk+t3XtpIF&#10;u5tQuB9iWPQDPaWUzLdXJkmvVkYurDHzIJWEeP4zwRXHz6tYTX7Tqkl9p9tZxwOIblXSSQbxLtc7&#10;gp+6CDnBDDAIxT/GbG6+1abunsrSOaG3lu3i+y3t55UEYYRrk5UtvXcQAUQDBB4XSkhj8N3tnbwi&#10;XN1HJcC4mRmWOKMRRIQAF6+ZkqcEZx33ePmddOSoQa0W9t2ulu23l9x9XhcNSp4WOOqXbnyxUb25&#10;Yu2vNvfV7u93rvpmJfr5ZuLyAXmnPZyGISzO4Q72ClFwNvUjGNpcAkEDNZsF5c/Y4p2t0kfz/PS1&#10;ckJMHcyfeGOSH3DAwoYDnIzmazq13FDdWcNpMvl2yzSpGg/eKFUgYyQASVbP4emOdi1HUhYrJcMI&#10;3uo8yR+bkpGDjy29MEBvoqjPJFfJSxsXP2c29It3t10/pL1Pq8NlcqlH2lkryVk5dOn3p6tb2Wxo&#10;65fTXDC6uIXFwu21EZZRAQFKH/gIG0dOoJ44NcTq2sPHb26NBJLGIhHt4VnGdgA+bA4weeQoHTkV&#10;aOrr5chuZmZFMkUxKHcOXKhF7lmVRjjlhnABNcRr17cR+RCZWjMUHnXKElTIQAMKQMA/NL1HGMet&#10;eHiK3t60nzab/PTc+jo4aOFpKEkly7b7eXp+plazrss8VtDao1s14qxolw+4Rk8E7ycgkbiRwMAY&#10;xxXhcmqmK/muJpj5k6iaORiF8pQrYOOMFht4PfA45FbXirUHt9MWNrx55zOf3hTyxl3YsvB6IqH3&#10;9uRXjf2tb/U4ZJWeKAhLJYY5QoKbnlJAPU5fGewA7DNc1SLcU5b6O3meRUanKzejf5HTzXzQ6tdq&#10;+6a3mUG2mzlYljUjCD/gR/76OOxO9ZXwn020tbUvBMLjBIOCUGwnYASeS5xnnI+prjbzUoWv7kb4&#10;WmZ/Kt4hIsaRKFjUAADp98jjnf7E12HhuwfVn0/T7dSl7dti7kBDJBGC7SSDJOPkIAJGC7AYOc1W&#10;Gw06mIa39TZ14YfDtpaq2h+iv7Bvw21BvEd18Tr+2hj0HS9NufDmhXN0nlT319I0CXEluuMmOGOO&#10;SJnOBvmdR91tv6QfFH4ZeEvjF4F13wB4y0+DVNC16za2uYpog7RMf9XKh7MhwQfavmv4J61pmjeF&#10;9A8O6WI47DRbFLC1RWGOOrHBIy24sTk/Mzc19eaVqAubdX3DeyDAP3DkZBxn3Bz7iv6i4K+o0Mlh&#10;llPWNtfNvd/5H8a+JUszxPEtXM6+jvaPlFPT563fmz+Gv9t79kPxN+zH8Vdc8LzWl5N4bluDqPh3&#10;WpYGNvd27nKbX24LKNinPp1J4r4FuIkhk2NngPE2BgkluQfrk49wOtf6BP7V37MXgr9qP4Yat4K8&#10;R20MWrxwPP4c1sKFu9MuMEqBIOdjlQGXp0yPX+If9or4DeL/AID/ABC8Q+CPGGh3WnXmlXci25nj&#10;IjvY9zeXMrAnrjqOycjmvg+L+FZ5TiJYzCq9CX4P/I+q4O4pWbYdYLEySrRsl5ny+y5yEG7jb5aj&#10;ARQSxPB68jtyO/aqzwujbC6hk5UK2S/VSDjjOcnnnBX1q7cCRAEQgBJiSXO1m6Z2gDuBzyMc85xV&#10;aaIsyxPhmjTeNxLRseMN6AcDI57etfAOWvJB/wBI+7dSM+W2r/Uqs4dxGymc4GRF8pyduwk98l/u&#10;89OvTK+XgAMVWMp9VbcpHynnJHy59uO4qyEKuylg5YZkViUVgGUg9MD5gTg5JyOtRvwPnwVgRpCI&#10;RyVIGcjByAM9McZ5rR8qTvv/AMMTKHJr/X/BI1AQRE73jJ83nCMpfDcjH95T7ipwiK0MagO8ilRG&#10;ZA7ttDOSvAPCpJnGCFycjFRugI+4qklgS4w+7IUZA7/IQe/fuCZ2kTJwNpjIRpVxtBwT2PqMEkDp&#10;zzxWclqlfVf1cuLlJ3t2sl+JCyllZSrKPL2l5F2MHYkFV+bsE45+gHLG0Q+1mwzAAKVUgb2yOAxz&#10;nuMDHp2qEs53uDEzlWXIJ27uCOAPZRkdSCcDpQu+JZFZt6eewVs+YjHdsGMAcEjcD3B+lKUbtu/9&#10;aDpu8morSy3LbkKdqsyo52KpB3LkE53liSO3qOuTmnKqs2XjyVBAk3K5weOcdjgD14qAleDuVDk5&#10;AOSc/d+oGD+XtVnJVwXxhG2LGq4ZQeCPYHnHpnGMcGZNqaewO0oykun6kwXyEjYMV3sGkLZwMA57&#10;8dEGD6k8d5VKrISW+bzfLPAVMbUGRnGSWZsA44QHNRFmMa5UgMm10RNmDkhiCPYjr07gE4pRARFD&#10;CiqIzJ5eyQ4LHhUHPXllHHc+1KLTUm+9iZStNSWr/MsIzKDlACwz5bP8qkg5xj2PAA79qmzuUPHu&#10;A2BmTbl3UnIGOueW/OoXlACnJVSApGQHDH5RjryOAOO/4mUEiUhzgKuJASSQQMdunGOvaiynO8ev&#10;9WN4tRk432/4djgzsCfL2xpGWPyiXbjpngjuM84JwMdg9MqAA7MCOrhY9pGCPmxyOMc03hlPlgKT&#10;lGO3cR0UnGeMg/rUTsV2q21449gSPa3OD0yRjJ7DrwTjA4pw5Hyy/r1+8iMpT/eNaW/r8BfM7cxZ&#10;cMCyHKtuBwvX5TleemQR60pcKQSGCDIHG49QCOe/H/6+aa4VkbLbQUMbZUkNk5bkf8C74yPrRI4l&#10;3kgZ25zkjzPU889OeQOPepcE/fS8vyJ51f3On+SDaX3HChGRSmAQmf8AZx6YHfv78RbBHgpn5Ytv&#10;lvymeD/QDJ9W605sSbf3gjZgSVQjKn1I7EDGB0IINKTsi2sUZ2DIxVdzjuWz0Azj/wCtVua5bX95&#10;fkXfklyde/a4wsGOTtUKS0gZtgAUMxIz0wEAwfXv2CrAFtpP8IZwE7soU9+MkgY/ioOIH3BWcKcE&#10;O2zZnaoAPXlgDjPXPWkVlzIWJ2K3mHedqoMZ47dhnk4NZ8kZRt2sNKXInf0/AYUSNpGQbmLB41yM&#10;EELuAOD6kj/ePrwSfOjPGBKycKEPJUYzjB6gD8MD2pGkZUk2eUrscqzHJAyyg+oPTiiPEhQsiOYS&#10;3luAXDEHb0PIJyenODjualu0E2yaPNN3XRv0Iy4fcEJmjl/diRGVirZ2nG08kjA4JwQMH1BIke7c&#10;kpG/ezBPu/w4wOcADr3z7U+RGWEDnLEYJJbYSGAzjkE8478e1OBI2AKsnPTGCeePf5fb/wCtWl1y&#10;uMVu1/wDLWMHUXUiIljZEReFfb2TaBj7q/Tgfh61LtXaViUBmIyV/wBWwGQB6d+M847VXJmJDDac&#10;FWjRlG4Y5BBI9cHnnp3pCzh5FkR1ZZEJaPK9GXPpycE/kKuPKmrMp6Ss3o3r6blmRmBO0gFHZt6A&#10;RMhABJJ5IAICnnjrx0qSNCA3mkAxDy3UZGzA5UgjHytuyAOKrxzbdxbJYjzGZV3D7wycdcY/lTll&#10;IcByjjaGAQBhkHOCcdBt9vT2qXGUouK0/wAhOKinUprTa/3E0crKZpJG2JuDZB3AgD5uMgnj5sYO&#10;DigyO0wOxmHMQO0MqEZ65x0Gfmx39KrMYy8jKiyMwZWEvRwrAqBxjuR06Ecnmp/MdlMYKkZbLCTy&#10;2CqCpwOhPA4wD+tON07rqhqE1ZPp/TJiGAkfJDRrhcDO35cnOcjt39vwbK67928Hcu8KpCBsr04J&#10;2g4HT8M5Gaakxs8m8kr8iwKzASc5JweMgkYOccDpUbSKrkMUUlHZcqXA2AfMRnGAHBwSCTu9M1qo&#10;XdqbvoEXGEeRb/0ydmUktIDGZZBjpxycEn3yff8AKoGZXOWXCupdUIUMxbPGG5BGRkd8cZpJnDph&#10;xs2gkjJckDgjjqcew57U0klv9aqqiMWOP3mMDt/EeGx0HPXPWHH3Ul1/4Aat+7bbTp/W4FvlXByg&#10;+82xnZscnLE+mD6jJBGMVCyQyjDEyFvkj2jfgngcg5zhj24De+aGYsxVlwGdWww3KxXHy47YOOeu&#10;CxBO2nCVMiNVUeYqhR/CmMtkjqeAMcf0NEYRupPp/wAMZK0FaSu9PlqNcGNiEIWIMZGMQ2bgygcn&#10;Gc5WMNnrg9ahwrHCBgxTdu2/6sbgBz1AGScgngHipxufzdhWNAPLyjAMcNubdkHJIAwBjGMEEniO&#10;VcmNWdS+1wEVgN4ByoJ6HKlhnrx9DVJKC5vi6Fcs+Rc3Xo/kQbm8sYUu3lbTGuGYbSflA7njH1p6&#10;oC3mfdYAkAHcjADJXj2579B70/y1X5UAG9jLv2blG4jLHAOQFVQcDovvw1YpSPLIJHzPIoIJjbAy&#10;D255HvjPak73clsZpxa5ZK7/AFIw2dwkwgzuQAZYAfXjv696tRREyFpJETCBwSgIILEAlcYwMZ9c&#10;EYB+YiEoXY7CARlgGfgHb0YdwB375PQ9bjRxbYwu9iFDAZ8sg7gR2yQSWJB6jOc5Na7q0dOn5FKT&#10;cE5dBsboRA+1gWXynQMWZCCvB5xkMCMDn5e2BU6IAZldkVSBsTBDpgABQOgH3uB2Iz0oiaNpE2Zw&#10;csBkgkEDBAJ9ffGfSpAFU+Z3OZBI5JCNghR9Dux365zyTQ7wk0t7DkpVtXugiiYsWDFVkXaxGSEB&#10;IyOvTgZz6mptikkHaSSVJUkKTg4P69R6U5AsWBuCrIxdst8nJwc9+COvQBhzxwo2kZdJD8oAYxFG&#10;XO0YweeC2Dnn2olyunZ6kcmkZJ7a/MWKIiMgtvQjDM5G4fMoxnn8NuKeqxiNRhicM8j7VAcIy4I+&#10;oZh2wADzipVCjarlCSEkkADRgbSTtZvcDPB6GoWRncSSBRtAUB+QwG7Z74HFZyjaK5upvzqLba1+&#10;+21io8Kq20xsxUAbo1IQ8DoNp/nRV+RpQ7BIEKg4BEhwfXoCPyNFJOHVGNqV9L/ecuPlEIlUI8h8&#10;sc7csMHBznHCkemD681IDJEw5MrbVYjlEbA+XjnvjucBm5olCtIm+PCs7MPMOxiw5yOvHOBk/wAJ&#10;pqtvZW3HdwRJtwqnB2kA88bmxn8iDSjq7rzMZ+43zeiEwkZZAxR1yVUPuDYxkDk5JH97nj0xmPeT&#10;vbCojl4igOAxO4Hf2K4/DDCnofnZlZSCuwOVIDB+d2MDDfuz0zgYB603JYqpBUkYyyFVIVcZbJPJ&#10;wTjdj5sY6CnTV5ee3oRzOVm912+WpM8cnlq4IIY5KyfOBtZOR3OcsCOw54yDUDeYHVk8t40QmIt+&#10;8APQrjJAIGc55GV7U6QSFg20yyDKeWqnBbKjGR1xgdOfl5HFNeMozhFO1ivKYJl+YhcZ6j6nnnsM&#10;lyTT5n0v+Ztze0Xu6JXv3/4YQkx+d0UxqwJkZWkGxW+YrnH/ACzQgDg7jjPFNIjdUiIKzR7mBDHf&#10;GAhwVPJ7t6k/nhJJFZ15QFFV0VSI2iYlioL54+4SDgng4FOEcYd44y+4AFgAVDjG0hQegOA3YE9B&#10;653u3OSt2XoaWjGVk9Pz6EMgj3MFZiVYsBFlmGV5Iz8w+8cAc44x3qJyQ4CsCjruYtkkjbvxkfxH&#10;MZwO7fk/q+4syRvtT7oKLwPmbrw23OAecAkcComhDKQgGEcgxkDy3IAGQCMY4GfYH0q7KTu9/wDP&#10;/Ii3Mnpa+3ytf7xFULIvmFWD/IVBOMqAS3fkYzzj7xAxk0ZZ5I12hgZd0rAAKpyqsck54zjnAOe3&#10;Wla3ZAzuCrEbGPI25JJDYHXOFOegbH0VB5ZyzSMmTgD5vL3HPHscgYHb2HKSWijuhQdSUr202/r7&#10;iFG3FNwVXZj5ybfMYBQuFBPU5Od3cL1x1exQbiARlhE+CzktjPXoAMN26sBliBURcJuCkt5cwO0M&#10;EUgoxYnoO6kcEn9KlZUBjd2dGdVkYjEZOAhL5xjGMYzxwScUnTg99DSL9nLkb3d/vGFd/lsgIbJE&#10;Y2tkkSjAC4A7dR8vLAHIIAhEqEvkCRyxZmImLkZJPOQcAjPHPGcnBHQeUvlD5I4XEaPhNgyCRt47&#10;ljj2x6ilQqEWZA5ZQGVlRSynaBjIPqoORvwzY4XlXGEZSjqQuSU21e3TyBV2qWlXjaFwPnhbbjkk&#10;nJycAZBzjrkUpRiIuMSSMUGVDICcljuA528/4dahEgVZFiw7LuAcggLjco2jkjIJIA4poU8SM4d4&#10;0IjVhkkZIUjvgZ6e560lSnTlaT3/AOAFrtLdkzBi0KkR/LH5uGAKlSd2eB7nHPRs0p4wxZ18tN0u&#10;2M/OMttbb7ghR0BKg98VHL8jOuzezSNK4iLOGyMsdvAAGGIIUH5+T0xG3yyB1ZSwXPlncwBcoVc8&#10;dw5PvxiiKjJ2tcqo09fk/wCvwHtIfKZgiOSQFLjIBz1OSOqjHz9i2QDzSAqfMSIJvDGKQBSXiPyE&#10;EDpkHdlTjGBjd/DIiM1uz5KqfnGMs4wMKcZ4yHYZHqx6HgAaPCoSAX2ybiWYYUZ7AhQVxzjBA4GT&#10;m1GMI2uKV4TUWtGv1DeqskLKSUBdm3bAFLAEn3+Yf99DHenedtdsRr5eDLhl8xgoK/NtxyMk5x0A&#10;PeoSxbdlsROdyF0w0hVmGewxliM/XryaaGYGTBmKsCF3RmNsYxwc9M+nY/TEJWvF6XFFy5HGBeQe&#10;UwbIkOAyTk7mZs/MffcAmScn73AIyWhQUYsJAyEIDs80g7VU7eOu5XPHHzYzyKgiljymwFWRm3EN&#10;lT6bxnjJ3H0wF5bqZTNIrKELB0QuQX2mRs9jnAHHf1HpSSknoty4qKo8qW1vv0LySso8xcEB98IR&#10;eFLfMCAf9oInOMgngcU1pQFlZvldQYiEGFdtz56dgSBu5zuPPAoYIAUG8AEruBJJwDxz6nHHvxUQ&#10;jLBhICwLgkSx5LbcEc5Hqh/L2pKUHGUJr/MdSLirSd9vx/4FibYZNuDIec8KQSX5JIPPGXAHTgED&#10;gYUMWBBjJRSrsWi3Bl4B5HPVnOPQDrTxFGQwKuC5VU8uNVYc4zz0IwDn16dqhjLsqAKVj8vcG5Eo&#10;/uhR2ICjr/FzxnFHNG/ubf1f8QlKyjZWff5IdHNKj7iI2jdmB/eK5YgKWA7EZIHQ5Bzjg1dK7zGW&#10;YgRyN5YEeGIOAD74VTjjgMenzEwKAS+8q5YxnfGMOSM7iBw21TIp6Dhzxk1JModVcEgh9zqG+UAA&#10;YwPTGDkZHB6dajmimo2sn1NeV04uotXbb9CH5W8oMvl7ZNqqH3KnOWAI4Bx3HepWBRsiEsXJR2Jw&#10;pU4GAfUDaSPRfWkh8wiRF+dtoJxgkbiMnce42N07E+lPId1y4BMi7wijeRjgqAPU9TjjJyKt8sZp&#10;tmEOTlUnvb/gEYjypcmPeFDKjEujDIY4OMA9znIHIyeKkCnzojsxyG2smP4gxBDAg/w5I9M4PQxq&#10;xAXYSwQnChBk5Y4X7xGCAT3B4BHNStkEBSSZFKZRcbsZAPTPOT+Ld6STSTW35lc0muTb/gAwZ1Ko&#10;N0W7AXbvjRec9ckdPpjjpSqjKkkpy+0kPGCSR0OcH0GOvb68y7W2lQqjzAQ5P7zIU4I64z14I6jr&#10;1ppQqpCllcp55Em0rkqQNxPvjn1GeKUW+Tlbur7fcU6fu8ze+lkJFvRFIKNKyb0BjyCejEnGcBS+&#10;CR1x25D9uQuShIYlV+UbTgbVwemNv4bcg8U1VY4wQXA25Qbc4XHHJ6cg8daUxERlkeaNs/OxAOMk&#10;7sY9BuGSeeKcffkm3or6fiKCVrWuktAVYgWaURsRhnVgAQD8w3ZPY4wM8YHU8lzRu2SpO8uqSAZ2&#10;t97PHbJYNn/YFLMV3E7flbLKdoGdp288EDtwOcE+hrE13V7TQ9MudSv7iO3hgjMskgZYoRjcSMZ6&#10;4Udeu9cZPSuSbacN9Bpwb5JrXcyPGvim28I+H7/VL6WGNLSIlgJQGKqm3q3VsH+ua/nq/aT+POr/&#10;ABV8TX0C3MiaNb3Gy3hjkIjmZdwEhA4PBOPQH3r3j9rv9qjUvF2oXXg3wtePBo0KiG6nhk2vcMAA&#10;+COcE84Pt6V+cMsrEljuyTkkklm9K/ZuB+FJ4Z/2xmMfffwRfTz9T8i4z4phVTynAvSL99p79Len&#10;cYzscgnIIBGO2PX9arZHU5OSTjGDnkA/hz+dKWO5yn3T/DjJxxz/ADpnRudoDLgnJy3+c1+q00oq&#10;zZ+Wyu3r/WwjqGUEknBLE49D600dcH7uARzxigAKuDtb+E8cnmjaueBgBQPr1ov2Cz1mtBjH5twP&#10;IJZQowfz/D+VB+8ME4AI6DAznv35/nRklhjnI2huinHP50g5J4A5AGOlFjPm5XfqNw0ZY+3BB5Pt&#10;+v6UpUggE4wcDcfvcZ/r1oYFSBkfNxnHpnFGAQNxAJJO7GRjoc01eybGtY2ktUMB5LDA+Tg4xj6+&#10;/NOwcAkFgOeuMZ9KQphmHGSoZfTHvSrjBJUsd2B/COOCar3XHTRELmXxLXyHQsY5PMGNyOCM/n/T&#10;rX2j8DvFe6O3tzIxdCI5MsWVV9x+XFfFYIL9MFQMkjnP+cflXqXwv1yTTdaEXmGOO4ym9DtaMtxn&#10;PWsKsFKk428zalO1WMlorn64aJeSzmBgZGBTBUxFwxOPu7R1wBwM9RnOcH0azlQfvHkWUtl5S5Ep&#10;PzNuGRnIPqRk9ckGvn/wXrCalbwMnClflUOQiqOQmc4Oc49cgYxXsumTmYKFZflJeJ+SEIIIx3Pc&#10;45HPToa+WrRlzST2PqqbjL31H5f1+J2tsuwwvHKy+Qo3CRSGbkkZ6gkYI4I4A+Xqa2oXPl7yZMIQ&#10;2WUI0qj5SQOcdS3OQAPeubt2McZM7yrEgEpRQJFyDyc5AwAWP4cnqa2bQuUXc7kAbX3ZYxdN7bc4&#10;PzLg5PQ9SenA+V81S3a3qds4xhBTSsrbfd+iNQE7HaBWMWwsFClGBweAcfeweCBkeuemTqNkSrOk&#10;RHloBs2BMEgFQgHHzbWx/u5rVtwWCozoYnAwGkCIC2I9uCeA2FHoNmRjcasqUWUqzCQYLIjLsKbc&#10;F/QcbgVAyck54GTzVKcqaTTvY6aU17rW1tvuseLeJNCe4gcNCpYsY9snOSXDbl2gZ+6c5HO4c8Cv&#10;kn4i+B/tiXE6xBJRK0m4dYzgEcnrnkZ9upr9AdUsy0IKeW2w7nDHavCs3U49u5JrxnxNoKXCTLKj&#10;bWLMFiXzMBvl59CCQcH+6Ky5nGXMtztoNOcYrdbn5gXemyWE8kM4KOkgLNjCt6/Tp+dJHI+FJkyV&#10;IA3cHGei57ev8q+ivH/gVGM14Ew6tvUj7gXnPPfp/npXzrcwS2b+XNjMZJ3suMjnsenOPzFdsG6s&#10;VzvXY7Yt0/fjtpdI17edDG7Ky4L5YcKRkjp7fSrIRXCiKQKCwyPvkc49s8cn+tYMLg7VKjaG5xwp&#10;GM8/nWikwTEkbMse4hcDAJzxzj/IrjqU3F80T6jBYiFR2fb06G5CxiYlI9wYlfmHI64IHpUdw6+W&#10;csAHJywxwTjPXpRHcoSGYhs5EhIwQVPY56cA01z5rEKgCsC3X5W5HP65xXKk1rbodimlDlk9G/wZ&#10;jOCPmO8xY37t3C57Z/HFWZ2AjMjFd5A/eBfu89x15461akQbZF+YqihCq/xHr/M/zqBItysqnAbq&#10;Noyrdx74zW0ZJxTZhKhyzV1r/WpQYBtrMcsB1IwBjI/r+lNmiWJPlyyFdpOMAZwc8dOSaJA25VVm&#10;4c7gF+Yjtg/hUbPtRo2+9vIxjOR0z+ldScXFcrPLxMJLmUfLX7ixZNGJI1+YR7toCj5xyBwT7etd&#10;VpqvDLlPLG4kEooGDnjnr3/SuKtrjLkk7kjGGULlm9P5Z/CunsLwRyxAhdgQn5zwRwQc/iOnrWOJ&#10;pSTsluejlVeLcY1Hd/l3Z6Jpx8yN4A7CSRsFSMgZ757j86620it4bkbfM3x5cOTlXO0EAH15ArhN&#10;HndD5m9ncKZMg44DdAfZe59q660YL5clxM6KxyDsO7k5Pr0Jxj/9dfL16ajN33ufc4OrZWi7vsdl&#10;bPezzNdER+SpjKxht33V2jB/H04rsjLbz2ptpYhDNIgdxHLvYfeG5RxyTz17celcJYLFdfaETN3F&#10;IwkjULs+zgZ9hkZIJ+hHFegq8SxWztubFvnkF8cEZJ6nkY9q8XFObn7m569OHKnJvRv9V/wxyeo2&#10;01hP56us8F6jFERSqRMF59uANw6cgZrKhtogqm4lMjDMu9gGOOcDB4PQ9c/d59K9AKW95ag3ByPJ&#10;+WPAl7hck+pGeCBwM4rzu4thZyXJWWW6jkkCBHBYQj5mwR0xnjpxinhJRleEnbY5cXG3LUitL7eR&#10;n31k6W7fZ9hV2DI7ghSCGJAz35PT+7+Nc8j+SHATfImd6HqwA6j04B4HTIrrURp454HjmRdhwhDe&#10;Y2eBjGD68HpWTq+lywwQ4aOOSSFMsEAYjGGzySM8H6k16VKaStu9zxakZVP3dNaGLqxt2tIp2ZoQ&#10;+SsjMoRGHG1s/hz7n8eFZ2JaYqCmfNB4IPOcnjv1J+v49dqNktzCtu6y74mEmC+UY98j3/lXIz4h&#10;E0ckb+Z5e2Mq/K9dwI7f/Xr08I6bei1Z5WMwspUV1a+RVhnd5N8S5Vl2ALgA46/kDxj0rYEi7JFC&#10;7XVtoUjIGeTg49x24zWTCioFlVQiDDHjbz0Ofr0q3G7Ry7327ZWyO7EAZI/Vfrx6ceg1FaTfkedQ&#10;qVqcVGls9/Q6jT7hoFTBLc4dQPlzjPI9cDGfYetdxZa4EKgmNlWMwkKBuI+UjJGSRkA9unUV5hau&#10;DcI6u7qzl3QNnjGOMD1HOa6Oa4gh2FARNIAFYJgHk5GeMDGTz+dedWoqerW/5dj6LCYr2CtbTa/z&#10;Porwv4liJYzqhLw5jPmABCpZCAM5GMEE9yK19HvoBrSb5B9nlcTzbTiLl9pBYYJ2ng9O1eHaLrVu&#10;sKW8UYWeM/OWfbK/TGMngDP/AI8M9q6q31KGQwR/vTMwLhVOSfnO0KDwRtK8da8atRcJ6bO+59Hg&#10;MckvbNe9/kz60h1v7HrMVzYXaSWTN5VsSN+AwDRqe+fkRSTgkLmvqjXtX1Hx1pfhR/7Se5l8Pac1&#10;ol/NGETTkaVpEgjCAl1LO7MzhdmF5OCV/OTRdW8q7sYY7vzY5GWZGwGLOB8+e2CC3ze/XFfV3grx&#10;hd6Q8skMgmiFqVyYhcQnIZcEE44UNj0LjHQ141ShKm5wqX5G/wAVqfWUMxhOlCtSs6ivb77P8Dtr&#10;7WtSTUVzdtciwKJbFGPlyrJuDMWPIyUU+2a9u8XR2Pjb4WTy6pDJL4i0W2gXw55+oOw0+2iuvMlt&#10;4YA2A0gkmI3ZJz0GQa+WLbVodU1iBU87+zLdxJOpYxyE5LHcBjIG4jDYJ+WvbvEus2L+DNPsY3Fn&#10;e6PcpeXN3EHSfVYvmjBYA4Xarl84xxWmEVNUZ3fy/J/qdGOxNWUqNFR1TupLptp8/wBT5hury2tr&#10;2O2vbKaZZ3Z4z5exnIwSqHb1XIwD1A4zmug0wxPOqtCGVEEkbpIB54zjLEZwMgkcd+9N12e0uTDq&#10;TQEQWt4q285y8Mzbcqo4PzHD4AIBwT3zXQ2ul2t9a2Gp2Ek9vEGKXKKo3u7MMFsfwhM5wCMoPXNd&#10;bouhRUoWasvxsY0MfzVXGzTv99i3pc7YuLe2uo4pTII2EYXdGZOucjOBxnjkjp0r1Hwr40v9Osl0&#10;W/1GRVjnEkc0YwHCAIVU56kHA9l7cZ8Ga3msdQF4LdZoFuR58TS+Us8YPzOcew7Y4P4iW08TiXUd&#10;kr23kQXD3ltB5Y+VnlaQIw/i2/KOewHAzXhujNp20bZ9lhqsKyXtVeSs/nfQ+8IPFEVzZ217p8/2&#10;bUI1UyRmPzRdYPyKF4wSO2TyOvIFew+CPiHa3uo2VveJe25hZcrZQCV38uVBcOecFkJyUyMAryM5&#10;PwX4W8XW06Ynmit5HhWbT3uFjFldOjKFjm3nC7tjA5GPnHBBIrqfB/ii3sLhdSk81IbWQ8szOiDJ&#10;IZmySQ2zgnhvfIFZ18OqWKhVj6v5f5ns4OsvqlSlK7tt6vp5o/RHxrZW1rBZ65IVmWaB7lLIMY5y&#10;u4kBuxBwflXuB34PjXj+xtdQ0J20tXF5Fa7okjO+K22o7HcvqTsHp8/sa0LX4rQ+PvD8Dx6cFu9M&#10;sP7NtpnUTPHGm5tzJu2nftLgDGQoGcKWr548U/ER9JntGvZ/LicmS7S2DNFOHUDyl2jsCRngDA6E&#10;YPbiaVGMHypOEldf5/gZZRj8XVqRpTnarG+nR+X3bHlll4naHVobHUruaZBgByd0CEFeI1J+XeOG&#10;543kkEnNfUXgj4lWqi30UmITsHhtLaNAtwkkZLMzIf4flcluy5bOADXyZq+jw+JNROs6XHdabbIm&#10;BaTBJBdjhtqqCMgkKTuA+YgY459G+Heo2Gh386XDsl1D8kLeWi3EgI2MhbquQzBsE/eK8j5q89Kr&#10;Qg3OTabS8j7SFfC4ppSjaSV7Kyd+/wCZ+l/wi1nV7zVJJbS8jjjli8hlhbN+D8ylWP3SCc5245Uj&#10;jGT9dfD3wTpWqQeItXvNNeXW9Gvyn/CNSh7YTJ5w+1o+1lYHywxAzksQe1fnz8HfGFzbeIpbq0sb&#10;PUbG0shcC3uvKWEy78eTt4DLgtuPOPmGDnj7e8FeOLrSPCd9qfhBnm8d6Nfwa1a6HcyCebV7cGRL&#10;gKWG2YxLLIxEow+1vl546MLCLanJ6Wb7vTt5/mednrmozhS92T5Eulr9+y7mjpejeCfEniqO98KW&#10;azGZ7jVtd8KGZdPt4Ps+0Cy05slppp/MVIo8lj5coPBBr1zxZo0um6pH4g8PJcaRp93Zm4l0KzjM&#10;32FEjZy67SyFdoX59xHzBuBnHxv4h1rw5enw3e6WlxoPiy48UC88QeVfojYZy8xNuirLEzeaQXLH&#10;cF2gDD5+6/CfiTUf+EXjutUm0/xJ4d1e2Ghy3HiDR5HuNFLQyJbhbiGdWIjjZZVZlI3KN4ZgSe6n&#10;7CrS9nKyas7rvbtujzM3dbBqjiqc3KNnHkfl2ezvbR6OyOC8V2Pw7v7r4ZyadJ4h8Jak+lwT+NvE&#10;Xkt9hE3mIEvtOjVVZ1CpIdxwzOrAEHOMxNJi0nVNSii8VW+sRxXksWl6nKjWN7rYZWkjuHt2UvHu&#10;3B1+fdkqfUjV+IUNlrUGk6dobRWk9jaW0+rwTu/kXCpPJmSMvJIR53ly/KojU52LGoxnx7xTqMNl&#10;JeWtsdWnispJrvTJW0yDT7yUvBHuSVApkVQUKljI6quWVASwPm16jVZznFcqejWnT/gX9SMsq/Wa&#10;UKMJyu+bSWtvevdt69bLWyR7L4b03WLrxVc2+maNpUXjaXVLOH+zftcC6Dr0LRLlHj3p5kyKsbEL&#10;JkAMvyckxxXjeJbu+g1q0v8AQpnvJZLqw06I3Fj4bhUFPNjSRnZVVkCgH5iiriQ9a5n4I61bah4j&#10;i8S6np+q3enadpk0FnDpsUU93a3yupt5fKP3od6yxuFywWdjg7c11XjHRftutQLYeKzot3rlqj3s&#10;+oAxQKqAyfvdhKqGZWVdo+Y7OmQp7qrVTBQqUXdNt8vdX0LoV5U81qYOpHlcUkpW2a3S8tLntnh/&#10;RJbj4W+M/DwuPEV5qGmWQ/sDUdFLXulWF3LBsXztwCxhx9lMkrOv/LXILYx8Vxw6hompWkOqGCZ7&#10;e2imt3uQJfKaJ0JVFZTiJMTjgDIySOQo+m/hlrVp4TskhvtT1u21DUL1YrubTNRS4sbi2lYyKJrJ&#10;pljudqMAgcBlMzkleg84+KvgDRoPEkV9pGp3XiHwtqdk73tymmrpt9p80byxLbJ87sm35SXB7Yxv&#10;Q1hjlRqYWnVg1zR9167dvWwZfU/s7McVQqawqPmi7Wu0lfXZXeyvqd54S+L2mNd61pY0nS/EWk6v&#10;pkFtE8dmNOS3vTcKjtC2WEKnMqAMwDLCSc7SK+jJLXQtT0mzsda0m0tG+1/2voUN/Pa38tzGD+8h&#10;eeNtqMoUlcHBMQ4ZiMfHeg/B3UL+PVX0yJfElxprwqn9jTrf2089yscpePDKFRC7jJyHMGArBhn7&#10;O8AWHhifwvonhXX0i8BXljp013dahbA6lqqERPG0c4jUbEdJNr8yEbcg4cg3gvbVpqjiLJWvFu2q&#10;v379fI8vN5YTDWxuElJ6rnSu2morVR3d9mkrs878T6r4h8La7oviaXR7CCKEppqSWUUTtqq2c73C&#10;S3csSlpnTMUe8k7tvBG4KPR/DXiK1MFv4h0S5uW8RSt/aV5EIhDcWzB/MecxOpCjHlhUY5Hf38z1&#10;3UtOjla+/wCErlvJ59clh1bS7t40m0yIhkt5LSKNQHJEallUMQ0yYBBdl5u58T2um6t4ivrKG+vZ&#10;LnUbe4sdSuWhiN4EhTcZymxEQq5bhBGCpAwQKylioYec6tSd4q1lu15r7kepQwTx2GpxVLvfSyav&#10;8LT3XvN36o+uYItLh02GW10+6stUmD3Q1YWt1/aN/EYBJbxoZP3O0lgiEAA7HL4UqW6pPDl54U8K&#10;6cAkOuxT3cuoeJPEWlq/2LQxcrtjsrq8DBW+ZoyyqCu9lz905+bPDnxF0rxXfJa6feTadBdxrpmq&#10;yX1yRY2KvLA7mIpGzCNfLDMU3vjZxnap+xPDEvhHWk1bw3cpp9np9/L5iSvJc2OnPAkvlwWywBx5&#10;jSEq7OF83Kn5wTuX1svnh8e3OlJJNcsXsr2vt52Sb83r1Pi+IlmOURg66nKKlz1I25ny3tve6spS&#10;cYp2uo6W912zqXh25tJPs8Emm6JbWoh05I7kR6TpoklRCRx5kw8sHdIoLfJGOFVVqGOO3id10PxB&#10;Nf2s05h011tFNvcQ7TPOxyhkDyT+WqYUf6ps4U0zxZovhCCO4iFq11cvbSQade3yNcabok8vmtJD&#10;bIrGONpIkTLYXCn7mWVw+aSO00/QdY0nTbmNvD9rDaW1u0huPPYB3Km3GB82ZSxJ5VypwVroxEpx&#10;quFS11ba97X1Vl0S6eS1PjqPsamHjPDe0tOTSU+XlvZOMm5Xk25aOWm8nKL0b9OjtbLR4fDV3bzT&#10;C5s53nuYbi5Zliv1+Y/LyioXkQfLy5gO4MAgq3Bq0OiR6ncaRd3Etwb2aO6toY7f7ckBWNjHbmVv&#10;LWRssrOVGwMwAJFeH3PxKk1PUr2Cy8PymW8tBa393fS7LC3eTeZkgV18uactIreWCEUrgjClT2+r&#10;+FJPEeoT65ZSt4MMbJD/AGdFFa3mta7epsiELRrMBHG+d7N8wVnC7Rswe6lj41U54NXs1pqmtLXu&#10;9Oiv92585icodCUFnk+WNRNtvlmn7yai4puVrzaTS0td+6dtr9zpkWmHUYodQ8PX4tbfULfXryUa&#10;ndKrSxzJKirG5eV1SQhpPL2B0ULwQvmGn63ay6RLf6ZHbTatqsbyWFmL1JNdAmdo3vbuFWJRTDHI&#10;q52rlmxkITV/UrXxBHa3Fpr+paRo2nSMbq68Oxaxd3er6leSIkjvNDNzKitgmRj5ayMwjQcM3nk9&#10;xpUV/ElilxbGOy+wWEaEw/ao490ks8uDjkoSVAyyrtLKME+RmOJlOteTsrWXR3b+JL09Ht5HqZDl&#10;dGeFlBSc3zc17uUeVL4XJu7Tdm0pSiknazcmeg6fqGpadp+oS37JaWcyQzSwy7LZ75G5KRygbUXa&#10;GZsAKO+Tw0d/4zS2tbCSwnvb620a2VbOPR9OZ0nldVkmkDNyUjQxDcBj5XJC8MeOh1t9aklkuraZ&#10;9LtXDwxXMETWxmZ1basJ+RtyxxKFbIJGDwMVo+JfsdzaQXl/cWVvNIvy2lnfG3udO3OCxuQjAfOq&#10;MqxyEjaPu5IA4Y1qqwy9jNtL77Xvv01/z7npSyyjHGQjjaS5pPVRtZe6lta7fLdN3TSbWvulbVtT&#10;bxJBavZoB9tlSC1hVXW5yqK7O/PlpvZ0ycttEQ6AsWpxXZgsPtk0kccglNjbxpMRJcrHu3yIvUqS&#10;AdzAcyKFB+bHPRXv2eeZEd8NYpaWxMfl5iQErIwHUtznb3fORjNOtrqwt7sfalS4kuo/taQHKwox&#10;cjbwwI2gA8kACTgZ5HzGOxntJ87lq7q99Ln0UcvVGiqFOL9mtUkrtrdrol0u32ffTZfUYruB71Le&#10;J5IWB2ogkkkLSYSEZOOf3hGR75yc1yN493NcTBo1sWnleEQO+5YVXKhjwQCeuAOo6dBT28R3UN3N&#10;FBpsVvAoe+M8Rx9pDyMsMcWcDAjAwxwSN5OBwvL6xqYMs4gmkZQVigVAVWTb1ZRuySTuOeBlia82&#10;daM4Jp3t+J6GBw0qVR2jZNaXd7L8vNeXYpXc0d291NJE8MYuiTDO/lspi2qvyg4C4HB46k9ciuB8&#10;V64b6e4uYT5cRUEAHbtywYkjAIwQeOvJ4q1qurIdGvLyT7yu0UYjGN6onAGOmWzj88dK8J1zXZrH&#10;SJ7sO0rTsscUcp4ZtoJVhn04znA9fXOlS5r1bWW5ljsVJP2cd17q/r0OO8falJqHlWFvcC3fzl33&#10;N0Sqwq6KzsWUEnCOw4DDI6c7ayrRp4rO0v7pCVgjWOGNGEaxKFCplSc9EBJ915PNcveXN3rNw2mO&#10;og1COMMhQ7WlMkhGwA8EkA9cj16iuyuINlpPp87J9mhn+ZyWaWQhQyAliQSMcH5uG+8DisOX2lW8&#10;Y62/Hojkk1SpxjUet2/P1RHPZnUnkv5AYLqSAfYkgj8pCxVFRdijClcFeOAM9gDX1r4E8A6h4X8P&#10;219qUP7+/tY5oZJ2zMEbKMcgHAcYb1ww968T8N2llP8A6dcW0hgtPKjtFmBRWYAeYxHQoNzjrk7g&#10;cdq+6fB/iLTvG2ippEqol5Z2qx22UAKBFCBQT0wBjpjGfQCvqcswdGek5L2rV1+p4+Oq4qnQjiKU&#10;H7NPX0NL4eeMrjR7sW0koRdxA3MCFOWGCPpkf/X6foN4E8Xx6jaRBZACQByMsewBPoAcnqeK/MDU&#10;NJvNGvGRkKyRkgcY3gFjnOcE4BHY5Hvz778LPGz2rQ21xcODuCgF8A4wQcepJx+AFfXcPZrUy7F+&#10;xqt8tz4DjPhzD59l7xNCK50rn6Z2l2kyKc7t+M9Scdx6E9R+HscfEn7bH7EHgL9rfwZOlzbwaR4+&#10;0q2f/hHvEcSLFLIQpH2e4O0lkbAXJzj+X0x4a8QwXVvEyyEnYAOM9uckn1LdP8a9KgnWQAbyAM5B&#10;OenWv26jUwmcYP6viUpRkuup/LWJoYzJsb7SleMovzWx/n5/tC/s6ePvgD471vwP440SfTr/AE6+&#10;dYZ5IWW3v4VJ2TwueHVlKHjpux3GfmaWCVSw2uCI2Y4ZSSOQAfrnGO2a/vd/bL/Y18A/tX+ArzTN&#10;Usraw8b2Fq7eGvE0UYiubeTAIilcfM0ZKjgnjJ7E1/Ft+0T+zv47+AXjrWfB/jbS7qyv9Nmwtw0b&#10;LbTKAyrLG3QhlOcE8Z6YIavxfirhStkeIeIoxvQfW23T7j9j4X4rw+dUYUMQ0q0d139D5bcMJIy3&#10;UqXLLFw2AeOeMcdv9nPagBXkcksDG2DtPllssNxwR1BB9zk9e1y4hdZBt4RmIicybcEjgAc4GC5P&#10;px0qthY3UvlXMgJHJ3kDheTjoCM8ZB7V8U3eSsvePtHOFnr1/r8SDaCuVy0ayckx7c/3Om7HQcjq&#10;RjvgzeYrAgEE5/eH70gPBIc44wN3H1PPUsVEAZXZSFYZYAbYtgwAzdM/O56c5XgcZlCgoTG8gZee&#10;FywPX5jjHbg89Pyhx0Vlr/mXBTa51o7FcAGNT8qkuwGGGCThsn0xljyc5foRwLQcE7dpRNgLru4H&#10;QnHPPIBBx2P4tQI24uoeNWKlsZTgKQQM9RuUHjtnvTwIwcrLNtxsB2q0sZ6A7Qfl4XIB5wwNTO6l&#10;rqFOS5mktXYjAZSTCqF1/esqtjcWx0/Ak88ZaryzYki2lYihUhthKsCwyCo5OeF+rjmqcYVB18xo&#10;nVwWYBgpbLY7Anae45PvUiMWaIqVKI53MuXwp5AA45781pKLlFqbvbr9xMIuKbb1fReuv9ehbD8y&#10;BwRtzITgDy+nA6dscd9vtVmHIOHRWwQyEDOzbjBx15Kk5z9OnFZfM81A6g70BDkhtp44IH1OPZRz&#10;VldgfYqNkycxgnIfAKgZPQjBOOmeKnlXK+XfR/LT/hinJxqe0itPMedm8l1GJNmwdQu0cH1+8MfQ&#10;dwaVYWOSQAmQZGBOHxzg46cD/PFDDErqsZLR4wOpRd5K5HRjhckDJ5GDzgvVh8yF2bBDlhgK/ZiR&#10;07Dg8Cp5pRUYx7mm6ckMVn3fKCEdfMwsZckcMG3DHA64OM9PWrZbJRVZVVpAyGVcheM5GBz97PTu&#10;eucUwykvkbl8xN5DRZADAbe+c88g4xjrxUCyb9vGGLbQZGCyIewwDjGOhPGDUpyrKM56L8+n4BvS&#10;XM9P+GHgtHH5jBk2t8y5JLbs5yRkHkbc5xhj702ZsO2I2DpEHIXkKoKkYHXn19GPrwpRgFVCrNjY&#10;uRhVHc5zng59+fTikJb5guxlLFtzgHIGP4RnkHIHHbOaqPurlTvf8CFZU1GOif8AwCKM4wr/AClv&#10;lAXJVQF2j5emcAD8PyR9yLiN3dCNzIxAKgZ6AfVuD3Y84oDZkSRtyh0JChFJG4g5PfIweB6nJOBh&#10;H3DJlZthJRVGPXoD26E49s0uR87ku3/D/oSqikmnvpqIWKrzn5AVXDF2Oeo/DAGeenNBMKlCYwDt&#10;EuFXc2QgJUnpwBjPT5R25LZDh0QbwxOECYdnyQoUnryTn3z9RUi4VYzk4jY7N5BZhtwvHHfcc/T0&#10;pqMIxSlsOE5wXK9u4zGwGUZEm0lU3ZWQ4wAAe2R0Hr16U0ONg2qyg5KleoDDdwSBzwcZ9utQs0jx&#10;MWdxIu7ay4WNsqD0PVfm4HXK+2adIzNsEi4ZXLeYG2jHy5C4bqSg4HUZ9SKnkV0o/wBf8AdO692O&#10;lvx/4JD5qMRuTzTGrKW4QDA64PBDFCR9foKWdQsI42yMABglWj5B3ZHQmmtIvmblkHHz5LEj5SFw&#10;DxwOCPr78rvMhb5clQUA2gOwJ9eAfTtwB161aleMWun3GakrKL37CyTEKzbyG3FUKkFyRjGD0BPy&#10;n696YM5ym5nG0ZCjYuVxgDPQZI49PpVdi6u6rggNyrKFDkgkgkgHsO/Yfi18CXYsbkOdzSEgICcb&#10;v4upVeRgk7jyOzmvduinzTjdbba/18i1HJtcPGzELwUIyASNxBHQZAUgn1HUZpI5Aki/uXw8hYtg&#10;rF8yHHzAckcjHbjOM1USRX34dg7cMGJG3Ib054Ck5PoeeMF5cq21nkYM4VjtbAJDYII46jpnI9eO&#10;ajZ8zW7Qe66ajstPn3LkdwVDR7VAUhRtBVgDnaAOnOV47Z49C13HCiPcwwh+chGVQW49Oh5qrGka&#10;pI+GUeYziUIDlclQvX/pmzY5PzmpQVKuSqzAxnCjBIJBwGHpwpx3/HNS4p0/dJ95KXNJ36en+Y+S&#10;QsAykZ2kb/vAn1xjsQTj0Xk09mTasYXynYksS+EYKAud2DjJboe3equCrO6KCSzLjd8wADdPcHHI&#10;7Zp0eyQsijdsOXMZAbJI6dMDPb69K0ipU9IS0X/AFBzcVzO+36f18iclWBCttdcOC65Yg7SAuO/J&#10;zj+515FRFg53RhiUQlisuCcAjpjIB57/AMPGTSEqC7gk74VjKsNiRhT1yckE44PPVvWoQ7FcEhX8&#10;w7SFAU7Fwdqn0OeDyQcetJ3notLFz9nbljqSx4z5YT5wdyIq58oKT1Xp/DjB6hgQCDkxAuD+6iB3&#10;AYMqHBLE/Kff5s89vbpYRi7B1VSQoLgruAdiQpJBz2kGOvT605mQE7QpZQNxU5c4OANvXOC3J6hT&#10;z2o5ZwSS/ryCp+8px5Yu6X+X/BI9++JiODhsBEJK4yMgdCSy/TtQcRlMSFScMQBksBx9eSRySf5G&#10;pVAXLoH8xyxCFdiBTuIA5ycYX1J9eKVy5QFFMo8tcBtqnDEkMBn1x+I7daFGVuWL1uZ1JSdPXciW&#10;MyBDyHyAqN8scYBzux+H4U5VYqyL5iKisrliWdQqgEZ6cYH4jvVsrAispJUoW+ZBvztIBA68HaQA&#10;OvB70RLnDBg8oALLt5Y/KAQMdc+nXnt1t2npHf8A4IR5FHnW/wDwSFotp3K7q74bIGxDwQN2cHrk&#10;8DnOOTxVmSFBsZJN0YG7KqykFcE/MPXBxwMndzjpMQgycspYBiJDtZmA24brz8owe4A6HNKkYdHI&#10;B3L8sWAzuVZjtXnjgBTxjp7ACXJtcjeq6GlrxSfqyvsRQSIwpV0AAO2Mfd5I7cDkUp+eVVDBFj2g&#10;bV+4CFKqcdAQQR7Edc1YZAq7WdmYuyIhj54wVOAcEYJ6ZPB4pshiaJFQZZcMfKJyCApbJHBOcilf&#10;XXr1+4coyiuWT3289R23aMMh2nK/Om/IBBJPfOAAPqe3FOZmLtyGVVOBwMDBypxkj/6x98JGr5IA&#10;4KqC5XzdxJUn15OW+mPpTgsayyBXkbcxUMflQjpuUdePcfhT5XrGX/A9TKMeWN5Ky318hjKpdMhy&#10;EcSxnPyow+br2z6f41Z3rGULMwdlBiABZXGTyTjg5HJ74+tQqTiPbESHw25AGO4fxA55ABYZ5Pzd&#10;BmoJgF3hZMspASNkaYrggYJHPzYbknk/lTvOcuWS06eRbqWhzW1fUkknuw7BVl2542TlV/AUU1lk&#10;Yli0i7vm2mRQVzziiuZ76Ee69boxRvkEaxxuzAskTI+TI2CpA5xjkd/SoxtJ24TeHCH5d4ZcBwSC&#10;O4I9859M1LJ0Yo6Af6tQp2AkjdjPqcA+vGaYFLJk7STKBHt+ZSpYgDntgAk8dD7VU5SjG8kTKV23&#10;PViFXLFEPOz955jfMTnoCO5AHtz7ZpoyqtlVGAUUu2A2AQuT0yS2Bu456dKVdoLopVT94xgq+SME&#10;88845GeoXpzTmWQEbWfGHBP8SuV+QhenQEADrkVonKM1d67/AHdTOEIp+6tWQBMIUZQrjnJwVUEZ&#10;BxjHLE5BzjeOM0LK0YPlRtyx2NkqxK4OTz35PGO3FJJ9xgpSTfGWiCDYXVEYbRxkAlnwT/z1IJ5A&#10;oGzdM6sX2S8FcqXO7kkrkDkj5R/ex2xT5pezdlfW9/uujaPLK6pq2/5EQEJChQArOSGbO1s7csBn&#10;u0bEjPQc9SaRmVk+YBSXO4MwLEZXAPOeSTyRnK9eKkCIm1HYHaoIy5aRiVfORt6gKCSc583OODSD&#10;LQk4UqIf9W7ZCk5yGHfaRznoCDU3XMrkNqPudrfJr+kV9hJjX5EQ4woDDK5ALk9DyMEe35uVACNp&#10;MoXcAGZfMUMQxGfX5+nvx7SsEjnYlGXeGK7sPtwRtAHGcAEDkdfwMDqQqjIABLFAhB4YjGOnA4wP&#10;pg9qk7puOzt+X+ZfPFQSSvs/yFAQDhkQuyvGTuxGOSd3tnHIHqeeMV3kCoqEEfIcgjYyjgZOMnJ+&#10;7ljySSTwTSrsL7pTIilwCxIkJG0DhmGeNp57A++KkCySCIlnEQkYowU7XHGW9wchcj+6CPebaO+9&#10;iPaOUUqa0t/V/kK4IVVBeVUkBVMEEDIjVyOe7gegzz3qExg/wl97ZbcC5yV3Dn0+XkdD0xUpRmMX&#10;m4hyco4nOUDABlOQB1K8AnOPcgRs6RMjFIvLjZElYIG3Eh+M5IwdxyARnIz90GhRTp+6y5KMIrnX&#10;vL87kTKCYkADBkMjFnUs4JkGRnn72U+g6ZyTKTIXyx8t9yxsCu1jmRcAgf3mG3jsRx0ITyyqHzRh&#10;UiDJGWBYDbnIIwMnBXIHrkcVGVB2pHmSRHLOWUKnyndtAAAVcZPUrtQnvgJRlLWPcIXhNun8is4k&#10;yclRFNGd0WEaNlyy7nHqGDLyRnGeQRmZ3UsGHyknPlxqfM3HcehJJJ4QYx1HB5JankD5R8gDESKr&#10;NuAcDJB454XgH+EZHJpVclVIVSHJk424YEsuemWxgnAz29edJN8zuruxfK3F+z2a/IR8AtgEZUZ2&#10;fIYyMgH2y3QckAnrTRHEqlEYgAIAARGH+XGHUqcjBBAHfHJ5FIjOCkkiERjAiLOUlfb3yCB1HOfX&#10;gjBzKoUIgYhixPzhsspYnZnPUhlHX0OMZIqUpJWi/wCkZwvy6Pew6Niyssh/ct8rEsB05w2QD2Ax&#10;jGWHTnFeWWRCzbV3rtAZGAkYMxLEEHIJ2qSPfpg1KkW6N2YnyyHZkcDkfcJ565PUj+6MjFMkbMjP&#10;jdC0pmLb2zI2zGMnk/M4PJ7EnnpL97S39bmbvJJX1f8AwLjVkUSMC6yRPGAAjfujvIbK4GMHeWOe&#10;Bu7c07AdkfZlklCZG7fyNoQE8HA44/vVFIxPlRMc7ZN5IJYDAySPrxnI4x17F0cTLGF3sUGZdrYO&#10;0nHTnPb8c8ZqnJOmpx3djTnc3ZLR2+8sRkgERKHLSbApKxtJubaOc9NqsCcDODjHICoY9pXYyEgo&#10;JA+JVD/KWZh6DeRioEVRny0KmMZGeGXfkJuH453Z7elWMLKgcgxGQHAbCE5OemMqR0GQcYHXnLSS&#10;UXfUSlBJOe6/JfqW0Mu5WZypKeZIFYhSeQAOoIHXBx0GMcCpll8v5mZSqsxYElJVJDAMSOmPkII/&#10;uAH2qqwO4STEDZk732/ePlnn0yCM9gh54xVqIrI7mUBipaNS6BVyOBmMnqSwxgYIGBwcHGN3KVt1&#10;qXNcyXs19/yETCsqSPJtVEeKLAZ24JVTkgZBBHPA2jnHNTFmIQvhGmb7ytklCQCSRz/dHHHzfU00&#10;lRlwwkd+VMfzqwbOeuem2MdsiPnnkudJNqQFAGKBflQPH1ztB6fxKeT6D0oUlJ6KzX4jcfdvuv8A&#10;O39IfkjeFY7QwXAGS5OAmztznpgckDPq4TMLcFVCh/3hBB2kHG09M8llHOBk9aiZhJ8oZcBDI7li&#10;xjUlSuTk8AbeefvZ7GrILlEDq21cEEY2cEjcVHYcnPP3O5wKJbK6u/1KU5Sbb2t/XzI1wAiqmFC4&#10;xsKIhH3WI+70LAEg/fYHGcGRGVdsSncoj+U72lPBAXBIPXeep5Ck+uK7DzCGZkbe+RNvBxycggZP&#10;rgEnG48dzOg8xQwcyDzDGFZmdzgA8t1z0Jz3J70403zJzev5MUqai99XYAwMiyAfxY2DcQhGG24A&#10;znnp6EetOEcqS/uvK+UYcyMfMYDftyABkDjuD83TPRVRs7o1UK3QsdrqoZVyfUkL29M84NBLgElj&#10;KTCHJd22qjAYYZ6ZzxnH3SR7pe63Hpf+rEyUYRjJ33/VAp2qiOZVAk+YSZIIywUk45IGCQRjJqzI&#10;GcPHGVQgHKqNxUuMZGBySCef9oGnJEUBThnyXJZTtkbG3aQOQTjv/eJyKBhn2txgAqpG1wRnG45O&#10;CNq/yB70kuaPNLpsWlLlfJp1EQLGztEoYeaE3FQpKrxwO5Pv6GnSsqgHLbdxaTCsVG0lSFYd+BnO&#10;Rg05YpFkDO5DKhkXDHPJBIAz3wB8uBhm781RvrqGwsrqefYsEC5cgEqg5GfbI2kHgcjoeKcYyk23&#10;0t94Uk01Cfm392xUvbiCyt5ru7miiiiiLPK6CPG3GOT6YJ6/xcV+Tv7Z/wC0/E9u/gnwjqUbNIDH&#10;ezQSbxFjgjI685P1zW3+2T+1LFptlceCPB2qFrqeFre/lgfOwZIIQjodufmHPzH0Br8eNQv7nUZZ&#10;Lq7mknnkbezSMXdic8knnHFfqfBPCMsZy5rmMbU07xj1duvofnHGHF0cG6mWZa/30laT6JPovOxW&#10;vLuS7lkmncyvIxLO7ks575P51nuBjnDEEHAJApzLgjGSQSSe2eKaeMlsA5Ht3/L/APVX7TGPLolo&#10;fit+e7nuyIvvCtnblSeSPx5ppHzAc7cfMxPPGcc/zpwydxALBhwdo4z1oILY5DnHUMD09vxpppOy&#10;Fo4pPdv/AC/yGknbwM88ZPbt+VNcY4BHXgk880mDjJJYKe/Uc84/WgfMcfdwOg45pte9boN+9Fi4&#10;659dqlj933FJnBwCSD8o56UpAxyzccYz1655/wAfWmDn5sHAzgntVXW6JlZWUd+4hJJK4CnOfvfe&#10;554+tLs3KGZio2lSuc5zjp+v50mGGTkEFsggdj0pGYK4XJLHnk4PGOg/Gjlbe49EveXZfjuOGxWU&#10;fNgAjHU9T1/A0rL8hAbGORyOSabz0xnOMEY5BpM/L0Iy/CsOOOnNDjaN2F7XT2Y4KRkgZY/KQDkk&#10;46Vd0y6azvIJkOGWQA4PzHnpnNUySJAgB2qDnOOM4xye45pCcPhRznKtxxgD/wCv+VS2rpk7RaR+&#10;jPwl8SmeztPn2tjYH+8DwNw+udvPsK+sNGuyRE/mRSAHzE6L5XAAGM8nPrxx9BX5m/B/xEIpEtnZ&#10;gQQGAfY2QODn69PrX334a1dby2iKs4bEa7Uw7MxITIHU8k9M8CvAx9N0m5x3Z7uX4r3E5b7evc93&#10;tbiHDRlwZE5UKBFhZGIXLEBepbrgcH0rXiZIlCurkMMsSxEbYzkN6jqcDrgVwNhdF44nR/MUP5g2&#10;tnPIYDOOcEk5JzhsYx97tbWfhBghmy4TDY/eYZVUH5efKPOQfbkV4k4txvFX7+Z66TxVNTvt+R0g&#10;AkKb1BcOEZVDNhUByxyO52nAPGTwBtzdtmRvlKp87MONxWNvlBz3HJArES5MLhVKq0biQKpHlqQG&#10;VgozyCemDj5RzWjbyyAsyq8kLHcyKm9wTtUYGc5BPftg1hNS5uSSua05q6cXey/pGjPD5jBZPkj8&#10;vkkgBcbnDAj+8BtHv2555LVdHLnaikqxcReXmUjMiBiQDwcDOD0znoCK7SGSKdWLCfBUPtyXYhQQ&#10;MJjIGecDPKiluLL7ZJK5UhnLeUFO8qC+QdpOTzkZNcsorW39dzvo1m6jlHVr8/6/U+VfFfh2N/NX&#10;yvM+VQqbdxJ549OScZOenXmvkrxr4NcC5miiUEKSCAMHuSce38xgDgD9Jtc0MTGVliTbIw2sDvfG&#10;0KTnrnKsOBg8dOg8B8YeE/NR3MPyurENwkbZILDOOcZI5A74PFVTlyWTX9aHfCSdNW1abR+ctxBL&#10;bEh1YMDkggkMDwSMc8VKs3yCMP8AumZdw5GGyVYD26/ma9s8YeCpVeeSGJlIyQMDCjHQcZ49RxyO&#10;leIyWzQS+XK0kZVSFDrtJOSOa7IyVRI7sPUVPrpbb7rkpmaBkO75ZAVYHOBkZGPz61sQXkQSMMnY&#10;ghT79Mj8Dz61hzo8yCNQEcqcNnfg9+frVFboRIYcyKy/JvDENgdcD9c+9c8o2sme97ak7Q5e3+Z1&#10;yNHKCqNJkgliGyRwTyfy4pNoETgoBs+ZQxG5Bn2+uKoW0jTohRiDnLMGOGx2P5Z59qvGTzPljLhg&#10;mTGx5IBz/L1/Kud+67dDslUjWqOcLpW0K0pQD5EBH3dx5ZMcZ/T9fxrLceZvKBPvbAwJ2g56A/5F&#10;bO0uoCOQXU4ZcjJIwBu/P/IrMnDxBdu4gPmQKwIG3jtxz+fStqTsk3ucNZzcbW06+rIAI48rtIB4&#10;OTuL54PT23fnWgjqXGMJu+VCvVSRxk/lWW0qDCoGZMbzwevIwD+JqzC6oVA3qGyecbye31roklKF&#10;7nFCr7Oa5V/w9zvNFuGiwsjnauFQE8SLhWIz2612EGoLMI5BIoAyIoz99AFx6HA4H0/SvP8AT5PK&#10;VTMmXKhgQR05AJHc/wBCexresitowl2h96kjLcZOAevbrx7+1fO4ymprnPscBiE2mtO56zoF48Kx&#10;xDyxJMnG5vnYHOdpz0wc8egrpL+681mMEkhNvGHkVRgyABvlHH+1xg847muE0K5BMcHktM4wUZV4&#10;Hqo+gySR78V6CkkdkU83GLiIvlPmA2tjqOv3fX6V85iKTjUVRro/6/A+pw9ZSTu9H/n+Zddbm3tY&#10;5FhWVCfs0+1g6xHA2/N0GQR+fvSaRYSR/bZLtV8uaQjO4OpBPGP0q/ZOXiePAaC4jDhQ48pSMFcY&#10;GMg9jzx9cwoLjyJY1UyYnKmQkl1BOSehyMf1J61xKpzPRG/sPaR3/wAiaS2tbSW3LKZQUDb4iBtO&#10;Tw2M9sD9PauP1Wb7dKsj2ghWKThWw+0LlSSf9rn64x14rsZrbbPDiVl2xeUi+YXi5A27h0ycZ5B6&#10;1lX8cdtMhBQoItqLnawOQwIHqCc4zxz3NXQqxpz91+XzOWrhkuVWseY6jA8byTOGJEnCjMTsSAoA&#10;GcHPTGfT1xXBarbC6aS4t2IZCC4bIZGAHXnngd+wr1XUY5FdGQERN0RW+QqPunHT1/L8a4i/SBrt&#10;wsqm2C7ndwSyMeNvvt6cYr38JPmcVfX/AIY8rHRlJONNe7p+n6nnEcxSZoyDtEhXnkrkBvwAwD9K&#10;0p5CCDtX5kG0ljnOc/ngio9VgjjmaSJFUSNwY/ufMcLjntxnr1pwjl+8cviPkAHYTjIYce5/OvZp&#10;1I1oqUdz5epT9hWcWr/pc0LO9SN1VlV85QkkqxGSDj/PYVs3NysQiImPmPmKAt8m31PHPQj9a59I&#10;DJPBMrqSpDFmYjyxwwyD0q/I3nMCZPkCiRI9oJBBIABP1JzUPkjNSR2x9qoqMXr0NTTrtnukJViI&#10;oiCoOQSG44x05bGPeuz+2rctERMsMxgEgTcWaYgZPX1OcZ4FcLaSPFIJI43kLHB42ZBJBH4f0rpr&#10;dUFxFNtRzG+0MWPCkDIA6YGWGfY8815mJhTU9e56dKUouMIt/pqek6RqUcOnRfa382/O5n2OyyRg&#10;jafmPXIOMV7Z4M1PUruynitr5Lh4gVNqTkooHHfllwRk8nd2zivnJ50d0CGMPGcx7HwBgsTyOuRj&#10;j1BrsvCXiKbRXnkt3wl3zKoALHaeACORzjJz6Vw1YKrTcZrf8z6DBTqwnGMGrrufVng7VIXlnKXA&#10;RopAJIwm11cLtPykdgEwR3A5GK0/G3iRLPTbL+y3uReXt15F8zzZjls3BUxbMbssfMBJIwBjHBx4&#10;Xofillnlu7dlt5LqLyxG20oAd2e+c9Dk+p/F2sarcSwB5Zy10J0ijZT5iOO6lh0wFz7Edea86hQo&#10;04NO9n/X3H1KqudfTVJr8v0Z9GaLaL4h0WytI3NwdMMl5cWryfZ40d0ADLyMsdgGVwcIfTJ67R7q&#10;F7FdPcvDppxJIpjEsyuyuI9oOwggDgNg5Oc+nkPw21p4rZFu5PJSWXzJrjDsgCsGPQcqvzEn0J7V&#10;v6v4nuItWuLS4gurEGRZY0lYxuSR5kbEY5Yhic8cH3xWNWpCKXJflX/AOrD3jU96yla/n5/iT63F&#10;f2tnqEJZnvYFZIDvYb9wUttGcDqM+vOewHlGkX09tfn7Y4VxLkSsSuxjkMCMdOo/A9OBXZr4wjkv&#10;EkubaKfDq8tosgElwrEK4DYIyBu29RuwcYyDiaxYW732n3lvE4tEUG7W3JX5Rg5U4Pzbflz3JyeS&#10;aunRhLD2T8v+CdLxtTD1HyP3bf0j29HQeFp9dhubE/ZYvs72h2wymEEl5c8BmBznad2Cc5AAENhc&#10;MLJL6a3eO3vh5McUi7o5VC7gZCeQy8kcZyc8V4/F4ptLe1vtFbY1k8zC2lkYy3KLuYk7sY74OcEn&#10;oODW1p2sRXs9lazz5s4lVrWXlypQZb5BxyoyRzgMRnPNc1ShBytJa9/68j18JmE5RUoPz+R9DeDP&#10;HVx4fkdYmxtf/j1M/lIEUAKxycbtvduisMdTihr+p/27Jd3saLBYzEPGjMZIYpMxhnz/AA52ntjP&#10;QEFWHneti11hIzDcLFeOyBJI3cxyrtwUOTwqqQoA4AU84xWRa22o6XcvaPdFoLpPORhLvV8j/Vrn&#10;jBKZ9R36VhKDw8HH7PT52PRw2IhXrRq3s/8AI7LRtbvtL1ixsrh2ktHk8m2WU/uyMsw2k9jjp+HY&#10;Y3NeuV0u9N1IzQNqExl0l2IWYxsUEaPjPzFmz2zjrkZrmdScixtftDvZ3iL/AKLczfLJIyKCVHTg&#10;DZ1zgHpzkel+E9DufGUMEWqQQ3MHkxzpevIu1XgPzY7kKVXIGPqSSBVKk61P6u15o9eOP+pVljJv&#10;Tr6Lqeq/BTx+bGMW90t3Dq8V38lwLtWtCg+/HKjLyNyqARINvPBzx9z+GfiPagRTapqcNhJeRRy2&#10;tzawqy2silAE+clkDgtluTy2NoOK/P8AsfA3iLw/q9l5FtFqNlc/vCiXaRyyAffQSbtjbFxhlJzv&#10;XqTipNXW90aCZLm7v7W+jsY5Y7Rg8UM+DLIWbJw2TIVD8kbAvGDjy60KmGqe0baStp8tT2aGOw2c&#10;ThPn1n+G35fcfqtHrlnr+oTzXur2OrWcN7HLputvaG4muXg8yRFUOWkhLFQGKtgbgCTytfQ1nH4S&#10;8Q6O2su+k6fq13p3njSpdQ/suDUJbZDmWKPI/e8LtAPBC4BDCvxz+CnxH1WaXT9MnuIYpBceUbO9&#10;LRxO7ssaxJjbknPygZJfaOeAf0n0TWvC3izQ7PSL8RfbdJukkgtJ5fNW2uFASeaMnJBOMhmBAC9W&#10;xit6eK56Up9Oz+X6HFnGDq4SpCnzN2f2ei/4Nj0W6vtA0PT7nVtN1uxg1G8vo1stHvIRfXLWamZJ&#10;PtgSUNFKJAMEE/61mB6Z7F/BWv8Ai+PQ7kaLocU8mir4mMujXsKQ6jZzny0knAnLSONzRtAh8zEe&#10;SMjJ8o1j4beD9W1y1vbqe58P6VLphuPtWlKLqyknVmj8xstlY2JTLjedxb7vFdV4Jt7Lw+mr6Nf3&#10;Fvtksv8AiVNCPOtJpnWNfOZs5MmHJJ+9lMbemYp1Jubp4mC5H8NnbbX8Rzw+HjhYVsBUl7Ve8+Zd&#10;HpZPraz3MTwDpmr6Z4kkjgzDYDUn0y1u7eYwS3bh+QIwwKhvlUb9rA7uPX3N7LQP+Ep0v+2tK1iy&#10;12x1fFzYahdxX+hXVrGSWWaN28wbmUjcp2bc4JyN3jcel+J7e1vLa6vJrVbO7W4tYtRtyJrj+M4b&#10;5cAb4gRkAmRc8V6r4R1bxJpmlR3jnQ5b8hILFdTtItVsVt8hwjkFjE5KzqzqGwHA4423hq/s6Sja&#10;1rNJ62/4YWNk3iXWjJNtW0dnqt/8zt9b8J6dqrWuteH7R7GcGO7hFlIb2wZRJ5Izb9Cx2szYI+YL&#10;hVUgVV1LQ9c8NWMtpe2d3ZaXqsCiG+Yte2F0jeWxlDsADsztI4KuGA4GW6nwfrtve6ZE9xZoVS+k&#10;u7nTLJCl1DLKwklSAoDle6qQQqlTjbnGx4r+Kkl9odl4Os722ePw+ALjRNWsXuotUDFy2Z0x5ZQM&#10;m4AozDdgdBU16eGqxnUTalutNL/a/A8uVfHU8RHDQjzKL96/RLqn6230PndbHUfD9xb3kOq22o6Z&#10;BcrO72kJjuEedGgdkXOT8ssi4GflLE/Lux9BaT4tsbDUwlh9r1+7bSRNH5KW1hFaXSrNsR1kEgeI&#10;KELIwCsG2gAjJ1dT0L4beLvCYvDpd54Y8UvYylE0R5pdPvbjrb7ohC7okaLGrGV8sQxX5eDznhJr&#10;vw8huIn0mzm0vzLO1DeHo73V4nlZESb7i+Y6kBkc5KEFsjBpwoToYiLlK8Wk01rb5M58fnFPF4Vq&#10;cLVItxaaSv8ANenTUw/+Eh8JeIP7Rt5tKgh1Ca4S3n1G6S5luNO3OfMZGPyx7mEm9UQnaoAOMhod&#10;RfwjoIeazvr7VLnW7OdLyK6u/wC0ILKSJW8uTHnN55YhCZiAqM7DcACW8Y8Wa34gtLpNQvHfOp+f&#10;rUd/KkdvdX63F5eShyFA3M7ySneOxwvyrk2x401PxlLa3GoTWkt9bxmC4kSxWWe8XJVdyoOoVQd2&#10;3JLHnINcGIxPLRdKavVeiut1fX8D6XL5qVONWEn7JN8yT62Xrpc9l8DXejSW2jwaFI0eqSDz3mlj&#10;jtGiVpIw2FDs3G0YO4BSQcYr6f0i50rSYUfVY4/EXiTejxNFqK6o9rFHBJuDEHZuO7JVOR5SjHJB&#10;+A/+Ej1TQL21zpk9okqwrBP9nMULJllCxuQAxIUMNpIAHXJ+X6A8F+MdPtJEkm1hYluFku0DZWWB&#10;9ihA0uBwwJ6bug69+fDYirheaFrNWXktN7M3zXDzxcfbQk3Tld6N3et7XWtu6W/5/akHi/Q/Ffh6&#10;P7ELqG8uxB9rtE1QppOoyQpH/pRCpsUr5SSNvLEna5A2qAzwz4pstOuUutR1y5Hhu0e8gieIfb5t&#10;Ob5BEsYYZzJ+8xzwFJOSSW+covHekXmhlbeOy05dGujNbT2aXMEdyXuEa5aRHbDqUEmDtzuA6jhp&#10;dK+LCaH52oQNb6jb37u62n2MvbrI67GmbKvhfmU4UKxZOXwWB9mjncHXp1K81zWWq+W606/5nxk+&#10;GFLBV6OHpSSbdotp2ure7JqX2bW6rVarQ+stR8Tp4luG/sax0ua1ns4E0sajfP8Aa7SS3aWUTzPM&#10;ceewJVflHyhFGDgjj9J1O+hW9ikuojrt/dixtY/J36lLNPKigxzZAYQvIpLKGIILYwvHltl44Tx4&#10;LVdUW316WzjaCxsb8iwhtYzGoiDFlWMKsbAhWfKrCwL5bB5Hw1rtzY65JdQXMdxE9yDZXml7m02y&#10;jQltkMhG1TkBd4Ck7CRjAAyxOYunXjXd5QbautLJrt99tTmwHC8qeHqYS0Yyik7O8rtP+aWrTsr+&#10;6urV3t9EWkslxqLaFYXb6veF5bafxJeRTMQiIwnuoIwGdUcbQDzwwwQcYm1Twv4kmaOSwGnRrp8B&#10;eymu7cyR3aOhUKm3DDePmBcAtkErgg1oaFrGlG3g1b7RBpmlSRxW0em6bHLHcalEFPmyyZPTOwEE&#10;lSrsCqha29V8U32rPd32k2MdlYLGqRxaXcLPdwsv+uvHaQ7kVUMTgyZG/IVTjnfD0KU6cpVp3e6S&#10;7f8AA7vU+frYzHYbGqnhqaUUrSc7fFomtkrtN6RTjHXZnCS3T6JBDqd61nKlqTbDT4901tNJDuJn&#10;lC44Dqv3juyRnkgDF1zxBm1mudE2f2pq+MoWMQaWQxxxvyDhm2KSdowNoxgYrA13UtMsbRrl7iWZ&#10;Lad4I5p1ae+vA77sLhshxy45Iyx+Xnjl32TWO+KQQTeeFgQBvM8va+VXbgDiMHnhc9q82pinrSg9&#10;Er+d7b3/AAPraOXUpKOJrJ897bWVu1vud9++1jttMvPs229L/aJJItokf5nZsrGHJPYBS244PcdQ&#10;a5nV7oCaK8huWk88tb2USIyOpG1mDHbjHHQHuOuKpJet5ALNhBGYIpX4yq43MQBkgFivrhfzSAxX&#10;K/aGkKx2qI7tOM+axITIB4HABJ46+9fL4hutJ4eKvbVHVJxpT9q3q9H6dLFTV9W1SztSWMbXckSR&#10;tugaRYgVUKdvGcAg43DoOcdYIdWG2FJEUT27vI85OZEDJ/e9cKNu3GM55qDXtSsXt5BB5SXAt99z&#10;N5h3t5fyhUGcLuUBjx1UcjPPnWj6l9kW4OoXBdGDgSSk75GDAKpIxhAQMnn/AFfBOQKeHpTjVjJP&#10;RnmV8TTp0pS2a0/yLniW+ijtbfTEmjMs84aGBWA2KD3A/wCAA4yMn2FfOnjnxIi38OkHBMKGXbEp&#10;eNQcIwbB4IAXGMffYggiuz8ZeJ57aC5n06GRL/UJiEjnmWZ7KLBAL4AyRtBOB95ieM8/Ptxey3Wp&#10;fbbdLm7vmna0kWNXw0hIWN2YKTjcWJ9l4Pr6NTmsqceu3ofMUaqq4l1Kzvu/nodRplvdXeoXOpyX&#10;SILYH947CNy4wpAB4GxVzgY5x079xpyw6pdP/wAtLIFnM3LRu3zFpGOduMqemeWOM8AebvZX89vL&#10;pasLh7u4e2ElqxZp1MhdpFH3sMNwBbB4PFelacq6VaW9mjG4McC29xNIRvcgBmVX29vlBAyCwXpt&#10;xVxpRop1Jr/hzpw2Gq5hiFG+i/I9Z0uVY1ECBWUAIABtzgYK49iq8HPX612vhzW7vw1qAvrVyIWP&#10;nFoz8xXJ4P8AwFcV5dprFVJZlKlQjsrFcttydwzkhsAnHHzeldjp86yiOJgSg+aT5twJwQCuR1OW&#10;yw6BjjgnOkK1SM1UhpJdfme/Uw0Y0+RL3Nn6H3fov9n/ABD8N+fCEGorGW+UYJbBIz6cjjJ5wK4Q&#10;Wd/oupESbo2jmAATHzckgqO/IbHYE+5rx/4f+L73whqdrsci2dgu1VwDllByRX27caVpvjzQo9V0&#10;4ob5UWSQRjcZeASGGOvDHPb8K+pwyjmOHVWnpWj076dD83zONXIcQ3NXw03/AOA9NfI6j4c+OhIk&#10;UTzqSo43D5WXGRgeh5+npX1x4f8AEEF6AVdWD9d4BJz6/kSf97vxX5gRvfeH9RK/vIJIn+YZI2AM&#10;oGfXhhz/AI19P/DTxz5xijmmCy7lQkvkZzngf1H9K+z4dz6eGqxwtZ7aH5dxtwlSx2HlmGDWtun3&#10;n27FKXOFAHRjngHIZfxxtyc+vWvz0/4KGfsY6V+1F8MLu70OytYviT4bgaXQtQCFLi8RTva3Zxye&#10;RkZznkV9xaPq6XMcJWVSCNxCsu0d85xx0/DOPp16upC9w3B5+p59O/8AjX6yoYXOcC8PXV4tH8+c&#10;2LyfHRrUrqUX+R/nSfEv4d6/8PvFGs+F/EWnzadqekXr2F5aTnbPbuhCMqjGMDnBB5BB6c15i8Kg&#10;biuCWwoVcHPII/QZ+lf12/8ABTz/AIJ4J8YLW8+M3wq02OLxjaxGXxRpECFV1xY8H7Sqj/loFVgS&#10;oyfl4I5X+UTxV4cvvDur3em31ncWl1Zu1rNDc5Ro5AVB/h4IBzyO4561/PnE3DtfI8a4v+E/hfl2&#10;9drH7/w1n9DO8LCWntUveXn3RwTOAGhwp2TA7iSH3ENlQTwB0OQM8DnGQXDktmEqm8MqvmRunDA4&#10;69wMAg/U4tSROztIeTlCxYBDkl8nPXPzBT25PQZFQ+TKSo81yf8AWOHJKoeFOBjgEcjH15r5yKSk&#10;op6dT6ZSnD4fLftoQhfvlIo0CM2zcVLMWXBIH+HOe9KEATedrMpAdxyMMMDHpycfT3PFkoq78Msi&#10;xt5oZshc5IyBgHgcgHPQcCkjVi5jIAUyYjVnwzrlSQcjAwTgYJ4A9wJl8OvciEUpe5q3+Ftis0ZD&#10;O7sFMTtlnKhWXDAHHq3Yeu3HIGUOwkMPLB3bWAxk55GQeAFyx+Xn5ccZqy0e5XIRXXYQ4bDMwbBI&#10;wR0OOB7DvggCRiMr86sWDkqo464DDHPQ9fTpUxlySirXv/WoqilFKdtNP0JivlhcsW+7ukGehY8t&#10;7AHHTsehHEiuNhOVkBywOT8uF24B/IY9hTYI8qsQY7FGGbePnxgBSTn05zzwKdHGfKEhEby5V5CV&#10;DKxBPIPJGDj5eQcioi+WOu9ybpyTd7f8FfkTpMC28FgAVO7GecYBJ4PVsfj704B49u8hlXiPABAU&#10;AAKBjvhjz703y1CqEIMqvnEowABt7gY5z/P2qbZIUUy4GWOcD5cZbBAA+UZyMEAZGOM4qpcqTklr&#10;saR9ly2afkxEYglgCNqFpGcgZGeSSemOPxPaoiw8sDYCkgALuGZlA6nPcnPH19KsZBdo3zkrmUMr&#10;KvyhjjGOcY6D1565qH946SRmGNEdFQRM2Qu7DnaVPHOOhBBB70UuZJXdktvQbbkknvuvwG7ikbsm&#10;0FW3f6z5cY5xnvwTgc9c05JfMVEkUxuyiQle/G5efQ5B9cCpXEmYy7LkRmJWQBdjAfOpxgg4P4h+&#10;voxdsElu0m0DCkvJlgRkbiccn7v14pzcV0u9SY8qipLq1e4x4z5aq0exVdGBaPMjkggYGcjhu/Y1&#10;XPzK3MXmhdzDhiNvAJ99oH4d+KnVABIFycuS4DeYCTjoB64Pf1pu1cuSqI0xLsnl42kO4ye3GDgf&#10;Q1pzxceWC0NFGPNaC0K+9XQqwkDgE75PnbIOCMnnJznJPQU7YASpCHazEJvO9Mg8A9e36DNV3YLJ&#10;IBtdY4xIUdtrA8np3BwAPTJx2p8yKEx+8EmQu4HafmACsM9uFIPTnpyawaja7dv8wbvo+n5DN4Qu&#10;uNhUjGVG3AwSTx1GCD9fxqPzcsx2b2jUMEb+Fs7lOM55BPTnK980khcKDgHIJfOcKV2qMj1xjn0z&#10;S7yAVYYZtzTDOWABwPU4Gcbjzxz14pu0WktTONnaMX/T3IWlIwGZm3BWlkUkM20cZA7AEnJ7ketR&#10;sXVzuz5attWNl+VGHJ55JwA/T1BokUb5MgbVYxptPO0KoOMDng/juHpUSM4cI0ixnl2eTC4wH+UA&#10;9+c5PHygZ7VpTXLFxiZzl769pe/9WBmDAKVRsqEkMahVQYAyE6AdAB06UOwLSRnc7qQqBQw27yQM&#10;jGOhU57DNDlN6gKPLadfmIK43cMNx9lByeBnj1NclnEjKrMsT/MDIQAN2M444JAyDkYPQc5lQldJ&#10;7X/yBKUp8q+X3ExYJGkat1Bwiy/PtZRuHPB3ZHtgDqOri+4REpiaRtrDndGShLZ5xwTtJGRk5GRU&#10;KMAY5DmfezRO8aqXQsq7vlA4B4AB59u1O2sZyGnBm+ZmHJKKrH5s4AGQpHcj17VXLHn5PXXuaKEk&#10;7blvKgBSpDKQxwS27I5z3JwSeP7vsaZGhKtKcrzs8p5MsvzZOQeBkAY7cUkaFsEqzspWTcsgMmdw&#10;zzj0IXA7eueJXyzbY3xIyqVdTudQM84PbluRgfPnns+X2a5G/X00/IuSU172mqt+A8qvzDcp2qdr&#10;D7rDocg88+hAPNIPmEEhV23qQYi+QSSGBIbnjLdehc00ktIqk5baRvyVJz0JwB/dHByPm6HFIMkR&#10;kYchS0RjcqjDLdGOeM+nQVEVqnJf1/WpmlGLVn/XQMBXLiIKVRiR1Mg3Jjk5IAZQMjn5uTjirHlo&#10;FBcgfvRKhyoHynccgg9cHj0J69mmHaCyIznzCxUMQGyuDnJ68dBwSM8dKs/ZldljkCh8/OCc7yqE&#10;Bg3QnCkleOuc8AG+aDhF9mP2Upp82/n1uyFWClZNioOTv7qcf3TgnjPTgcdKUjCu7IGy4ZABtXLI&#10;GGc84w4IPo3pUxjPzpnbHCVIyMHIIIwfqqDB9fWpEiLJ86OFSJWG0lMgbT24x2x+HOaKknF8r20Z&#10;MVK+9rIiZSELBdiiNQgJ/eHAOFOBgBV2geuegpzwoAQ8aIrL+8YkoRjG0E98468YI9+J1icOZDJ8&#10;sfzbXz5bcHgAdevbBAJwR1EkqFkBAddhDMFIGSMevYHaQeuR9aWz9x2uFRcyWnvP9SvsJ8wIuCFD&#10;lcA7RvAPAGexGD2K9sU913NhSJfmPzrlQF4zgjIIBycnGRVhURmMjKchQABKAVxyOfTkcZP9A3yt&#10;wdURCN27dG+PQBSCOmSc9iAcGtKWkeaT3/4BLUo3T2vt6EaqVdYhlWkztPlgBtrL8pIH+wD19ali&#10;kG5PLkD4bYvPyHJLHGOnVjj/AGge9TMCNpkCykANhvurhMdT/sqtOAPk/KM/IruEIYDPXjPTgA49&#10;qyk1UlzJXKi7JqXRX+4hfMa/OzbRIAACVchiOAeTx9OMH3owHimVGwjMVZGJKEKwYrjBHXkDinxk&#10;fupmZiDzsbcFBPt6nGCcigOojljD/wCqIBRn2sCSAo9ck9vYU0nGPKn/AF2KcpVXdNMgXzU3MuwY&#10;AVzISo69ByOQMZznjtyCHISEYOPmV22uPmLJtB4GPUEk8D6U594w3DGNct3PHzYx+CjB44x1xlfm&#10;z1YoIsRKvy/wkjPGM7ioz1wvPRRTXM7OHzM1yumpXuhpO1dqNh1J3PtyxyFHOB7Drn7pPfisTvEY&#10;A3tG+15nbG7JIyTjkYx2qf5yJWjCtGOgkVgSRzgE54HHOASBg9qQq4i34RgkrIB1ODuJPoTnJzxj&#10;HbFbxu9GuoJydKy26d0VjKyHbJIQ+MsODgnnqPr9fXmirGWb5kZip5BMTSZ9fm3DPPtRXPzK+tv6&#10;sTyvsc+pV0VyjgugaOU/eUn5sEZ4+8M56ZNNJK7chhnaqKVCscgYyeM4zyevUk5Bp5kLKQpYYfLK&#10;QFGGHPUe46+h+lAxIWQAMgbbguBs5Q4HcZwBkf40py1kn/WhfuezUF3/AK/UqyBS0gBAO1jsAOSS&#10;QePThkGfb8KeFdAzO7CJ8KAyKxHyjIwDx0zjJOelSqYxuJ5DFpJBgh3Xnav0LY+g/WFm+Z+Adm5S&#10;zOFU8sWP6AjGOBV6zirf11OaNuTklv8Al0HMjYR2KxFQMPkGUDcB6ckEA4PbORiq8rhDGMMCihVQ&#10;LgnGCSPp8wx6VLIyhAQpQkqyEthQFU7mOOvBAB7ZPTtFNICADKCxxnAALAtt2jgeiNnjhue5ok9E&#10;2tP0Lg+V8kX038yAyu7iSJnRiSvzKeG5HVj0wR3PJ46Cn5wf4yDhgrAPEp6gE98kDOOuOhBxSF0E&#10;ZQjkyk5cB2IXGB2PUMR1+7ge0eVxHkq37sbI2A2EcH5geTwR0xwTweKhvmceXYqSqO6+/wA9icBS&#10;yh1lbcd2eONuQfmJzzlV5AyAT2NNUYMahMqqvAS3z7vlATDE9uuB19KfLOqgqAMjJ+XHPGSwGCCD&#10;lvl4+71A6V5J8oCqn94crE4/dyZAI7Y5A6+w4xkVK53aMuv9P8C1KEYr2auiYSM8iRllhLS+XuJK&#10;BjjeFOcgEggY5JGPxUvvU7MofLy20cFd6n58Z4yqHkZ4Gc1H52VCDDxMcMHZfLZhgqR3GVdwR/tn&#10;JOBiIk5UjdtkR2ViGdJOrMB75Gcf7PHSqUuWGnbb7jPni1ppsSMPMjk+aTcqhnkzlT8vzk9uc4x2&#10;xj1zHIrFwEALyOFgCRct9wAHgDJHGQCTznsQ52jX5VR1DoWVCrKkh5GR656dGGBzVZpHcRlf3mxX&#10;2ttJjfuExjrgjA5xjAAyTTpJtqHR6/oW4qctHr/n/wAATDEMxChgyH5W38FSMnuRjoRxwvPJpUII&#10;3Hcvy+cnJKABnAPUDPDj5ie3uKjd1JeJYwhhCwyAMAT/ABkemcFPqCAaa8wBBMW6FthEjyY9dwK9&#10;hz1IAAYYzg4pwu7R3vqZ+0hGKne70/4IjBWVsu4I8yORo/mcHcSckDr8oGDkdfapmQrId2Nw427l&#10;xglwSMYxkqR3xgHjNQ71KMCQWlVWQbfJZcMSQynBGckHI79Oc0STB2k8xwqviX5myituZ4weD1yO&#10;c9/xotzWu9v+AXFRUOZyu306f1qKwbcQ+/Zu+dcgv1AI3dRwAP17U8sC5jJ813IkSMrvXOeAB3LM&#10;AMe2eciq5csrOWAtwG8pRgMu5jtHXrxycY78dKawZ0AcFRvj3RIMnZ8qgEjqTn16iknZ2/q3U0d5&#10;02kvT5P+kS5R0Db2cMBnBDIcN8zdMYbI6919MU52kJYbS0kL7l7KVLOAcDtwehPDLkjIp3nI+RsC&#10;oytkbfJWLAymRuwcMAo9fM/KZ24AMZ2xKymMDDAoCThSQOAGyxz0AzTkk9texMLKndr3nb5FXYzB&#10;wUaWQxHbCq4IOVYcdgACCwyMYHuXhgqsnDHy2+4S2cdCuOvAGc4+8aXJjc/vECvGT8nAOThT06Hd&#10;g888+xoV8JEXWNgJWYjdvVzvRiOOTzzu9OMisldy120ehd6cldP3mTBY5mUI6xYZVaQptVEYMcDb&#10;zgBD1/uj0ApRL5cIby8oylwVkJeIsB1Bz03euARgHg4gxGiKNxZkUMrcZXCqoLHp/EM8dSeKsx/M&#10;HiMUR2giJS4cKACOnfOVJznO0D5fm3U5e+2l7oTcpR9lGyb/ACHW4O9VZXAxhWDBFfJbgZPUFgRn&#10;gn9LqBsqkjPu2tK8aqFJDhVUjJ+U/IuM9y3rxBkrOjMrFSGPzgAcbkzuPy9uw68+tSkq4QEsNzje&#10;ejhc5YjPGevr2pN3i093uJzTgopa31HYkaRkVZIw6nkkknOFwAc5PG5s8feqZmaOTaw7ffZV2kli&#10;Tj69STj7w5yThgkCl13OWJDsB82NoUkg4wO+c5P5UwhJMF8MywkgIQZAOrbSeBjHpwR1xnE2UrRk&#10;rLcq7kvZrexZKBiT8pYgqwKYVgcH5jzxyOBg+9OjZEkEih12j588KqqW+7zgDOfwPYVER5jFmXCh&#10;QskSOMNIp27w3ohDA4wSDk84qRXhAV5PMjfCqzlPLZidq+m3gnPHvU2m05S3LtzJp9f+AIV2bDs2&#10;+X85jeFH3EKWZvy3DPcggZ7vnKFwflBxtZCwUzEhvlG7uSc9zheMDNSEEyDJQl89Tt5VQCFfr3B7&#10;gZPSnM4dAx3MHcozlvmUH0+nPFVzRaT6GT5aalBfIBvRgCkj/LlgNq7gNueD1ySR6ct6AVNks5JE&#10;h4ZBIgwVG0g9M9h+I9AailRjCreaSVkVMqRkjdjrx1x3qyxRdzpIxj53xuodl28g9+e+D046VL2s&#10;uoXk4qEl2sJsfazIMyEALvdki3KDyxBOMg84U9Oh4FOEYZXYnKbTmI7Vfgtk/wC114xx83FNVSHU&#10;kEqhbBZiiMeD8v0GM4HOR0qvHepvYcSkRKHRtmE5IYK2ccjGQeARnODVXv7r2LnLlk0tv66El3ew&#10;2CmWWQBFQIqE52YIOcZ9RnPuO1fnL+2J+1APBWnXHhTw7NA+vXcbRPLAQGtVO0MzY6jKqPfZnHII&#10;n/a1/aPtvh9bvpnh/UopNZktzA8NtKTHGTIyh9pAIPyjG7nawOK/E/xR4o1fxVqtzq2sXct3d3Ts&#10;7ySPlgCc8/nX6LwZwfPHzhmGNVqKtZfzdv66nwHF3FMMuhPB4aa+sS00+zff0Zma3qt3rd9dX+o3&#10;Ml3d3EzSvM/zszM3XJ7c1hnCoMA8dSxxt57VM0pIwOW5B46+hJ/OqrEKpH8Q5BBxnbx/U1+5UYKn&#10;BRpq0Voj8TqznOo6kn73X8BjuNwwS2OHUDDAk8YpjHILE5BcZJG49SKDtzuLH7xOQcEmghF4BIHc&#10;f3if/rmuh2Uro5E/dab0Y1WDZAP8OORgDnJ/UUNheQOh3ZHA6f5/Kk6knIxuIwTzxj/Gnbm+Xpk5&#10;Oc5H0H5VnHRtouDTfK9iNwcZOM9dvoc96QqQOe+MkcE/5xj8aTduI28blySeoJ4/oKepG452kLjI&#10;YlgD7H8Kr3k0mEYxlKVtiPgg7+hGCGbkcmkLLg4IyME/LyOlOZ1ZzgAbec/0pijPGAGY4Y5yOeuf&#10;51Wt7sm0eZRk9F1Fwdh9E64HGe5obZnOMsVLMCOB2yPwoIwpwOG5wTkdehx9aBjawYdDxznbnr+v&#10;86L63Rbk00nqrIaOvQgKMgkcn3p5ICkd8lsgZAP/ANems2D8pUgAZDHkjNISByuOOOTz15/Wna9n&#10;IzXut2egm0jG7oyk5xkjPc0bjtyOdvQlccU8uCxJGW6deuaiwvY5OcgbiFHtUt+9ZlpJO8fQ7TwZ&#10;q76Vq1vIX2xyMFdFzg4Ix/IV+hnw91/7RBA29WSRVYDaHYnJJyff3/OvzGt3aGaN92FV9ysDzgcj&#10;HPtX2L8K/EIaC32SuWWMBhjcCecA8cd/piuPG0lUpJNar8jbBq1ZPo/0PvvSrmNWaN1ZsDO5SW2Y&#10;y27HOeoJGDxwBjmu/spdwRg+7yiFJZsxxZVM/KQQduGGTj147+MaDqguLSFlKkyOXAKbioOMk468&#10;c8DoMYzXoGnXQVVBCoHTMgVQIQSNvzHoSAnAGeOcdcfN1KcLpy38vLQ+ow7hG/Zr+kehRKVVW2AI&#10;zBURnVCflzjBHPJ7HqfTk37KWJgqy/Kyv8ylwmDuVjn0wEZc9QWyCDisC1uFJUbk81VMip9wSY4y&#10;c/KeMnGccAAdheidd9qsk07MXSCObzDJKoQfJwfQqAMHjArj9mleVSTNFHmkn0XT+u52tldEqxQs&#10;xU7GGGZG+TG4c5BPQ+vPat2JoefLjLNCSwbO5QuMZ/vdUYgY6E9cCuKtrh35Xy2dsPMXDQkOMktw&#10;MjG1jjkknANdNaXRDrMimTeF3s2TnIYcMuG2gkY56nkYODzTumuVanbTnFtKLtcvXlnvt0cxeaD1&#10;k456cDn72XBwRyCMZzivP9d8PCdZXigRlKBXdYy2STwSQfw56jqDwa9Wt5g7EzMZCXKhRJ5mciMZ&#10;XacjduIGeQXORmq89iJA6BS6tIdwViU3L0bacYxtI78jsTXNOlFx946YzXtLX89OnQ+LvFng1Zo5&#10;2ZWBVy7AglM4PQnt0yTjge1fKfjjwGy+dJHERIpyNo2kbeCNvXGcDP6V+pmqeHfNDjYG25kkKICk&#10;gwBjGPoMEEHPTFeBeMPAYczqsYVCQdw5Cl9wzjrjJBORnp75n2jhKMl3/FJHamnQV1rt+J+Xcglt&#10;LnyZdybZCpUjcTycg5ouLSNyzoAqsu5WbggkA/T2/kTXv/j74ctE0s0MZjdQGVk6MQTjqOpH8vav&#10;Bt01rcSWt1HtdWwPM4Rvfnr0r0k41opL4l+Ox6mEqySU6u3f0LFkqxpsQgbRhG2++ee1WjsWQvvP&#10;mfcGOQwbgYHbjI96jR0beuwAtGOVf5Tyeo9+OnrVg7ZFBQAAgAgtuCbQP84rjmnBXtse5RqRlU54&#10;7NEDzGPAj3kcbRk49m+nP61EHDEu5d33EFQPlJyRj9KsYQb8sdrAkKRk59B+Y/L8aijKoCGd5E3A&#10;YxjGTwFzyO/HvSi+ZBKMJxcm93sUzEd27IJIYAsMgYweB09evqagVQSr55RyhAXkdsn24xkVdwJU&#10;Xcdjgb1bI5OfT86qkghoxIUZWK9cbgcjp26j9a6qVXmR506Xwxhu9dTetJATGJiFKrtTJYc5xycf&#10;rXTWwKxIjKCnm7E6jauPWuIt2UKu4sTGOmfmPXJ/z6V2OmP56L5mCsS+ac5LEENzg/WvLxVJv3lu&#10;e9lmIhpCei7nbaffx2ckaQzYKgbWjXKw5yPmz64PHtXUR6s80sli6O+IRK023KlsEjaT6g/kRXIa&#10;fDDOsjhvKi3CNGIBwRs27vY7sDH9a37W8j5YLHI/+rQBQpYAEHA+gHX0PrXhVaUVdW1sfSwnBQc4&#10;y6nW2OvYlaNdzW7xKwEZAaLO0kkZGM7uuMY69K64XcCxecIXKsdjAjbsb5Tn0/i6njmuA0i7gWYy&#10;OIoXV/KRh8oPJIxj69Tzyfau+VYhaIxVGhXKeUBkN0b1xkMfyGcda8bERlBPS39f8E9rBSlJ8k31&#10;uDzpMVt443VrcLK7+UyxyZBYkZHIxjkcZyB04x7iKVik8qeZDGpRXIA2Nkg9DngjqcdeM10ZVmik&#10;Z3O8KBJgh2AJI2BuABtI5OBn86yybeKBLWaQys2+eE4JYsQR82Bk5Knr/tVzK1lHqjo5nG06j19N&#10;Nzir9RLcwSbWDElGQhiuAct1J6/+yisS902aZZTHEuC+GbywrYHQn256fQ12swgWXzVLssLFlG4b&#10;mJOMY7/jWZdy3EERlT9zBK2GUt8xOCvOQcDkdMcj6ivTpVUqSlH/AIO55eIg4VGktL/ojx7ULARM&#10;/wBpkASJCF8xcquSMbf89SKx4LhACj7eAWhON3y5AHA+nTtnrXd6tBNcrLLcIkhaXYC7DkHOMD9c&#10;muCvYZIJwF8tfs8gV+g/u4yD/wDqr6LBy5o+91Pk81iqVS9PT/g73NCGRfLYlQcbXQADIG3POD3J&#10;/CpEkO6OMIM5wU2cL83XPsCTjrwapQSDJRQGLoWJ3fdAHH49/T8KtwL5bEoVb5wSvVmJJ7de/wBB&#10;iulxjrdf8E86lVqezcr6WsbVgIhIF3s28bmIfChSO3oOvX1rqYghgmEcgDAjBdQFUkcE4+vXjqMZ&#10;5xyRS3jkVyAGYFgV4bkLkAD69uBnpWjpsy+aivliCGI+9vw2QR7cjiuCtFVKbcz3sJJu1OT03Xpo&#10;aqBYAQsvzqCPlw6MCMdfUg8cHqKu2Mk0SFQ77QQ6szfOVAB4PHoTgVlNMZ3l8xNsQYlF+YbFJ+X5&#10;RjLDjn1zVi1KxylZRlJTtiYSbCcAHr6gDp71yyiuW/X8z1aNWmpKEmd5pWpvHdxQCR2VpQDwCOcg&#10;gnqMZ7d66TUdQPmpJE8gR+TGvCsDkFmyevAx1yWPHHPldncCCTa0gRlYgOi4YnqevbqOK0l1OSR4&#10;RK3zCPcV3bgSMkqOx54/xrnqUZXUY9tT18HiXtPR/wCR9DeC9agFwY7m4IgRdw8xd8Y+QAgr0G7C&#10;gn6dcYrvvFOsXeqBtYaRJpJomlvLh5Sbu7lwCHwx7AcYAAwOM818w6Lcm6kSUN5JT7/lLn5Wzgn0&#10;xyOPXqCRXqVpd3YhWKUtcQxuDHG0hLkuOdq59NnbFebVwzhJx3ij3nWdSHtI7/pYf5skMJvkkZ5C&#10;BHGpdFVEOdzZB7E8DuR0Oa6PQfEs/wBlm0lg8izyM8Uhj4Q71XBJ7ncvHbPtXJ3i2yWdveRsAyOy&#10;zQ7gBFsG0HHHPL/TB9av6Cli0cs3mM/mK4SONt7KNoOVPBPLE/ljnBrPkcZKUXqv+AZYjEKpRSsr&#10;dfJCvpLyalJGt2CXMbpNv8q3RHwQCTjAwV5OMDtWxazw6bEI2Lx3KrsVGbKDB3bV6n73Jxzhetcj&#10;rg1DR5VuH3S2VzIuLgJv+bHygLgZOB6YNVrfUpNN+zxX0UzfabZp3mIZgFcnedx4JHI4OcpnsTXZ&#10;yPFJuTs/zKhmLwXLKlrFHsOla/i7tZ0kLIxAkRJNoGcjjBGcqrZA6Z98V6ybuymsrW5njB8m7Uwy&#10;HiYDKlepJJOWyMHg+5x8qxX6RztBYz/6PNJm2kUqZIsclT1I6k88jNdtF4g1uG1SK12XF0gDMru3&#10;kqo4+XqRyT9ARjsa8+dJr9zJXjoe3SxkZqFRPW+3l/wx9USx2OoeF7h4rlbiW2b7TDaXBZoo1IXz&#10;HVQMb9o3dv8AV4xyK7XwA2t+FktLnQxcve/ZGEUdvIVkZJUZZI0y3Abe69sj3HHzr4H16e7ZIbiK&#10;4/0hIzcKj+UFO7gscEgnDkjk4BA7V9VfD6GR7oT2gilWygJjtc5x5a5GEPU8HAJzuP4V5OJXLWW9&#10;1bZ/M+swzioTUrSi+j87afmewXej+Lp/B114s0CxtdQ0ybV7Ww1O28v7Rq1hcQW0twvlS8MiPzuR&#10;Ww5jUMpGwHy7VvEWpalpci213FqtxAZrvWtDubOFbq1eEvCDFOfnxsC7ouFHB2naAPqLwN4g01vD&#10;XieztILy01eLyol1ONoEu7a4mzuiuYziQRMysVMa7hsb5lDMD5d8W/APiHwxqtp4p0OzhudG16GI&#10;R31pYi4023uZCRLFJuTCKxVQvnqrhpFU/OcHevRjKEcZTbd0rrt8h4HHRwOMlgakEmneL2vona/p&#10;t6HjOgpa3M1lNYTfY7P7dullkUG7VVy6xluBvIjOBzznAxkV9W+HvFFxYIIbS+uZZrKEZRnFs8yv&#10;tUKGj2g7gsgHQnI4xkj5mudLZY5be4gTTZYVaQyWYxPZzAMGSRD8wBLLnGOTnjArAtdf1cyLPJJD&#10;NNPBHG9xlljlATyYsFSDnGwgnOBgY4OPIlVhGnKnJfEfW4dxzGsqilotNdd2rH7A/Cv4p2V74bvr&#10;NtPkk1O20wpbM5VUWIsFlDj7xREPIHdwTkA17jBBp+laTFrdnJLNaQpEt7YS2hgk01p1jicrJk/I&#10;6lmGVXG3qcYH48fD3xVrs1zfFb5YxaubVIpT5UBLKU5UjcGyHXI5HPoAPvLw545afw7Fp86Xfn6c&#10;sccNzb3ojivsqxeOVOWfcSMltuCV25C7RvTxMJ00qita6Xy/zFjsF9VrXovSTV/PRf18z7D0i78N&#10;+K/C+qnTNY0n7V4ZmitX0HU7hoZtRicL5psSxCGRTEBIwOQsQBHKgcnfDXdFtUu4ba90fT9W097y&#10;G9aW8XTyM8PC0amVIwRtVi0hOwtk9K5PwZrFne2a6PINM0nNn/ZsmqSWoNyn2keU7NNsdwgQEq6L&#10;uQjKjcoJ9i8La/B4f8MWPhPXr+41u1gunvNH0eK+xfWsMyMh2Xuzy9j7gwWZdq5ZUBLEnWUKGJ5a&#10;k3yrlsn05tP0Z8msVVwE5Sp+/eXwt68r3s9r37nPfCzxsESJZtcdftBlubuKSGFr+xeOBT5kMhRf&#10;vCIBY2ZiAhwuSSb2jaRf32pap4gOs2d8115NtDZJayW815kAPPErhlLuWwACGLK2BgqDg2v9g+Hf&#10;E2pR3XhqRpLdg89rdSpDBN5gkkUpJAxViEjZt6EggjJHQx2/i3TrrVpXsbMafo95I6m0u5EurWNS&#10;MKQpL/d2ggg8cnhgcc9CtH3aVWSbi2ehiq8alSdTAwaUoq702ve3c9L0Px14k8I+M9Pu9HjS+1G4&#10;hvLLSrO5iOo2qG9iSzmEcbZBcJI6r6HJBJUEUtVvvHt0tpZeZqNsklyphgttPhuNSliVnjl2lySw&#10;JWRQgKgkP8wBJPjepgapqv2WRbmW2YG5M9tKJQYRLIkkkJ+4RiOQlc8lTxnNeq6Z4nPhC90XVdFv&#10;0vJ9Lvw1raNARdwbPLaNnP8AqmEjO67FckbTkD5Cc6c5zny1JtQ5rrXZO1zmxeHoRhGtSpxdZpJ6&#10;b2Tau+mrf4kus+DfHPibwEmra54+0uPTUjtbPTfDFvHe297bb7yPT4pLkuiw4hW7kwYzwkLs+0nJ&#10;+fLHQte+Hsmn3keqtq9tr0MyNNYgx6ho8iStutZoy3zZiXIYcOJGBAIwfpvWvGEmrLqV5E+haZqO&#10;sTyR31lDpUQiaK4xJtE8u9owjKqRorDKAA5BYV8JfEHXddjeTRIiseoNrTmGVGDCKNZWzmEcxh0U&#10;FVcAldh2jIWpzdYaXLXs20klK/W/6oOHsZjr1MHJxVOTb5bdH56bPqe3a9qY11dNt9Sv47cTWpNt&#10;LeTM0CFA0jqjKDs3OpXA4yQCSOa9A8F6tbXVrAt9Ilx5kf7hhtWV3dCNzZBOxTgsT/CAuVGDXy54&#10;fW9ubxLm6xMnnvIiBPNSFBk7OCcfQnjPevVLXxHY2uoxGQLbNHAZZLmdf3IGPuMM9D8qqDnGcV5V&#10;TEyklKcbO7Wut1ofW0IVeT2MXfRvRbPsv1PqG7stWi0P+1IdGkewuJPs19qc8xjtoFCEpCQjAs4y&#10;CvIxgfeJ40bbUr+50WSKG3uLa0DQ2bqn+jxRJO52rIehHyyYJ4bAGcHNeXWPxCj8TfZZIZpLqHyf&#10;szTSSGaOMkZkJUDqDtzkfKAM4xxsxTvPcuLOYzWT2p80u5hMcwbCgK3ZMjnJORkd8KdOhdVaN2mr&#10;HLDE4iknQxTUeV/18zsf+EgvtGjsrK32yzS3Tray296NRN4yyHCXirkIDsYlC24rIOFDAn6FPjw+&#10;JPEc+p6+4S41Jjd3ek6UkVi5jjhgj8tCiIEjKwIDtUljuG3pn5CgvdQtUhtJN0tzGyGCa4mYsqKx&#10;3iM8j+IdRn8zn1PRtYurC3+3SWU07o5uZwwWe4gQk/LvJ5T5kz2JOME4qaOKrqCpxdotpteit95z&#10;YxYd0vaTSc0pRjJfFaVm1fdLRX80fVLa+l19jtbRodPsVlURRmEPcPCGxg45x1UE9SrEAdqI8QXF&#10;zNeKltDZTQt9meSEj7Qihkj2Sg8MVx05zg9SePnPWPGV3LYJLcB4kufPZIbR1ld4vKEe+eQkKpSN&#10;WIC7PnXOQTmvQ/B8tx5NnC0aW0hWM3txdzeTtbkhGO5kCLuTjGQFwRzxtiq+IhVjGg3Zo8OhhKUa&#10;Pta1rrpv53/z3Oh1aylv9YjK3DtaaY7zWyThZGvGdWTc4X5AUOGbKnocdcipNOlqbhLZEaMyiMzc&#10;GZQq52luSOMAheCcZ6AjB1bV7mLU5VA2TTzCKKAEsMFF2ZYnA6Mx4GQO+7iYmOPSLm4knLzMEkc8&#10;bmLbhkgYXg5wOg38e2ckpXSj71v6S+Q8TXqUoU05Xujcs9Ws1a6luZoFigiDpHITvkO7biP3yzNk&#10;nI25GOK4u48VzXk10ts0Txny0Jih3SSN8rEE5wWfLBj/ALWOvNcrqd2l/psmn2rsJvMMUi4ChA/L&#10;EsP4iTng4bdn2POWkUOlXVrbb55byX90vO9Iw4Cl29SM8Z6HnsK4VGpflirfq+xxSdFpznL3u343&#10;O1nYeU91O87SyxrbhA+6TAJ53ZGclAe5IHTqK52+1C2voJ7ZVcfZZBFcnKpG+z5mJPUY+bB45X2r&#10;N1jW4lu/sGnu/wAs7R3EkgcbCCFOAflLld2AvC7OecbvNL3X57RdTsIrR7t5boWhV5Y1e43K5fyy&#10;7AYKhhvkwv3ju4JHqUYKjFRttofLYvETxV3HZa/kc34l1ubUdS1W4tgz2llpyTMxjCCKNZFhxtzh&#10;txVPlYHIlUgcgjnbALeeeYbZ7fUL60cNI9uSPMCfeMSnBwWduR/Hgc81s3NsLuxbUo5Ld2aZJbdS&#10;n+tAH+rVMbmaTauN3I44Fbul6fDtOqXJjhnUFEtGkfdOzIpKR/whBwXYkNlwAMDK6Uqbk1N/13sR&#10;Qpc01Rhvov8AgHc+FNJg8oX5gjaM25a38twtxK/klPMcgDaThQAMYD5+UHmG/tWtL7dGMQtKzM23&#10;AkPXGRx0ZcjHBXryAL2jX88QRZF3FwAqEApGOijtwPrgY7ZrpzYpqKsZMzTM5Klskj5EGSG5Byrc&#10;9hgdiTFdyqJ8v9f8OfUYGEcIrW9SCyO6BGKMOUeNfLBXqCd5yRkErnrkDg4HPR6c+94DH0J3ny+Q&#10;oJBzjPqQv48dhXK2hksHKuzApyvJbdjOcdiRjjJxyeK6CykHmjBBQHcoVcnAIPXHHPOPYdxWEWoL&#10;e53STfu9D0O0iWa3VAVBJyrKMyEkKV2nsP3bc9w2DxnPu3wn+Il54Z1CDT7p3exkdFJlO9RkYOCT&#10;nADHr6HrxXz3Y3DksSxAGSW8zCueQORwemBj0Hqa6CKQTAsihpIj9wp87bcEdwQfzByfQivYw2Jq&#10;Uaka1Jar/I8DMMHSxdCdDFLmhL8D9FvFXhiz8V6cviDRI0aYRB5DCA7YOOrY9cde4GOa8g0d7vRd&#10;VhDOyKkx85MldnABUgYwOM4Pcjj0l+AfxI+z40TU5nYMGiiV8AYOUwDnHynJA/2QRng17X428ExX&#10;CSa7o8bSwXD5ZEVVxkqBjGcY+VyMnG1sZ4r7KVOOPw8czwnxfaj28z8hlWrZDj5ZNjtaMvgk+vk/&#10;P8z0zwP4q81II5J958vcSCF+6vp19M+34V9FaZqKyoh8zIcAL0yTx/Qg18B+GNQk0+4ijIYBiMMD&#10;+7UfKO5z0Gf+A/TP1J4c8SJcLHhmysaqFJwR1AB9OGYmvs+HM5lGPJUetz8s434ZXtPrWGj7r7Hu&#10;xEU8bJIFdXBRlKgo4YYII+n86/D7/goP/wAEufDvxKsNZ+KnwT0S107xjEr6hrnhq0hWG38QAFnl&#10;eEZUCUhnyD1wAMAYr9prK+3xxSA/KRl9xHGcA9OvO38zW5GyuqEnJwM5G0NkZ6da+6xmCwWe4KWG&#10;xK0a+aPyvB4zG5JjFiMM7NdO5/nMeL/CGseEdd1DRdb0250y9sZJIJbO5Tyri38vO7dg47HkZ6Vw&#10;jROhwF3ty2HIIwWB2gjjjgg+gNf2if8ABQb/AIJo+Ef2oNC1Lxt8PobHwt8YLGylnt5oYEtrDxY+&#10;w4ivCMfvG2qFk7HGe9fxM/GPT/iH8AvHet/Dr4oeHdQ8OeI9InNrc2d1bywkknaHQnhlZgSGBwOM&#10;45Nfj2a8AY/C1XHCe9Hp3/pH67lXG+AxdGLxMuWp13sdBGu4OdjrJG3IcHzBlQefcf1NNaJ/vSSN&#10;lGDoThTxtJ2n6rjj0avO9O+J2hXkCM88cTMFVvNcrIBhwevXle/JBB9a3rTxVpl4qiKa3kKsJCpX&#10;aJhkpgk9x1yMnEYHFfJ4rJMfhE/bUmvP7v8AM+1w+Y4GtGLp1U7apep00YCyOdpULkmUqTkMMnaA&#10;PXn8/WpFXfsLAEthixGQB94HHrwOnbv1FU4ryCQOFcOEbDIjbj0PI9B16nBwferPmowkjDrJuTYF&#10;JxnA6D07jI7jjpkeXUhJNStY6VJPd3gtLj42Cr5StJtzuAMaKvB5OOwxzSr0yokZmPl7pRlRkhgw&#10;GSAeNvrhj7YULvWNFVd5KxkhcZ3MNv4nOB7kGp4ZBJFEiksN6nfjDSAnB6D0wM/j0qHvobpKcrLR&#10;WEKurr57AMc45EaHPchcDOT1x26+srRqyg/Ngrl2OOSC3Ru2SSc98H6UiujBdg4XI4AAcdQM577c&#10;8d/1lLpgkYaRgfMDBiAzDjHv8w79c+hrKV/h63JcFG6ntH/gBHHtUtkkNGS4yDI2MMMg98hePX86&#10;blowVZcIJNpIOST8xyB1x69unNAOxvvcrGGC7tpBzhSe5zhiSO4p4wwf7q45+RgOeox78niiSdRx&#10;UhuScm4PXb1I3yUGEY7iXVtxOdpA4BGCCOM7v4Oc84Y+92WPeyhyMIqnaDjHJPp+I56+siFFDOfN&#10;G/5iJiXycDjHQkDnn0JoYhF34ICk4ZlAboCQQOvI4J7Ecer3UUmRGS5m5rW3y3I4YwAqhisiD5c4&#10;IkBOOd2Scc9TjuQeMRzFPLlaQgqVK/vCTlemevpjJp6vDhmBwFcrkAKJGZcZzz0wCB0znio2aNRj&#10;e7RAEkAZfc27g9zyDg+3tQk1UT6dTWNRK8F/WhDKoIEbrJKXBCoq7cYwMKQOvA6dj7moGlTMSEoP&#10;JVipVmkWT92QCMkNn58gHJA7MaQBixcrLvVSIk4BQc5xjqeB7+nfI0kcXlxfJvCoAQchVK7c8DPb&#10;kfQmtV+81grv+riTj7FN6MazsrJ+8dmDL+7wHwGA64GDkgHB4/CqzSq5LKzuxjLq0akFAMBMn1z3&#10;45/Vssh8tgytOgbhQu1YiyhSo7HlT1/kKkY5hHmSrEFYuWzhY3yOCcHCnGeBx6Z6xdpXsZRqKd30&#10;X/DlZmYgqxlXa7IcLukZkJBA5IzjLDHUemeGmTzGTIzsBZirEx42FMckgD5iPTntUjScK5R92AzR&#10;7vmQAbiT16Aep5/KmMVhj3koEjyxJYR4xlnGDzwAcHBHynr3uLu7Lf8AQTqQa5Vrffz1ViJyW3lI&#10;8LvG4hQVc7Bg5/765HHBFAUMoGHdj8pACnAJByM+wBx78Y6VIZCTJvVXQN5RKcMVwFLY7A4Yjp1x&#10;gZwJf3atGV3ozOSrueMMy8EHjBHHGDgfjTqPWz6f1qOLTgp+tyqFGBEcQup3BkUMU6YYqevHLZ49&#10;R2qQMDtATnyiHbBwVZSNzHrwGB454PUE4d5ZKSEtuBhCTI+FKHajHafpj1+tLl8yEKsagEyqo2mL&#10;JyFCAnpz8o67eOwDd6lPnIkpxbk3ZeXkObyyjSASSpJGVCmBWPEhJGMAEnBxyOMZIyaleOUuGSRl&#10;3rhXVQzgnIJHHUnJ+bPDjjB4dEglUA5SRpFcbm24fBXJzwM7+SfQVKolLMFXYwClPNcRxupxwc8Z&#10;OTkZAGCTRFyvyxd0zWbfseWT3+8ZyWJ3MqmTarBfkZWALYByT8oxjrggHPNOYsNoaFmQbT++DKu0&#10;jjax6nBYYJyee3SVR/y1RTl4wioVwWwCQBwOccnPTb2GTU2AxQOC6oBIx2rvBYHkZ/izkZ5ycUNP&#10;l5o7/wBf8Ai1rN/P10GxW5cMxHylt/G0ABi49jkDA6fxHnipxG8pO5toUAARDaG4AOG7nIbk46ik&#10;SPdJ5YZiOUBDZO4srDAHXqRjp83TPItDA5VvLDZLKoyFwSFJGf8AZzz6H1oaXLy9UVKUU7x23IlV&#10;CqoCWB+ZhICwUgKUC9e+4n/dB9KTyuMlnkVjuZiR+6wx468kbsZH/PPuetpf3gGch5GALs2MHOCc&#10;duv8qcNm1d7LhZB5g4V2zjOT1zjjnoV7jqOT1TNFJqPNJ+8RBPMDKSfJA3KrKd7YB6nqOCwzUWd6&#10;bSHB27yokCoH7byBx/EueeMnB6i2qli4YMACSrKoZSoAIwuPYZP1qsdzMJHVQzRFcAEc7gDn0P3c&#10;dM44ptNJSfqc06j5Xdb6P/gE5O1d0RIJwh/dqZWH3sk9e/qcdqhVi5IkDYyQCf4Co6Ae+QM4qSPG&#10;Q2QyMdgKgow6Ese+7nkn09hSPtcvKdmSx+Q/M3PTgdhjtnkURbpvfTT8Spzbai91t/XmIAG3yKrM&#10;hwflHzEYPbqM4/lUwYKTww243IAfJkxlT78gn0PQ5pySxlgdm1lwpJUIwA7d845/L8KaSNhk+bMm&#10;EZgg7HGT2P3iOp6cjGDQm7SS6DekrrYQo52qQNzsNqbQMBs5wOgxgDjn7vHUVEZGTBIIVGJd9hUO&#10;VLxsNueerYB/Q5pRKMIuDGhxGXYYOcYGD0OBx07H3oJQhkR2UkMyvEAMjcWJftzuB9yGzjApNptK&#10;X9dxQjGbstnr8xuNspbytzMrPhVLRnkDAz7Hj6D61FKkrOyTEFcbQI8gtkDac/hUiOzqo5GM+WzZ&#10;BIJ+vrnPXv8AWmpvck4LKM42Mq/MBliM9RkgdewwOubtFaw3ByUoxg+mun5elgwSscYDB9pjkxgC&#10;QfKOuRnPJznuelRqsiqjFSZMMShJYLgccHPGDyB0z061Y8xyYwyKN6AtlecgYPHqQc9OOenFV5ST&#10;HlugQhkUAl+WP45BAyTzt7dKTrNxsu4RfLFt2bZWeRXYsIxz1/eLwehopj7GYl3CNwCjSBWTAwFI&#10;z26fhRULk6ox/e30/rYzA7sSrbk8qMOWkYx7shgw9yCuCfcdO03yD/abzVGTgNIfXbjsQ3I9uear&#10;g/vdrLnYx2n7i4KevTqGGeBgn0NKBnyfLeNXV0YFwCEB5A5xgEEDOejHkUScJSVv68ghKNpTl8l8&#10;hQVbzCqEOVByiB8FS3AO0kdzjg9DzkZaHz+72StJI3JERGDnccYG0dB09R17MXBhVwZFQr5YwpyG&#10;PAJXsxIHuDjNNycxwupaQ+YrKybgB0Qnnjcd2M8/u244xSV21HZMuPvu1vP5CSrg7AXdtyxlgvzP&#10;n5du4HOPmxxg4PbOagZMs7EliQGjVXAUKeO2B75J5Lk5qyZR8ucsd6yZIMjAMRz+BcEY9B1FUF8t&#10;RucsrMBCApA7rsUZOeMD6nB9q0vJXjYyly+0cY6L+mTPlnZy6RqisTAp2gZI2845x0x7c85qNnCh&#10;SAiSOowUuP3yYPBC5POT19zjjNNVnYeWNhkOCU81RKoLHJZcZ2naVBOMHcR3AGCPy6fKkPlrlCPO&#10;yNxAB6kHDZ68ewqIqKd7/cW6iirNbocWGMyMdiybA3mncCcbvl6HO9lwT0xwaC9wFG6VZJBhGkbC&#10;s+VCsV4wSSc88AnOOhERkdiUC+UrMyDCYdwHB5bGcgbug6JjPNOc+YSxGxInUuOZFOGQtktwBg9s&#10;4BHBNJxnGS6f8AuEpT2VlYZkNkKgjMiqWQnhHLAHOSOeoXOTgk4HJpyySeYqSsBKIi+5T5bEr85w&#10;c5HIIB7jtk4qJwf3fyksIgVYgnDLksMc9cDkjqx6USbmLlUbzGU5YHaxIZyC2M+q5HfaefRwUbGN&#10;NOSal/w+1hTMGbErnBYKqgbVwmSpUnnnA4OOinjmlRwjT5DBmk2gMCCmcAjgdckAckZHOcA0q5BU&#10;OTtVANqgMVX5xjHUAlQoH1PdQIAHZmcDcUm3sACWwwBXGePlXac4/PFONpu8dLWKglGrzN2/4b9N&#10;iIuxljC7QgRcCVt2EOFHT/ppIW+XI+boeaWRg4Xz3lffIqSgyBXnYfd3MB13ZbIAPGcnPDQrIyJE&#10;y+QjDYWTKDoUQYOeBgdz8pPcVHI6yBk4Vy3yqSEdyyqPlOPRenvnvkjf7xNf1p/wRSupuLauGVSV&#10;EXbGifKhVR86FyodenJCg4Hp7ZpHZRg4XHmb2YOGBPCEk9OMNyeAVx1FNRgQ0j7W3gLLIMgSDKrt&#10;79I+Bjvg5wMFyyIM+XueQEch/lO1Sy7Tk/LhgeuMtjnmiKfPd/h1NFFRgklqv6/4YlkfaYwCgmZm&#10;nZS6q2PlYKO24F275+8OMVEpVvL2M0QBLbgvIKhSWCjngSDkYzt7c4jchpChUKFLSgROr+Z0Crux&#10;jIKsSMj7y9OlNSR4kiYKiKf3TAsVZmKucls/MSASTx94YJoUOT3utgdXWy0RdS4VG37AoeAMmQDs&#10;+YAqZTzgCMqXyeMjAOSrB8zlkAZc70IjDhGUSbs56ghh0GMZz1qJY0k8sOFUEgmUbVY4bBAAwAeG&#10;69CBjHIp5BC4k3Io4+VSNyq2SCeMk9PcAVTglFvr0/DY0k4OOr1v/X4jiyoTGNy/IFh+QsACFxuH&#10;XI2qMnng9OanEUyMWUNEM5k90C4IQk91KnJzjNRjKp8iFyAcApgANgrtAOdw+Y8gZ2g85NWIWkCK&#10;z5KsjIBwNoIwCrKRnjJ56nPGDisoqonpo0ZRpqU3Jv8A4a4scLCRWOQ4cqVU5JUgY3d8D29TxxUq&#10;43HaGDowRm2EsMue3f5VJPPfpQXkkeQEKMq3lhUxEo5chF5xyQDgZwo+tT24EmxBtWSOWOHMZ2py&#10;Vw2fYkknHHXFbRnzNJq7X+ZquWquaDS9Om3+REdp2swmG9TNFHgneh3KW3eikZAPUqeOGBtlijmI&#10;DAClypbAIC5bnnjg5x2UcDFVCd4Dp8pMakiRRtBAIOc9CCY89e/FWyu0PGCU8s/KSM7gRhiMZzgn&#10;HHuOhGIcra2v+grRbklv/wAMGS6uybCVCghj5aknI5B6fdPHzdB60iMkaA/LlV2f3cMOTjpxtLHO&#10;c9Bn0XaMkK0jyM+xQCI2Q/KSHYnduwm4huwHUkkSx5l3qqlCC4bLq0ZJIGSBnALOvYjJqWry01tZ&#10;iheLtbr876WYiIhlO/AWBmDBckHcyhmIxnK4zz6ngd50cCNEjIBiICqcfIQANoz0ONx6Y4I4zUUE&#10;kihAUdXZgskUrrJ5PBL5+hyD2NTkb5TsKZxtICbwAM4b0554PIx05onJyd/TU05ZSjeL73/Al3RM&#10;AGBG58MwmAZvmy4Iz94BVPXgP6UR/OTIxCfusLjkJlgcgnjkAjqM78moBGkv7uRlYIwDoEIJwCRg&#10;n1wRzgcdeak+URMhZfLVQDt+Qpg8suBknHI78gZ+9WPs5KViXLnlaXRXv+hMkkjQLGyKxQ7isj/v&#10;MMzuAcYHAByFz0HTNPXCHeo5kRWIyTubaEJbA9ic+54JpqKGLDbufCqgDAP3yCe2OMAZB5yQcA0t&#10;Q1CDS4XubmZoYwqpIwDbDkuQCegOAx59BzzVSpzX8N+8v1K9opU1zrT8SxfTolnJOxTNqrvKhGGI&#10;2ryAQduME7h0IUcGvgn9pH9q/SPh3oj6Z4cvIbnW7uEqjRTAyW5BZMOme4Csehzx71D+05+1voPg&#10;fRdS0Hw7cx3fiG7heDbAwK2xZsli2ew4xn045Jr8QPFHifVPFOpXOqalcNcT3chdi33Bk8gD061+&#10;j8J8HTzCosdj4ONFNOzXxf8AAPhOLOLcNldH6rgpqdd3T/u/8EPF/i7VvF2sXeraxdzXd3dStK0j&#10;sXwCchea49pCPmGWAGCxPy9O3rUrDJXsxx2+XGfSopX/AIcgENwVPGOwx+FfuNGhToU1RpRSgrWS&#10;7aH4fWrzxFedfES5pNt3e9+5AZCQ27coyGKk7cfLnH8qZ5rYYHO3dgBu/rQT0BABK85AGSTimg4X&#10;aS25RkkfLn6/rXQkn6aHPdydm+4YBCoVUbm4I6j34pshKjAK4PBIAU0AkDLYVtxHQnPpg/iaChdS&#10;c4ORwRkL680krSvJlxUbWSG4KqvJyejAYPXrS53MBkkKDuyPu/Q+/ehm4BwSF4AUZx/9bmkHHJw3&#10;ZmxjjJ6VcfNIy+2raiKfm3YHQLjHGB7/AI1G3JHBGBnPYdutPJ2sAp3hTuYgbgB0P8qXGckhSCuN&#10;2MA+x/Sots+hXvNOmlqhuCDw2Cx4JwV6f/W70YYEk7WKEBuepzwBTty53EDluAOAMdyPz/KmjnLf&#10;KACT8vQ7v84p3lqyoNKS0vcjxhMqG44JPfr2/KlIJJBIbHJI6kDsfpUhDZbhSMZHGAOv+fxpuBtG&#10;GUHk4A5ORwTRzJu0twceV6O6svzRG4I3HcNoXgtjBJ9/XmlHYkDGMs2e57n9KcQCADyqjkYHHt/W&#10;gElsAgkkjjIUcf8A6qJbWJUbP2nRju+QFzjaWfBB/WmZxlSO5yRz36U5R1yAecD/AGeOp/z2pAOT&#10;nGdvU5AGOtL3bpl8qeq63EXcRwMls7fU9MY9D1r1r4a6zLa3Qt97LubCkttByRx/P868k+7nbjJB&#10;IX9K29BvDZajDKScMwEnXA5FTOLnGUXs/wDgGSb91N2sfp94G1syW6rvJUqFc+YHSEfNhiMYJyT1&#10;9RXt9lKTcIQTGir95ju38ngjGecZ6duO4r4t8Aa25jgZZSgH3jG21sZHAIzj15Br618PXP2yOB0l&#10;JlQb0IOXV8/NnBwOQCCCOFyTXzdf91Venp6n0+FblTi5P5/geo2khkHVmPmYbZhYk+UBQWDc/d5D&#10;AcjvyK3RuYAKrqzOIkXAYsx3HJ4wMbcHOCSRj0rlbViGQxEKCHcySMUBJB9cEhcZ56ZJ56HahdlC&#10;FVSRdwyciMBSxPyYyOmOoyd+SDkkebPllpLf/gnbepCPMo6u2pvR3MjSQ70LIjtICWKKGYEPlSNw&#10;xgDIz9z2respy6kzRfvWCuV2geQSORuBLbRx9cZrkE3FS+GYscMUBcsc5GD379DnAP1rVgmYeYBK&#10;UReGOdxcA52hjypyF9RxnHesVeWi7G6UYO89W769jv7W6mPmEuuFhEYYM3y5dWB3KMg4UYJPOcdD&#10;W/BcbozlZD5ibJCCJEYFg2TzkH5Dnr94gd64GC4lNuSxcuhyqxxKYFJODuZTncpIzgfUnnPTWtxL&#10;+5aZSIjkhHKeVjG4ZPUZ7Z9vpWE4SlFXWqLhJwaUn1379V+Z0dxBbyLKGXfJ/EmFVk5IwWB568EY&#10;+6Oua5nWtDF2ux442CAAI42gKWJJJ9evB9e9dLbt5sKAkIqL5m4ESD8SpztyMA+mT6itNm85EVhu&#10;ZxsklIQtjG8e4wR2BI281zzpppJbr/I7qVW8nGf9anyx4v8AAEF3DKY7VXUls7VLxkDkcYBHYcen&#10;XHJ+Gfil8M5YjcSW9u0LxliJBGUIYHG0+h+uBX613+jC4gklCAsSsXytuDAnC45GTt25JAyWPsT4&#10;x4r8EQ31tcKYIQzLl3dCWzj7oGOnY+5GaUak6S51uephm6lNUpbbeup+LiXdxpV69jqK+VKrfu5Z&#10;SSuB90A9eldQLocNEwlXBVj0ycY/mR+le9/GL4PSDz7mztys0aGaIqqhwq4Azzx0yc8YB56A/J1p&#10;f3OmztpmpK0cquVDSjbgg8Hp9K9SnyYyh7RfGlqvu1LpYmtgq3s6km6cmrPovJndo+4ltpKsP3Yz&#10;hScYJ+nNQEFWlRQuA5JdyV3jtt7ZBBB7VXjlDIDvRo5BnoBzgDt69j7VHE20oFdSoJO0jkfNng/U&#10;1yONpNSXY+kg+blnTlo/+AWmjKhZAgCLweBz17fjjNZ7ROZm2rtVnyuSCR7+9agZMMGGX2llVjkH&#10;ngfn+eKq5Mjgl1HXaANoXIPf/PaohJwkk9hVaTnea3t/SBCPNjVlKiOTLMFwyAE8e/Q/5Nb0MoUh&#10;ey5GVyu7gkY9Mfj061zYQJsbJY7zz95QTnP+FbFtISgQkgx4PCgZPrj6Z/OqrJyV49DHC1PZTjTn&#10;qr6ne6RNPEvnbA8O0qSGB3cZ69+R+lacDyGNG2AhpSGaMlMLkdF6ZG4A+zfieQtrt4A6YVfMQkkK&#10;cMcbce+M9fb6V1VlcJMtvlydrF128kFvvFfxA/KvBrUmmmj6vD1IxjGTWmt1221NyCW3SYSzAeXC&#10;ySkB/KJ5x+JzjPtmvVNJvIpApjLyxzJtOX2qucYOMYB+VuBgkH0yD5TbMHupv3UZR0ICMDIo2rgD&#10;Hp+ua7rw5JvjLRghIZvJI2+WmST064HUD2zXlYilenqrs9mjU56sXSelvysdlOJJtOlSN44GV2Kq&#10;AGWbAwFJ9SOnu2KwLubKxRpCPLiTzN+BvZuQDj0J4xW3aTG0lmMkaTlU2GJXO1GAxj6dP19hWdPA&#10;UnWYEsWQvOoclFUH5QOehJXj6Yrx+WUKl5bHr88VHmb1Xfv1+4oW1tI6PMWZipQj5AGi+/1A9CvX&#10;Hf6ViamsyzGWe5aS1lYolv8AKyrgMMAYzty7dv7uSTg12RkRGuIpEV3kXYUjxgMCy7VYcddoJxjI&#10;PJrjG8yWOMuxSVJSFQxY2Ng/Nx3I29fbniuzDNzipWt/w55+JU5tQg9e/by+ZyWowTyB1MoabyjK&#10;rBg6Dkdcd+p+lefz2b4IkkWUMxlMjcGQjof5+x4r0i6068ihmjkDypIxKyNkuFJG7j2/w4rlriwl&#10;hcI6YIXAcfMyhsBcD6sBj2Fexha20Yv+mfO46iql7rVfn/kcQZWtmLAgI64KHO5FAAIH+FdHbpG0&#10;MbBiyn53TGx1YnBA9+Bz7e1Zl5YmWMp8xMTqWfAVR3zkfXt61pWm6ML5qEvEd0hQnB9Tn35+ua9u&#10;ai6a9nufPUI1MPXTnrHXTobPkpcJGpJBzwwbDSfLz+PA9/SpYHMFy8oTCgbIyGwVbALDHtxj3Aq3&#10;atE0I7yK/GFK+uCT7YHbHNPuLYkBgVYSKWLMo3HHHQcdAPTJB6158m41LP8A4Fz6NRotRqxlv/wC&#10;JLhri7EirGgMQXCKNvQHJHrnOQf61eeNxKkjlI8MFDDho9x2qwPQEkgdecjFLDb2wUXCs6BlLSIx&#10;C8g7uBj2654981pQMCJZJFR1nTNsWGRjAOWPUknnnjk+tYzgn73Y0g3GaT2t+uhkyuqqjgHzgPlf&#10;gfMAAAATyOMZx/FVi2CbwzEvIQVXOFTORnkdO9WblmliBjI3+aJWkI+YMm4EZ56g/U49cVlq4VwW&#10;P7xslgCxLZ5yRxj6e1S5LmUJad/mepRlUjJNrv8AodhpV2tsXePA3f61OSAAOD09u36V12m+J5J5&#10;SVjd5ApjaN5B8pYbTxyM4/HvxxjzeA5tnuicMZMFeSzncAD06cjjPUD3xo2k0VpLOIUkDBN5lHzY&#10;b5sqM9+B6c+tcUqLSsz2KWLcE0n3v/X3Hsi6lFcWhR/s5LxOsbxEGaJ1U4Bjxnk45yBjPBrnFvX3&#10;xReaYioVUAJSUqOCzNnDDjGDyeeua4SPUJtzyfOVRzIFJYBS5IIIzjnjj3qX+0RfYm2gGIEKZDzg&#10;EEjDcY4U5Iz+tZ+wvBqdtv8AIiNeCctb8y06rZHv0qXOoaXI8WbxYYTctKEVZogi5cjJP3eSMnnB&#10;OCOK5IX0NzbTwyAP5KbVJ6opyV55Jx6cZ9utM8P+KrW3t3ilRGjhhwHdhGu0Jll6ZxtA477jyOM0&#10;1ngW7up7cCO3ulZsP8yKCWK4HoMnP0HXtnaa97vp/wAEhuSTje+39I5Vbi4RrmQRyA2Z3rKm4xxq&#10;7YVvx3Lzkjkfj2mkeIZ3uLaOWImRYmBAQAXO4dev+0D7e2cVS0uCK8naNSEFsv7uUtsM4IGQR0J4&#10;zirD2G97vyoXAiiE8cturOIwuDgYzjGD16DI6iqrUotcy0dicPXrwk3JtpP7tT0bQNbm0+4nZJVU&#10;lc25jkPmKccgg8AHn8MV9H/DD4lXOkX6y3M7PDLG0VygXiMHbjPBGMcdP4gM5r4cs7+4lljikY26&#10;/aC8ToxDYDZwwPTp29a9Z8NakL1pIk2o6fIzAEKzAHcckggfLXjYvAvn9pGWqPvsqze6cay3779/&#10;8j9WvDXiK0vRfatpZhj1GSSOKSW2d547tlDSqJRyS2WKAoAPmBJxzX0j4g8Y6BrXgSxg8UaXPodz&#10;K0NlN9ktXto9SijPkBpUACO6NGz+b3dZMuXL1+Zfwl8SXWhJPdxTL9lknhRIHmEhkVVCSqrdMEtu&#10;9VwOcjn7v1XWrvVfCenra3VvrVlBKiaj4YKulzE5Dlbzlgp2B3J2ncMdMFgc6dSKw0421tquvr/W&#10;x6WNw/1jEUq6ldXsmumisv69Cr8Y/hDqngeTwxdjULC+0Txz4ci1rStWsplvbS5jkiWVrWUjiK7g&#10;VlWW3OGjIx1yF+SrPw9DqeqLa6Fe3lq0c8sd6NQR/LiMTbVaEFQWViJcDG3KABjnNff194t/tL4X&#10;w+BtS0xLu2a8TXdP1iHfJf6agiESxW8g4HmBW8xGzn90QBjLeIzWNhG1vNarBcWiwtaySSOIruJ3&#10;I2oRjkDjDDGcggYHPn4mlhJzlKm7LR2fS+6O7KMbmFCEqdXWcbpNLR9m/NbfI8b8HRatp0t2dTmk&#10;Nsl08X2iJ3kS2kX5yNxAX5gThTj7/fBNe4+EviWLTxLaaUkkt/FLeEpKuJnkA3fNIMY/hJGQTkgE&#10;DFUtD0yXwZ4nvb62giuYJLL+z5LWZlurG+W4BjnDSYMe1kkIDA5XaT8pIxx+veEbK21Lw14i0BJ7&#10;JvtbNqmnOUe2aQyhoZLbkhViMZGM7SCpHCljwYrDx9jHEUndp6rt0/rsfUYPMvrFZ0MVtJWUul7X&#10;/rufp/pV/oxl0bUIr+JrgK9lf2VxaLazSW2TtYTg7lb5iNm1iDk7sHFevweJoVMsmqQy/YorSOGS&#10;8hsRJewQQmQ2QkIGW8syD5CcYIGTgGvzg0bU7+O2tbhpW8i0lRUuXuvtClXClTIwOB/FkdTjPevq&#10;bw54qL6a8d5Lb3kSxNPc4uFR2A3LnLcNgkHCjkEYwTxywxOIqVuSWiW/bZHkV8BCnSc4PmbvZ9vm&#10;ek/EzX4RHobaJdHUI2DRushd5YPLk8xkCsoRFbfuCpnBdiTuYgcFd6g6W0qv5VvLeS/aSfMUtEzZ&#10;bySF6D5gPlBxkcdqn8V6x4bSx0m5bVpZLqGJ1SATh7a2Rm3kiMru3MQ2CcEhV7Yr5h8W+PGt9VQa&#10;bd/aIWkjZyyeW8bAIrhMdSDvIPfg1ninKNaVR2d/1STDLl7WMKME4tX1a3d7/wDDH0x4d8S6jYXz&#10;C1muQWl25SRi7RZIdEG7Ch1Lg46nGScDPoN3qOj6jq+mw6ve3mjQNE8l8dMsFurpnl3FXS33JHnD&#10;oo2MqrtVgc818gaJ45tkuYLhL6Nbj5IpBNMZPLDLvO1ScfKxCc4/iIyK9MvvHNtaarDctbmZZoTB&#10;bTwwB7uMuVDSBdwAGd2FyCQF54zW1Co6NNe297/L+tDslS9tiJSpx+z06vufQ1lFaXL2VtHczXpg&#10;tENnPqCGyMpyuXaMZX5c8DnGSDziuJ+IfiHwzdHTr6x0GKx1q1hksNUu7Ji/9t7HZd5UqAkn+rQF&#10;S2RGcgliR02j6dea1ptrLpMcFvdvKz2l3cSsJpAzhZI9i5bJIbAI3HaM4U7h494iMttPf2HiPSmv&#10;JZJGIhW6YAY3ElkGSfmeTKkqx5IIHXSfOqXs4L3W797aX/U8rDqnPGpzl70N/m+v9bmLpHiCy066&#10;nfdK+nX4E1i0n7x3fALhAD0XGCT/AHh747fWrbRb+z029W6jaae4Z5JL22UwQKY5gEicgjcTlNww&#10;x8wjG0Ma+d9KmvHSK0e3jeDT5/IjklCySKEB6A46Z592wQDzXXQazJZxorTfaEuZ8raSxDyYkPJK&#10;g8E7ss27JOT6gDgjWpxTjWje6Prq6cZQlhqlpLz08vme7eBLix0z7TG9yzAyyGGJJCjlV49RkZOD&#10;z25xxXreneJ7d5ks1sljsTG7G4yWuJCFykaKOCpUkkEAtuGOCc/Jum6jnxDZeXauLZ7WQNcrh0tM&#10;qHBKk/eZggyOxI9c+raLbatN9uFpNJNqEsbzWkhmZLfcB+6XOQMZILYPAzjPe6cZxSukk97b/wBM&#10;8THVIVpyqzfvvXXvtf5HrV/fSzeJtPgWeS0gtLctKx2ztLuwquh9sSen3hk5Ga7nVLsSJaWsF1eN&#10;ZR3JEUdyii4YDavmyquUXccHGei59CeN0e7lSeyju4bdNUCxw6hePJ56sFIXHlnKoR+8+6Bxj+6u&#10;J/Ed1JFA72Gy4t4nedju8yNuFG3BP3sgrjkcDnqBhUj7Nyqx26af1sc1HEQ5oUZLpve+vf59Durv&#10;VDZgwTRi4tktShjITymGTJukHXeNvHcggDPAPXaX4w1FLiyuGaGO2ggE4Tblm+dY1JUttLFpIz2P&#10;BzkV4nZzapN9k8uGCW5u5ATZSS7oQDgIxJIVRkJljgDv2NdnDcJN9ltb62FvdIQkEakO90wycE7u&#10;AAGb6cdTRh41pVFKUvdexoq1CNJ3irp6/q7HbW3ie+v9cvbgtFNDLGZ1jkGBDtYHzXHpt3gY4Ocm&#10;u6nlhXS7eZmcxXszQQQHCpEzEx79vUAAk5b++DwBmvILK90zwvNcLdurTXjSu67wHQO7Nk5PAAIG&#10;OAoXuRxbv9euJlsobWRYjwolZjsZig42jrgsfqF7HgdNaE4yk5O7fTqr2seLmGKhiKsY4d+7Hr3s&#10;jppxAnlTWzm12IwkkddhcKm0YUDj5TjnOcHjsPP9V8UWcUYkSa4e/kGIbm2O6OGNZSHuFjHLkbSi&#10;KeMlvwj1LxJ/YqEC5W4udQxDJJJl5mGD5hwBwmMjA46DpXL6Xp15Msup35ee4vrlXGxPs7WsUXme&#10;Sr5YdCwIUDkOMBcczeFK0F8WvytY8SrOVaV946f16HRaIkq21xfXAaFrYtIz3THcTjgAE/h83HTn&#10;k15T4n1C7sdVt7eyhu7l9Sb9zNbqZJZGLFEcjAKqrK/PIJB4HJr13WdQ0/RfDl699JJNcZjmu7p2&#10;JaZicKBgZwSVJABP7rOcAgefeH5NNv8ARW8S3Be1gtuAblTD9miM5VnKH58ZjXbuHzLICPvAnelT&#10;9o1Z3X476nLFQTu17t0n89l95LZzeRo2lwX7wWsWjXDy2yxlnvdQ+0lHf95tG7YY8hiqhSW4y1aE&#10;N69zIrlQkUKiO3QD5os4z0J+8SCWPORk4wa8nsr5NRupJ0eR4GbbDEWCxxAABcKSAowRx6g5r1DT&#10;RGscUu4yAAAhv4shTz2zjg4PY+xresnG135Ht4LBrDrma96Tb9P6Z6JpivK5cAbY1UjdkbUyADz0&#10;6rj69zxXomkAohypwshKlMb24KqQ3UZyp45wDXD6HG6xxb1+8Nq7T80hYgseeo5Occ8rx3r0Wyjd&#10;UG3J3Jgjr0XbyfoevbNYTSSdt3p+hvUqSacX/WhQvdPhmL/Lj98GQkZB2juPfJ55PPB6VRsW8opC&#10;wbzI9sO04Zn+QgEnnqUJ5P3m7cY6o5kIUqAYzvXAJAzwD6DO3P59eayrqxkSTzEKna2duNxbnnGe&#10;McdiOCKynF0k52NsPX9zkl0OksyFjI3uclgigZYBCNp25zyCCM+p9DW9pEvmSudgbBKBwwVcH36e&#10;gHrXF6ddb41ibdvB25KgHc2wDgHoQF9a7vRod7LkGMiQZKsFddw4YHoCQy4Pbv3row0Yqokupjio&#10;8sWnsddbxXlhKuoac7wmPEsixMM8htoL4OOhXPGdp+g++Pgf8TrXWdKOh6w6M0iGCWNmAJOMKSfT&#10;djj3718ZaZtNvsLhhgblEeVUB5MdsnqMY/vjPQ1Pby3XhvVLbVrCSSOMSmWRUfCAe+enK5+g6nmv&#10;qMtxdTLqyr0tY7Sj5H55xFlVDPsHPA4hWad4y6prZpn3f4x8Cvpc/wDalgPMsp5BJFKJGkZA5Hyn&#10;AI+6FxzjgdBWT4d1iWxkUTMAzvuw5+XjBC/+Ok/U+1dl8KviFo/i7QYtHu5I5T5KxFJn3yLtwqsM&#10;+mFOfceozR8W+CrnSZWlhV5LaVxJbTIA4yWyBjHTJzzkDOMgAV9dUw0LRzHL3eD362fW5+SYfG1a&#10;VefD+fK1WOkW9FNdGvP/AIc9m8P65FPaxAupJTGGI5J6E5ByRk/98+1ej2t2HUAk5DA8kZHfk9OO&#10;v4V8keHNcks3WKdnVlbbsYnp355PXPXH3emMV7poeuJPHGTJjdgHqc4yNwB/GvrsozVNRjJ67H59&#10;xNw3PDVJVKS9163PWEdSwboPL2hQfl4I/Xk1+X//AAUg/wCCa3wy/bj8AXt6thB4f+MWiWJl8L+K&#10;7aFYZr54lLR2d42PmRvubjuKBjgHpX6VW10GCkMNuQxJP5Eew9fUY9caqyDA3DGCRlyB06j8MHr6&#10;fSvsozpYumk9+jPz1qphanNH/hz/ACpv2gfgL8Tf2fPiLr/w98f6PqGi674f1CS2ltriJ4DIFkK7&#10;42IG9CcEOBjB6kc15CviXUtPtxLFcXEb78B2fOSu3dx0wCwB6/fHrx/o/f8ABSX/AIJvfD39uP4c&#10;X7wWNjovxh0Kxkl8HeK40W3muXCNizu3x80chCrljhcA9q/z4f2lf2bPiP8AszfEPXvhh8U/Dd74&#10;c8TaPeuYoLmNXh1GAM6pcQvnDROVyGHOW556ctTD0p3pYqCfqtGfQ5fjpOKdOT6fKx5zpHxx1bTj&#10;5Eqm4iLldiYy5HJ9SMAtgkHrjBHT2HRPj9pl9/x84h3RgMzEEgkZ3dwcYIwCM5yemD8d31mAqyRR&#10;yD5FDggSSDbhQDhQpOfYjrxWVZSK05g2sqDAJBO1TyMj68k/UV42M4RyfHQfNSSbVtP8j3cPxJmm&#10;E91VG49L6n6V6D8R/D+p4WK7jErbFIZ/nz0zjqOM889F69a7y31SwnUCOcOxBfb5hZIxu4wM/h6c&#10;/jX5SC+1HS5pHtLqeIFRJG/mEbuhyR27fkK7zQ/iN4jsvKkgvnLW5Ic7gQWBDBQPpwDzwRz1z8dm&#10;HhzGopTwc7eVux9RhONpyap4mG+l193/AAT9NY7qNpiY2YugLgbBvJ+ZncH17kgZHJzzxLEx2AyF&#10;CANrbeNwZgdw/HABHGCfx+ING+Pd1FcQwX6yeVEVjmkA3OAykNgHqcJwDjOOa+hfD/xV0XVZFje7&#10;jhCxhXEhHHHTtgrn9DXxWY8H5rgqUeam5W6pNn02F4ky/FzUYzSl2ff+kevKQDsKl1VcEkDCYIOC&#10;fcBvbr60KWCyblT5W3BwVLMSMAH3J457gVztn4isbtmeGSGRvmAZTyRxgnHQAbvz68c6y3CzFiH3&#10;RqyiIbgrOXzgNzz8ysMjOMjOM4r52tg6lDScWnbse5Tr0avuwa+/+uxZiLBAJARGsYlZEyQxHGPT&#10;qW//AFUwF9kSjJZhsZyBEpxtB69jnI5OOeeBmQBogmxdqIDg8kDb0wT0OQMj0bH0gwWPJZPJGOgY&#10;Nxjr7Yz9evGQeezvY2aaklJ6CGNEZQwG442wsFDjPGcZ55yM+hpwYw7Xcbcvk5fCtlidu31G44Po&#10;Pc04puLEMMOAhJJ3DGcAg+oVjx+PbFd1VgVjMrP992Xbk/LgEZJA5wf+Anuc1STceWPzKlH97OUF&#10;r/wEMGHMygCMEbDJuOXGCVyPqGHGcAgnGailVkDOQUYNuE0JXDbjjbk5zgc8+n41My+ZG0KOfs+M&#10;tIFLAfNgggjpjAyOu4+9QkAopYSeXkNIuM7ScgA4OOxPXkKcA4rNNpWWjIcbK9tXa1+nyKTmSJkd&#10;n25jZpAw+YKSM454HbnjLe9OdQY3STcFBZykjeYgDDByMYG4heO4VcnIqw32gjO0FC/IdQpjAHUY&#10;I654yf4yOAABAFLeYoLqAxVopoiv3QOHzgjADcEAjHpxVttx5evUbjCEZRgQeZlSPmV2YgurD96X&#10;yTtPHcgA9wPxpzCTeqKpZlXYET5RJjaMsMDOSw4b1HHFWHQ7xGWCFIwcEAshwO/Y8n+nWmjeAjbZ&#10;dwGQyktkjO3cvbPOR3JxxzU35Zc23n8hK7SbVn+A2UOwLInlJy5QvnaN5AzwCck9eg+mBUMfEbsr&#10;J8zBizZQBmBLhs9McDt0brkVaK5jLYAR2BljIGWIXtnkdc8dPXjmJgEBIxKGIGeccHGCPfd3z05x&#10;VtRk3Nf1sJWbvJ2TW34ldQ6rJ8zZkAUBTuIA287sYx8vU93A54zNKh81QQx3lQsYYOxbcepx7oDk&#10;8k9OMidYPPCsFK+WCqbFbc+MfNx35x/wGlMIMgT5nRl5ypVSd3uc4+7+R5qr+5yPSxmo1J2a+G//&#10;AA41MvIGUADcCoUhggIUDBzxxz3GM+uRYURFjE7BZSCJGjBjJBUJjPfjavHXNNSJh8wTed2d4G1s&#10;bPQj1I9Oo983YlAV2lb53fGIwUkAUggc5OSdxPTgjHrShJpJWNk4uaVUHhZUwEVyAzIjPwvXg8EE&#10;HkcZxnvyKBCxWPeEaKPbjdk5ABAye2Coxnrg1MwbYSo2ujFenAwM/wBQP+Bc1OuyZcMu7AOxATj5&#10;cEHb2IyKbvy7XtuVKNNy509LfqV40Lne5yNo4BC9vl4PtnmpAkgdiCHUsPvLhG2kNz29vcH1NTYL&#10;sGK4Zl8mOM58s7QvGMDk5HGemOB1pqkSCWKNi4CBnIXA4HQnp2qbaaPf+vzMZ8ylGP3Eatk4zlUX&#10;kyOfMQDDAjPJPIxj1FPKK3lqAhcnec8rnceeCc/X3+lTQnhUjLswGBnKDPJBUgg44z6/rUSbFQbE&#10;8zKkAqDujYHJwM4+9x64bik43jzPS34hCCkrQeu3+YrKJgokchNg3ENsbDAYwx5yM8/Qdaj2/NIS&#10;FTc2SNg2LnJGF6YxxyMYIGMU/cAUznDErslY4zjPA/ADt0oxHJ8mwHzDt37S2O5I57Y/HAp6xlpq&#10;inFR1eqegxGRVIdGbf8AI5Xc3mg8Enjj+LrnqOD1qJlC5YxpIwDSHzXKfMA2AOSMcen60qs7sUO9&#10;GjUbpMl0BJPqQcKBnp2HSgiQGQgiSNmJZt2D1JIP5DuORQo8sY67kuLjKyTdmO3bthYrvXEaFZec&#10;EDJU8Z+6Off16yAZ6bm8z7itzGGC/wD2JyPQmm7crGSSXjwQZAFHB65P+IHPuKQNJsJTzNh5+QAd&#10;/l64yOO2fpxwXSk1HYbjTUnGTulsKQEIV8oUUv8AKQUYqBnHHTr9SADTIo94CmRVGNgz0UkEnPcc&#10;EjkY5PcU+SZh+9do9r7UJyONxCgDPuUwO5PqKFKKpydpdsAFCrdiWH5nGPU1XvuKX3ja5qrhbr/k&#10;IEkMhCIXiSPYMKMKoZSX47AKTn0NG4RTmUEAA/6uGTbPL8p+YEd/nOPQikMbKQqlRvwfMDcLz8x/&#10;MenQn60BH8xyWdl+Z9qZCsAHBz7DnB/UUO0Wm1ZW2FJWiuX/AIaw2NmXbGqsC4O9i21Co5AZu2B0&#10;J4GOoxmqzlXjMhVmjYBQqnDLwwIKYyfvL0IxgnGM1dO6QBQGdQQHRSA7AEbsg9x1A/qRVJ0kyQoI&#10;Khl2vk7QOdx6EgnPucj1ojH37pWE6SV29L/8ArSqwdgplQDoobAXjp1oqVpIS2WkhBwARIVD5Axz&#10;k0Vm4akr/Ev6sYXlYzsiVlkB24J3NjoT9AX656n3pUk8pwqtFCV/eRMshMm4A4ycYBJVB0ByTnmo&#10;kUhMPs8z5ySAH3+qH247Ej5T25KoqiSMIVEpO5dqbsY+YE89RwR1qmrTUFtsY8qfvR20GQME4QOy&#10;EFG3S7yxUlQRxxtKYOe4HrSSfKXdn/dfcC7ixyVJA/VuB22njIqF33SR5jZWJ5lYbfvBV785HlqP&#10;wFI0xyJQokVnO0x/IC2eQAenGD070XvJSjvt+g4XScJbNWX4AJWjcYL7WBZlLeVnOCD/AOh5Jzz+&#10;IprhSQrBFCqHQtlWQjByeeSDj0GF4GckqC0iqNw6ZUoMKuMkMPXluRnooprsDJFz+5KZWQEsOFJI&#10;UjjBIb6jH42pXnJJ9iabvHVNv+v+CRSiZVMJYqVDGMB8GfMbJwcHHVgeh5yBxwMwDFQGAKlQ0Tfv&#10;CRyoJOF5/vA8AHjGMuDrMWlEhweWRxsVMMG2ZA/3Rg5HyjntTdrEBQoeQFVYLll+7yd23OSWfgYy&#10;AvsTmrKSSVrf5DqRvFKT0IgI1PRsFG8sI+E+ZcKFUc8FRkHgA1MpcowALMq7AyyY5yAeeeipj235&#10;7U0uu/e7bg6qAVwm3lRwSOeijac5BI+UndRvjRYy6kZmZlXaVlQjYTkEjqH74z83cDJJ/afzNLSV&#10;uV/1/wAOQxuHVVZYYnJwSzcqM8FsZ4zu+7yeBzkUw+YreUc7V3q5V/LYnYrEL2JG7Hy9xjJ4pRJk&#10;FyrnbH8iDO0Z3Bup5xlcD/ZNI0m8M20hfL2rIW8t/wCINwDxjoCCOOcA4rVRjNSafT8SOZcvLHe6&#10;/AkSQsVlyMCfcsYl3/7QwevHP4qD2ppXacAoAQEeM5dFVsKXHHIGCcYP3eOtQvhCCWCiQ8IHHynJ&#10;7dPXAHXoOgp6PGzl1R8nZJmRi4OBGSGAHA4x0BweTzWcVKKTb0NFGMYpJjuiRFZEjVvlDs4GCN2B&#10;gAgnJXGBg7BVWdmEjlpEhIlJ+VfLC5HAC8bcbSOMYOOnFSRhI0OUjYbdgyoL/MAeQDnOGxzx87YB&#10;7QyCJjGN+0nJDRPhgpJUEEcnO1j6jdiqdldt6mUoSlFVHp/SHzM4V2OXwdxDkjncDgex5znjGeuc&#10;iCNikeGAYoPMRA6g8AKQx7gBj69z24kkjZ3Hmv5rJg/KogDFjjy9uTnGcZyM4z8p4CJC7Bgu8xAC&#10;RkU+WR8zYPAIAGc9yenU5qYpyguxpadtFdPT53FLIoYhMiMfMC+Gl+UMeM5CnAx9DiiN2zIrunlH&#10;cVSNg/mAKWKkE46hVx06etOSMkTIrnb5XlbAMFdxJODjjI45/vdAOai+5ksSwVi52kAMjfMzMeQQ&#10;M45PP5U1dqy/pCn2e6/4BKqmSKTJ2jnfGAWck5beT0+UF+cY6YyC2LICFGwwEefuODujQZZTuPGS&#10;ABkZ6EcEjNcxhAzSbn24cqwLJcAyDKnnPKEj3J6c0sqlfMJlRnLjODgME3ByGB5GCMddwOQSCAJf&#10;PJJTetxTU1dwXvW7Ei7FbDASFP3iKxyWBZDuZRxkhU2+m44GTzPDGGQFjhViUCJTuKZTGCTwOBjr&#10;jsM4NV4kKsXhMQYkLknKAgqNpY8nBGeTgjOPa0I5FTbnbCy7CIiAyFsBG24IIXAz9DznkW1KTai7&#10;bWFBpTd/6uWEVNyp/wAtW3AFW8xXHGASR1wy8Dt37lfMUb/KVkYdQFyR90gE5yMZb0wQOuQabu8w&#10;HIBQuFDbNyt1Uk/hgnsOpPo4SIuwOu7Dq2SA+BwZNq8H0IHp8u48E5wbi7vbqPWEfhvckiJwqNGF&#10;WJ96F0YpLuCH7gwMDgjHsfSpU8sBlIGJFZGPG6QBTGOcdsdO5xxnkR72Zl+8HaPYwc/KoByAB+OR&#10;+PrmpWwXZkUM85zGHDM+0OVxyeiqpxnr82aOXmk5bN/cXqlGcXey/wCASBzGRG4ALMAwM3yE57fU&#10;GPvkbiDwaX5C4MahNgGcttTpuDrkdCSByMnjgc0BMRqu4yMVLMznO7DBdoI5B6fL17noMKfnZnli&#10;3hFIVVJR04xnd7MVGew46YoaSbjHRhKpe7T2RJtVDInOw4RnBBRsKMknPLfOc7hja468kPI3DcQN&#10;xXBAIWNNz9AT7k5GONx/CvDtKq6Btrwqy7XwwUlSFKk88+vZTnjNWFldUC5PyngIoI6Abtp4wOue&#10;uMc05JRqWXl8xrSKinp1/r5DlDjZKEXDDep2lhjaQOewOQcZGR+FKpzvDxQ5yXY+U0GduVwxOckD&#10;IH145pdpK5J+8WwQvOFwobkHkKeuOdvaq15KGiYqwwu52AwgVdrMSSfTuOO/TFT71STu9Nhyi4U7&#10;Lp2GS6lZ2UbSSyCKHBbMhITALqAPqBnqRg565Fflx+1h+11daRJP4P8ABs0SyGMpcTxncY8fLtGO&#10;+Sefb346v9rv9pC08F6PL4S8PXUbeI7hnLTxShjZqUUDcAeMkyNjj+HOcA1+L2s6vqGs3s2o6jcy&#10;3NzO5lnllfczknJP09vav07gnhKnj+XNMdG9LondNv8AyPgeL+KVl9J5fgH+/aV32Vvz/INd12/1&#10;2+uL3UbmW5upZC0ks8zSuxOepOc/0rDLNwMgYXBbkEg//Xp0pJbC7d2c7iAcnr+HWmglsKNxOOQB&#10;wP8APpX7VGnClBQppKKPxOpOpWqSlVd5P/O5G5IciRiPlBHOQw9P/wBdV2VXJIB+jH73GP8AP0qy&#10;WHDN1PRuBnvz9OKrvxlsbj3UYYjk8iriujIk1byX/A/4YYTuJIxjGAAcnr3pMKpI6yEYyTuBwcen&#10;+cUKwBGcHKgcDr2/WnEqVIwGfPf0HNU0lsKm7tt9iPaB3/j47ZPf+lIVAycgbiCN3HtxT2IB5BJA&#10;HA5HOf8A61RMSyjcuSewGOMmk1JtWGpRjfTUMAjd1I4Izjpz/k0jE9sYdcAE8H/PX8aAdqtncCQC&#10;O35ClZjx13ZypPCjrwPyNWrpNolJNxa2GBSoZiAzA8856ZHH+e9K3IAIHJ/vYGOQPr2/KnAHazZL&#10;YAO0gex/+tTQDvGGI474IA6Hmlq3dbheUXo7NkS56ALwTjb19xmnDBIwdpwMqeDmlyQcKAy5LNhf&#10;p2/z0pRyxAAAH3sHOc9qenViipc2miEUsOMKUJztJwQMnBOf88UnB3NjOVIODkjHb+XSh2DgEZCj&#10;kg8EjPakD4BP3tx7fK3bn6Umkly9RykpSt0eowAA5YsGZAfmOfbH6CpGU5XaPm7Y6E8cfTOKaQMg&#10;EqMAc7eR+H40oPJC7iWyF5zjGTn2obelti0kvdl8NxCMZ+YAsSpGc9zSgfeHXe2WOeR6fyoAO4j5&#10;vQsTx2PH60DAyASxAB5Py855FS7yeoe7CVxCo6jLHHfp70sUhUoVwp3ZQqeRj3pMcnBO3btBPJHr&#10;TySpx8+emPp3qoS96zM3T1XKfSnwx10yRQAuQ8UgXauWcHOOnoc19neDNTaXySEJDAb8lY9+eOeg&#10;J+bABIBzX5peCtWbT79YmdQszDBP8JHTFfb3gXWtsMeJv3gYMMsSxxyOnJOe/wBPw8nH0HzqUNme&#10;rgpxnTUJv3lf9P8AM+xtOcSrCVCIOHVGBAT5jxySSCQ69wfx46O0Uk+WzhkLFnjHyqc8deT/AAg4&#10;6gFvUEee+F7ppoojJKqYUlpAfvMAee+QRkYB9PfPoNk+2RJWiLRY+ck4YHIGQcZHGeMEfN36V8/V&#10;p8/NBbo9ynKMacHO7XW33GjGQx2qVBLEBQArxq5XIJz05Gceo7VNbNIjNnaAciMufNJJGDgE5HA7&#10;dyPTFReUxCRqyJIQA0iR5J2FSCeuATjPqc8GnxkEMMNIqL5W0RhYwVIIZSMgY+b+6Rkj1Fc6SspX&#10;9S51lzcy+75HQ2kobyVYx5XariVmRSH3fexhwflJBycbD8pPFa9tcsJv3pdkEiP8xKqOkioWGMrw&#10;Pr3J61ykcjs0bkudw2NgCXHPzHGBk9Ojc4I4HNatvcZxIpCtsAUkESRh93BH3hgbgMg9ByQBUSnf&#10;3Yq7/wCCaSUK1ozdopK/yR6FZXsUjRb3U/u/IOW+YBQQfnTBHT0zn3wa6COdpN87kiVAokbhyqp9&#10;11KnqTuOTxgL9B5rbXTLI25keCNUwUBWV9rDOwjoSM5yP4vWuisr+bdHGzbsoRlT5gkUMqgbgOoL&#10;qApHPPXBIzqU2leDu1+Z0K3KpS+J2t/wTvYQtxGOQxLqrRoTIwGN2CRyCQw754IA9aF1pSzqYjlA&#10;GKFiABlQchsZ/EEdVJ7mnWGopuVpAuCdrrsDwspA3KxXncBjI68MDyK6GDM3LMHXIZ2DK4ZTuAww&#10;5HUHHJyOfQc9SMnKzW2/3HTRrqbUFp0/Jnzv408FRXsMqiDHlphY1XO47WBLdstwSHA7duv5s/Hr&#10;4LTRvLqum25EsTOX2rhmGOhTAIwemQOo/D9pL2winaX5QWZW4Yk7Sy4znjnBwp9sHIzXhPjXwLbX&#10;9tM0sasbgkYChmfOeN3qQTjPXj0FY0p1KNqlPS23p2PWo1ac4OjV1T3+VtvxPwRstYudPk+x3yiJ&#10;0ZoSHQ7gR6+319a66K5ik2lJIwd44DELk45H+e1e7fHv4EXWmXFzr2jQKBG7NPCjZ8wgnoQcHA79&#10;MYwK+RbW+msZfJm8weWxWRWJBBH9PWvfpyoY+iqsFaa3OeNetldTkqSvSfws9ZZnmRWARSFALbsr&#10;1AG449zTljRyYmKbVHmNu5Le2fT29q5K01bzkU+Y24g57KuAe/T8fpWyl7HKN+Ssuec4OOTnkdc5&#10;/WuWrh5U5OP9f1ofTUMfDEwU4vcuMXEm048sKQGydxGTwfx//XVqN0dty5DclzyFaqKSlsd/4QQ4&#10;b3wfbn9aWCRC0jI2NpBddwGcn/61Rrqrf1oc83ZqV9b9Tr7SRvLIJBBAcFuSyngqP0zmum08yMwE&#10;ZRGUcAZAVSAePTHX8+K4u2cqDKrGQlR8qsHQc98ew/WulsZj5olO7ds3KAxDDk4yM88HtjpxXl4i&#10;MVJ3/rY9jC14Thy310XqdXbvLC0hQZRgCd6/MSeCFA49QR9a7Gz1JYY08hlDSYwNzYY8cHn6DNcO&#10;k8G+Ys43uC21WClz3/l/hUsc+4B42cv93C8yKx298npyc88r0Oa8eUHzJn1WHq8sY2S2tbb+v+Ae&#10;qWIZ5bhWnYMyGR1KnzWwMlR77sAD9a6a6t5fLP2cjzOIizNnfkZXg4yCMHkDoK4Tw7K8M6JNIomU&#10;73kwGjJ3HG4Hg9O/Jx7V3qXAmeUKQrRlWDEZ2DoArHpjkcfl0rxq9Jxq89/+GPWo1Y1I2ncpagUt&#10;ILVJdgacbCyZ2ebjBwOeT15zWXe6e0d1BH5bLA6eaghXbLHgbiQo5PQ8nOc+9dDNbyXAdp9jyQRG&#10;FIyCqIdzMGVh19BwDlhzxWXNMEmW4nEyCNAnnMufmAClQMHOFP0+WjkvJQWi3+8mpG15xVlt/X6m&#10;BKUia/M10RhfLiiKFyODjHUnnnP19s8DqbXMUbM0iyKJVa3IUKzYJ6/7pHH0r0W7jjuZt0pWSaVs&#10;RyFdqiP5jtC9Mk45x6/hxOr2U0doI5FdmN05DoBlVOMLnrkHcTz0I7Zz24epyTXO/wCkeViKbjGf&#10;s/ht89WcWyXEkkrSDzYyVw2OBnoPw6CiCyeO5CuCbd4iZgzAlTnjj07fjzXQzWiQR+UvO4K3mtmN&#10;cD19fbn35qHLJuQbc5CEo5HH1/LjqfbrXq0sRJxvbQ8KdL2U4qpq76fItWEcDhQqsijJUv8AdB5X&#10;AGOOnTn9RWhEi4jUOWIcqCp+aNCzEkDqOTwf9r1rCW7a1mY8m2LErlipGD1zng9vx711dhLDcAId&#10;ieZGSCcsiYXPPpng8ZHPucFRWi5hRxMGvZz0fNouxPa2qtDGPsxyXyjDqoBzxgDg/KR37dMmtmW0&#10;32r74GjMACh84Qg8c9eP1+mauWkObe3cLGhicQmP/YIDDjPQ72OOPX+KughVIoJmnyYzlU3/ADLk&#10;qQo56gEjpjBJ781xVKslovketQo1LU6m6W/oef2lrPIEKYIQsrKgG5mbgnPsBwfT0qiNFkj1CZXB&#10;WQ8xHBJbI3cDH612sNtMLhpERoonKvGIhuXIxkgfUH0606a0u5L17hYiTjJ8sCSWM8AkfXOffNYO&#10;slJy7/8AA/U9ei1UcXFWWu+/X9DkEtpoEaOKMGaSInLEkpjocc9MHp+YqvJbmK1jJDGRshmVSQvo&#10;R6+mB6+1ekLo7FL6RInMkIErTv8Auw6FiDyBg8cE+p4BzVE6ak8UhECq4c4cgk+uRj5RkFR24Hrm&#10;rVVTkm+g3FunaEbP/hjkYCFZNyHy54RIFb7xbkEA+vXj9KzhA8gnCEgxMyuhYlgNwzn269Rwe1dd&#10;Dp17czRrNEoWFtobd/rAO2O+e+O1VLvT5ftkyRbzEw2n5TgcAE/mPT0oTpxkkn5kqcoNTnpDb8kO&#10;0qPeHSST90IfLckB0nQkZz9dxGD6AZ5rXIxAYo0KxxnKtvJ38qeDk9gfTv6Yqq9pBGtmrTNazAmR&#10;sYYuEIycHrkEZz0ABHNMlE1/HNDamSMxxK4kQYUfMAox1wQrf98n2rJPnsuv6FVq0ZSUYfD+PT8j&#10;ZtdRvbXSZ4Da2guXuWkTUQS820IVSEZ7ZJYnqeOOM0/S9alEMhCxI7oFIfJAyeMHvgE+hyeuODl2&#10;aXEsbxSKHkQlZAo3RPgqA2M8HnHtUN/BJGwRA6ZByBlhF/s4PHOTyPT8KHKfNyvr/wACxpQklFyl&#10;slf5sL6+NtqZYzxyQ7ChkUsFDsANw4yOeMc9a7HwnrU0Dyj904huT5rKdhmw4Vtp79DyK84x5qyS&#10;3Mm4sybIdm6NSvHGOQM4JJrt9OSMFDCqQIx87ZGVKvuzkY4Axznsc+lTiacYxWmtv8j1cBOTUW3p&#10;+i/zPoDwl4n+03V5Ety4zIrQ20TZEeCfmI/2gygDI7jHTH1B4Q8e3kVo8uoPJOxkWC3trZwd65QY&#10;kIOBtXeQMH/V4NfBGhOtvNKyxmCS7b77jaLphjJOCM7QVGM4GB3r3vwz40vJPsul3CtFHaSKIpba&#10;HYwUnc5LAdcsGy3UMAOBXz2JhJ1LtW0PussxsYUlGTut/wCvwP0j8O/EOdF0ZtMuY5LPTIEWWC/k&#10;Ajj2lRGmAo+UKFyTy205PNUR4h0W78bJqTLBHDexM+p6PANmnCR33B1kEhRSc4KIqqp4HJNfKTa4&#10;LizkXTZ7gWscWx0EpAZsEsRnuA2D2IGMdS1PSvFF1NILRli82aMvLcNKXZVRh8xJI3OwOPVvfrXn&#10;8mvsum+uzfqerCWHUJVYO7a1tvZn3ha2Ol38c8VnqUf2PzxNHbPcCTaHbKQEEjPcAdhnHFcprGoa&#10;7Ff6eiJpiWzXLXUUNrHJJDZNG6/JyT8rKBwScY5znDfPmi6pqEss+npcSm3k3RtLBceUXDoVO1sq&#10;wwSSPdVzxivZNDmkhtIUkeS4sbNTE0r3DyBfLZOAwb5sNGh6sG8sdQamKccPzWtr/X4nIsYqb9nU&#10;le1rd9Ueq6TqdjcRzXF1mGSORpZ1j4t5ScEnywSuRlhkgHqeeK9As9b0q0aG4k1CWOEwtNcTSfu9&#10;wyNxcknHTge47V5zI+i6lYCSaC5ZpCPtJQ+bJIWIILLnO4cHkZH5V29poNjJYxX32dmjP+q+0uzw&#10;7sgk7eVU8KASMdDg4rzpylKbhJavv5nZRx1OUPaOTS2t59f80XdW1LSvEZjSxvbl7O0QXVvFJIn2&#10;dpcAOFc98quEw2QwGcivCPEEU1skjxL5Lz3BDXJuzE6yImUdUyFO792CFwDjAzk1va7qZ09NStok&#10;mtltbx2KKApERDYVGJ9QemejEgDmuW1SMa3YWSeYpkSNZEvJ1YTIHC7iDxwcJnjO4KewAKGGUpez&#10;rJc3c6KeJqUo89OV4lrSreC7RGuraM6vFJEs0wwsEZjARXYcKgy33Dnlxknjb6hp+r332gT3dzA0&#10;EUPloTOsSssYDkruIwcp09vcZ8eu9+kQ3N1by/afNaO3jSSAysMbQNuSOAQrE5HOcnoRJ4iv5tF0&#10;uzuW0yWe4SVbiZJZmZ4S0gBD9MYZxkdODnPQKthX8Tfur/g/omepRx3M4u697TT+tPI+7vC/xHkO&#10;ix2dzdSrcbM2qWjZ8kfdDEZ45PPfFcdqvjG4gvdRa5tLi/i85JbMxsJLgFzgqWZgo2g9evPHTB8M&#10;8G6rd3Vva3Vli2ge5SSeeYl9gOC0SH3Cv05yxPOBXs2pX4Bj8iOICOMPkLnzWHOefoR9c1UHzYW9&#10;9V+J4jrU6dWpKUdZv8jtNFttOu7GW4uYpYj9nVoCFwxJYbyCRgkZZj9DWD4ygsrdLVrBLWN5IjKs&#10;MbZckMy7zz14UfQLxWSmq3d6LaGzMMw3Fd0UwSK1wP4gRznJ5BwPc9KXidZNOiF5awQh7SEO807O&#10;0dyzMZiMDuDMVC8DCD1NZOm5+7bVhRrVFVVVytr1/A1tFv5NJ8t7l1nFxFsaKeQRbUJDYYc91Xjk&#10;HAr1S08ZWenXelzQBWikSEH96WRiyMVfIxgKO+cgsMZycfJ6PrQ1GxvZbmW2t95WG2nMc7y7l+XK&#10;AEnGPvNxz9SO01PWLQXen6jcSRWx0uEafLpVhpkOl2A2RookMaKAzkA7nOWkLu7szEmtKOHpypOy&#10;1TVjHG45PEU4J3bvex9Qv481uTULaZZLf+z3nWRokUfv8lS524wAAxHHGMcDAA7y5Y3ek2trbSta&#10;xrIJ0WdmjM5GwiNucj/WKxHGe5OQK+UPD/iaS5vI3ikVII4xOgn2gwcBgnTjcTjj8eK9obUrfUNJ&#10;u725un2sqwbopiXZ8ICRj7oO4EdyRgHgmoqU3yScvP8Ar8ButSo8ns17y/Psew2N/Na2B1O0mDpb&#10;zfZkcMXe6fKs6qM84A57ZI6ZFd7Y2omuo9ZuSHubBjPFNw219uA0YyM4Zj1znPQ8g/N+meMo9Pms&#10;dKtI4lQMGlCxmUNlCo9cls49j0wQM+jzeNLiaIFp4mtp7keYgYmONCQNiSH7xbJJAAHHUgZWcNSp&#10;0XZ9NfTqZY2vOcFDv18v6/M0tQnaO+uNc1eFZ4poPLtnnY3V20ce8AAgsSZGTcWzjDg5AzmaPVdT&#10;vm+0R2YWW4jEkMN2xYw+cQ6sNhHJ5wBgfIeMDFc5CtxqsIvrqdTZQTJK8UD5imL7dsYYgZRSwyAM&#10;nYfQg+hQyWt9ayyNFbvPgv5Sy7XgjHyIzqE+YFFU8YBJOfcq1YTk3DfR/ceLUqS0px11t6IztI0z&#10;Vpb2I6jeJcyCZ1uPs7eeGVVVVTdwoBXK8AgKqgYxx31pNZ2+oR6cnlgJbNNLZhjPNc7RJtncH5ip&#10;yMkn0HcVj2X2LR9LmjXybK/uwtuscal3kiZSJpEIOFIJCg8gBwcfw1zHkTStd3uis6arqFrDayRF&#10;tss0cSl44yeysTnHGQRmsadOVWspW836EtaON9tF69zRWA+MtatNKLEwTXTJKiN562gwPMkUHAyQ&#10;oGcjhQOwz4r8ZfsmgasPCema+uq2ttZR/wBoNAj20K3MhZ5LfZ1KxAxAE8bs+ma+0/DHhgeCvD+v&#10;eNfEUsBmt/Ds2sbQN0sHlw7thbOMttBIAGMnJycD8c/+FsWPjfxTq2uwo9vBqV613sMwlMaudxw3&#10;fvgdPwFepCyg7Ly+9HqUMv8AZTgvm159D6I8NXflPC0vksiKAcjkYPfnrxXvWgzie3ECuCud3lmQ&#10;5fHy9MEH78nOOMjrzXzLYTJ9jS4RyfMGSgy6yHjGD06Zzj8h0r2HwFqKSyLDI5llhOUmGAX6FWGR&#10;3wwA4PHpWMpqLSlsetKLqRvHofUGkRqsFvsJLKQ4VmBb5cBe+NoJbGR2z1Fd3aSZSMbRuPACg7Rn&#10;nH5evpXE6Jc/uo0IJjKqjYOAzYPLfUEkDP8AE2MCuvj+TaoEh7OPvu+SWOQBkD5AOeBj3NJKMlyy&#10;7o8yUknyyOitoFffHkgMwKqZNysMBsgnvz3/ACrVSxWUYdAQP3ZVs7htOM9ehGMd+egNUNMKy5U4&#10;YqSCSw8tj2yMfmvOQDXex2izxqVKsmNwyAqygKyqCOezZ474PXmtFTU5OKX/AAxjOq6aUpPc8zu9&#10;Pa0cEYATkqGK5Hck52kdO344rrNDnjjji8xsqT5bAnyd3IJPIII4YcDIKnOOKNWthIsw65DDkbgA&#10;Rkk4Pp/Ouf065lgk8rzJVKSLlTIVZdpBBx6Dr+GD1rn5lhp2tszq/wB4w+u6PZ9InCKFAKLsUSqZ&#10;DsDsFyQeSeQQRk8Hk10loDeb1cgleFKkgYyBuB6jGcnPTb+fmenXoLrGzMVO3ODjOc4yfTg8YJOO&#10;1enaJAWdZQ7knA45ZT1yRkYyd35Y+nv4aXtYNrV9T5jGQ9nzTluamg3+o+BtUivLeRhayNvxExCH&#10;du5/AgHB796/RrwV4y0Tx9oUWnXTJIzQbVd38xgcHB55yOMY9B0NfEC6X/bOnTxTRAnyiu4BSckE&#10;kk88ZyxPXjris7wlr2qfD3WVEhk/s8yDyWVTIqfKhGDjgfvCCOfunGccfR5Rj6mVTtJXoyeqPzji&#10;jJKHENCzfLiaesJLR3PrnxZ4SudEvJNgDRYMsbR/dK5Yr+X8lHB61FomtTWksMTnKZKqp/H078jm&#10;vUvD3iHSviDotvHLMgn8oMksZHBwA2M9eRjB615r4n8M3Wi3QJRtiLv+VcKwO0B8+21hgf3hX0tf&#10;DKg447Au9KX4H5/gMxeKUslzuPLiIaa9el0evaNrayhD5kYVVJCmQHpnpg9eRwTxnpkV6Fa3qSMv&#10;IOSGI5HUr2OMckflivlPRdZkt5mjctgNnJODjpzgDj65r2Lw9rf2g5LKQCcMTuCH5ctx7fQ5A9K9&#10;/Kc2bUU2fJcQ8NyoN1YLT/M9jjdGKuBzgLu3naQRnOBwTwOtfnD/AMFGf+Cc3w0/bw+Ft9pN/Fb+&#10;HvifpFrJN4M8cWsQW8gmCHZbXLY+eFmVQVOcAEDBwV/Qe0vRMq8rtPPyyL8o5wODweV5yePetaM7&#10;gxGELKp3qOSPU59P5fWvs4zp4qnyy+R+eSjVwtXmjuvxP8pX9pX9mv4p/sr/ABO8Q/Cj4s+HLnRN&#10;c0Gc24uDE6aXqMY+5cW0hGHiYcgjp3x0HzCYGMkRgVpGc79y4QKD6j16ngdBX+nd/wAFGP8AgnR8&#10;Lf28vhZf6JrFhZaJ8TtJspH8GeOoLVBfWkpQ4t55MbnhYkfKTxgHHp/nIftQ/s8fE/8AZP8Ai54j&#10;+FHxI8NXel63oV6bQTPbN9g1SIvIkVxayMAJI225G0H5hzgjmY+0hJUqm/TzPUw2JhOm5N67L59P&#10;8u587XnnKDtKlVIw+PmY5zneOTjjr74xWRZXRilBUYZMgxxrnkAgcD0457Y69jsLqkLK0ap87REj&#10;cFeIfNggEcY7ZHtyaSSxhUGSQSBkRpFXALKWGMYHfPGO4HrXTGV1zLY3tZRSk1bX8vx7FN9TV2hU&#10;IgJBWXAyXOOW65zx06+9X49Xu9MeKS3u8SCMHaXKqi/wEdMegPTofeufaKWaZzGQqEggn923C8Ak&#10;8DqeuPrxTVQ+WS5DEEbMEuyjAwCD24HGc1EoR5UpJO5V3CpKber29e56Rp3xO1mwmX/SpA2fMKiR&#10;mC/Jjd9eSMehOK9q8FfHid57aHUipIIcEyBSBtbkfjtJwR0FfH6By+9oyULHzA8YOACcnJGe44HX&#10;24NOaeW3Z54cDKjDjkj73PoeSOT+QxXlYvh/KsZTccTSVn1R6GHzfHYWKnSm7J7H6h6b8YNEvHVH&#10;nt1P+rJMvlH5c4I/iOGKg5GPmPXjPpFr4hs722Dw3cMySrvBUEnhi3I7c44GOlfkDputX8TgzXEw&#10;Tevyq2DnIXrnkntjnJ9gT6j4d+I+s6Y6LNetugkC/PITGSuchBkY4XHbqDzXxGZ+HGHm/aZfK3k2&#10;fX4HjevTShjY8z6n6iW10sm52ZGLbmZVY4RgwXP/AI7t56HOfSmy7AMjG4KVdQ4XJA47++PwGa+L&#10;NB+PU1uipeFmAiO5iSV+dXycnkYILDOPuDI5r2rwz8UtG1hZBPJFETGok3sQ5Y8AY6jjg/TpXwOY&#10;cHZngG3VjeK7euh9dguI8BjouEJ2k3qtuiuezITslzEpbb5in0UHgEc8jdzUUqoWTDK4EmxU3lRg&#10;7WYkf7oJHXJzjrWXa65p99sghnizCE27JMMBkHA5HXCg8HIPPrWnvikAZNm5hujbgA8N83XOcsWG&#10;AeV6jjPy1bDyoySqJqR7kKixLi1K/wDwLDysmVctGcRhTGr/ACDIQA4C99rZORz6k8BR5oZEjCco&#10;zgq/liEkELx1woIHHJ/AmpBHunVlIBkkYyArgn7vzHA6feyeCOMdKaEVQ3ltjn5ZFcFmIVjkAdeF&#10;I9egrJQcEpX1/qxq04z0+FL9SNYhuf8AeYOAqnf83bIPb06DvSZWNHjY7nVcMVy+FZsZ46npxyAC&#10;eKllAO4CJXIwMY3BgCcsRg5/IfeqORUnePcgKoVPIwZj7jpjnp0+btgVSanZWNZQbjdbO35kW0wG&#10;TcsLOX8svvBAbIUEduqgHB5zT1jKZ2kbWXc8ZBeNiGAOOOMAggE9QfpUsqKgR1KKzsU8yMZGMg5b&#10;jcVIUEAcjOeuaahAdHXc4RmVl2ZDEBBjtyrLJnrnK4wBylGU25Rt00Mpv3otfFoMWQ5HyLtUYUKp&#10;BcB/XPBJyeRnknHINTpLyuGgMuw+YFXJmUgg4A4IIB6Z6UmP4mAwnG5n/wBWM5BLfUgYx36091Vg&#10;SWO5UZQMB/MVQcD9MfQjjpTl7+vzBLnm6dN+vroSo4Vdxi3rGoCl5DuYkBQw245BAb+77dRUxAkJ&#10;LOQJEAKqNxyei/n1AH0qER+X2wgAZkCYYkgcZ7Zx7DJJ7nNobC2DkFcEE5KEgYYcdRuXPbg/SiC9&#10;1y+0W2nZSfy+4e+1XVXWFirmMhMJGcDA+UHk8e4OcmlSIJhlCglgUYNujIOeGzj3P3vQ9RQsh3M4&#10;UhFYgyDJYscgkD14FPZgyH5ww3AOGAIO3cQOT3OePekpuUlBBKnC107r8XqMbzHJbCFAQxYncWb5&#10;cD1zhcfiaVxuMcRVB5oZxhshdvIIHPGRkdsge1MZAcqAAyZkEnmYBKg9cnngngdSe5xTztEbHaqu&#10;oXKEkIcDCjOOclenPv7tyknGT1XT5mcnzXtotBFAjYs332kydwywBOOp9Dzg/wB6mRSBSEKmSJcI&#10;IyNxBHJ6DJ5GOmfl6VJMilgQ7tjDNGCC6cfL83I7/h3psT85kjAfzN6lychQRjnj/a5yOo6EZLUp&#10;JLmd/wDIH71mlaP/AA35jvmMjAvubeWTJ+Z8ogAAJxnkYH+2PQYRY2HlgGLy5MjylYoSw5zkjGAT&#10;zkj696YoKN8pYsZPmcqM8fODkY9ad86YRUeRcFmAHI4wSgyORnPvjvmtXKSXK1dXKTs+aGl2vPsQ&#10;u0g3h0gyjAOI2KswJIB9D37Z6dQBU4JAPklXVn3ljJ3CBcAegAx+FJs+ZmClcqFOM7SQwYk84PGc&#10;4z24pTypL7SxcFxu2snPbHUYJAx3+lZ8rm4q9uv4FKryRaS309LEA2MQrOCUYdQWZgMBiQM5PIIB&#10;x0NIEdUZQ8bIH3RgDDfNknJzlugx1698U9ACoRVJLncpZgW/3S56DDH34+tNVQTLlpOGAV8EZJwA&#10;PzB49R7ZodP3uVdf+AZyhKCjL8SQRgjG1VH3HB+VSeSGBPsw+uB1odYwCQCm5vlKr5jsCcDB4BON&#10;3500l96mQmSNQeDgsc9CeRmnI6lEMGQVky4IJIwMcHHHTOfY1aaULPdaf15F2jCSd/8Ag2t/wRZC&#10;duXVEVgT+7VmQFQvAP4jnkfMvqKRWZQGjCgKxKOJBg4CEcdRkEkEDBOOmOURyuVJJCjcr/w9QQem&#10;D91fypB5eSpGxfukffcnltuOAe4GcfdbnIpSbS5JJX/qxzr4oumnZji5Qo4kVQHJZgTuYng4Htg9&#10;T/EMYxVMshZSFLrNndtkK7G4AA446E575qTe4j8tsNJsUZUYU8gEEe4H1ximupIQ7Pm2kA48wjsO&#10;h4AwT7Z60U/fWn3/AJfkbOXtW7b72IXikZmYRxsCfvFkyfzWionMKu6vA0jKxUv5qjODgfl0/Ciq&#10;ik0mefKr77tFb/5HNrkMH2EFBndjZx6ZB7L2P07YoMrtnCLI+4kFkCKWO4YPGf4cd+F7dogVLs5V&#10;G5O4NwZPlIZc49F5PfORg4IVpAFWWF9zAhmLOY3cMc5AHOV2HlckEHriseaXN7urKblsmAWRtzAb&#10;TIfMjXpljvbKj3wuSB/F0qJBI0bMrKqI2UJHkluM5IPf5m7nnaM1MViKxg73KnLJkgsyFguVwQNq&#10;spGT0UjPrA0nmEJ/q9jDB3qEU5ypB/i5AGe/A44NLlc3dbmjgm2r7IZHhTGZDtG9kVeWRFKqW34X&#10;OMqQME4JPSnKVMa7sxrHgDzSQykjB7gdSpA6kg568whlIjyGRFARyyLlOXZlReRjLfdyAdu30pj7&#10;ljyYyePLZYuUOenrnhuvXp7YuF3LmKvZxT7f5DCsyME2xYY7/NA27cBvug9Pvk4/iPGRirPlkxAo&#10;8iSvO+wgiMxkcrk4I4DDnj7p9aijJMZUE8yEKC2XcEHOF9sjk4K546ZDFCzEsANpYyAPHxvLElep&#10;P3g3vj05wveva+q/4P8AmChBt8u/mICi7lCqu1sLt5AAYkew+6vPJyRj0NtmZyoBG5cIxZdyqRuV&#10;twznv687ePWqhRQqy5xuGwbiFWQtu+baOwGB2x1701WVZHUqDhGG4yeXtYb1+uRuDY6cAZ6ilKMb&#10;8svIFGVLmbt/XQkkyzICyuEYiOMMANyhBuUD1Jx1z8rZ94Sx4Rfm/voTjA2k8HqOMU9ShyXYIuSX&#10;bJEkHylWZevQYOQOcE4J6ASOJQrKVWKISGIfN5LBkUIT0wBuHHAKr65pzUd4/wBbEtybXRrX5EaN&#10;IoRFLRs5bGDv2rncnPfGVbjofoBSliSI0G4EkFVIL5JyhbHI+RkAPOcHPfLCSvyADykP3kIVXIUn&#10;5TjO0DBHqO9KJCrLJEJeYQyOThm2sCDj2xnp7dTw1J6R6jptt66PcXdKzBd5UzMdscZCEjdheBnj&#10;kMcep/B8jgsWXzHVF/exu+VVcNtB5+bdvYYGOW6DmmI6lyWQgDDEbRuRVSNDt9ME/wAv7xIRuNoR&#10;JCybizByccYUMRjOSCenPH1oWl2/T7zSPOo3lq0hYdoIj4DGPmVjjIDdNoz0JHOOgwOgw1fMyyrH&#10;u6o7OM4Xg5AwMfdB+intuojDtyNznICqSQVw3C5ZuMZbjH3iCccmlClUwd8m6VijeYBM37whjnBw&#10;OMDjpmopxjF2UtE/6/IabfutbXsNiDgGXcXLKWZ44QjyEbclQBk5GNoJP3SOcU9YpE+YJtWQgGRB&#10;0yc5JI4HUYXA9PdA2VUsjyFnUKpGY3x84GQOeACCMnpk56KjYHyhGVkKAK2GA+XlVORxnJOMHcT7&#10;VertUT10RLnBTd1vb9B7uVD72YO25VdlA35YkN7EDrn+7wcnAEUNt+Y7gxCAI0iFjj7xI24wTwck&#10;bjSFSC5baAELAFyFk5JwAB3wVHGMtzgdLJCjKBEVVUNG6fPySdwA3ZwCoyWPYcnmhzd793+OhfNK&#10;pNN7X0EiaRSdzhnaMRIoiA2EMgRzu9djA5x97I7U9HWKJkZcStIxIwXXAOBg/jnj1NMDI6/KMbiA&#10;r7iyKD03Dlh/Fxj3+k6CImEhTmFsyqCMBcLls/iSvXJA6daSTVodUSnK3Muun3CEsyHyyc7mT5lK&#10;hd2CC3rjA6c57CrSMWKIvmKsKtImQTwvJEb8bgQcgLggjaOmBAgPlYwQzRgO6kMztjCgAjgg4IAA&#10;5TJ3DIM8QkQLnexUBm3fLs2uCqjnrkjng/L1OcGLqKs9v0uVGySctv8Aga/iNC4UEYEfmjcgAeNi&#10;d6Femfm+U4+mfSrK5UFdwijcFjzhsfMvHscMf5YPFU2RVDBolCBDtGTuIIOBgE5IzgcdTjtVtXyW&#10;J3BWj3lUx5QcsxyvHBw6ZPXgegpvR23f/DBJpRlCOyev6ak7bXjwRKCMFGHDuQ4IDD0IVsnk/d4O&#10;dwXcwlSN94AByGXcUYkHn9aaoyCVMkisu0ZGBPxtJJ6EEbcEnrnuKrvfQATF2UlFbAeUMCR8pGRx&#10;1x9cDrUSu2ktWRpd1JrZ6FvbGI4yyFGwyMpJQNklgBxkldyg/QnnpUaFQbd23vE0wby1OGJ3xkjP&#10;BIOegPQ8eg828QfETw9oyyteatZQGBCzM1xyQAxVG6c43A56B26da+Hfiz+2pomgxtB4YvTqN1E3&#10;lnJV0RlA5YgnJJJPXHOe9erl2TZlmM/Z4am27/Jet/M4MXm2X4CkquKqxT8/Tt6H6J634k07Qo45&#10;7u9iUgiNgzgQnIJYrjk4Ck4Xtmvkj42/tV+CfCHh/V7Sx1EXWs3FnILWC3kWR0k2jAPJ+6Wxx6n2&#10;NflH4/8A2qfiH41ecPq1xa2Mw8s28EhRlA64PUevXtXzdqWtX2pyNJfXM11JIxkLSyGRjnoTnvxX&#10;6TlPh07RnmUvkj4HNfENRUo5fBNv7Tvb1S/rsXvFniTVPFGs6hquo3U11c3c5uC0shkZVbouTzgA&#10;1zC71U7hkfdGR07A0qqGKg8uRkgNgLz/APqpZGUlAnUDJYHoK/W6VCnh6UaNNWikkvlofldatUq1&#10;HXm7zd395HhDySARnPHDHqPfpUYPKt0O09Rge4/l+dOZxlt23PQEDlsYqItJsC5G5CCvoQQD/Kr1&#10;a82Yx+H5a+v/AAyGEZyOOmScEg56YpnzK3zFQdmAUBYr1/zxUgKtklmzjgk5IP8Ah0pkgA2ADJzh&#10;vm5znGT+tUrp+plJqMXbYjYBmXbg4Oee5GTjHX0qNiy4XBLgHG0bT1x/9erJjBc8jjIPJBAwB+tR&#10;ttKswxv3Y+UfyzTVm/JA4paLRv8Ar/IiAbJPCnO3IySR1/nikbIAOCADtB7n2qRtyhwvOecgkgce&#10;tICMr8qsBgkA/Lz9aIttu5UeTktLTuMOMkEAnbk/KcHJpueAAMFc98DJBINOLNjIySo5AOcZOMdK&#10;bJhlUgg8ZxuPbGM1SvexMmpO78rCZbByQCo4yMjnk4pGGPm4+bnB6U4kcAHOR83Yjrz+tI6qDkgs&#10;V+6AcHGelS3eXkRyNq7/AK0Gnd6DAB3ZOCfTmjGNxAGMjgcEd+v45pwUJtJwu4nr/nkcihlPy5Od&#10;pwMNnHpn/wCtVX5pBytLcj4XAyGwvIxigdCOF25Ubh1znpQNgySRnAPBIHTp/PrTWOeuDj5ck5wO&#10;vB+lTaTeqHG8V7w7nI6nKjOev4fjSt8hIJBP3doyD60ina44LnHIHKjnOacGDbSVBxwSRgDnnn9P&#10;xokk9Co2c29vy7g20ZYAKBngjlenJ/IUzGNoP3gMbcdc4P8AjQ3OWz8mccnJ/wA9aQAbyWzhjzzy&#10;uOho3VmJLndgbnPBDAgbcccUrZJAJwD/AN9ZH+envQuOCcscE9c7s96QY4GB6Dk+lCaTbRd7qzZZ&#10;gZ4XSRMo0bqxIyS3vX1P8OPEAuIrdw5G0CJgR8zHHIJ/Dp0r5QTHOGbKnndnGK9I+H+s/ZNQFq7A&#10;LKd4PJCHjt178Y9KwqQ56biug6c3CrGWye5+nPg7VRH5MfmBlYBRujBEgbHXtjoOo/SveLNxMqK5&#10;jaZmWWMyMERQeAccL69PQfU/GfgnVzJBbqHBkACpu+YBsdyOnHqPWvqbw9qHmpbgFiI9gEQIY5AG&#10;GHqcjORzz0r5rE0r3T6aH1GFnTkk0tHa3rp+B6QsZfbEx8xtwyVXcTuIUrjqM+gz+gzF5ZOd7uQD&#10;uCjfBBnCZJI64UAfMOAxx1qeB0ZirkOFRlw2M4bcuBkdeW+ZenXjikaNkZ0WUhm++gd9zqq7jx1x&#10;j8AD+NeYlFtwO+PK258uqdl8l/wR7ZQxRApAu8I+Gxzu5x0wAeT04zzUwMaEyYdWmBTy2IZlXAy2&#10;DzyD0Uk5Xnsaq+WCAjKSXIUPKWfBDZB3jnONw6EEEdM8aDF2t1ctEBEv+sDqCmTnggFerdscY9BS&#10;5NUoaPa/4mUVyz55JW9O6X3li3ucFGRGXks4I81lx0JbaDwCPu5zuzx0G7BcFZAq7TuZhuY7SRv+&#10;7vGDjlhkjj1yeOZjka2mUySGRJHVmAceWcKcDHHGSc7SCQcZBwwuCXdujRmLHbIcNlgAUDfNgNjI&#10;znnnjvzNotXb179zanzxbbVrHcWWpMoyS2ZCSsj4VVyshG5wDtHJzxxnPFdfZX0ioGJ3QqxVnbMa&#10;rlccOhOSCUfacZAPrivK4LljMWDNmEgsqN5ZUAjo45Hr82eMDiuit9Rkj8ySJmy5ARSSETKjkup2&#10;9FPXn5j15oip1Kfu7pFcjilUl933nr0UiSwxSoWYSSgAptPzlckYxnOXx+ufWrfaYlyjRkQALkFA&#10;fmBOTnGB1+XoOw6YzXM2moBwd2wqfmR8F0GQ4HzqM54AyRjjOBmuntr4Hcg+dFUNviVXgUkqSzMc&#10;ODkLxkj5DgZJ3c1SnLSz0ab+Z30qlvh8v0PEPHvw8i1S1lijt4pht2hXQE8jux7H5jk+g+h/If8A&#10;aE+CV74UvZ9Z0qxlNrIS9xGkJIiz3GByB0z+PNfvutvHep5EihihIZmGGDA427TyeRz2x7V5N45+&#10;HOn65YXCTWsDCVPmZ4ty25LKQemORkZIPfjJFZ0atTC1Y1aXR6/M7adanXpyw9fZrp0a7dj+baCa&#10;WB1wSMMC4YfzH5ce9dLb6gJBs4yAcDAUc4zyPpX2J8a/2T9U0qS713wlbyywCUvLpzRYaPJ+8COB&#10;jcOO2RjORXxHdWGo6LeNa6nZzWksLlJI50McoOT2Pc4/SvoadejjtU7T/U56brYCVt4N6P8Az7HX&#10;QXZRgWdRGZCOQRkjHXH0q5HMh2gDA/uspDZB5/rzXGw3IbOD8u4ZVh83P8utasdxsQtGQxUYUFsc&#10;cf8A1+KylScYOL3O5YtSsrXX+Z3+nXUI2qGCSlsqSDznriusgKOH3uE5GzZk54U8YHv+mK8ktbwR&#10;uCMHa2Rx3xzj6V32kahDdhUZlSToEz8hDENj684rgxWHbi3FXZ6WCxCXKuh1aXUMcimR0wRu3py2&#10;4jsPftz3FbMMzRqkyMCS5BVcsFPIU4HY4JrmJLTeCyqQxUeWd21Tg/zxWrptvcRk+aHKdW2HOFx3&#10;PTPSvHnFPbfrc+ko4io2o0Wvet/meg20rpAs0udykHMRAyBnGPxJ69K7Pw/qLSI9v8zOxGZCgycH&#10;AIJ9g3viuEtZoyI4Y5GjjjAAkcbz1HUdh1/Culsrl9Odn8xBEeA3Kr83cDIJzyfw6V4VenzSlfZ7&#10;fgfR0KtRxvLTWz/A9JaHfK2+QkEh1VW2SMFwY/TPXnbjOOhwMVL2EyQTLEBL5chAHG2UudoPpwMD&#10;J9Op4rmU1jzJJFAlyMNvWUCRv7oAIxjHTg8+3A001BxCkAjEDykRxvuy28kYJ9ehORgZHHevNm3T&#10;95O/9I9X2vIkvssx5bKaeEX7o8ZgXb5SchvuqMHrxwBk/ic1Dc7URoiGZ1PmBjjDlsYAbGcjd+nt&#10;xrajLceRDG5jhnlAYbCWjVeMZxxk/Mc579Ky7udVVDBmS9tIGdoVXdzsOH5OA2GJHY+nY7RjzaPY&#10;8yti4uom/hS/I5+a0V1HnszNtWIJIpV2QEsqjPcbjySQAQABis29t4Ybl/LhdDGY2d+Qj92z3OT6&#10;elbUjtLalgoa4UtLCi5BBOFAIHbI4PHXtWRcrcOqKsYaSRgsy7iNvUfLnGeh69PwrspzcGmnqcdS&#10;EZLnktLvXrrujBCRT7MtxJK7lm7euB6nA/Q+lb2nQiOSQqzSrJ8sIHyIw4wVJ6LyCfpzSm2W2DRR&#10;R5ZXWUT5Dowwcr14bkDvjkVogmCCOaFWVt2zayrxk54z3B7963lXlG0k9Nv+D95yqio8sXFNt3Lm&#10;nasVBtZYXG4+Wrkjt82SQ3Jxx3Hzc967/TLq0mRYZVMjbT5YfIRThdrbu/JIxkdPfjy1zcFtscah&#10;YnEpRsFyAMFgP8a6eymlaNdrKMnO5fl2BcEDGc85x6H0zXLVbqQU5HVThOEuWn8J3kJiQwrONsfm&#10;Y3BeF5JySARwDg+5HvV5bZ0kCRxoWuFHmKrBnTkY9/XGOh/TlbW7kiSFDJHKjRDLbSrZyWUEkcYz&#10;jtwMZIHPUWNyiW7QlCkwff5xVnkZcBlz2AODjvkjr24nUnd376fgehCPLT572lqTWsE17qb2k7+X&#10;C1oBIxHy56EsuD33KOOg/hJONM6NBvuI4mVoo42Ecu4tE6jOSF64+9zwOtaFlcI0kTXEUc0MiAkq&#10;SJAByMn3BGa01t7dZjI0q+RMuEiVDJggYAKrk87Tk49/eslOUmrPU76M5wSqPVbfkctDojQzvcWy&#10;q0YPmFYy0uzBycYPABHepbWzshPMtzGiickhwoU/N6Ke+AOfc8V2iaOtuYZ7AtH9oi23FvC20opG&#10;0sONvO45PX881Tey/dXNrPHcRqyvJDLs+Rc4UMSDu+8AewO089K154OaSka1KdWpBup0t+j/AAPJ&#10;LzwXNf3RubeYyTIxt4y2I4kG87hycdCOfQj1GCHS7ixWSOe2LNHCpR15i5YclSMcHnHPAHPWvabH&#10;SxDbp5dmbmSaVoJNzohVdxIKsx6/Nx2xk8bcVzGuWElpcvYssi4IRopMhypCsOuO+ePf3reNZqca&#10;aZlVhFQ5Zxt3/BXPKGy2AqNbuwLqYQzq3l7U+nQ9O31pGljZPPZQ7ITFKz9W27V3bcYGcnp3B+ld&#10;XqFg9oInkiZkZisARTsYcFhgEHnOOormFsXKXkuwJFvbyYByVYksMc8HkdR2rek3KXM9rCThOXJe&#10;zskvkYjwn+0LdxG88ErDzD5eGhxzjA5x79e3tXX6PppuD5sK5gWQZEaAO2OAOO3bp0zU9vpr2+nJ&#10;qN68TzvJgqisoiBHXIGMfMMY9BT9P1C30u1khkEjSTsVMUEgiAGeEHpwCST1z681viE5w5Vuvx8w&#10;p1XSamt29jd+x3iXqRpBtMMP7p3kJwHcHKgYAGSPfgke25Y6hc6W0hjR0nmXcrM/kMOzADaeuTgD&#10;HbgmtzQLaWTSZLqO2nASMJKQd/ls5KFiSMjDFcEd8cmul07wjeXllfalewypFGo+yrbAs/GByScY&#10;AyScjhOmeviuE1OV9dLP8D6DD46nTShJWvv5+RH4Z1TXZbe4aaGUKMMUgk3wkhTvw2Mk4C/X+e/o&#10;+vRXN5J9kMdvfgr5sDszSW+CCMNk4OduFY55JzwN2rounQR2a6db30rQuwefy4/vEBQQ0hBPGzqD&#10;xzzwDS/2JbWlzAlpYPFda68souoLE3EEAiZUV3YjABUptU5DA8etctWjFpciutvn3NJ5j7Od6erW&#10;35anYaDcahdrn7UbOC3lWWQxRlyo+cnopdi24ds/L6Zz7h4Qu9RudKvNNW+mmtog8QvJLpvtEoBI&#10;JBKhkU5Pyn25PWuM0PTb2LSbqe2SyE0ACLJHYpDAzICuFCgKQCUUY6bxjHAOLZR6lbahbWUGtWit&#10;HKTrKRK0sjo44QEbRvAKHPTAPOSM88qCqrlV0l073sdlHEqrFyquzt/TPobw5rWoW7xWltLLJK12&#10;HvWuZgBOsbAspdlJ2kkLkcn5iSD1+kZ/FMCw2llZ6lHBa3UjQqwBiMpOW2pzg7lBwoHIyMdRXyhp&#10;t/aLc+c0soe6Cw2cTyKhQeZtDhs7s7iT0xkE/Tr1t4YTpj3CyXX9mp9okmRn+zRsqDcFTsAGfqOw&#10;IHrw16DUrpbHU6kakkk9l/TNDxTqt8bp41SS6lsUE8yR25iFyh3benUEqwx1OCO+arW3iFYI7GGW&#10;ya8n1JV8zO0w220kfMDjb1ABPTeT3zUmr+LbFtUMcjNDcjTxBK1zbBRIrCIxqvzDaxwhJwcjPHQ1&#10;xweW41A3K3jf2BbWCpJBNbLD54JTMoDKGLMZBt56NnkBTUKF3dbLTzZvHFfulCorW/H+uh6u7Pew&#10;LK8lhbJcH/RLJ1w8Pyum50I68hlwSTzkKQDXJ3cEccbacNSu7/URcefIsqK8UisEJjVtu0KpB5z/&#10;AAg54OZ9O0qz1PSVs7MX9onltIJ725ZJkl3dckg7Sy5UN8uCvJHNSxade28Nrbxzw6kYZP8ATLsg&#10;LcvjnZ8oxgDBxz7nngqJyXLJbeRphcS4S54vd7fk7nX+GY5bDTZ5rWxnuIYSJJIRI32RSWJXnjac&#10;fKSMH5R0rrI9bu2eTUVaOOJNrJA+d3zYPlqQBxhecc5+gxzMeoW8ECTzCSy2OId0zq24KfvdOnYK&#10;B6jnANbsch1OW3uVuNkcpMvzlLVQ277ozgEnPGMknjnOK5/ZKWt9LW+ZqsRK7e7N7Sb+CNXvJdQh&#10;hmKtLLEucxKy5UFTyCeD0H38YFTT+MBqlhDCkm+3UozSJEPMmZWDL83GBnAzz0/CuJt/C8kd3qV8&#10;sJilug8q2u1Ue+kO4oZCeTjCqDg4BXnpnUtfDmoQW1ufnhR54w1vKfIgA5ZiGOOpyMHsM+uZhT5a&#10;kXDz/M0WKg06knd6GTBol/qD3F9ez3Vs6Xam1BmMQdcsyfNweDjuQemMnFWNPl1FL6S0v9Nd0WJp&#10;vt9xI3nDduT/AFeDuURsTkjOSMcjnrtTa/8AtFpZWcfk6bbu0heVgLgDYyqFA5BJIORnBLHntDBZ&#10;3Npdyx2xP2d03TzX8v8ApWDhWKkjkE5HryTniuqpH3VGmvXz2OWj++k6lRrV/dYdoWiuUU3EhUF1&#10;CWzZRyo5GQc4PI6g9elelW+sraolokcVuiggxD52kcg4nx6g4xjH3MnOa4AXNhZypPc3TyyFS8cc&#10;YYbcrwApy3PPfp68V0WiWz6lK88VnIFuULCVvmIGNqkueSORx+tclSrTjC7eq6Ha6ntKkaUV7q1b&#10;2/4c67SWtrS4uNS8qYvczZgt44y7XBRY41VEOMk5RmLEBVLH/Zb3vw/pyXk9pPq4XMaCSwt5AqW+&#10;7Py5Xb8xGWyzZLcDnPHkugpYWtndXLM15fR7kjCodxCsuPLOADnapxnOOcHBI+ltJeSPSlmjsGEp&#10;tkEcl0jIblshkCjk4AYnjAwoOTwa81432zbVl5fIwxdKolaF7Lq/lsbr6c0CanbW1rDBYRWUL5gj&#10;a5aPfsiQEsxJLSOijcSQZe/NdFaaFp1hGbaORlW7VFkuZLVYZVC4d4xJknbuJyQMER525wBwv9qW&#10;0cthfaiY7cwSFAkEwu7Kcb1jjjDnO8Zjz8p+bjnjno5L2bWbtNNSGeS1vXnka5FvtESyqEAC42Fi&#10;wzhCQAoAKkDEUaSnN0tkvxOT2M6SUo6/57fMzNcjvb7VGmspIY9Ns7LdKgbc8joyqBkEAHaVAIHV&#10;ycdj758MPCUGmadJ4h8SaX5/iGTT1XS4Yp2aDT/Nykrsw5YKjhY0ChQcEfdFc98PvBcWpmxv77Kw&#10;abFtnDoIYJ52lALqoOG5hRlbpySMDk/Sk1ulustva3CtMXxKZcPcTMY1CHrxht7ALySxBJxXcqfs&#10;k3B6+dj1cDg4SlH2ibX+R4D+1Bqq+GP2e/ix4mu7iS1s9J8FXLTPHKAQXjACqRjkkgAkjpgnmv5i&#10;vhv45MlzFLBcNJGWwu07SwYg4yM44IPc+mc5r9qf+Cw/jnUfhv8AsJfEC4tLmW3k1/XNI8PuYpQs&#10;jC7uzlTkY2lUckYJ+QDg4Nfy0/Bj4pJqUWnhpgQzoFKSsGAG08E8cdx1wfwr1MFl9StgJ4xLVSs/&#10;kk/1N/7UowzR4CctbJ/K7P348B+K2vrIQO6MG25Aj+VA2WbYCOBlgRwD7Dv9Q+FraS1e2uoR8rlU&#10;fKl0P3QDknJHzk5GCQGxnFfl58MvGkf+iQtKD5n7zcCXyOWPTJ7HHJ6V+pfw1v4NT0+GJiDIqhfM&#10;zwWG0gAjnIHp0A7ZFcFZpL393a56NWDpRbt1/M+ifCuoCSOKIyMxYea4DEIQCSpOOM4yOQT+BJHp&#10;en3EjHABfgkHAU/KGwc+p9PevFdLjbT7kLuyGf5W38SAZIY8gce2OtevaPMkiqQ4IZlBJYqJOF6c&#10;ZGd3ft3zxWcZJ6X2POqqMYpJevqdnYO8DbmyG3AqGHOfQDk88/pXqOkzxzQKCHUowVcj5Rjb05PT&#10;HXjtxXlKMm4KFwgO5NrE8jjrn6nFdhot+LfKlQpMoAbdu3H5ckYyR3698nnpW1Ooov8AM46tJ1KW&#10;m5pakDvbqQ5IVTxkZIPI7H+v4DAk0sTMkiyhJCxEZA2sO3BxnJ3AHtwPrXW3sX2lVaNVB2bEJbLY&#10;C7iSPpu59AfWuanHksrOuWiZcd5BjBx9TsHHfFRWjCWknt/mhYabjG0NGa1jaNC0ZIUyKBgsSAQC&#10;ef8APr9TXqvh+/LTeSp2sp2szDDDKkkbe4PfIII68V47BqO4AAbi3DknAYkDB4HTC/rzXUaVqHlT&#10;p5eNqYAk5Ow8YJH5fiMcV1YSpGjLe6OHHUnUjLmWv/DH0zpV6qpJGXUlirk5AHOCApPcHqR2Fas1&#10;tY6varBcIHIQ7HxngBeh9uPTpxXlekapE8O4uCVy5BGHVQpJGfXAP5ium0/WXt5FBf5XORggsS2e&#10;h7jOfrx619LSqxnDlktGfE4rDTp1HGOjOr8Ha9qnw/1qBJWd9Pa4VVcybUVd2F5P8I4P5+9fdOla&#10;xo3jnSVjWWFp/K/dSDLOrc7eo6EBT1749a+LEsovEdkkUu1iVbbIGUlDhgTn6A9z0IApfAXinUPA&#10;2ux6bezTfYy6rG7MCANxyefYDjpwcdePoMrx0sul9Xqq9CVk/LY+G4nyGGdQWJovkxdJXi119fU9&#10;08S+F7rSrjmIx7eC3lkq64wGBGT6/qPpX0HW5rKcRuWR43HX5CDjPTtzj8j0r2u2vdJ8dacFimVb&#10;lFGyRhtJ6fnkA9D68mvFfEug3Wk3c5wyyb8Fd/ybSWBII55BPc/Qc59jFYR4WUcThJXpPVNfkfL5&#10;Xmf9oQeVZpHlrrRp/mvI9v0jXPORSTvzHllIyGyMDHI/2uvP0rvLG7WRSd2dzZwBnHH/ANj+OTXy&#10;hoHiR4XWORgqoQroXOW6g4weny46g/zHsmj+IEUKDJ8rAMDkc7txXn33DnvjsK9zK81TScmfJ59w&#10;3Oi3KlHTdHsUcjsexyMggYA6cZ/Ovy//AOCm3/BNL4cf8FA/hZLZzwWfh/4u+GrdrjwV4xSFIbh3&#10;+RzZXkgUsYn2AA87Tjp1H6QWWppOEw6kcnB/iyD2z9fy/GuihdCWYMWLfKfmzgDjHt/U/WvsaNal&#10;iqfLc/PqtKrhanM0f5In7R/7PXxG/Zm+Jfif4XfETRL7w/4o8LaxJp91b3kbbZlVhsngJ6xyqUkQ&#10;4GUkB9q8UtNYhRvJkIJJDYcnc5xk56dcnOOeegr/AEr/APgqr/wS3+Hn7eHw2vtb0XT7HQ/jp4as&#10;HuPDPiSCMW0niARrvXT71h94PtCrIclM8eh/zlvjp8BPHPwQ+IWv+BfHmhaj4b8UeHrx7LU9N1CE&#10;QXNvtOFcKDhQylWHJ4Yc0Qcqd6cl/wAHzPQp4uVdXv5+fTT1OAmK3EZEZRdiZ+VvmZjk5wfYdDj1&#10;7VmSwuiqfNUOu5s7xvbsvB45xnn39qwre9ltWe3lUsBINzPxkL0GOPbt2rp43t5LN5owHm+9GHBk&#10;Y/xZz0OA2Mfh1zWik9EzolCck5wWv9Xt+BA1tI4lRZN4JZnbbtZsdyT3wRwPXms6Wxc+azu2Ffay&#10;LGR3G0AtkkDk9Aec9q0YZniVplUMGOIskGNGyTkHkEe2McfTFZZXDqxG0EbC0ZxnCkKx5yxwoY+p&#10;FaRff+th68yXezM0xSJGQrMC4DGM/M6nOSCcY79u2OTTrZ5lYYkVI3ycyjcTlfmyOh4IwO26rkkh&#10;DyBQGd23MI2yOSMcdujDC9PwzVGdondZGQtKC+7adyn5uCDjOen41ShJ2I0lGzW3Xrv/AE/mbSTR&#10;jElvc8ebs3HcckEAqT0J+bPGcZ9SK6XSNS1GKaEWzyLgAgRZKPu2sB+G7BHqMdq4a3w6bkUheWbO&#10;4qRwBnBBwcfw8+jA4NWbHVnREktiwlt5vvBsfKhGMDtnn8qydNTm+bU0VXVNu+mn4f5HvGneNNa0&#10;rUyiXEkZEyopZyDuO0BeuT1IGOnGK918PfHS0jhRNRlUPsVWMmWaT7xDZPqMEE+vvXw1J4i8y4kn&#10;vGaSQkAbOORlQfbAUHtgZrVtZIrsi4WSWOPerwxh1JA6gE46/dUjsD05rxMz4eyzMoONen7y2aPZ&#10;wWeZhgpQ9jPTzv8A11P0z0f4j6JqMERe6gjMmNpddpuS2SwQ4x2br8vyEZzgHsINZtblVC3FswdU&#10;KIHEmWJJfJHTA5GBzk89K/LxNalsZIZY52IQMqLnapP8LDH0A+re3Pc6N8VNf0+RMyyNEGRkRnxl&#10;SuQGz3we/Pze1fn+Y+HaUfaYGd9dnbb/AIc+1wXGt5cmJj1VmvTqfo+rrhtkg3bQhU4bZkk5PoeB&#10;1GPmHqKWESExSuFYvGNjiTFwxONpGDxyenbngV8k6J8cYSIje53I6rJIXP7j72D7/ePPUg/jXq2k&#10;/F/Q7wwLLceW4XfJyBI45yMHk8ndgY5BGeor4jFcLZthbr2TaXXT+tT6bD8Q5diVyqor6b9+x7MH&#10;ARWX/VFVIxtdipwd4PoQTjj04qAuUZWRSyKvDOCQ7ZGMntjnPp3xWFa+IdOv8GK7E6tl0y4DuTyd&#10;3GevTvyc+23Hd28qsjxxHchZCCw8z1Uj+HqOuehGeK8GrhauHlecXf8A4Y9WnWo13y05XWlvvLLR&#10;xFwxbaCN8jDkMA3I54zjJOMcKCexqRArMRJlGYYdW6gKACGyBjGQMcnJ+lMjKOkbBgAg2d2II6YA&#10;IHUDnHrx0xK0+0EJgHey/KuQd4G7J/H9BWF2pptaNa/odKkqaat2f+Q9nU7N3ChghjAyZRgADbx6&#10;c/h9asDaQqudshYNvIyMEHk/+O5+o4xyKwQEEkuZSQIm8zgYUjjjHYc+x9ankmIVYmQ5j3EBmzuB&#10;5AH1BzjsT2zV80ZRjCktf6uZuULfvP8AhiZ98OEMgCs21TJGFJHUHkdMY59+nSm8ggqq7kfcFxuK&#10;knI3enU4xRD8xbG5lRmVUYkjkA9fXG0E/TPWkCHyleJdoaQGQkBWzg59z3wehyealq0rdf0L5Jxa&#10;cV5r9R7BolCkBCDwMlSAVU7QO3/16a2STtBRGG95G5BJwc4wTjkD8KYH2kqD8sY+9v8AvAEEcdfw&#10;/wD11IFTLSMdwVfm+bO0E8Af4elCcXFa7bfeC5XFya1HvFlWQyYkwGDFSmclcAfkTz7VCxdmIcvt&#10;A2BShCnGOjH6EA9CQQOhwOCI8fLGhcGJiu0HHGAOoGDz649uGGVlGwxZYrhmX5S5DEnIPzcZ6fXj&#10;mlGVmoyWhdSdNLl62SJpGkCq7RlCWJKoPmB7deM/N3z1pxIMSucKwQSLu5YjpnP19OuPxqFzKCAq&#10;th2IYl84+YgAnnk7skj73OfUNklbylJCP1QRhSSSVdjhRjjjgepocp32sxRlTi24u6a+/YUsxhLR&#10;YLyHqQSGxyoYrjnOcjPY1K2JWkZR8i5PzLy3Uc/p+faoFJRd2SY9hdSQHAxkhs9edvc8A+lTEjO8&#10;hmc/IwThRuz/ACq7K6f2vwIelp/f8xZFIicgCOQOG54cfL19MdunBB46VDgyrh2kDO2zYykkBurn&#10;uO3oOTzUsIIby2jzHuHllgGLsRn5fpzwcf1oDpuYqu4MoEYOFErEk8Zx2OeeaSdotJ9SeW+t79xG&#10;GerkbG6FAwB43EAE5yACMCofMUrn7hBJdSBu5xwPoCQce3BxSmXaY8OCjh9rAbeGHOMgHlSewJBI&#10;PenOYwglA4wCwyfmbDDkduQf8OMVaUU1bf8Aqwa1Fd7g/wB1gAG2oV6bRtAD4bHchlPfhh60xwUU&#10;xF0wykqxIH8xnkDHqRnoeSmYsohyNxDs7Y4Utgeg4AHU/pSo4mIcBBHLEGHm5G0EMRkHnByBjGRz&#10;x6K8Zq7euxMHJ3S7pCTAgFSrFpjucCMGNeNoYDHAwTjHrTFIaRI0QbSSjFiFCg9PbqO3TNSCXcpy&#10;2+RvlJClmGcEnOe3HGf/AK1aTyfKU5+bexUM+GI4ySBjOCcDP93pSSSSgWo3nKz0IyhJYlps7iPl&#10;uPLUYJ6CimulqHYOCz5+ZhcqoJ+mKKlxin8X9aEKlK2lvv8A+CcnlQhEg35cOFERIQHJC8nByGXp&#10;yAgGDk4ldGdGDgbw5AAPmEFl+8xGB0EZ56Dd60xSWkRh5kio2QoUMu4YYBskc8DgHcdpxkg1Gjbn&#10;KKQ8fys0jsziRDgjGByMKpHJHzADAFOKipXW+5nZSbvt0E42FtwYRrhmQEllK4P1wMc+/XvTFWXl&#10;wxVJB5Z3jbcMARuTcD05APBzyMgZyiyFFLoSS37qdyoZSzbgAMcchQx9sjJGchdvLdASwBMmDlhu&#10;diHGQOCdpPqeBjAGFDmSslv/AF+IOrCSVtLJ/MXJw2Cjq7DCh0wRkD5Mk9TyPQk9ARUTukbrucN+&#10;6yvlssjQlQD93vuxnA+cbs8k4p652KzqPMRdjyCMAh1AOAR3ypGD7Y5ouHaUlI3UFTt85zt4IcZP&#10;YkZGe3zdskU+dc/LFeROkouW3n8tiONRI2d5ULL5Sch1BJRdx5425bLYJGDRDtCK8ZTbuVApGCGb&#10;5sBARjBBw3uMjsV84FVQq23PlnG3KkbiS3JJP38D68HoWeUsajO5iX82ZQiuWAzhs9c4UDgcbevA&#10;pRjGP8R/8NYcoxlTiofExIm8goHaVklDMdvA+YY4wR1HfjOORTZY28td4jaVgyEk58lhgcIO4w2c&#10;4GOp609lKuhkypiAKKfvtnLJuX0xuwATwevXDCuxd6gybpT5OEKBUXdnaDgfPwQP7p5AOVDUvhlH&#10;oC5Ypxe9/wAFb8yMhdsrYIIkdQpfAIBKqNvXkDoeOvPanBmZz5YMi+WXOwEMM88fNjAYEd+gI600&#10;nzViAKzN5pBXoecyuWAGcnc3PGAh6cU7zJI1AQKrgAFAQpYs4wenQZXI5xtJFUlo3621JTjzxlN6&#10;W1/yIpCWVCH4CMhLEhpVVSCDnJ2jONvTB9DinRphNsmSka5cHkIAQrHk5IyxOV68Z6cKXSbbvdgc&#10;ZZ4oghbATHGeMnGe/wAxJzxT4sx/JI43GI5VAQqnBLEjpuJJz7moV9Ki0ZfNHnvFa/pcbErlCFVT&#10;NknfI3L87gBkgYwcdCO+Ceq7lQJjJwSwXawDYxyBxjjYNuOmaYYgqIIwAkRCFo1zsBZQPy4GDnJI&#10;9MU50jZwFmBDKAAAViJJCqVP6ZJ4PA71MuWUrpuw73UW3pZf19+nqRKXJLuw3BQyOyZG5mQLnnP8&#10;W73CEcZqbnyyoCs24b2jYMWJHzKRyd3ygfgeBmmrLkqSqxMsfmtFnhyVLN2weQcDHG0exoVWEaMx&#10;WVEw0gBUk/LjsSQxLHryoJznBzpeLkkkE/f5eVakjy+bMoIeN1YF3kZZUm52MrEYAyD1J5OKgijm&#10;jhRmRN+AFQsX3g7OD0bHLZwQTjkDANWWOXLSYbzEO7yxu2bdoII6bfmQEgYJzk80qhYhJLHsBCGR&#10;t021IRnLKjMwb5cAYJOQDnrSaU2nHf8ArUUYOU1O/mxsSu0ShmRmjj2EspRixDdRkYYmM+oO4cdC&#10;Jkfy1Kgyb43ZAyZ3yAtgFe+TjIJHfpmkSWNUG12D7j5kbDBY722YJHylQ6g/7pPAyApQFty+Y4jU&#10;CRU+VztyRuUZAPzkYBHTJHOabScrLSKd/wAhuUov3dHa3fqKqKz7QNxlRWcIrKrDBHQEc4AOOmSQ&#10;Dk5MjOHJlhKOFk+RTJgI5XAyQMADBBJHAYdKbEfMberMibGCnZw2GZWGcjJ3qfxHepURDCkbfLFG&#10;CmGBTClWLZOepJbOeOR1rNytUtJf8MKV5TjP7PT1JgA2FCFvmbJKBUwFK4OOuTv657HjGAyZmQRB&#10;0LLu3MFJkZ+uW5wOfYjt1NLKQMB02MoIkdlIZsgDqDzn5+2Pm54NUpNStrUFpLiOOMBWI3YBHLAb&#10;OwbgrtGOp96IXbUIxbdzSq4xTpy23+ZdYFliJODIgH3wvlMTg4Jxnno2QPbggV7nUorQxtORvVwE&#10;V2DSvyOWPYEZJOCMYzgA4+fvG3x98KeFJpVfWLANGhk3rL5aRHBIGAeSQoHT+I8V8B/FX9ti6ubi&#10;a08KRqwCMsl5j5lbGAUyPbPPoPfP0mW8M5jmM1GjTajvdpo8TMM/yvLqUnWqRclo0mm76XP1A8Tf&#10;E7wx4ahln1HWLGEQ2rSmJ5QjnAONrZIwRkE7Qcg8Hqfzd+MX7bMbNc6V4XhLKjlZL4SEM5woyFBw&#10;OFBwAOQW6k5/O/xT8R/Fnim6ubnUdUvpDMWDxmZhGd3ABGenPevP3kkleQszOSSzMfmJPtz71+m5&#10;J4f4PBzVfHS9o1ra2h+a5tx5isVR9jl0XBN/F17WPV/Fnxf8X+JmmF3q12YZSSEEpG7PBBAPQ9K8&#10;lmuZrkt5rs+5953Nkk4A9eDxTXZiSCw55AI7YyMfSq5JwuMDnII6/wC1mvvcLhMPhaajh6aivQ+I&#10;xWLq4t3xEm9938gMgxuQgA5ALMCBjnP6EVBvDOuW+RQcPnJbPXJqQugVkAJJU8quTxk5P61QBAbC&#10;nfwGGBt7nj/PrXbZ3POnUurR10NPfllI5zwflwRwOhxTGVwp2pwc/NjGQPWpNyYXYOhA3H5W5H+N&#10;IwKdSobbu285bp3pTjLe5UISd7FMuGYqAARgfKvAyODRtLfeySF5Kj0JqcLEDu2n5Rggj5ug5B/z&#10;0qJsA/Lkjoe3Hf8APmk78t0TKEot636jCjA5faWC8ng56cn/AOvUTNux8hI3EngBRz9KmcAJjABz&#10;wMdDn1/xqMkkAbgM8HIORnpTvdaa6k2snCG43duOBnoBu6cnrQilVDAnpypbdnOP/rflSbS27bjA&#10;GAccHB5oYDqGBJAG4jGO3NPoVCK+1q7CNnI4AVshlODt4x0/wqNcNu3Z4Oc7ehzU+CSAQuORnqcn&#10;H+fwqMkKMMp56ns3pz+NC7JD1veey/HYaUCsTuG0jPHJGemenQ0xl3HB3AHjAOAc5GakwWLckDnH&#10;AyMHPSmuvcspzgZAJNVfrfUzalCdnsREKVRT94HkBc7frSHJAPOSdxB798Y/GpOFHDZwMMQuFPX/&#10;AD+FJu5zkYVgCcY/zipV3YuXKnfzE6EkkHb7Dbz1x69KYcgeuOAGA7HPXHT/ABp5y5APTB4K9Qen&#10;8jSeW3APTbzngnriqjpoJrmk5f10EwDyyjkZ5I3gZAFMIwQi8g5G44Pp1FSYXYoJ2kkYIX5Vxx9e&#10;1MOODjdnJYk4JP17de9PVSHOV7JvV6jdoXkgAN0Ixng+v50AZA5OdvfGCD0FOOOSRj+9kZ24BP8A&#10;hTtoPGBgjhiOcdcfoaltJk6JeSG5YEqRlQwHyjCr/wDq5/OogWG7dyenOB79Pyp7KCcEjKjOOmMD&#10;+XpQVUqc53Yyc89aEkt1uELXcl0G4y3QZZecnAPvS9DhiMdABxgjn+tLnAbA5ClULgH/AD/9emEZ&#10;IBK4weCpODx3oe7T6AvdavqOYMAygAAdehDc+tXNPuGsryC5T5fKcMpHy+nFVRu2kDG5jk4G4ema&#10;YuRk8kgbuF6Cpvd26iekrNn218N/EBxb3Mh3rMoG5ZMyAEEN79CB9PrX2B4R1PayOVw6qrOXf92M&#10;khcNk55xlevByK/NP4Ya2ySizmkIdASmV5xjgZ6jnGeP5Yr7i8Gaq7wwkMjox4ZeC7DqCw7nj5T/&#10;AHuQBmvCx1DknJ27WPbwVaEqPK37qv6/11PsrTpDJB5ySRRtcIuY37ZUE/IeAQcj5ewPTNXP9fHv&#10;by5d4xtMI2Oo/d7gGJ5Uk4K8gx8HoK5Dw5c+ZbKoYgyJ5Q+fOCQN2M/L0K8A/wAPfOK7HYTIpjgL&#10;sy+YY9yoeB0Abt2654HTJz4T5bO3X+v6+Z7ySdKyfT/LX56kgiYjq8XkMjSlUJkbcC+0kYKnAbkk&#10;5x0PSraeVNAd5TeuCHAbcx3c8j2yMEHG7POCCRiEgAo0s5+V+GJXJJ6EhgBwAMnrx905sR7XbahV&#10;1Z1f5CQzHk8FSpHb8MUk5cvL1Lppxpe0n80ULyFyxVlG6A5LIBJHOQBubcPlYEhvrkevMcEkKSpG&#10;iEKfmDktGJOc8bmK8Biuc8gE7Rk10It1cAqkkjuwYlwNqHngsMYPzY5yD+WMqa0TziVHzxzqZY5U&#10;Mbuq5wjMOm4AkggEcjrWLcXaEVfcpSqSakm7q1vn/wAAsDzF2vsXa8pZkQfKw+ZQOuTkqe5yNp4B&#10;Gbsc7HKttTeqxcKSxOSGyACQACOenzngYyXW0cMkEMzhZfL2mTL7kkULu3dMZ5C54OC3Y4oiIWBW&#10;+Vz80flzje6gYGMEFcYUcccFc4IzUOL5XFaNFRjJz1l126PRbGrY3Ahn8wzRqMKkeCd0pyvYkMAe&#10;Ttccb/4gGNdVBfzgeaXEo8wv5K2v2mUg4+X5XUjGAcnIGSdvauDxvQRpv+VNkTmMLE33gPvc4zJu&#10;3ZHCNya2ra6WMs0WPMwZRbmDLrg4GSxDrwVJwM/Njii14qUuxpQTXuRf4/f+Z6ta6oZFG6VQqxlB&#10;ACFaQAHcw7rgZOc9j6V1KrDd2yrGUjYhNsbK6qqhwSQcY52HhSfvDpnjyG1lMe5HVw8UqoEEhb5k&#10;YhsgnOMrjIOCc84rt9J1Nk+eSLymC+YI590LAAuMRnBUhQh5BPTGeuOerFct393obxmoSTW3+f8A&#10;kUNf8Jx6lDJG9tDKPLZiVYESMdzbmJHpjPfIBHWvin4vfs5aB4utpnk0uOC83lYrq3CxMgB2gAju&#10;WHvnI6YNfo3bzRXbSjaV3jByokTKnYMMPUYHryOvNZupeHLa/gdMKj7Bv+XCnGQRjHf5SSMkbOO4&#10;PI4zjJum7Py+R6eGrOzj03t06aH82XxC+B/i/wACXlw8drLeaXDM227jXcyDPG9OD0xyOOB6ivJI&#10;nktyxc7SCAQ/JGMfj7fjX9HPiz4W2d/DOJrWKRJAUCACQnhRknaMYO4ZwBz0xwPgP4s/so6VqDz3&#10;mjWn9nXzZcC3H7vkkDcAeeQedq4yPrXp4fM5U4xhidU+vX5hPDRqSU6T5ey6Pb7kfmYLmQqMrtLD&#10;ORjI55x+Q/OtTTNRe2nj+YgDgkN8wPODXQeMfhr4p8F3s8Op6dci2gfAuo4i8RGTg5+mCfrXAuG4&#10;CKFIUEknBOcHj19a9mnOhWV4NO5nVnVpO0k01ZeWnY920jV0mVEZsjZkFzlTnvz2yQMD0rs7e53K&#10;QrBDI205bbGxA7fp+VfN2n6rNbOAWd41zznp3xn6ivXNJ8QLJEqMQowCQ6bkDcYPX+E/zrxcbgOW&#10;9SK0PdyvNYP3JLZ3R6RY7luQkjAB9rZ37gcKOB26j68nviulS+gdS0p+bGxtw3lMc/kQGH/As9zX&#10;JWl7FNGAn+sdvmGDtxkYAx34/D1rUhmSIKSu5HAIfPyx55IY9OPX2NfOTgpST2eqPqo4mHLfe9v0&#10;O0trqOCSNXRTGcKr+aNy9fwxjPOepNXbq7maWJlKCJUEp2SbmAHQDkEfe5xnv6Vwqear+cD5uWYx&#10;dF7L/h+o9cVoQXUscLh4yRHguGjDFhgnCnrXn1MOouz2/A9elivaJRnvZb7PT9TqBqdtctHJJAZZ&#10;mBQfNsAUbj8o993Xr8vpWfczT/aZZUhaOCRQsLKu5o/lUA5zjAyc/gKoyyG4MNwieXGsZLxrF5bA&#10;8DLc5Gc5/wAKc1zm1W33yh4nxyM7iT9fQr19DRpyshxTjzR26emjKltcR7szcPjdjPOM55PbOf1q&#10;ad2W3UW65neRZ1jkGSoHzHkEYOOPX5jUK2OHuJI1PmTKHCyYUnCqSfpxx9BTIIys73DSpGJmwIm4&#10;LZOSEXv6/wBKdo1WlDcxXPTulL3b7jY5Y58Ajy1Ei/vsLtBVmy2SOcnGQeoC9urnvhFLEkp8wFQE&#10;DptjlweMD8+nqfSomtjbpNFGzKrH7QvmqMScgkIPbcOQT0qjeSRSvYXDyE+W2AjxkKucbcHOc5J4&#10;4x71rGEZxs+n/A/zKmruM3o/+G/zNOdzBkq5kD5T92RllBwcj8DkD86sWrXM02yCTaVPmBXwy7SO&#10;SDn/AGRk9ORxVWKGOcoC8u0fMWK4cuW3bcZwckjjnOB61dhhihmnmUZnb90hweG2hVyOuAMfWs20&#10;na//AAxcYzT9q3o/6/E35LieJYCuPMV9jAoAhADEkHjoCOnv6itibU98io6SoyxiPehJ2kLtwW7H&#10;OM8ZwOncYk4uHijk2hnjXdNuAZD0JOT2xjiqUWLSRcSbycR75vm57HkHtn3zXOoxb5ra6/8ADm6j&#10;Naxd0/1PREvWdYmW8ZpUHzjqyDIGGGfyFdlYXxO1JIleSE7oyW2ljkgk5OM4B/Pjrx4pa3UbzSMR&#10;5JD5laP5wevAznHG3jmuis765jXcomEi8qWC/NhiOcf7ucDj8K5p0EoXbszalVbdvy7r/M91s9bB&#10;dEASG43kyhrgMcDp6Yx0x3xXa2SRahG+2ZLdblAkTMAqyMpYMF6DGSDzx8vvXgKam6zR30kp8wgj&#10;bcR/NKzKwz15I4I/4EOc11Fhqj2iI0V9J56hDGoIVBtZcg5OB98EEDPCg8c1zSpqEHVjqz1I4pJO&#10;nNeW/oevRaSwuBCL4kQo3ns8e6OMllVnLZPIyACMfe+lO1Lw1pGqR2d5HLAbq1kRbhVYXIRlyd6q&#10;TuHB6t24ycccjpnjD7NGZL6F5YS53eYTGzqAPmyQcbVLAc4worvrLWfDt6wiuXa1lv4ygUOYYlXH&#10;GSvGQB97jvyM03KrCreC8/PTU6YRhWkuZ/8AB1OU13w99otdtvA85jb94iptk2ruVtuCCCdp6Z9Q&#10;cYasdPBksFlfymOGWZv+PZWT7PI7EOMgfNngDjPr2r33QNFtZ5Ft5Jd1oY90c7uhlBBO0Nt4YHON&#10;3cYq5P4YiiE8KrHIjSnMbKZMKyBwDjkH7nUgY7jgHeli3yWlptv1Od4OnVu6Lu7d/O58yx+C9au0&#10;kuZLdkt7ILcNaBwsTmSPeI8AnPl8ZwQciq+jfDKSa7uHmgniWW9F8jTb5jatIoVV452/KMAdMn6V&#10;9O2nhi/1CWKKd5EgclpPs4VTM2DkyHqoB27dp4IHPOK6+y0lpBdaaJ0Fyn7u2gtl2SqFOG8xieeD&#10;8x9COlX9bjOScZtLXT8vkbLDySvK10+j2PINJ8OQaTZ/2VJEdT1N5kfVBEJEt7RjuYQhioEgGedu&#10;V3dztBGxfjTZobrT7hZLBLZxdXnJhQSc+WCqcBVBYYOCcjIxzXrR0CHUpr60t9UQXUYEV/bWkrRm&#10;Vx5ZJXGQMAZGCBl+B0FNk8D2txHqGq6zpFrZhbnzZrS2jmtonWRliR1jB5UtMCApO0xN8qgU3Vcn&#10;Ky10MqtBxk5Sfz7eaPKdBv8A7Tb3ek6dYyrDEkcVtqkbRfP9z5yiqSoAVgoznJJJOdo6KMzG+js2&#10;g/tH7CgklmnMdlOxCqzAOSBjO4KRyxYAKSBn0rRvCNhbLdW+maMkVjb2okt77Ebs5MkjsmV+ZUAY&#10;EnkHPcjFdBpvhoafbPe3hsp7bV9sqy3iQwJpfmebIWDtyN3mAgjbj5OhFROs0+bv5BRX7zkeum/9&#10;fkcFpukavJaeXeXLWKmMvNDaSLcwDK79pO4EY4X8TkdAatp/bmnXlv8AYdMtmhdEaZ5YInupGC+W&#10;u5uuBkAK54G0cjFetaL4Pn0i1eJ47i6NyxEAu7mO4uNQ3je2xwSy8jG4jfgd85MLaTJbN9qZPNv7&#10;fck1ja35V9LScnYXQqULfuiyBshjCMn5QQrP4KcrWPUc3GDmumnr5mM3hXVfKj1TVLywUx+ZKgiv&#10;4CbYHe2zcp2g/LhUBLdMDJ56vQtUisGTTvsOoy3srFWuYJTfW8yY2sWl+UgkEuoZcYYgDg1zGmaV&#10;q+rRxHUrS4051leW3tJokvbrc/8A01XamBgcqmOOmDx6zZeFtcg0+Gz1CeGz1CIPJGtoyoAgZSEY&#10;sW3AAY+bJ+Zuc4I4MQrz5Lef9dj0aNWnyty3t0OD8TrHdXVrD54j1LUG8tbouJmjGCSzkg7RgFdz&#10;HnP59ZH4Z04WNvDPNNNdiJTcs87RB8sXykq87jiMY78g8HB09C8HxWw33N6l8y3Bub15QtzcXBUY&#10;BUDGMEqTgAAcYJIJr3Vg+p38mmWNzLdm3uoruW3lQQx2x/1gRG2AOw8tmKA5XPUDaK5YUYXuh1pS&#10;k/Z3vGxr6nF9qhuP7OljnlitFjWGV1GoFgWGyRAxKqVVQD7nGcA1y+ka1qVkVtbx7eK8kZorZlim&#10;lLcEnzVAOWJGM5AIbngkj0PSPDWTZaldvJBPEzSvLDM6G4z8o81NxLBd2PnJHzDA4qzp3h+JNZ1e&#10;6vhERPLHLYxyx4MUmyVHZX3ZO4BDgDoOxLZ6ZunF8sOvZfMdKEov2cNdP6Rzgjn1E2thIrxzs5lm&#10;mMJMLDdk/PjYpPJVfQEgEKa77StDhSRZ5mupWiux5RH/AB5xIzMW9ht+WMdyCOe40XeKz8tLi0lQ&#10;+YsNssdr5qy43EyMRkqOoyx6L+eN4l8feHtFtZUu7q1ZbS2M91HAitcggZGRnIwfXoDnnFcfJf3b&#10;aFzrKOi0aau7+h3uqGW8Cm3ljikgjCMQoWBycg5cnOQSOg4x3zkco8uyOObVNVRf3nyS3U6WcduC&#10;EACs7LkkFgQcHpjOTj5s1v8AaBaW9+x6BapLZqCPtN5JiSIkfIzRgZRs9sE4X3xXNz3l7q8qXesa&#10;z9q+2Kv2W3ClrdnIBMvTeoBwQDgZBAA4Wsa06dFpRV5W6G1KpOtBexVlfdo+lrn4i+FdMuJ1ivxq&#10;EwGRHCuYlYgKqBjjkkH146Vl2/ivUddlv1FrDb219GUsri1neWSAiRP3pfCkNtXaVxgea3ORmvO/&#10;Dng2BLaafyo7gnc99dPH5c4OMkBexTbsYuc/Me4yPpfwj4NtLGxihi3OiMpjeJCkcag4+RyOpK46&#10;ZwBleBjxsTiZct1pHqz1MPhU1Z/F/wAMSeDvAiXF0YLy5eSdFEtxLdT7FmOVUBWZj34xzwPrj6v0&#10;XwnCmnQGOWOKK1QKqAoqheCyo3H3wpx3IXj1GN4bsILKwDPEBL5JdHEeC8ikjGThcHnk5wVPQ8Hs&#10;/PvLSGyt7GGORJUEzzzRrJuCLJthTnOG8zPzDP7sj+6x8tVJt3i9eprKnJyv6W/UxrPSLK7ufs8M&#10;U8F48gnh+yL5RdU3A7pM7QFfGehwx9BXr0NzHPax6dAQkaqqq0ziYbThgA5wMnrxj7xGeteYWOqJ&#10;ZW11qV95EUnnPbSQpKEmZZSFkZmOSoAOOMDHXJAx0tub28n0WKG4EcN5dfMsSBgEdw0YkYcKq55J&#10;5+7z0FVCDdnGOttX5XCcJSjyTf8Alsv8kbMv9myTW8MK+cbac3UN6iZs9wJTfIQwBjVWJVueYUyM&#10;cj0Pw3ps2qXKJcRSrFcXYeHTnb5bW2IR1dyp272UsCCD168DHMWlpdXMr2Mw2yylYnjRVgRQ2CAq&#10;rgH5SeOgB57V9U/DfwRcyiJjG+5Qt3NJIoQpGAAMrkjB+UDr0r2KdL3XfWV15EQhC0eb4X/X4no3&#10;h7w1Y6f4ctA0ZhltrtL5gMrbMrBjFC+TzwsrYzk7CABkisS3DXWsXuorM72dv++aQ5eQMQNwCkD7&#10;zbgM9e3XI9I1x1uJE02zIaztE+zxzbAvnk4Zn5JHAK98c9+tcbp8FvJHcTeUsFutzGEbIG8hui4y&#10;eOCSBnvng1OLm3JR0W336Ht5WpRpuck7v8E3+p+Jf/BdJLjXv2UtCtTeNbW1z8RY410rZh7kwQF1&#10;l/2sEgf7O4Eck4/jo8C+LrvwZriW7ySizlmC4JP7vDDJ9hxn9e1f2M/8FntFvfE3gvwHa2iFtOsr&#10;271IxqhG5ngWIswB/wBhiMf89O/y1/IJ8SfBxsLm4kSEB0kLOACXPJ5b8jgdq+u4UxtOdOpg6+t2&#10;7376K/4HyvFWU4mM6eb4R2lFdO3bQ/Wz4MeNo9Y0nT7uOUb42BWRjhE2nkZxzx2B6EdiM/sL8BvF&#10;zLZWCXEgV5UjMiyS7QxIBAAJ6ZB5HXA5INfzF/suePJ7O5Hh+5lfemPKV8KsgJ6Ak5GAeTjJ6c9K&#10;/eP4I+It1paXBkIZSi8qA/IwV298Y689eteZnGC+q4uVLaO6PoMlxn9pZdGtUfvW1vuns0/mfsBp&#10;08V4lu3AHlLubO3BYfMTzg9fy54Ga9IshJbohRgqxkhdow5G0bc49GA6n7rdM18u+CvEnm/Yz5p2&#10;uqDaCBwyheMeuOc/XpwPqbTm+2WoZSV3RA/OdxYgBs7sdCQR9SM9K+fvePMtzOtTnSfr/wAA6mxu&#10;VeKMOAGIKkhvl+VflOPqT3JOPcVpQTS7Q24DncoDkbccjjGOB3PODXIrK8LshyzBiRljubaGIDDP&#10;HXBP+19M7EFyZJFDMSCQ6LxkfMcEAdM5APbg0021d79vQmEbb7Hpml6gJSqSS5dhnBQOpLHAyoPQ&#10;ZJwSOAcZq/e2qSCRE3BhLvZTz5KZ2kkk/dG7n/IPAQSPF5bo+ZN2wHGIxjBU+vY9MfjnFdhY6oZk&#10;VXVSV2DcVwxO3HIGADxz16e9dFOqpJU5b/8ABOCvSlB+0h933GHcW7o5kiL5JUDL7lJDNxyM5GB1&#10;ydwPbFamlXRQqjlkaMlWXeMSAHKk/UEYHHbPbNma3imLFC2w7mG3hwByc49fTJ64rLlieNnbBEue&#10;Se2RnBHHYdMnpTty1OZLQcuScOSR6TY37IgRc7jICztuj4XhhsYA9Qf88120N1LcF2BRJXYsChEb&#10;AkqQq4/hBVSMcDFeS6bK9xbJGSH8skqGUYb17nnAPGCOAc812mgXTxylJzkFtrMq4cDIjDZznPzY&#10;7DJzXuYWtKSjFbM8HFUFLVrVHv8A4Wuri1dI5CDHIcMGJwT03AEDrx+Y56V6Tf8AhWLxLAPLCpdj&#10;mNyDuUgHPccfxE9se3Pnnhzyp/I3CPaJMoqsGVc4JAPOcfLjnGBXumkTGIRuqkcAYAOfugHpx0HT&#10;36dK+pwUFUh7KvqmfnmbzqUP3lHSf9WOX8E+J9U8Famul6qTGFcqsrIzoQrAAgZGDy+B7da+oiNO&#10;8caZ50ZjS9EW6GRDuQcA46cjjHY+4rwzxN4dtvEmmjMYjnhXzYHiBViflIJHrxmsbwP4mv8Awner&#10;pmrMVEb7A+4rESARuU9M/Nx9MHqQfdwWJ+pS+pYr3qEuva58Lm2XRzik8zwPuY2n0XX/ADNTX/D9&#10;3pN9KvlyIULAlWZiQGIyCO2D+IPOO9Sy1qe2lWJmZUDEMHkBfcuDxg9AB9eT6Zr6Nlj03xlp/mp5&#10;Qu1iPlyBSdwOMoDnOOF7kZ5r508S6Vd2F5Mmx4mVyNuwmQHC4wcH1z3HI9KeNwU8FJVqLvTeqa/r&#10;QjJc3jmkfqWPjavDSSf5o9f8Pa4jbAjhgVPc7m7cEH3ZfbJ9K9Y0+9WZBkqyuCCwOVA5yAP+BMPr&#10;2r5A0PW5Ibj/AJaZADBUAXAGcnr057Z+7X0BompqYolBC7OGjDEdCRjGcZ9Mf3vpj28ozPaNz5ri&#10;jIY05OrTWjPX4bgSAbmXfJtTaTlGYoHIX149PQ+lfh3/AMFef+CTfg79s/wPrvxW+HmlQab8fvDe&#10;iyXNvJbqEj8bRQRH/RJhkAysqhVc8kqo7c/tTZXgc7gw6eZgjbj+E/zHPoa34pVkGR1IyCAAPX9O&#10;PzFfZwqQxdNK9pdGfmc6dTCVbpadT/H6+JPw28QeAfE2teE/E+kXeka7o2oy6dqNjewtBeWssTsj&#10;RurAEN1HJ7n058ouJrzR5ywcsoO8DzME9Dux9RnHbHSv9Br/AILbf8EkdF/aJ8G63+0b8C/CsMPx&#10;n8P2/wBr8W6PpcSwnxhYwqWlmWIABrpFQLnjcvXO0Y/gc8b+F9X8Naxd6Zr9hd2F7p0rW9zZX0Bh&#10;lgkRtjb1PPykEcjr+VOm583JU3PUhiI1qV4b2/X+rmVp0lvfQQRidY2+V3JbcGGBwuDxyeTj+tW5&#10;oh9lcyzrGqYWN8ZlyScnd6DIyBz169BybrNEA9u7IYi211UklsYwM85ILdR1rR0+cXx+zTuRhwzb&#10;ztAIAHv05P8A+qum6jbnd/zNWrK6+Lr20sXbeFWVfLJJERHmBty4GADn2/lVVo2jfy1Xc21d7DHB&#10;OGYEc4wOmcVrSLEY40hLbSu0DaI0H457c8n0wMnANKWcBApU4yeQOM5UZB68+oHG3J9DrFq15ChO&#10;VNNvX+kQTy+UrYyv73aVSTYq9j1zxxnqe/XtTg2RPIkhWNZRvZOwPQ9s5wUPI/h475uNDkBpFG2N&#10;jJtJBOeDkd+568cUy5giuW80kROygxwo3yMc8EfUAf8AfNZarR/8MJ007S6/iympR445ApwSWxtB&#10;dMABlPp16e9TQX0kLMkjJ5e/fGG/dqoA59CcZPOfwOM1SQPFIVcKxXcMgYH3tvJwp59h0J69ankM&#10;AS2R3BJUhyuV3ncmwgEZB4YZP94cdMNJyM6co+9Jaf8AD2Ni01CQuGMYYQjO5sknBGeep5UZ57+v&#10;NaMGoSzTrC7lUMjPk8BRknk59Ae/Gcn0rlrdTE0YQuVcFHEi4JGc4OOc4GBx65yeDcgu47cyMrqH&#10;D4jfd0JAwwAPHJI5x9MdRJXdl6GknH2qbelvlc7K7nmtLlDFOziNlJKuw3YKjII7gZO4cHcDnJrT&#10;jlkkUXdvcZEbZCs+wghhtUY5I2gkjvk8GuKuLmZli82Q5ZNjZA3rkqenbG36ZA9KnW5nhiTzGPlA&#10;OXDH7xB5+boPp1GRxzmpdOFX3WgVduMeW911+7U9csvG2uaWwK3sp+ULkuQj5B4B9scAegz1rvND&#10;+Net2YH2+RpkXCucbSygEdsDAC9RycnPOa+c4bxZmKoHfCkL5ibAuQBgjGQRznP9K2TCghUMQz7F&#10;3sy5QH5SBx04AwevBx3rx8ZkeW4q8Z0Y+tlc9PC5xjqUVOFR6dO6vofc2jfHLRrqK1SXZHI4EZGV&#10;d2BYqMk+5IA9vy9X0LxhpWsRL5N+rSSt+5Rtonf7xyACewAwemRzX5oyyWiWMS27s0wKgtubaWOe&#10;B1/vHIHUsM9STLZ+KdV0a6ieC7n2EAsclSehwpyMcYH49wcV8Tj/AA9wtaLeEnyvz/A+twvGuIhN&#10;wxa5tvkfq39picpIsiOpjRxtkDKgKhhyD6MM+mB3zVgKkzfKVUMgKsrb0Y4BBbJGc5Br4A0H43ax&#10;CIILu4leGKRfMIxtGQeCcEnoT9enSvftF+Nui3RhtpnwPLzI7EGNRnnqSDg7+OCOMZBGPhMx4PzX&#10;ANyhHmj5I+vy7iXLcffmmoPzaPoNJiQ0aDy0GHVV4XGDk/59KlSSUrhsNI/+rjY8LnCgY+u335xX&#10;L2HinRr6KKW2uo8yL0aUBGyTkcnJ4x6dsCugSdHKPEWkDttDoQ+N2Rjr1wOh9c18nVoV6bbnBpru&#10;mfQU8RBwjOMrssjsyABghLY3EyZJ9+pB9hxyM9XiRmUEK0j5JMYJYnIbGBnB5zwOmR60PtjPlqro&#10;0aEsrcbh3O3Pseee/pSYRtzMXLICymQZIVckbm7Yyahq6203/Q1S91c2l7/oJIfMHyKVDbVIJAJy&#10;OewOQwfBzwCPwRh0iBJYEy5EhLEdWPJHpjBOP901IAQCqMNyKcFQeOuCfTkAexPeqrLsY73bO4/O&#10;q7iD82QOBxzx35HTJYOMuZXS0JTVS/No9F8hyO4MkbMowd2QMlAAeR6Z9fSpjsLFow3zxjcy/Oq4&#10;+9+eR9CD6VWGCu4gB1JQ8lS4Ldwc9sDtjH405Y2QtvDEouUVVy2cnIweM9Of9rqKuSi9GrafiOUO&#10;RK2/T0/q4qpuU5aMAlnQbQE9snOTgED3xxT1X5Nn32XILB8IxIyRnGc4wD6n8KrJhtjBZQrAEAA5&#10;AILkle3Q/jT9wQq4lKlZGdgB6DAK45J6546AYz2zjHmd7+n4Ds4+9bunf79PuJGd2UbX3R+WAwD7&#10;COozkY5wP1pPNyIUOyRFciIghABgHbgnrgE/geKaG+VFLFlKlR/CgUkkcc56tk+596FwWwcqVfcp&#10;T5VwcDB98jH4nHetPhhZMmPLz3XVaocXVNoQttWMbXCZwB0Bzn8vT6VE37wBQW2SHy4/nIZQRtJJ&#10;yCMAtyOeT36SqoiWLezM/wB5Ts+8MgjpximODGMYcmTKoFUAICSSxP5Afh61EZyTaXTYmfNGNkmr&#10;sdKyyCHIVm3KMDhwzBuBj0yQccZFMRjiMHe48xlJOSSACMHHQZHUccD3ppDBRIwBUFVRGQKQCSQS&#10;eVB6jtwF4J3ZbKywgDAG4squBhWOCdxXOB069f6XKTdoxV+v3kprmbv6/gKwTCL5fLPyYyMMB0Vu&#10;4z7EHimCLEQRychccMFYkMSuD29/YU4LhwCF3gBsE7kJOM4Y9QMsOx4HSo2IX5HVWZlLOVUSkdCd&#10;vUjnj5epHQ0OD+y9P+D/AJGknzfw9v6RcW4jjGww+YV437V5/M9un4UVnmMOSzO5O4gkEkHBxkHP&#10;TiisnHV/5M53CN9zj8lUVQzHMjsAFO4dcEd8ED1I5HGaQyRSoAvyDcYZWibg5xwOec5/Q4PBpsYz&#10;8rRqB5bPIN/O4soXk9WHONvOM9s0z94zFCoQyMyIYztAJYfKGbnGQo59PxpylFN826Mm5L4df8v6&#10;Yqs0f+s2R4VN6hSGYgEHJBxj5iAQeRj7wGQbg8YDSBhHlQ3mYdG2uT8vdSSvUdWJp2FSNjt2o67+&#10;SDuJbceQepweDxgt70xZFJ/cxsiI4SORlyythBu6ZwGHU9Nw9KqM01FpPRmns3JuL62/4IR4TG9o&#10;0ZmjUbn2g54O5h90AFTznBB46EClFUfKGEkeT8pYjb8o3EHrk55POCB6UqbTMoYoY5CEeNJDk5Zc&#10;AntgbuD0460x3ffJhQQCVUjhAFJLEEYJ+8Tzk4AwcAUlFOHP8zXkj8Un/wAAgbaBIEZ4y74ixJgl&#10;W5Ac4HfJ59vrVh3hV3JGZCBtjCgx4VcFs+p4wR1HQ8UjxxusUgYblYziTcWIG1MfNuzk5/8ArnNR&#10;sEkjCykxxgnYqhlABVQAQSQDhVGR3z0FWnDl5raW/L/Mz5HFNw76X6ioxKlmijMq5OD8gIwoIGBn&#10;Oc/eIBHamSgLKU3Ex7ydiMwIIAUntzwOM8YIB4FJJhtgRQUMZ3scKi5VjgHrzsUAj+Jhz3pCTsVS&#10;WcMC+NxYtjewAY8nBfPvt5rOytFWJlJuUVa4GMgNJIAEUBd2Bu553AcZ+uMZyM+gIkcZdVCoCxEY&#10;O6MDJHXvggcYJHOOTREVkKAs2xvvvs2lRvfBRcgHYrevXdzzmmptjAkZ2ilWEBwWDMM7N204G4Bt&#10;2O/yjIAOK0kktZ/8OOcLSQvDKAiqCXJ89YyRBgj7hPZgeM5zgZzg0yKJ1YyKqKyjgAkITzyceuf/&#10;AB71qQMyuQ5Zt5CKWQRjDDKHtjC7cE9iT70se85kYrGWVtjIFEcgG7c67c5Gc9P7vc8nJVHv0/r9&#10;ClpKPtFr1IiNwaEDzEKEEHIchshe5IyMMCMEbvUVMxjZ3cnBRi4EWYkhxwCvPBJU9jjZ1qXcjRxs&#10;3+qYDYjgKFBztUhgcYKpx39ahVvnGBt+XLKD5Z+fPI5BGfm6gEbexzQuZaL7vwNPZJcqk7vp/l+Z&#10;GyiQM0SxvJn5ZS2Vy20MOvOdpHPfp1GZgxRtgwqiQ7gxyg2gk7uOAcDr2pjqVVyrySYITar7Aq/e&#10;3ewBAOMdgcdamddqli6skx2sgYMXOHJYcdioYcfNtxj0tK8047CUZSqOCa0GBfLiO8gBUKqQu7aT&#10;wDnvtBYgEnkr1AK09cSAOJACwwqpGMJuVs7cc7hjGe4KdKQ5KvvKBN/nOwKnzGYs7c9McnJOMYHQ&#10;CnlSzHyyqfKCNx24wCTngDOd3H09BiOaSm2hRm37r/4f+kKUzkO0fmEor7hvIVQwVuBySFC892z8&#10;2ORzGCkpmMokJ3AvuCnaScqMA/6xMqfQYAxwk+FU7yqBPlXpGxBbqOeCOSR2/AVy+q+KdH0yyubi&#10;+vLWBIwvLFUhXI+8qjoMluR6DGMcqEatV3pp7/nZCqy5FzyVorqdMH3bpwu0seWYgKG+XbzkjBXd&#10;7/KMccmpca3punhXubq1ghiQlGmdYsNwwLE4BJyfXHTOAK+P/if+1T4T8Fo1ra3pv75k3BIZD5kB&#10;KAgEnsOOD+uBX5u/En9pvxf4skuBa3T29pOSTGkoG0dhnv0GK+tyrhDNMz9+UeWntd6fgfLZnxVl&#10;+WJQcuaoun9d7n6wfE39pHwP4Mimjk1m2upTKS0dvIJJIxsZGGB65H6nqK/Nv4o/te+I9YvrxfDd&#10;x9isZl+ziRCyi4XGNxUnHvwB9OtfEGqa5qWozGW7up5pXkJ3SyGQjOfU+pasV3kJVWDOAuMluBjG&#10;cV+o5RwTl2BcZ1v3kvPbp0PznNONsfmCap+4ult+34nZ694t1fXJ5bjUNRnupZMtIXcnBPPr7EVy&#10;MkwIMmTyTuQncAcDk1XLADbJydpUhh+Qz+VJK6jB6rndtUkgfLxn9a+1hQp0/dpqy7HxlapUr3qS&#10;d311ZYEiuPLXmMYZyc5II/zj6VWlbBZ3bgjcduMHB5qIyHO0k44yykgDvn37Cmsc4AZgATgY45HJ&#10;/lVpKLVtjFz5qbf9X0Hsy/KVXJIwCRknjqfeow4O7ceMbeflLHoDTSzKM4HK53A7s54x796aQCWy&#10;DkDIOcZwKq7ZcXFQbvd/oQsW2t1yxyTuAxnPtVTzGWTKnd83IJ5I/wAkVeKyBV+Vseh+YjBPHXmq&#10;EuUYPt5U8gNgkmrSd+XoYOPIlbf/AIY24kYorEqdygkk/d9cfj/KnSBsjJUHbjk5yOe9VrUsyKME&#10;A7cYIGR6fqeKtSxEsP723ACkKDk9hilJJaPqb02qkbxWul/6+RUkHfJYZAHbgDn/ABpoRcADGD/F&#10;nbyegIx9KslV2lJQSex6qCfQ1AwyuFG0jA3E5OTyD+X8qJN2tHcjlk20+iI2jHXJXac5Gcf56fl7&#10;0jpzHIGT5cnqTnjp6U8sRglAN3Ujnvx70h6bcDIJOcYBz6evSlFIhxs5WXb/ADIhFkEBm54xnABJ&#10;70wRk5G3DEAMc+3QH8KkjBxhTyyDO4bQMnk4pQpRhgkufvbSBvzmnr1LtHW60IVQjALHAJzzlhn0&#10;PSmSIeSFJC4BUjj3qd1ZXHHO48D046/l29aRQWyOB1OStVJXbZkl+7s15kR27eSML1AHzN6c1EME&#10;AZ52D7zk5wSMfWp8kNgpxjpnt700bQcIh4BON3Bz0pJckbpbFXT957dfwZCMAFeMAbucgHrnFDgn&#10;KrgsOQvU9O/rmpAm48hTkbQpGVHTOaGQBm2sdwPO7noMd+lD0akhxbndSWi2IwqAZ3DeVwwPG4dc&#10;mkYABSvK8Z9uccfkOtO24YcCRSDhuBnHRc/iTTkBZSvJDAuAAOMcVVk1zEtXb5l6eVrEPIAJbcQo&#10;3E9QfUfrTtufmAyTnJGcc9KlKFY2YBSCABg7scgnrUeGLYzgfeBY7cdc8UuZdF3DSMoqRGVzyx3A&#10;KAP9oikxjcc4BbJ4OD6U/GQCp+Xp0BI68/nTshmKt8y9d2QFPv7UN3a6g7SWq3tb5kJUHO4rwfv5&#10;O0jB4FKoCgEN977o7HvjFPKjjPBwQRweh4z9aAWGTgkbsLwBt7/lnNKWqRChZtX6kDAAMhOMpk8Z&#10;U56YoA4XqRnoRgN7j9ad8xAVsnAG0sMnA7cdOlJg8AZBGTu+8x56U4t8z/EpNNOPQReARk7fUthj&#10;g8Y9aUYJYg5wvJzweRSqAQwbk5AGBnrx1/zihcjcAOikDd2z05pW1sN8rs7bmzoN8+n6nbT7iqb9&#10;p5IBBxjOORX3Z4C1aNobfeqOuAQ2Mlt4UkbhzgAgjPQk8HNfn4pZXXLDdnIx29q+ovhP4g8+3SKS&#10;YiWH5C5f5iO3P+e9cuOpqpSulsb4Ko6dW1v66n6Q+DL+GRPJeXaGIkhB3IXJBGOhUEZHXn0r122Z&#10;XYybFj3RK8bMdhJJ+b5DxkALxnq3XJOfmjwNqCuUcnJCoFxJ03YH0OePfpX0fb+Q8du2UUTRYk3K&#10;Bv3AAjHTIB4PXkYr5SorNKO70/I+roVLRSa0dr/M6KGUMpUqXEMYx5KNIycfM7KfmzkEkgdemcgm&#10;W2tiuAu5fJHloTJ5nyrIUIIxuABAGeRjB6ZNQ2LRuqIY4muY0CMGQOMEYJJxkDPAAyffnAt+RG4d&#10;8OrgKiIiGQR4GGAAIZSD1OcD16451Fxikm79TeCu1CT2uzVtoflMzIhYkg5UPgsQ3BGGXscjjqOK&#10;z7lFacSow/eIXkYy+YuRkHHRuDtOecZIweCNaEvIkSSl2mAxK5YXBUbTt+Q5cHBYgnk5BBzithLX&#10;Trq38lxcQsymSNm2yKCBIOhRWXO8AnnGR944Fc8rwlzJf8DubqcXFylblX5o5G3CpINjMqyQttAO&#10;2MYzjBAz91x1GeT16VZjjRhIyxxCQKHdmLNGQTweFIycZ5xwD9DqvpUAVCWd3VcNJEBcfKozuGDu&#10;GOMgngdjxmC7tZBC8toJLhYn8osiglkYyEbjkZ2jZwRn8qHU2lL7xwcp2UtNf0umU/LZWaaR2hyo&#10;McSxhA67cseu3rjtnLc4xzdSOTf5QLRq21kjY+WDlimcdDja/PU7D34rHS7811O35SmyRQhVwV2q&#10;FDAYPRue/Hoa2Imlkjba7blJG7G4jnceQMcNIW/4FzwaiUorV+n9f11ISUXeW6ZpRNJvy7TDGVCs&#10;xVVOeWBwQcYOACOSCeprY0+5O4zEshRS27f5IALBdwIOM+5I464way7dWlmczXCyCaX97Ismww7i&#10;S7Ar82cYJGAODwc8W7e5dwpCODtLsSoDD5gqhmU5JPz547cZzxPJO15LfY3jTpuopJ/8P/w53OlX&#10;zGJNpw7szJkEsign7xGGJxz7e2AK9Bsb+OSMRiQrJLGVV/NaOV8g5bB9MgjjjA4I4PiqTMsakqsk&#10;ikJHsUO6sSeAD82CC5J55AzjOa7bR750EZm3RyHMbZfCuABsIDcZbPGMKdoweRUzSunH+tTb2kuV&#10;RpLVf8P+v4Holxp0U+Wf5EkyASgC4I/vA8Z7A5x6DGBxeveEFuIpCIUL+S5BUK5JK5DKCACct97s&#10;M9a7Kx1FZYI4xGZk3EyFl3uhCdAy56bc8e1dPbQ280QV5EZvL80sQVMvDYHIxksuD9DnHBrknCVR&#10;WW+n4HVCrJJOT0/K58N+PfgrZa5bTW13YpLHKzKGa0QGQ4cjcCx55PGSFywzzz+cnxZ/ZNu7eWfU&#10;PDkM0UqrlrVfnhk6vgcfJwehz0r9/Lvw7Dc52Rht6DfIGClueTnPGMduckGvOde+GsGo+aHttwUE&#10;SAKE/ug7R1yevHdemOKiE69Kop0ZWZ20alP2KpVNU31P5bNb8N634fuXttTsZbKRWKDzU4YA9enf&#10;rj0NQWGpSWpLbyAHCEE5Cj61+9PxP/Zd0TxPFOk2lo5ZWWOYqFmUhCxJY88YzgenHv8Amr8T/wBj&#10;/wAW+FzdX/h+CXUrRXLC38opPCwwdpPOTjnj/wDV62GzaE4ezxStfr01IWGk6rnhHqls/M8K0bxQ&#10;hjjE7BmBCxlM4Ge/45r0Wz1W3uY2A2s+4eXukCkZznOe3pXz3e6RqmiXT2mp2dzYzI20xSqVZGxn&#10;Iz9M+laNlrE8EhJkcEAjIbbyOeehq6+Ao4h+2o9v8j0sFmVWElh6+n5n0VBdfKxSQYD7Sd/BIB7f&#10;561oQXcbFiGBd2ICMcLnC559D6k145YeJ3XIZV+ZstjLKCeTkV1lvr8ACBzsDAMW5CtgZwc14tfB&#10;NpRa6/5H0dHFQ5Yuk7W/pHrkWoWscCqQFdz8qMdwz1AAx0xn8qIZZJHkmnKNFwYE5JQAEAYOefb1&#10;rh11KG6VFEm5YtrHICsOnTt06n1znvWhHeRqceaJIy4AUzfKDyeg7e9ePPDS5eWXQ9qhKNSMZqV7&#10;2+f9a3Ok1CbzVjkRWO0fZ5YUO5yDgdPYFQB2x9Qce4tvMMc5EjPGQsca5IQE5J5z06HOelRrcqw+&#10;V0CKN7tuDSSDGeD/AE6cVdnuzFEkm9GYbXOzlkwR8p9RwazjCcJWo7f0y6kuaPKtEv0/4IpeJ5EU&#10;sAqJlAM7MkAgE+47/Sso6eilJpdphbIaMYYkkkblHbowBHcDtVaG9ZJJXMe1pXJkVWyJuuefXn9T&#10;Vl54vJYYUSTRsYQ8gABGcIwz64HSt3Tq03yw6nLKvGVo1di5Jd7T5cEg8zzNwcDoCSBuz16H9amW&#10;aV3LSuG85g8jqdgTacE4HfGfyHpg8/DMZljeTy/mYL1yiNkEnbnPTOPrW4gRo5LeIHcH2lwx2qcA&#10;M344JA9z14qJRjbXQ6pfvGrbP9P+HNX+1Vg3WwP2iMqhDZLALxtwR6ggY/2R6Un2oaitxA6A5w9u&#10;5G1wecjPbGffrWFN/o437mlZCFZAflIAPzcdMe1W4nWFFuTNGIogYYUXG9OM7W7joeR371mqacbo&#10;lylSrWs3Z3XbszchaCJ0sRITcTBZZX3kPnOAOexxz+PQ12llPB9qYztlhEDGEVjG3QKPlycE45rk&#10;LW+014mmljMlxgJK7yBmjOAVwRnng8HtXTxXVqHaNIVKzwqBIGAltnJVlKnnHAQ+4Y1yYmKa1W6v&#10;+R24eKcJTsdFCY7iIOVwYFYKFI8zlevpyWxk9CuPepIZTb28sk8rSqs37mIuQwcbVLgkDPIGRjkA&#10;deKzPtkkU1uIFUQSqIZJCQiyHGOenXnJPoPrVSSV7m2+xQRz+YZw7XEhDFFDA49T26noneueEJOF&#10;9k+nodrp6eS6+tl+h1wvNljOslwHZpBLbpKxnk3MwJGT90AYG0ZHyD146m3njvbWVrqNxstV8kBc&#10;4dduPlxx823HoRya5WO2QshMAEhjDNFkLztOSx9sdR0J6nIFRrHeOJFx+6eASRStPiG4YsAFBGSO&#10;PXv045rOLbu9tiJNQmqbe+v9fcdXaXj21xH9kvp7cJF50oTMWNp3FQMjccduM7RXfaV8SPEmnvZL&#10;/bMl3ZM7r5d3YNJJbKWK/OFIA3Zz8vrnNeRadJ5TGeTLNHGsXkM7SNMwy3J4AycfTHavQ4pbaYlm&#10;jWF7WAsfMlVQ7nIKnoDnLAH9autKD5YJXZdKKjNvm0t/wT2vSfi5BLbkatouy4jb5763tdqCJvKH&#10;lN82cNgMVIJORlq7fQ/ir4FuNRaSSe/juGJUiCxmmg6DO8heo24yMAnI7V4HcRab/YVtMJootRkd&#10;ZTbvB5weRQeCPdsEc4GepxXO3EE0SyahfQX0wlmFuq2sKbCY0A3hhgbADtCrkqOx4AxcYwnyz6bH&#10;RTrVKcnyS1er/D/gn3O/jrwiYUit9VtbSORAxeZf7PliznZKdyg5bcqjpxnjhTW8scXiew1K1S+i&#10;vUv7Q6bcahp115E7khQIhIAW5WQ7cbevQHJr4S+1yxNZmFksReb3S4iu2i1m6CqV2tIV2kYTGxcE&#10;qT15Is6Y187G5tHdLueQi8n+2rCnl/LsV5lbdwSOuP4OvIqHaKbg3f8AyOl4mpdVaq1/4Y/Qfwp4&#10;egttMfRrmF/IMEcV0l8gvLSUZPy+YwPOVYk8HgcAEV2lh4evIBNYwjSLGztkKQpHblgA4VjviIAO&#10;Dk8E8ue/X85B8SPEmlQBrfxVrFo1swkNqs6Xdpa+WVIchx3zu2kcknOcmuk8PftA+P7KWO6tdXtt&#10;U09WBnv9ZtoEjDLkEuNiylVH8C7Qd5yMjNXUpuq4zhKy6+Wn+ZdPHKOsqb76L5dfkffWq6NdXC6M&#10;sV5axtETE32m3VLuVSjFkhOcIThWyMlgpA94pvDscNu88AuLkxMZLmbz3upoQQrboYCG3EKNoJU7&#10;tw5OBj5Fsf2kvFJiFxqv/CJ6mNrMGjsZLaKFmBU7wZGPTJwpCj5eDmvSNC/ahYRmE+G9Pv8AyrfC&#10;6jBqL6lc8qynmQJ5a4OBt3FV4VuABio1rud/+GNpVac1blcYv8/8j6rtljVILm5tEELRL/ZzSxbZ&#10;UDKrhQrDIOD0OPmPJpbl7NDLAtnu1aSUYeFWEMiLkbXfado+ZOg4APBNfJ6ftRXMK6fHLp+jafBF&#10;J9njk1YpdxkqMKzMZeuCAx24B28ZAY8/dftK+ILqRrfR7fwxFZLE9ul9atDpVovzk5UuWeQnGSBj&#10;qOe1NqUoXb1fftoaxxDpqyi3bsfctnbWypHNHbxwQvAZ/Pt13oWDMGyBgt1Rc9fUDiqTWdlPLb3k&#10;enxi5SZxBeXSN9qiVh5f7sbtq7jGeWBOCw7g1+dcHx/+IOr3l02m+K9etdPtvk+yWumWtrbsEDLl&#10;HCGRgdoYCQjA4wMYLrb4i+PPEFpPDP4q1yXU5Wcpc37O1vBEGAELYcJjBdwOMnaO2a5qqhHWT7af&#10;ed1Go6jVOEGn5/qfobqmo6JYvcz3WowW7ENFNBLqOxs/dVGjJyOAQcAZyck4GPIfEvx98G6Yx0/S&#10;rbXfEOr2czhBpkPkWMWBhZHmkKq6qN7MFyQAMZydvx1Npeo3Xl3eu67E6Ptx5VsVuLs5JY4jUkcF&#10;gSxxzjnoHJoum6jGbK0Wez062AmF7LO6i4ZlXBEu7O3IGMkDAIxjGOd1rWcd1t38/wBD0nQqStTc&#10;9V/KtPyPRfFPxu8deJn+zWfiGbRUaR4JtP0SKOG7njAZSGkYuQGBIyChJBI4Kmues4Jkmluob28u&#10;dSCqLpr67e5vZS7BgWkfPcoTkkk4OOeHeHfBumoyLHKturkOUhieaack43SyY2ZO/oCox74z7PpP&#10;hlba6nm1a1aNIi7W0rQJKQwDeWCqsUO8qOcnAHqAK5MTilOV1pY76eVRirW5ubf1/rY8+8HeG7Jb&#10;7yUSdpy5ubkSWw/0ghVZF81gMjlgSvUKcnPX3zRPBt3cS2V1Na21v5UrSbjb+YAFDpgZOBnJHHOV&#10;BxjaTFP4ahnEV6mmWDvpwRbeK5Zjkr86bkBwjqVAU4yv6j2LwpHePFZi3tIo7eCd0lW4uAqEGM5y&#10;cZyWYHvyeOmT59Su4tqO1vxO2nl86L5200uhraJZxRRSxMkctzOhYQbOJMk4AGOnbj3HQ5r6R0C3&#10;s9R062eS1McEap5drBIxmkdNplYORgElCDgHAB4PGfLLbSraRYdbllMM9sssMUdjJlY0KtgM+FBy&#10;FjU5GR5mR059U0tluPsCXF42lLHbTXNvKqm7mIjgZ4IVEfV5nSKLqApdiSoQiudUIqCTV0zOVGnU&#10;cZc1nrt+h6Bc3dhpunR208sKNJOksULKTJJvAyz8ngZAJ64PAPFNi19r0RWOnWDT3ES/ZrmZowFt&#10;1baYVi2525wRzyRjAHNcTPeQST3EV7C5mupdnktIGeQAjjzAAVQAKAM5wuec8d5okJ8PzILe5SKW&#10;5iin2W2JLa2cxg88Z+XknAOSB65qafLB+6jSrhqqjFJ3l59duxhvorC8msdUikNmlst89vkSvcvJ&#10;JMphRAhPyhIzh9xJkXn07rSdLu5JUsYpJtPnIjnWaa32GONDj92M54AHQcnscc3PDSX2nava63c3&#10;MtxqbX3madcOUzG4dWMiKVIZlG7gjqc54Ne26L4QF7eC5Ek0c964AS8VJ7p0ydkYIGCcNg4IG4nA&#10;I5rrUIJ2ju/0MUqkJKNZ+61+PU6fwP4ajubuF5V8uGDFsgf522bQJHJ6Hd1479+lfVWipFY3FhZX&#10;E0kdjfSQR6hdWy7ri3hL/OsecjKqQAOmQPoMX4eeEoLW5s7LUUVba28v7THMoBhjLjeqrzzjPH15&#10;HUeh60dGiSxtIgFnE4dRtMjNjaqKSBkBUDE/w5JJ7munklHllf5P5fmaYdU5V3TlFvTRromtH6q3&#10;5FTxVFY20l4vhxbmTTZ0EdjPfERXMCSPGCHG7A3As2VJzhTnk1y8OnQQQx2QKTySf6Q+xzt34Jzn&#10;GccknvkjgEcv1S/+26dPc5UpFOrCdjt3hUCRqDx/CMdOFH41X0iIi5tp2Z3SSydiz5wuWwFz7hQO&#10;n4HFYYmMalXm6Hv4XDvDYZRnJtxVrvVtpLdn5Hf8FFm/4SOTStMEccsNhpjqsflrhN4VDgEjOBGA&#10;T2OPav5dvjh4Jlh1TUNsaukatJGFUEqSzbQPbnP1PvX9U37aumwjUby4LrIzW+PL8wNJGfmJwAeB&#10;8yjj06g1+BHx08M2lzcGaK3YIA0b5AWN2BI3DkYyDjBH8Pvissrryo4hybau9fwPZrYLD4jAxstL&#10;afifkBo89/4P8TW2p2pMJtLgNIFyAeowT68d6/c79l74g2+u6NptzHOGJVWEjPkK2MkcY6Enjpz7&#10;8/j58QvDAsLqZ1h8seYWcgnb2G0cYz93r69K+p/2MfHS6fqdx4Zup9joyXFsrSBAzBiCOe2M9/ev&#10;uMxccwy5Th8at93/AAD84y2k8szSWFnpTk3/AOBf8E/o88Aa2m21RpfMUgAKzcdDnnHBDHgL9fUV&#10;92eC74vYKQS/7r5o1IbPy5H688EYAPrX5hfDTU2nGnyboyoCqrsFZxztZSeuTnj1xnnAx+gfgLUt&#10;sGwSDLLnDtlVVRtA259Q3TjAHrmvh7TU3JeX3n0mLjy0edbnvLWBuo2lDEk5ZtnOQATkgDtzx+WB&#10;xVD7K1vMm8J5ZYqzSI2zjIzxz154/vHFbmhXkUkYVypZyHLOQ+1iQCfryc55Oa6O602KZFcBSEiE&#10;jhV3KoBHToepx2yR1q4051F7SO9jxo1ZUpcvQyrKRZ4MFNmQNxYgEZO3GTkdZFz16jnubGZLYjyw&#10;F/eCQBhvAA4OD2zk9ue3cjLVHspGQgMA2Mrl9wHrnqcgH69q00ud+DkbQylsYaL5SeAvTgkngHI6&#10;ZNCjH4lvZGnutc3Q3rbUF8tgwEali0i53hiMbjxkYO1fQ/u/QkG4+ZQqqueR9xQW+XBJGeenHTv0&#10;rnI9sfCuwYNycDDhSBwO+Mt+RPpWrFcgukLuGK8jcxZuAAFLfgDx3PStoyc0lLc5JJKV0T2l09nJ&#10;hRtHCFSclsn5j9TtXt1XntXVWmqqLiB4wjkuqBmLEj02noPmwMdO/WuUnZCoK7QRnLDpjGM98ndz&#10;gevbFV7aZoZij5EQRXfcvCAHeTk9zt/pzW0as6T93YidKFWN3ufVPgrXorrbESnmbiQ6syg5xn2z&#10;jqeeh+h+iNIvlGImwwY4JwFBAweef9nsfWvgjQ9XmsZ0eG4dXXJYKcKf9k46H9Pzr6j8EeIBfLEj&#10;yHeoUFCcMAQNvoMentX1uVYl1ElJanwGf5aknOO34n0nY35LbkZCFG1Ii2QAi5Py5yBgemPfrjN1&#10;3w7beJLf91tW6U7kljfDgj3x9O/I4+vLG4aNojHK6En5QQ2OV7OeCQGbgDPfjt0WhaxKZGIZyqnK&#10;q33uSM+44B/ya+qjVp1l7CaumfnNXB1aDeKwrs1/VmN8I+K9R8KXp0nVGlUbglqzMpBAzl/XHXOT&#10;+HFe4a5pdj4v0576xUR3m3LITgzj5RzjgnAA5zxjmvPdX8I23iGz3spiuyqvDMmEKlgMYPUZDDt0&#10;PpWR4N8Raj4a1BdI1XcWTCJPISVlUtgHnrnrgdMdulejhpzox+qYtXoy2fbt6HzmPw1PMW80yt8u&#10;Mp6yS+1tf1PPdVtbjSr4MgMYEpViVKrhSMgjt8uT65I710Oh+K7gPEDtw5yMna3y4JB5+vpXsvi3&#10;wpaeJdOfVtMjEl0VLTQqBtdflOFHHPUjPr0r5o1SwuNNnMiqylHXaxO7/V5HzcDgAbfm6YFedicP&#10;icure78L1TPZyzMsLneFdOrH94tHF7p9T6e0DxCt2kSyHbwN3O4L07dxkDj2r1Cx1AN82S+4bgUb&#10;eDwAD+nTrye9fH3hvxBEkqrNK4lKAAE+WOAMjZ04xj8sdcV7/outI9vA0jhyW68ZZuCoAPvg5/2j&#10;7V9FlOZy5VzPU+J4l4eVGfPSjoz12PEiGJgsisBvR+VwVIxgjkEjofU89q/kl/4Lr/8ABIvTdY0f&#10;xJ+1t8B/D8hu7Zn1T4n+ENKtnmLBiWfUraIZCgMS0o4UDJ4xhv6v7K/WWIFgF24kOCDgYz19evTp&#10;gVqXNtY6tZXWn39tb3tle2rW17Z3SLNBcxSgoySIeCrAupB4OCMV9nGcMRFSg/eW3+TPzu1XB1Xz&#10;L3ep/joazptxpd5NbvC6vC/yQSRmHPGOUOOmO+CMnJPGOVuHIaV1YRFvmddzEsQCCu/PA57c8Dkn&#10;5q/sU/4La/8ABG+z+G9rq/7SP7OPhO6vfCV1em98a+GNOTefB5ZsmW3iRMvA7leOPLAPIHNfyFa9&#10;p32a5Mbr8ykhFHBYYA6468k9ea0hKU2lL4lo19x6KnTq0k47/wBa/mY9jqN2m22ZdqTEEZ48zJLF&#10;s8deffI5rdXLzne/mlSGLHIIYjGQcc/eIPuD6VzFxFGtuhjlAkWDzSQQeeSpB65wwHHcimafeT29&#10;oGEcmBId7g5kZQylgcn249C2ecAHZ6NFSjKMtGrPVf5HaPB/ocjo/wA7NuERJO4rnAxnBwHxnHQ+&#10;9Zsq/umcLtJj8scjbGclh6dORnOAG56Vct5VkhYhssFUyhSECEgnHPJ7Dj0HOBgwx3MUgkVUaQoW&#10;DBwCpUHC8euOMdc9KuMVKN3qri57zts1f5rRfkZckErCF9hWPYy8MTnJ4BJ59RVVlaSU+YVNvCdx&#10;DHKo2AGHTPZQfYVdu7jJTYrgKSNoKkE4GWYHg5yceh9M1DJGdpLZy6eaVLeXyQFJ9unXjI59KlN/&#10;EtBRkuZ323/r7jPnmnypQgjcY1jUhuuOhI5OATn0HapF3KyBAcsoZwcMoOFGD2Azz+Bpi5ZfN+di&#10;ckxlyoYMQ7AdQfmA4/2OnGKsuCBK5GGSISbASXVsg4x0GASOtXHmjr0/4YI8uiT23/r8x7Xtw1w+&#10;RiTJUM5JyWBVhtPXIP15H4a0F7CqRwz4dwCEUFsdjz36H2rEtztV2fc0jOFYlMsox37jA29qt3cE&#10;DRxn77+VtII2L9COMYBwOvIFNcy1Ww4xg21Lpa66f1qb1ncQR3BIcqQDtKOceh6D3Y9a14rwJMBI&#10;yGB8R7irHJOCOSeCME4z3PXFcTaFpGLfvUbzXb5kKo+MHgnqMPjrmtua4VHXOzZ0RgB+7BIyTnvg&#10;YJ456VMlG6a+f4E+0UbJPv8AnqdVLIHlJifYxffHIGC7gPmDc8lsED6celMuI4rjDrnzRKVAXhcE&#10;qMAevXJ9D7ZrES+gIGJQPkO8x4Zgv3d3XuVHHHI602O5C3TTfMyuxkVQxXON2ADnOME4PripUG3f&#10;p/wxSqNwbgrt2X3HSeRLGNqAeagWRGwSpBO7GOh445zwDWal5fpIMOVbYFUE7Q5X5SOT6YJz16n1&#10;qQXNzK6tExVBGq7s5BUBcAe44+m78pdQjKR+Yo/eMhLqTmUH8Py9RzxWfJDlcf66GzrKEW3o1p/X&#10;+Z2WjePta0qRoILyRRA5VmZmQEjI78g5zyeeecYwPZfDvx6v7N4o7xTMdjBmdcOgyp2DByQTGCDk&#10;ckduK+VjDM7qXV90j4LFtrMWOQee4O0n15HHa5CzLOBtcdW4yFXPQ8+5b24rx8VkOV46nJYikm/x&#10;/A78BnWOoKPsqrV9dfmfot4d+Mek38LT3MywzRvmJyoBkwqsCvPB+Z1z0GBXq+l+KNL1QBLS+hR2&#10;jZiIzulOV68ZPIZAeMAnnHUflbZX8yRzRu86LGVBYN8y88Z68Z59wa6TSPHGu6OXktr6WUPGo2k7&#10;tjAqyAN1B4x6EHpXxGZeHeGm+fLpWfZn12A43qRUfrkbra/nsfqULpJkLqQqMhGCxZCd3mLgnngn&#10;k5zxyaiSTexQxiQkgDnAJ3Hbz2POQfevhfRvj1qGm24+3jzcojIBkiPHBzgnGRuOBycr26exeHfj&#10;louoIGmmjikkO1tuCYsFOeTnIw3HIx3BGT8Pj+Ds1wcW3C8b9D6/C8Q5Zi6qjGVpPofRREbYVlQI&#10;FLgKAi7t4bLZ6kHDeop3mOxJZSxLg5wWKZIwPU5J9/unpxnhtM8b6Nqqkx3sO4rkBpBl+wx9Qdx9&#10;K6WHV7WYrLDOMh8JtKykENkAqc5B245GOfxr5mtg61F2nFprqe1TxVKsv3czT3BkTYSzlg+fLD9O&#10;hxjt/npUYZBISgV1M4PzAkYJXcvpjCD/AL7PXApsE0U4SPgbQsceCFddpLdfclj/AJxUgjxIfMdV&#10;TAX5SBKSSBnbnB+vfJ57VhH91NX30N1GUoxqSel7CP5qlVGCCoCs4xv4BX9M/wDfI9RQJJRIjhAH&#10;kJCsynaxXByGJwOvfH14qPJlCgOczRbEk4K4ZflbHY/N068VOA0k7DBZI0PJ+QtzkL7Hkn146Uay&#10;u+wO7bfy9Bsb5YgbVUtyCPLVc5Y5HTuG59RTm3KxIcrhSFVySzrkgH8cgjvgfSkQsr72BiZR+8Zd&#10;qknAGDzkYx1+n1p7s+7KyhGYoAiuFVl3A7c9cEDBz2J6dpejaexUudwU4brfy1I/LDIxG75mONoy&#10;NwPIHqBn1zUIwG8tirNjqWwBnK89hySccdu+KmIJkxlg6ZCqCP3mcE5HXIweT2NKGQuN6EMuQMsC&#10;R8uQDnjGV5HXkHnGKSnNx5nt+pnyt37r8XfUhKqARIclkCIwBCZAbLdcDhuoAPFNQeXulKrwSAA4&#10;DMCeRn259O1SBgqtJkhlj2vu+ZmIP3QpOOnce34V/Mw4OCAy4Kb8qpBwWIz6kA9M/Xq7zkm1oapN&#10;xu3v/X5kipFtBVVKkZB25/Dp26fhRUDySMzFYRtB2g7GbOOM9O+M47ZxRQ8Rrr/Wxgqcratfh/mc&#10;Umd27ZgLtRflyWA8zPG0+qnPHuKcwjQMCrEJPgS45Ik6EnA53hgvJPOAOQAgeEsEYspO51AZjjC9&#10;PmJONo/+vRG28BUSONWJjOScYLk8FugO7aO2O5BqYNqS5non/kZOKd4rq/8AIWQLmM87Y1aBlZC/&#10;lhiWLZPUnfN2BHrSAgBTGgXbuXbjdlSCu7OM5BxgDHJJ5xilk3MkxVt0jq+GZSJdygbmBOQOq/XB&#10;xgGmFAynzGAIl+dDIWQ9TgsMeijJ7senfVNc2/ujlNU2pPrf/hgZWw0u1SHJVBjZhhwfyZT+R4zU&#10;ahTtJjyygsQ+8YAYqWCnjJwDnnAZcEGrLR7ouJRwSS+D1C4CEEYKgBjz/hUKkHcg80lVYF3I3Yz0&#10;9+oHccHoeq5pe83t/X6kKMr8zWhHIUAVZM8kOJHDBl+Y5DDtzyT383rxQk3mxMFXDcsJSVmlwFOC&#10;WwW5IcgjGc+gFSqiFUGQp88snzZYjaNwz2x2GOeTn1Qq4k+aMt5n7tI1/eg9doxx1LDvjqOORSpu&#10;Vorqv1HHmUotPR/1/XoMjKSrE5ygChlzkozKFxj1bPXPQkexMbopRWUsQP45sjeB3PHIAyR/k06F&#10;kbepRTuIQA8luNv655P+0R35nwuEVEGCpcCRwASGVG3HA4zux7FccAVFSN52TfKtvU0UZv3Wtb/5&#10;FeVEV0DCQCNkxG6kuowApI75BH5j2oPR/MWTzVUuI8Fyg6kg5LHjOPpUYMCowBzJsZOQB5o+QnBJ&#10;GCSo6gcZ5AyKgmuI0VkMoRm+YCRQwACMcA9gOeDnvzVct2ov+tQnKKfufEt/yLnnGMsrEYaTzVjb&#10;5QGL4OcAAEHJwRk9c4wKaJESQ70IYkwtExVQWG75Rk8AAsM9inevH/H3xg8HeD7T7VfavZ26+eUe&#10;HzA8m0FSwx1J2lhwTyCT7/IvjH9u3w3ZwyWmiWtzfTBdiMr+THOAoA3jBOM5+X/ZHOOvtYDh7M8w&#10;SeHpNrva3Y8fMM7wGBk4Yqsr2Xz6W0+8/RTz5IoyPMVjGoaM7FWJSygFSe/Ksc8YyOOKrXOu6Zab&#10;TcXcaE4cGYhVQYPJOf8AZXA4AG73J/F/xP8AtwfEHVoLm10uK3023lyyPGu+VVySAD1GMnGCOMeg&#10;rxHV/wBoT4j64jLea5dOzN94swbkcAEdAABX1OE8Pc3qyc8VJRvbtfXc+bxHiFltLXDwcml8unfX&#10;XXU/fW78XaRbtvF7aGJ0Zw0U+4upO/KjGWAwxAzjKnIOafP410SG2mvvtsbWsJ80MZwI1+Y7AckY&#10;P71j05zkHrj+eJviz46vAA+v6idsYTCXTK6c/wAJB4B9Af5mmS/Erxe0M9u2v38kM2GaP7U2zH0H&#10;1/WvYp+GsoVLyrf8MeWvECFueNL4td/67H74at8ZfAvh+x/tGTXdPW3G+IbLpXmVcMD8hy3JVew4&#10;x0615Jqv7Xnw0sxI8Wq21ysfzAooKhsZJcLnPXuOcE1+H954k1K6Qw3GoXE6DK/v52YEnBycnjoP&#10;yrKm1BgVDO+zaFY7iTx2FduH8N8C054mo2/Ky06HDW8QsdU1pUoqMeut79ep+mnxH/bkaWWaLwrD&#10;IUKlDcSORGwbcCFGST1zz69818YeLvjz8Q/F7yNf63dFHc7YVZlc5Yk85B6k9fWvDpboFlG0FFOw&#10;MD05HQVC90NxRSw5+VmbB4OeOfevrcv4YynLLPD0k3oruzZ83mXEma5i069Wy10WnbzL97qN3dyS&#10;S3MsryN83zNlycY5PNUYJI2beQ7qFGVHHGRnNQyTMWJVSFY7iyknd0yf51VaSUFtp8s7cbl4JHcf&#10;lXuqFlZKx4Lqy5+fdlyVoyr71GEk+V+enOOf89KhW6AQqsILMfmYAFQB39qhaX9yIgmQz7mGD8nB&#10;z9KiDKnz4RV4BzyW6ZA44qrJQtbt+hnFJe/Lb/gisSxOAcJ8uWGGHIIP6UzbuJYdhlty8t1/w/lS&#10;tgMm3kMcZJ4BA5wPTp+VRy43AHO1WIVgcDkDPH5fnVJaqNyL2XMu/wCDGuScL8oymABz9aUKx4Xb&#10;8vAY/Nj/APWKcyKwBUpuXaQGySwI9KcAoIJHAGHUfdOQf8KVuWwuXkhzoYVJ3E9cbz5i4HfJA6da&#10;YQCoXvvB5GWwR2NSbXfAbgZxwemB0/Tio9oyhweAMEnBAyR/n6miUd1cuDSpqy3v+hEwcAlSRGR8&#10;3cgelUJmAJY9jgFRk/0rRdQQ3JXjHBPJzn9cVmTqfmIADkZAJ6nkH+VUrW1M5c61/raxesJi48tV&#10;yC2N2cMw65x9K2ZiZNhf5n28hV2qvJ/xrn9PcCQIEAJIByRyc+x/zmuhUHkEADJJAB3euP0/Sqdt&#10;JRHSXNG09v8AhrFQjeh3EErxnHA6kfj71C5BIA+/93OBkjJ4qwxG7pwFO456HjHFRMoZlyq46bwM&#10;c5+lJWb1L5kpWe/QYQuSWZ/kIHTAHY/hTCck5x1yCP4vT+tTEbtyhTnGDyB1OaUpggEcqSAwbIYH&#10;kk47jFCtF3vcmMZSnyx2ZXwclh1HygKOnGKVlOVAUPJ1ABPbk05kTO5CuQ2ATz+J4pcYYcdVGVHC&#10;sSRn+tNt25eg07VGnuQsxBx1y2T8oIbnp6//AKqUKxBAK7nOSSOnXGMf55pGCsxx6nGDyvX1qXDK&#10;gK5YgAZ7gen0NOSV7IdKXs7udmim5yflHzbctn/PtSFM4JzkjBGMf5xUqsCCQOi4GG685x/npTQR&#10;uLAvknC+meh5/wAaUW9U9jO8VaSRH8q5UFckjLZwWwSD/wDq9qQq2STgDOD2LDqKeiKzYUkY4AOS&#10;R1xx+VL5Ubk/dGcFsng46fr2pNtNRC/vORH8nBGMFjg4JUE9vX0pCoG4RleF28joetTgBiCCSQxx&#10;kYUgE8/59KiG0MRuwHLBSee+D+FCk7e70G27RclvsM2qUUHj+Hvk9+fyobCvgADcAcAfL9P1qZht&#10;UnB7EY55zUSABzvJYkdyWK+1VdyRE2/d5epGcsuQMZAOCOSMAcGgjIYZHGN2BxjJqUqiNsYErgEn&#10;tn1/lQylC2AMYxkHJ+9mle6sW07819f6ZG2GGOMjnJHJ47fpTT1JJBAXOCuOvf8AXNTMApIJP0OC&#10;Qcc/zFRBQu4AE7jwOS3c8fnSd2K6Sut7/wBfoRcsSCxDAAAEYwBkf4U90Me3cwYunBQZCnOOaQLh&#10;mJI6Hg8jPH9aUxnbknLd8nnj/JovHmSM0pt6Ihx8uSFByMYzuHHNOKgOQfr0z34pSo6YDBiD1wR+&#10;NKRncEXjGQxJOe2B+dGlmOKcXGUiIjdtOBlSWJ57Adq73wHrLabq8McjqtvO2w5JA5HB6j/JrhgS&#10;CFGFIyQDx24p0UhhnjmUuGjdSGzgE5z+VEeWScZbMWqSa0f57H6e+BtYPlRMJDuKlY2VljVtnzcE&#10;8E49eeCO9fWPh2/8+3MTBSyRIpXzfKkfpuZkyQRk4yOuByOlfnR8KPExv7K1ZpWWSPEcvOA7Ack4&#10;4r7b8Ja+o8pN4BlRVeIpjrnOQRg8rxg/xg/3hXymPpzhWcEtf0PrMHiKdSN3tZWPdLEYdmYsyOyj&#10;cYlPmJgs/XLD5WGF5B3duM9Ikix26zrghRtl2xFywAHOD8wx6nOOME8Y5bT7tWjwViaZYOAFYEBh&#10;kqA3PUhSFOO4IFdFajLOiq08Msgh8pG86FSdvykdR1GPqK85cqle2i/yR3+8o8sNfu8jYgcukZ5J&#10;UfM6KrDkfdJJ3jgHgZ6fTFzzEMaFTK/2gERBnY42DBwAodeB06Yx1yc50YgV1CorGF/LAUi4Lqdo&#10;B3HkA4zx14Oc8iS/W7js1uYgZIfO2ERnzWjYjLlQAGH3cd+MHOaxnJwn72zZdGKm5O1tf60NhRJv&#10;jlIWZeGZwuAVBB5K7SCDjhgOR3OK0LUwSWzIPMeaRNhlYrNnOPlMgAOPvkkjnAyOMjn9PvXlhRpU&#10;VpVl2vL5e9mBJK7pAMrwcYY/w5LHqNWERiVIIyis0ZJZ1Erxjg8yqM5yehGDkZBxUz+JQTvtbtpu&#10;dMIyvzyte3+RJe6NpyiWe2dg2VjkzIZEILAEqUB5OWYA9CFHPNU2hjdIpI9+5kMrmNhLFyAVwQQw&#10;OSwIx/d5PIGkhYLKhLNvjJd2XzI04ZBggAnkKx3A8P7bajaFpDPMA07B986jZL5bb1BC4AfLFh1J&#10;7Yx3zcVCUo/Py1FKalJW32+TXQjtoo5dwdSjISwQMHjRX5XO4Ag/NkHIGB68i2IEXaFIDSqI7cbC&#10;rMQ4Rmbce+4YAJyWPYEEiaQKVdo2KnDK7BC+WfKjcowAQPlBx0471Zh3BoJI3VWGQA0gtU3EERjD&#10;ZX72DjPVR1GRUzjJSTbsVCVoJw3QQxMXUyIWLr5pDPz3O5txxkYJ65APOOca6Rygs4aQPuMgMTMg&#10;GNvXGR0HOewPNVQMxysQUBCNhP4GLOxYKOP4l5wM9xjGLMJVWYcZxgpGRcOduNwO3acH5uQABjGC&#10;ac7xil1HSqym1OWn9L8jqLDUBEFMvmkNIZUZstuB+UnjGfudu+cdyPSNM1GRnijyzquEfbMVyRwc&#10;blyeijA67u1eP20bKUkbbMWYkMfvKccnkdSM9+oHqK6zTbx4zg5EfK8Z2h88sAePmG/kHBwvNZJS&#10;3a0/y/q5dOL5FO+l/v10Pd7MpdIiKh2B1faI1LJwQTnI459f6Y6aOziYqB5QxGBIWRouRgEkEccA&#10;gDJPQd68l0fVNgfdsfLnaI9xduRhSynkYGeg5r0DTNX+eNTIhQZjUmZ4lgyQWO1gRwqnPc45PFRy&#10;xjFwlte5alK92dTJ4Ys71XkaCNC7DagP+tLBiQMdwAc1w+u/CPS9T3q1nGwY+UHaLeQrcjcCMgfL&#10;xnBwMcYr1PTrxZxFGxaMA7gMxytwAAQFOD1+uW6dK7CzMUzSRxhXC8h/IMSE7QeOxz8xwD2PTFcr&#10;oqS1/rQ7YT5XFqWtj8uvix+xr4O8Ywzw3eixJMAzJdW8YjuIcgEkFQST8ueTnjuAMflt8Uf2EfiB&#10;4Wnnu/CwfWrdpSkVrcfu74puOFQAfOenygZ5PJ5r+pqXRLK7IEiIMqxUv+6kB5UNg89+vIIIzkcH&#10;htd+Hljq8kkT26SBkUYYDLbxnsMZIzx/M5zEJ1qFTmoTsu3S3oejRx37v2NeKa9NfvP4ydV0DXPD&#10;l9PY6xpl7p9xFIUliuoWhKlcYPuPmzSwak/lkEYXjLBtw6gYz+Ff1DfFL9kLwR45t5k1HQ7aVSPL&#10;R0tlMw5YnY5UkAZJHUDJOOufy5+L3/BOzU7A3954Cu/LjhDyw6VfZYqoIO0ShFHAPXHOe2MV1rNF&#10;JcmIjq+q+XQ9CEac3GVCey2fc/NS21x4nIBJQptC5xjByff1H410UGt7oEIfCu27GBhiVxn19ePp&#10;Vfxn8K/HXgG8a08SeHr+wkjcKJ3gZ7SQknhZQNpPHQHPt1rjUkYEkqAQ5BXOfTkf59K2iqFen7Sk&#10;1I6adTEUaiT6fr1R6jZarFHCEEuQzbS6rnHpnp7VsxanG8cvCRhsMFfIdRngHnj+teS298AVEm9I&#10;15OCcHjJB98dvetM6mnlqwIdHcozk5Prjp+NcdbCdLanq0sVSlTTlL1/r53O+kut2xyzEBwhCsNp&#10;ByCMdD649e9V5Znk8qaWcBOqA8IcMQD05JxXKx3olwGYqsnKfNxnr9ehqSS5DFVLeY8T4BkYkDBJ&#10;GQPx/Ks1h2nGzeg5yVROVNXsuvyO0t76JWkRpDtb5W3N82c5H/66vWep+WWXzGIOcMx2HI4HPp/h&#10;XENMN6SHB3Aq2FwMjcwA547MM9ie9SC6K7ZkXcIn3uh68gfn07+nNTKjBRt1Z0Un77ls76HcNqUh&#10;SV3+Z2UEHOR3HT6kgnvT3u4kt44wY0Lkl5fL3ALkYUc9SBjjoAK5WK9aMSIX8tHQksxHIIyRn8xV&#10;iGZGhWNm5QAE7iCMNz256Y/pXN7BRtdbG7ftFKnLQ7CF3bcLaMhfJ2oWUcA/3sHjj+nWugtL1VKx&#10;XUTGZYVjzGwB4AK9/wC6AOhrhYtRa2xGGKE4L4jJzySASfbqPYd66KFkuI2eN8zHASdWzuI7Z/Cs&#10;K1FaKatf8juwceVNN6/5Hb297dzNHAYWkt1k27hhIW6gEgc/NkAjrk10sF08F21v5sYkddoj53qc&#10;YG7qOfmwT6YrzOw1C4tSUieTYFYYaMY3YJH17fj9a17LUZ5bnT7m7ZYmR2TDr/rSMYG3ueAfwB71&#10;wTpNLljsuvqdrlJpzd7PT7rfmerw3kSOFuWkikEClmTMbSMSMD23Bs9PXua2YpreeG2tmt0jtXJi&#10;IX5AeqKyt3xlfrjv34p1hnLzmUzfMrLIN2zJGxgwz0wo456dTW5DPaELcytLOllx5ZX/AFoIzjOA&#10;T6YyBj6151qi922l9T040aTo3ejsnf0RdjlSydorPE8SYeSWQ58s5IUpnBIwO/8AdP0ro7e9uLm4&#10;eCS1a3ke3Ds7udlyA7EHGCQCuRj1BJ61gxWYt4rh1HnSTqZbaFyWZxuQJGRjA++zA9D8vHHHYafL&#10;BLbLf3TLGEthGqXsnlorgbVC9xzlgD1LHgFs03L92osTpum1Kavf/gfo7lqO5u59WtLtoxDbPZM6&#10;wtIHd1xIudpHH3WQHH3gCOq1raKsUnn3t59pSDerfZ7hnZo2PABA4BYDP4E89Dh2isj28sMQLzEy&#10;vEx2eUSd+M5wFySARxkHmtqTWJJkee3glWGORoUWU5TIYr5uMe2cehA+mVWcZrkfU1+q0aEuakm1&#10;v069Dr7K0adZLh7W0ijniWSzHmGcGMkF3I+8DgZKgfQYrPni06G3S7UX4jhkMn2LT5WVDyqcJlNx&#10;JCMufu7FP8O4bVleQSPFGZxHcNaIkLwHeuRxnbjg9SSDjnJ6c6Gj2mnxWs0U1wtzcR30nmXBQ+QG&#10;UA7yec4KDDfQjJbmFFwbbV9tTplTozpezd77W7I5C30HSJ/tOrTyTJBcndP55CyR8sUUgDCjoCDk&#10;4Bx6VYtNIVLdZLmzR7SWcx28otxJ5WZC6F2H3iQSCp5+b256qPRxdyRoFtmtzdGK1SJxCgViSsrt&#10;jlVJK5Jzh2AxkEXUtf7HmktLWO6uobeJpp7+eZLmBpGYBUDEld24Mdu0keWwzWcb1G09LW+e2h6F&#10;GlCmvZp7v7v+CcxeaBpFpp8Mdtp1zPPPtQoFlkYLG2SQCcgEP94k5Ix1poOlpf3NiskcTwRrDdad&#10;pwFzdW4dS6I7ZBDMDH949Gz3xXewW2qPcRzRWB1TbZBvMmvUtY4xtO5iOpzlQCgJJbOPTRsNI0XS&#10;4by8u7TTxqIeMXN3dTyJcTyFHd3B5BAMfzDPyhhjODiZNRXua36ev9aFxoucU6vTW3zVv0PL5/CG&#10;m6lOIoLK9S5huFWKF2jQSKUYtI7dVIOwKpB6sTjoW3OgXGkW7LB4KTWL5mERS31E2/k7n2PnCA7Q&#10;ZCQqEMWYDgdfWTL9jtpJdXvb2dp5DJFeQKVikVlcDCp855DEKBvI6AmnaSdLeS2tkub5ZUTelqkT&#10;QzPGCq/vGZSPmPRT0IHHas+b2acnpfT7kOFN17UWnbb72cx4b8I6lqUqrqNza6Hb+UGk0mwjJikO&#10;1VVWZVLHHlsxzzkZwA2T28thpjwz6VY2kt1NFMto7WbPIzyAKziRcFR0QYVdzBuCTzWvbpcW9rd3&#10;EMX2W4upNkD6nCF5XZueEcnBVyAW2k7+4PNnS7i/t57i3m1vSS8Tl44zNNDbhGwVbysAsy7jnCkZ&#10;VscdeSc4SftX+J6VLDzpStLSKdzm722tdGSzmttKnv0lmS38maTy4tPXd/x8MD1ACY24/j69DXca&#10;FokVyDeatMlhYq2+0Ulhbbl25DSKCD3bAJbgY6kGhaWyzwrJcC7vYmYzLG8bI8JxxgcjIJPoOCOT&#10;zXeWPh/R7yCVl06S6v71ooyismyz6diPvFSDy3YenONSTcYxS0SO2h7N1G1ve1/w/Bamx4V0qy1B&#10;GYagumxujyyRsxt4tqtvCKWUZYJ5WSpwT0wcCvV9D0qwSC2MEMd8hTc1zIfMNzjkAEcBeBjjt+Fc&#10;uUfyrmO30gwwwBY42JVZrRY0Qs8hyEHI3YB5C84xXY6VdSN5NncadPfM7GS3e3jb7LGijlmbgeh5&#10;+bPIAwceXUhHllZ7/wCZ6ybsv5d9/wBTqdO03Tmm+23lolsts7fJO/mzAt3EanJznI44GB16byPN&#10;Bqlpb3hs5rZYRPBBcXBFvbL8zqXAz/vYxn86w/NsUeeyjksrR54CIruZlM7S8giIEHgAdT1yfpWP&#10;Fpc1kly11PeLY6gq2sF0JAsqHaUV4lxxgYwSSTwCOAKqnQgoKbvft9xrD2laTto9Fr+afc9ljlfX&#10;Lk2dnYXqxlhM88TFI8uAh8vBztOVAY4yWHsT6xZXs2i6nb2F9fNdSWkUggCojwQAkqTk/wAR3t83&#10;so46DzfwXOLLw9H9ljWOQhojcPMJ5nDsQzFsAMSQMgDAIzzgEdasE8l0q3ExWO8JkmAmEZVFIc7z&#10;1C5CkA4Hvxin7WEm6aWm5Sw0ac/ZNaJW9X1+46KS6ikvp5rizmkVmxpzplpSrNyB14wMdPTFd34V&#10;gshc2jahJI9wyO1vCYftLI5yAuByRtIJ4yM4x0Jo+CtMa9uLi+ltjBpdqm23mucMj45Vyx+UAnAJ&#10;Y8DHHSu38LaPdahqk00UER2XGIZYwD5C7smRCwHzHarAHBBA6EVlPl0lFXZsoRmpQejSXXq1p/wT&#10;07wzoCza1JItsjpaxrerLJCWkh81ZCqpk9cqeexTscivdfBGj3i+ILK4uWmCWYQxrjzFXfvjZiCC&#10;C3J69No69a848JTS2EC2Nzl5/MWOW5WM75CWIXLdcHOQO/HrX1bouj2cV1otnptxJeC5sVfXL2/j&#10;FnBbXDeYZIkP3jHGoU+YcBj2IHPXh5Kqm3p3OStRWGXLV2adnv01v2O+8P6bKtuL3fNNeyXW4xIB&#10;tkhHKknGSS3THQAHJ5Fcf4jtvLjubhZFNzNcC3tQQVAzzLgdgoZBz/eGeDz6rdwR2jJBp+5YkjJv&#10;C7BI0BxtOMEnnDEDP3jkYGR474gRNQurmS3dWt7S3a2hLNvknk3AM2AeMu2MkdsV0TkrarU2yWCn&#10;VU27R0/4Z+vTyKskSyWkenz3ZTTArSKqJumlYMp2gDkZ/vdgW9gOl8P3H2aEC1tYbu6iX5AyiVZN&#10;0RXkEYyN5IAGMqOM4xy+k6a7yst2WeOGIWcRWUPFJu2mUggkEYwpzjlm9c11UlxPp+nXwtEG5YZY&#10;1lHysFPRl4yCOoA9vauF1eRXmraevY9bEShWhKlHW/yWvfvfqfj7+1M73PiHV5Lony2uGDNuyq88&#10;9/YdfSvyK+M+mJFsl2xtDMqSRMeCSWJIXvnI7V+xXxv0+bVb/VknUhVuJAX3F92F7HjHPrkYr8w/&#10;ivocd4JLKON28gFQWPIAHVV4OAOB+hFeVSqcs4tfP0PoMLFTwyTey/TQ/IH4reH2lubifALEGOSR&#10;k+XI6D65OMj179vA/DOtX3gfxXpmrW52G3u1knKnBK5UlSevTI47+tfdvxQ8NXMEVxGUaYhm2ysS&#10;WO4kkknrxkfQ9TXxF4q0vyrpx5ZCkFuF3Fcjgdj1GD9T7V95kWJVSn7OW1rHw3EuXVOb29G7ae/Y&#10;/oP/AGcPHMHivw7omuW8/nxXUcZYI3AZcbicjgn5vYZPAxX6neErvbaxSKjKrBcqHIMeOQNwPHB7&#10;9q/mg/YH+Ly6dqr+ANTnLfa5/M0zeQrFiVBVenUhFzX9FXw41NL3T44tofMaxR7jxGANu4c9Omc+&#10;nABznycywzwuIcVe268/6/QKdVV8PGo32uvPS/46n1v4cvgY4zHn5ZFB+Y5zyvJ9fvYzzya9j02b&#10;fEkbAHILAkZ3Agjn1Hzeo+7Xz54XhO0B2idUCruOONr7uuMjqDnOCQfTI9r0pwqxbJCdpw4iOQ2e&#10;TknjjOMjrya4sPNt8j+f3Hl4uK5XK3/Dm1f6fGyyTyRkbflDv820kk5wOvbpxyMYzXOmF7cgCNgS&#10;vnFs8DIIBB5I5OOPX6V28TpKojJOEQEMpP8ACFGT0OePxzmoH08MxEZJ2KFC/wCsdsr8uB3464Iy&#10;T1HbarT97ngctGbjpU2OZt2farbgrqNuQgKptCjKk85+VcAg8DnirquIy/AUgkhQrHZkc4H4gYye&#10;v5vuLVouF253fvGDcrkZGeO2VHHY1GkbFlJZ1IQtwdoIVSScHjk4HGMY71HvPpvobNxk21oiysjq&#10;WAZish2oQpKk9Gz09VxnptHqamXy23bBnaGAGzKcjgHHB9xyP51WUxplWJVgQNvO8kd8Y6dOtTRt&#10;5YzGVRDkglvncZJyD257d+gpS5pPXb/hiZL3UjU0ydRKUdUCrlSNuM7sEE+xwOPc19D+Dlk+z/aY&#10;S6sgBk2s20rj5cj0wRnPXrXzUzqsolQ5bjeDnC47Zzzgn6fLyemPY/AXif7LmN3VoyoBSRSyNwox&#10;07BRkjsOTXsZbiXCs6VTf/hjxc3wc6tCU6avY+sfDE0eo/6yQvIkQ+UrsLNgjkAYyCOM54/CvVtI&#10;0qNDHIMBvM3GMoU2kkZJGMZyRXzd4W1hDeL5TfuwxbcrZ5PyYJ/LA68Gvp/Qrn7TGNrKpBC4U/Ly&#10;hI57ADH5Y9a+/wAslTnZ9f8AM/IOI6dbCxbjpF7+R3VoxGdkhRDHuJ5+bAIAHfvgfWsTxT4eg1qJ&#10;bqEiC8tU+Rom5fuVB7Ak5wMdR9a2oU3oQgZiGyQHJJAIwB3PXJ/GnwzySkqxyqEqhPAKHd27ZyD+&#10;HfNfSuMJ03Rmrpn5pCrVw+I+s0HaUf6/r8Di/BXjCaxlTSdRLpPBIyvFJIMSKrYHB/vAg9/w4zr+&#10;OfCNrqFqdW0xM4TzLq3iJlI2fMzrzn06AZyM1m+NPC6TRLrOmLi6tQZHjAy1wAjcccH7w7dVXtjG&#10;r4L8Uxy/6BP8x2+TPGeXAJwR+OCc8cKKxhGTTy/GPT7LOyulNrPMq0qL+JHufMd3Dc2NydiyAQOw&#10;YgFA20tkgjvkKOnfqMGu58OeIXikhxM6AS4c72AzsXIx3U5JHUgDBr0b4geCI42l1XT43ltbhiz7&#10;VUfZ2A+YlTjg8dBnI9zXgc+n3ltcMU3psbCoN3P0IJ54BB6814lShWwFdxe3c+twWOw2c4JTjtbV&#10;dn1TPpzRvFqAsBLGygFGdWVnIw/ByOwPUdfyFeu6TrEN0IysgbKnKBsAc8d+Onv+tfCej3l0lzsY&#10;MgRFAaUAFxnnkYLZwc4x0JyOK+h/COqBRHGzmTcqp1BHXnj6E+nb6V9BlObzU+SXw3Pk+I+GaH1d&#10;4mitT3jVtL0nxPot/oet2Vtqmk6tZvYajp95CJre6hlUo6uh45BP04I7Gv8AP1/4Lbf8EsNS/ZL+&#10;J178XPhzppl+CXxD1d7nw9DY27sPCNzw0ljdEAqiCSYCFhj5WAwApz/oF2Nwsq9MHbkHOSM89fr/&#10;AErxT9qT9nXwJ+1b8DvHPwQ+IFpHPonjLSHt4LwRLLPot4g3Wl7BuBAeKTa445AI7193FqrTVWPx&#10;L8fU/J3z4eryW0v/AJH+RVqOmyWlxtztZhuxJ8yMWY+xwSB06dDj5iazxcDPlOWMLqqbQNoYkltw&#10;ODz2xx0HXkj7r/bj/ZE+I/7Jfx08Y/Cfx1p01tdaLqkqaZeLbtHYa1ZNM62l5bkj5kkQqQQSAwYf&#10;eBr4ie0a33JM20tNtIb7y9uMY78VpTn7nNHex6SlCpF9nt5WM5LxkuHVQI4fuyYB3Z44/IH61rRX&#10;durBoUjVW5c7dzSbgu0EjnGF6Z69O9c9cWzC5Zol2bG4kAOTnggN0xnaM8cD8aqwOYzI0j5BUkkn&#10;lR0Ugk9uMD0raEXFN/1qKmqsLU73jr8kdotuhyxIIblRu3ZyTuGe4GMfhUN5BGDFIQfJkjBaJMso&#10;Yc4BwOAdw/CorMvdW73KSRxrGvmtncV+bGVxnsTjg9z2GatC2aWOCSUmRFIZ1jYkcAHkk/73OP4R&#10;UxknHVGso2cVF9NShe21rZ26ukh8ycEt8oZox82AAeOCB15+tZiM3nifDLC+ZXBTDR5wD365yB7n&#10;6Z0p1BJiwJApMeHCtkkk7uBjjnsOo9qptZTLLKEYFU+Z2BLNkgcd8nIz19fXl8rtd9TNOacpJafn&#10;puLcNHuEUAdUAWQ8g5OCSD6+nPpUJunVWMqNiNOjYXBxu9OfvA9OarRD9+pyYwr4kLJ94Ecjv7fi&#10;v5WEVJGmj6oMq4Vt0pCbQO/cYBA7YwBRBvSPoNU+ZqdRbvRf5+hcR3uY1aIBVMm8kKcc4wSeeB6H&#10;HJ96Xzlcbm3ShT5ahOedy54z6n/69QupgiMcUhUonyYIJB6egHXP5fjTJka3aJpARvfeFUFjJxls&#10;4yMd/Tj1xTXuu8X/AEwaUlFvpp9//DM19MiVwyxl18w7NzfOVPOMg9sqR6/MOOKvhUUIhkDMkXlh&#10;d2MAchs9D90Hr1PpzWLbvNGkrxMZGVd4beZHO4c8Zz16D0IrSSYyEqpAJQgGPChSXK8n+HODwe2P&#10;eiMW3Z9inyxp8j6tfev0LtvPLC4Cyhpcq2A52xnBz9cc8Y71sWt0Y1XzAZJFXBI+fBIDDcM447n9&#10;OK5qIygMFDoxIzwSykFccAHvx9SPUVKL5keZ5DyfnYkkIWPJOBzzzk9TweaIp6epD5b3n52/yOgl&#10;vLiWREbhY3ycsW2Nx68ZO0c85J9qdLKS4kDKuSpAA3M4AOc5A757EfpWG9yrBwz4ZptrAsd5JGcF&#10;c8Hhj14z07VbWQQJG7/cZWVN5CLuPAB4yADz7+vFL317y6im5U3JRV16+Vv+GNqG9Mk4sNzIcqJ2&#10;KgKeMYPp0A546/j1vin+wbGHSo9Ik8yYWAnvnRThWzlQMnlwWwcAYwByc15mt1scOxB4JIBJYrlc&#10;5yODwfTgnHOcXRCZ282QhREN7u4LkbMHHPHONgyMEtzgZw5e9P2lrdPyNuVThHvdP9CLzml2CRG2&#10;AFFQD5H+9tA7jnA6dDnB76rtIqqY2ZERNuIgVOFYqGGR14PBrIaSIFwVVIkZFAHBfazZIySwHzA4&#10;zzx3FbJaKOJJEYbZFMrBG2lMDIHHzAdRnk8cVNSkpJcy3FCrypcru9PzNLSPE+t6UAyXM4BXzMPJ&#10;yQRnc3GAME+vXoOtdpofxb8RWk7iWSRooyTIyyMoJUhTjDYIGHHPHzeuK8wGoRRyFG2hQpJGMpuw&#10;Rjqe7D6BTVJleRkd41RHP3lPyqGwSAO/Ygjr+debXyvA4qDjXppr0OyjjsZQV6M3vtc+yvDPx5VJ&#10;F/tFyp2ABixeI4UFjvI4OdoB4zt6c163pnxi0S/aINKEZ0CMzPgpuP3yuM5wQOAOSfqfzYkke0Ec&#10;qsWzhZCDwhPIbv2I54xtrTsr2WIJKkssYwJGKtndg/dOCeeB+HXrXyuM4EyvFVXWopxdunl8j6PD&#10;cYZlTgqM0mk9e+vU/V/SPFGl6ohaCVX/AHRk/d/OXOxsZ5G3JAAz7noCa6Jpw+1QEDeR0U/uxgdR&#10;0yBjPIGSeea/K7RfiBrGiSI4vZWSNC0sbysxZVweSAOBj8ycDtXuOj/Hi8iaNdQaSQRP5hUkgsGP&#10;VsDk8fqOnWvisx8PcZRT+pe9G/kuiPrsBxjgZ3jiXyu6S3d/68z7hUNlFaJiWZlR1jJkIyA4LdAG&#10;GenTYc8U9yjKQSU2Da2fmcEjDDPtn/Oa+f8Aw58atG1UWv2mRVlc7MZUbkHmFsjj5iNm0AjG1uuf&#10;l9hsfEOm34U288LtK5VE8z5pAM4Zs9cDHPv6V8di8ozHCNRxFNpo+qw2Z4PE01UoTTX9f8H7jccg&#10;hgY1MIU7l5Ifd0+vbr1pGlYIzApDvJWMFcjBzkkn0JAGBjjvRvScbYZCIXClWPyIwAKgEDI6kkds&#10;EY5zhqF3Z8bd2w5UfKVHYjjgAKxPPCgfj5TXL7sfs9zqg1Xmvabv87biIWYTEqSjKJCWZWB4wMEd&#10;SWyMdsnk8U1WVVKk7drcO+5U5PXJwBjqT6AdeKMJIGdnyeYkwx52sVIz65xgjnk9ezIwzIrZJ2yl&#10;w5OGIBUkAfUuOf8AAmISak5S3uaSnJJcis9vv/4IrwXDOWjnt1RuVDRknHr97v1/GipN0T/MG2hh&#10;lQ0LZA7fpiiudxg3eW5h/s99ZfgcCRlUYg5Iwz8B485Ktkceo3eq5y27iyMuX3As6n50Q7mUH7pI&#10;GMA9sYHI6dKggRlY7fkwwD4jYFipx8p5HR2PJXJ4znFKwAIUhlcSiQBQxSI9mAzgdsY9M9znduKk&#10;otaNmdTmb5o7p3f9f1qPZvMj8xzK6KA4kUb2kABKnngcA9eDjHPOGlQBuwzkMSyy7QRlQwIyefp+&#10;WeAHneWDAYEESxIoQEBSWJB4yOueD2qtuzNLhcyuwdJNmVbAQnaCOB8qkZxnPStIOTauvdv/AEiH&#10;DmfLB3f+RMFVwEMbbfMwNyZYblG7vkKcr7flSiQSE5DMQpk81doDZV9hIPygA8EnGQevy8RtJ8gL&#10;yiOIsVPy7RDjI3c8AA889iKf+83tsyAj+UkaE5Ck7V9ccMB6884HJc0rNLy+4uKnb3ldPq/xGswV&#10;iSu/D+YVLeWiF8ZJVjy3fIx1xjPNRDbuO2M5VfNKvIEL4IYgZHbJx6EDrxlG2BldndGyAxYYLjkb&#10;eDzzuwe+BwOgzr3UrWyhaa7MccEaAtI7KI9pwQG3HODnkj0PpyownOakovYhS5WpT2/K39XNVVjD&#10;r8qsCNodXCgt5gG4Mwwo4Xr05PU5qjNdxRqUmLYcdC4LRsQCAF9Sc8Z4ORjPA+UPiH+1j8PvBY1O&#10;L+0UvtTtQYorezQzZbvuyflySxx7DscV+cnxJ/bA+Injdp7LTLhdF0wTERx2uVmUYHzM2epwM49q&#10;+pyfhDNc0mvdcIfzSTSPnMz4syvLP4lTmml8MXrc/SX4u/tE+Ffh3dCOHVbWa4jiCS2cUkb3EeTk&#10;holdtrYB5POEHNfB3xM/bd8Y69LdWXhWQaTaSpiO8KBb8bQVG1xygwe2P8Ph7UNXvdVuJbnUrq6n&#10;uLhvMlkmlMjyE+pPJ4NZLNG8w2AgnKhivIPvX6nlfA+V4HlniIqpNdWtL+h+a5txlj8dWnDBtwg2&#10;uuvzZ1XiDxd4i8S3b3WsardX0sr+bvluC/J4GBnjA6HtmuddmklQscnGI/lwARxwMdeOfWoI2G9S&#10;wB3klsclTz0pJphlzyTvG0AnK56cdBX2NOhTo01TppRS6LQ+TqV51JudVtt93ew5HRVbaSSpG1VX&#10;AA7nP4dKashILbixGQSrEkbcY/z71E5QRYBdW+9t42/l/nrVUKcgZHzvtwF+8cHv07Cuh2bujGDt&#10;F37WL6zDBO50G7d8vBI44P5VD5x3DDdeGZedo9yPWmhCwAY4VSHO0YAx/j700nbuk2gnHK9AMHua&#10;layaKm/c5Xt+Og8vGSech8g88oB71GWwwDbiD8u5ug60xgrgkjPzEkAfL24/nT0Zm8xVyNoBBI6/&#10;jSUbKxClFSWtttPn2AMT3woySOm70B/OmOc7gcnkgZwcjjGKaxAJIAADcBlxg9zUgKJ8zgk+oHyj&#10;pzjHPem11CXvPljsNPJYlSufm2qen4/ypkTZYIEJyTwy8Ee1SFWUuyjgthOeo/H61HEH+XHyMc/M&#10;Bnb7/pRZS1kKUeV3SsxJY5I2CMsifMV2EbQMAdf14NMI+YrtDKRncPkxgYBxUru5dmY7y7Es5G4n&#10;jA5qJwQoGB2DDp1Oen40JNRuGu3l/kvuEAUDccjBOSc8D/Jpm3Lg4ZsDdtUd+/PakzkhCCQRgfLy&#10;eh6fhUhUCUbQBxyNuSOP/r07WepWji5we3/ABhy77FBZvmI7Z4wCO/8AhTnXaM7yxIwQOccg9PWn&#10;BdykcspHIAwMDODUZ6ggkIRy2Mgc9PrQ2pO4m+Wnor3/AAF3EbX3fMrBtrHJwAe3tTHzkkLkcgDr&#10;zUiZBfByxPXBZfzpOWXfgp8xHI68miMdNNxJuEWr/wBaFRi0jZUAfLztO0/Qj2/pVaVCFfaPmPBw&#10;RknFXioUM4J3A4IAPr1P+e9VXIUsW5VgSxxgcDgj86vletzO8W7t/wDDdzOgLxyockcZIzkV18GH&#10;jXDIGKAhmYAH1/H/ABrjjHukQA8DGGPAPoa6/T1d4k2ru/d7DuHHr/hzRKL5LJlUVJVEn8vwGSKR&#10;uCjJP3SvqP8A9eaQRtMF+VlIjO4jO0+49+BU8paPaGUK4fHqF9MmouUY85VmKHgkHPTH+e1TtZF8&#10;9pOa39CBlAO3mJwv8TZ3H/JzSNhUyM/IeSFAJx2AFTSDcQ7KDgkcgFwPX/PpTG8rCZ3EgbQQCN3p&#10;j9aV0nfoiYuolzPRv9CExDDcjc2FP8OM9aOrbWfCqBgsAN+T6090IUEHLMo6L8pHB/rRGx8tlChS&#10;OqnqpHpQ5NJJFQhFtOTtpe5WAVd5y4O44OMuB1OSee/603Ds3zZ3bQvPPA96mOw7fvYDncW747/5&#10;9aQqpLlMqwIPAyMf/rpNtmaUWlBbblfbtJGcKMnOegzyAPTilBAUDGDgjcTxjHyn09fenOjZO5gD&#10;kAcdee9IA7DlduexGCfp+tUlcvWM7Ja3GsFXjB5GdwP3uf071GVBAOGwCQpI5A5wc+tTkArvUEFO&#10;BgcAc8c/SmqVY7AcjBB3LjAGT0/DGfekkm0mO0FHllv0/AZuOeFHI6E7R+PHuOlM2Y3FUztYqMHI&#10;J/2T6f4U4ZbKsMlGJDAA59B/+v0oww+ZehHKkfKO+aLWuQ5S0cfUYWOMZwepUnDLkHk0wrhm6cjo&#10;PmHuTUwyFbjgNgEjcO+KjYkPheTt+bC4DZ44/wA96pzsuWwo9O40kBQMMwXqFOMCm45JwXznDL1P&#10;19uRT87S4bcVwMADAB9xUhztz14zxyR9KVrJByuevmR8r/tbj1AzjA6ioG8zsCcDCgYBPr+n86sb&#10;BgP1wSflHABHPGaQblX5UbGSFbbwc9+tCaT9ASTjyyK5Jx0PzfMdw5zn0pxXeQd2WXJKkgA+vH4U&#10;4Ph8YzyRnG7B/wA8fjQwKscLkjkkJkN6j69KHo7hFuK5uhFzk5UjJGDgHA5H9KjDElsBlBA4Dcde&#10;vT2qZsKdp5JBOcZx/wDqzTBtHyn7q5GD144ojfZg3zJNv+tBD8xBAJIGducY7Dn8f0pIyVwGJ27s&#10;E5I29hTiNrDpk55AIBH1/wA9qaqkhV4wzkk4JOMZoSVuZ7EtrdbnrHwu1/8As3VBZtLtjnk3Bw5U&#10;qRyPbJ4Ffof4I1lZ1tpJHVUK4JBGO2eD8vHoPftX5S6fdvZXcM8QKmKRZFcL82Qf6193/CjxJDqE&#10;NjJE+0sq/aeRGQc4IIPGOeox0ry8yw3PS9ot7Wfc9TLKrhUUI/1rr+B97+H75pYkVGYoXVokSNQ8&#10;hLYUEMRg529OeDx2r0aynMyo0h8xo0YAStuMeMNjA+Zc7l+6cEseuK8J8OXzT/Y/s6ko0qyr8ucE&#10;hdu1O+04OVJJOTivV7C9lZmFz5ssbR8R4WeJQw52q2SDjuO+CMYBr5iUeWpyvrsr9f8AI+ig58t1&#10;rpuvmdtFP5mSEcm3UMxV/OYBTkA5Ac5A6c8/pu6dfwxxOLiAzRR7iXmYSOuVYs2OTj5Ov+764rl4&#10;pIym5ohKGxHEki4B2rgFVPzDBHTJq/Y3SXG4ySiJsblLqZkVCVUKVHz8cn7p+5WK5FHVXN6d4yV5&#10;aS/pfebM0MJ3KkchUq0TokavIp+T5iRhsDafTgDjI4uWal2jfaC7H77EsLdXDFACDvXGVwDnPljP&#10;WqCkkqZRFhF/eyRusoicE5wd27b05cBsk59auWzqp3mJ5jF8quT5vyhVBJ4DAEkZB4wB6Vk4xndx&#10;WxpTrSjdtei/rvuX2IYO3lsCBuJMYkPybc/MPmx948LwvuTT0WOSMb/4WJkmkjV2yAByGIcEleNp&#10;wA30y+KK3mmRtoZnBCNGEuDGST8hxhsAb/72OhJJzSTSJBPGjC4dGyIoFAdY0LNjJc5Y9Djgnaay&#10;d7ua+7+u5ty295rXp6XJIjKg86I+YruOkrHkOrFT5g25PoM7ssG4PKRlNqFI28pANgUsokbAywwS&#10;p5PVePpmnMYR8oYRK0oUIRmR+ScjcGXjC9Npzjt0j2B2VIxk5ZC+3yycDgqwbrgDqB9B3qfM4pPY&#10;jlSlo7W/X/MuRSrhEICtJKVUeWZASQ3zfJjGRGDkjnaOPXSwTvEoyMFgsmVUn5Du5w2MryOCvfHO&#10;M1MyM/yzPOP9YyqsgZcEMOcMCOmPU9euNFImEThiQz7IwjtvJYGSQ4jIxt+Ve5K7OAehys07XNLc&#10;0ZKNk/8Ahi7A0sTK0efLOHDBFiWJmYlQq8g9OA3b1Na0TkFsRnDZjQxoASfXOSuBgFuvcDAINZKx&#10;QiNInchGzuJRiVzydoGVyNxbpyOOwxo24iIckqzIjugESSMqqCW3ELu6Fs9hg8DHB8Fru6ZtFKFN&#10;Ju1v60Oo0+7MLhI0ZnUmJjIi7SNmA2SQwILFu+SBwCOe6sL+VCm2ZUYsS0TMRETtAJIYEEgKP8et&#10;eYIC0jfMBHKcbXdt4Kl1AXtjg4CnnGfSuksrwgbvLNvIyhUwzAzZJGc5745zxkfnFtYxlbXfUpJR&#10;lFS+f4HuWl6kp8jcZpJpMBAtukgXkKc4YMMhiy4ByVA9a9F0vUV8wpnymXkxoJowCMhSpHGTgjv6&#10;4HBr5/0e/ErLCSWAZUXIQPjKqpXkHOQOO9eg6bqSIwWQJFIeGMcExjkDYTlQXwehyDhdpI6ENC1l&#10;ZuxFNtaSXY990++SSJmWZN7OspCzNmIZ4JDjJblvlGRgDJ7DetlhcRtKshVn3xSRzRSsjj5lOCQV&#10;yQnOR3OGORXlmj34kKqkktwzD7rTCSNhuYELvXCgndnJIz2GMV21pdNI+xomKFSZJTaDYuR6pnpk&#10;/X0HSuaMFFprc62ud2W/6o2LnSIJLeTEQBVjGquhjJ4BUAng/e2lR06HpgcJrvg6C6fLQqnmEBFb&#10;O0hvlGeMdQpI6nbwQSDXoltPu2iGUZPypHDG8e5cqCR6DgcngZPTNXWiglVXx8gQMu4suzJO3Knt&#10;wMYwDnPGSSpUUr8mjKVVpabdD4l8f/Arw94ltJrfUdEsLyGWF42iu4UnRCFVSCCcAhXOc564Havy&#10;8+M3/BPjTp/tN94LL6PcysZIbJo2ktGcZZiD99d3J7gY+6Oa/oLuNHEwCmL7wRJVCZABHHQYIG0d&#10;T1x17cfqvhC3mV/MjChAzbmTanQ4JXvgHpnk469K4YqVJqdBtPy9ep7GGx06a97XbT7v+Cfx/wDj&#10;/wCAPxJ+HNzNH4g8P3KW1uzE6jahbuxIDMpfzFyMEL1OB+tePTRS2x/fRuDuLBZDtDg46f571/Xp&#10;4t+D2kaxC63NhaSZyQzxBtxHsVIxxj0O36Z+BPjN+wh4I8YyzXNpBN4dv3d2jvdNhWRVILkLJAxG&#10;fugHJGAhODXVHMq9OSVaPMnv0Z61CphMQuZvkb2PwJikjO1j8zA5xIc7eT0x9O1X2llIiXCiOQA5&#10;VsqC3QfqPxr7G+IP7FXxG8HS3Eli1jr2mx5KtarIl42Nxx5TKOMng5GSOgr5T1HQdT0e6kstQtLi&#10;1ntyN8F3bGCRcH7zAjjORge1dUcZh6qcqclfs9Nz1aNKU3LkkmrdO6sUogGhIBd3DEbTgoue4/zx&#10;ilikbKxl9h27EII4GcD8PX8KasZ2ZG/J+UAYCkEgn8iAasxsoD4yNr/MWAyVPYHv0okktWtDujBL&#10;kaViaeQeQhTeWBCYyAWI65IPcmrlrNLCQN6pAEaViVDEN6HPJ6fTmscq7lSgJBk3sCuCMkfeP0xW&#10;/a2zXI/eHYv2djliAMAZxzzk84A5JrOUly+7sdyw1VzTta6X/Dli3MrKCctGWLRlz5jovQDnt9Pe&#10;ur0q6SyEUbnAkUb3BB8sg5wAOnTP4isGJZEjiSLcksTYwy581cDAJz2wOO9bkItWLGQKwKbVJcLg&#10;4BGB3PXtwMfSuCo4zeux6FLCTptKO7OvgEBBZE42EqyNtZs8sM4zjOO+DVu0tSVuLhWLSRSiWNHT&#10;eoB+/tHHt+R9sYMFxcrGhDqkSIyrsiBYA4Xbnvgd61ra5MDsgaTfHjau0Ks2eQxBz1HbnmvOdNte&#10;4zqVO8VGp/T0OmgkmCvEQd08m2FQ5UZ4PT+HB4HA6V20ZQFd6Ell3ygyYkw7BsgnjAxjnpke9eZX&#10;Grqj258pppJWJlcjMZHzDA9McdeMdjmutXXBcxwwxxvuJGFkiG5Qw4UE44OBnB7detcc6dSK5kr6&#10;6/eegqKqvkS2XyX/AAb6na2eoNBOluhgkt2IW4eR1eWMkBVUdeoUg7ueB610LX7m12PBvlSdGYqo&#10;cNkZyGIzliRzg498Zrzuw1OG4uIY5owUkBITkKAgVc4B45OTgV2yTrcSQwKNmEB2uQzIQThiMYxx&#10;j+grn96KulvudsMPGu0ovT8dLK9y+mu3qX9p5duIoJ4Al0S+JIGxgDaRgAjbnGPzrsdILzx3sUp+&#10;aXK25A3oiHeDz0IZWx6fL35rkobCZ23LBbmOWPyHmQAyS7dwXJIyT8xx9T04rYhnewtfJVZFniY2&#10;8rYO4K2QCT2PXnp09ayqWqWlF/1crD4ScnaKtHb9bnTQQ/ZU+0W9v9iuLePyYpHDkSbRjGQMEkLw&#10;uOP5dZpNreR2sV1AQj6jGZcXYBx5bAsApJAwWOMgKcuAThsc7o95HOkcEyz+VCkp3o22RtynBDc9&#10;RnOD3INdjpDQTWaASEF2RHjCiUxLgJjOfcj0z+dY1JSgmnszrlg6bacNbaPz1uSxSOZEuUSPy7a4&#10;a0kmikZLZl5DOV687QDxnOQTXUadY6BEt6Ght9Sm1Mh4I4r0iOIKofG/nkkFuf8AZxnvg29kz3Ei&#10;wBQ0zbjZ3D5ktV+ZRyeCSSp57N0GK7bT7WK2Nrar5VzfRSSSTi5i/fKivjYAqgYPQHjIGc55PNKr&#10;aPuvTT8jSng5Qd001Zv8dCW0gd45ZLOSfzLaUQtDIN8eyMhTy2OMjACnkZOeQTqQeH7xlnsNehtx&#10;GC0jW2wrLO5YqUkGCmMOUbJH3uhySu1psMMBRp3Nsq7pLh4kW5VnOdu0oTuz1+XH3uegrqbe406K&#10;Mppkt2bmWIq9zc2xN3IibQfMLBsfwr1zhsdiK55VWp8/RdL+Z6ioqpGM6a7J6HkWp2uoaolyIrCa&#10;5g06GK6ghZWtHtpEYMgEQIyf9WSG445A25r0LRYBBa205uraW93lESS2+zRkAt8wfvk55b+FeuQK&#10;1p7O8udNvLS21e202e/mW8mnt7Rvtwb90quVfADLg4GCuBnnJzBJDrlzJDKkyzGzvVS3t7oPGb5l&#10;jUG4lUAAnIPPfaTjB5udZSp2v1+7a/3GSwtW7ktNLfiZt5o8bozTl7yW4PmxWdtKUU7SPlVccbiv&#10;IGCSTknOKhNirwpDHpT6abVtse9S0lxIE3KuSSQNx28jAwMnmty6/wCJgiW13GtqlxOjGNJvIuZG&#10;AyFVlGVGEYEAgdO5Wurgt31LUba2Wwt0gt5HdobJXZpSJCqhSRwSZkG9yWKquOAMYStGC5enTe+h&#10;pFSUpU2vdVtTnbLQhDMJ7fTJdRu3sxbRzSzNDCkhUNwm7kAyI2MBmxGThevdadpV3ZyQw398LQXG&#10;1wwmeSZJWCmQ8DgZBAPJICZPWrU0VvYQx37R3Op3UUuZ1DnyMMzDy4myVPKjPY/NnqK6SGaDVLYv&#10;Dp5N2uRIG5cOoXYpPUY68evToBhLmjJSjL3f60O6jBwm4uN/0NHTNI1Gze5KlNQtWTbJcXGUgZmU&#10;dVwFA6jt0pLW01K5urqKfUZlsooWdEsIkS2BAYKpZlzgnk4PA6Y4qFZ9RjT+ztQmRTFJuSCW4M2G&#10;wp3KoUcDHU7T8gznPD0t78bYEnLwXAAnRI1tSEyWQgbcKCMYCbQNo7DFYQtKq4NOyO1UKsaaa0va&#10;/wCBraL4XjnvJLm6vLWOCO3LL59ybq7Lqf3jmTJJA2thEUnjCg/KB28Oo+WxsordL65ubV4YZr9P&#10;tDQhVKtJGM4BQD5S2R90kHoOUgsbq1uo4rZLKNpyIXlYLLLhsKitIxC/KSfm9GJruPDeh3Vy7Ye5&#10;keNxG2RxJj5U2nkncVBI78jPTFVZ+zo3p7+e/Q7cJhKlRyqVHZLVdu36HqGgq0uiW7zx3MjiVog0&#10;w8qOItkRhTxnklvl744Ga9C8P+HrvUrySBVF3LaWj7pNu/cikOzMeR8oKjd6AVn6LbXVvbWls1sr&#10;wLGFiFwplaDCjLEHowzkYyQR616v4fsdStV8y2ja1XWYzmdvkeWPLqzdDiMFWUno3lHqVrgdRynd&#10;rprbqdPuw5nC2+n9eh3vhvQ7ZdAlsY3P2q8vIVuV8rzIxDGIj5UjE4yZBwBwTKoA+XLei6Tpl1a3&#10;C20NpskXExRThtqqSMIO4ChsEZwPfNczp9xpWnaculWU6XErzea9+WyJ5vlAZNw4zu4OP4c4y2a9&#10;I8Jw6k1xaTra3H2u+hMMAKGVvLZFT5m6DIZlAHXHHWtqUZWjFPXy/E5oU5xjOtUXu6tX0vtb5Hpf&#10;hLwtFe3CvuZZrm9icmZQSoRo9g56cK/ykfxc98e86LFDO1yyKiRxRiG3WBVEb7Su4luxbbu3Eck4&#10;xyRXF+E9Gv7pXtZoiqibyi5xiT5GYoh5zwpLEAgbcdeD65pzR+HY7neDHNbWRS1ihiI8nOQpIHfB&#10;7f3uoxmvSjSgqa5kk3u+p5NetKu2ovml0Sfp+GxU1S/MOn6hcAOsLR+VJcSRkvGrMFbGOhG4Yznr&#10;35rwozXF7d362sZt7EMYRcv80QKFX3McjcdwB+qgDPSu113Wrl7B7cr5do0hkjiJ/dS/vW+QrnOP&#10;lXjvkYOQcYm5r/TX2PEqf8fdxLE6F5GYZ2lR0ICrwecMPXnCrdLlT1Wv6H0+VU/qtGUZx96Ttftt&#10;+JpaPDdHRZ50D3Kb/LZN5hKsTuA3ZI6RqM8kFu/NdRqlzBFoV80a+W+FWWV2ZvMO7c3J6Bto4TGO&#10;frXIaHZTwRRKt24e8j+0SxRFY1jO3OH7ZAAXPTEY4ODV/wAW3Ud14e8iKQR3M28uiqFKrtIzjjn5&#10;iQPb0rGs1Tw2iu7W/r7ycXQ5qqW6vfTSy6X+4/O74oxQvf6tcEArdFygY8HJKg455xjJzmvzi+I/&#10;hR3ukkyESaVpFcKwUkHIUsCOOO3bdX6n+O9Aimtbh5Q+VDqZD8jbj94hTxyNmCQeh6ZKj4E+KekT&#10;eaHaFFiB3QxgKvQ5J547ZAwOvvXkU+bSSPVwVWLiowe2/oflz8U9Kga3uIgjOWYkE4yeozwc46/j&#10;kds18CePNAMTjaOmSx2gMQRyfTr/ACHFfp58SdOF3LdiIs23dIR0LhQ2WwfYEfiPWviHx/ojW0bt&#10;KWy2SAxySCDlenHGOR717OW1pKzgzXHYeE6b06fqfJPh3XL3wD4x0TxHZTSwy6bqEc++NtolTcCQ&#10;cH0yPYmv6qf2W/Hdn418CaN4hsJFYXOmw+c2fkDgLuwDyMnBA9ARzX8r/ifTD52AmOGCsQRk5znv&#10;69PYV+o3/BNT9oCTSvEq/CjXL1vsl6xNjNMxkcMCAEHoO/uOPr9Lj4fXcHGrFe9H8j8+SeGxs6Mn&#10;7s3p69j+nLwVIstsrAhldgo2qSshHOPU9ST7ivXLLdDJGqxkrz5hAOBh+uPoQMdCATzzjwfwPOwM&#10;UEoYEhCjEK4wxODnqOpH1A7c17zY/PDEE3sQUCsEKls5yQOufw9a+Zpq2q/4YxxLae39eZ1cSKrR&#10;lCRxuKk9OGOSPpjjnj8q0lj4JHzAklR0L4Bb8SMZx3xjvis+zGUUjAATexKAjptPUY569ep6DFam&#10;Bs3qCwBUYU7HRegOPbkfTPfkd9pNcp50m3aLK0iLgdCSQAoYLLuIIAx26Zz9OlVJLZVzsUMpUksD&#10;uJxnse3yjOO+K0fIGEDxEHccMQQXUYyQoIznnrxk59iogkCBCpCryA5+7xzg+mQe3ap5LuyBT5dX&#10;/XkYJhXYmCNwJYSKcEjPftkZ/wAnowhVKFcHOXLD5QOCDjtz0HTsO9aM0UihQPvqQAjLsIxwMc/T&#10;uRyPWojaxqEBDxBItxkwcjG44A5ODhcHA7euaycbb7I6YTk1GXfUhMS/wqME4+dcNg7VDHnuWwOu&#10;MfSnRXT2Uomj8zG7DFCVDDqSCf6jt1p7qjblOAys0fA+7zzzjvgHPP3T60vlJKCpyAY9+w4CKzAg&#10;gNzx26d/TklpKd09Rykpppq56v4R8Tz/AGiMLK4LEMy+ZnHynnB7c9T+HQV9r+BNYM8FuGkBO3Lk&#10;tnP3dpHPv+O4g9K/N7T5JLKdJVDs7SKchdwALMqpjPB+Y/gR6V9K+BfF81nJHHJKwURhSSud2B2H&#10;UknGO/Jr67JMc4ySqvVf8MfDcUZVDE0H7JKzR97Wl0NpXK5fAUlicnA25zx6j3Jq8sy5JXCrtw4D&#10;bNygKwznOM/zP4V5l4b12G/t4mEh+YgkdDt4we/b1P8AF3IGO7S6WVDKMh3BBCqMADAByOnB+vA5&#10;71+i0KqqxU16n4PjsBPDV3Gcf66G9FcpNAmXwhJRyqCRAAMHjjrkg9AQRzwK4HXNCm0a9bW9MUtB&#10;O4F3CjEtGxZFDAEgADIBx6n3rXS6eEui7hGGDIGXKY64wMdBg/j7V12lsmoReXcx+ZHKDFtcFuiB&#10;cHOcA8fj6c1sqccTFQv7y2ZxKdTK5+3hrT+0u6/zK/hjW4dXtTbXvkyxXEOZY5mK7QynIORwcnHP&#10;PGe1cP408GRWTXNxar+6mY3CTKmRErHcFHcgAMFGeMZ4yd25rGky+HJjf6e5NhIcy26IoC5YHdjr&#10;0OPTLHriuvsL238R6U9tcJ5kTRqRIo3RxYIwSRnHK5+m7nHFXOksRReExC/ex2fcwdd4HELNcuf+&#10;zya5l226d0fItwDZXK87FWXcynOWC5yAT9SBwckN7V32ganEFBgnOUw7cjeSCck+3zduOB0rlvG2&#10;k3WkahNC4dfLkYRyY2iRckKeOCQuF/4DnFchpl61vcxli4UjAACkYJIBwcccEd+R0xmvmXJ4StyW&#10;P0WHscfhFJbNXPt/w1q4uLSHfIfMkYqDtwBwNpznjvXf2dykgUIAcgMQuAE4CgY69Omc9D6V8r+H&#10;vEflLbLFtjBcBUIO5emeR+fTnHpmvddD1U3NsWdmGVZlwwBXI2//AF+vUE/T7jKcyTtTl0PyLiPI&#10;Z4apKtFe63ofjx/wXH/4J/2v7WP7Ol38S/BWkQv8Xvg7aTa1ZSQW6fa/EmkqrNeWLsFLu0Y/fRej&#10;IR0Jr/Om8WeHZtN1S4s5UlN5BMyGNsqSVIyDnoeeM+nbnH+wxthvLeaC4iWWCeJop4ZkDRSKwwyM&#10;D1BBII5BGa/gH/4Ly/8ABPK8/Zi+NbfGD4d6Alr8H/ibdXGpaWbKDFn4f1Egy3WmlAAFGFMiE5LL&#10;u6befpL8kueGz/M+Rwtb2M+WpsfzMTyzQzkyINqv5YV3AaM4OQM+px09xVC4gmeR5HJRShG8qAVG&#10;eGOR0GM+n866i5gaWad5LbcWmOVbauOrEleMnO5geKoTQy3AGYh5UNsSxDLiTouM9+x9TnPrW8Wk&#10;krnoVIyULrff+vwKdrdSwQx20bZS4KhzuJRVPJBbHJxz6c4z2Gra3E8ilIAd24M4YkKpCnG08Hjk&#10;cd/XNZsaKtvJIQ0U4BUKykFGxwUw3XOQc+vvVFLmdJIxGzRpwpbA2A5xuOMdA3pnApRu1y9/wHCd&#10;4x9qtTqjPHHG7JGWn3krkc4GenfIBPtnFIbW4kt5ZEf/AFqjzgGIxznrjsGP5cCsSG4jkjBiO58K&#10;plKlPM3Zx+OFPI9PoauJqE6xmFQAsi43EFVB4HQepA9AMZ71pZuF77CilKKUO2z87NfoZbWrRRmf&#10;zJZC8pGS2do3Ac89yAfb8TgSVUykUQD5MqgqFKHaFJHUdM9O3FbFvDIsQ85gsiyFVBwfmIOTzntn&#10;0PNY8lmvmB3IWKSQ7SGCupOcD37Dr3JoUVLb7/QIqcd3ZWb3+X5lQXMrSu0pOC+5oyCdpyoK9ech&#10;sjI9KvXAeRY5xLuKuGCM2GUcAD6YUD2xTZfLmaRbVI1bzG+WUZxjC53YznC447iq0UwZ/JlOW3/I&#10;0ZxjJAPP4gc9SPpRZ3Se6WvoTCynrqm9PL+tjStrxHjmBbD+SYwASB0POcckZ74zjHXitCwmS5aR&#10;F2NkmRl4CrllbOecZwwzjv3IFZCyRImEjUGGVhK5Tc5Cn0z64OeCcHrwKlhmayMzxHEgY/dxk56E&#10;H8Tg9s00ne0VuVKShdS1Wu6+79TVkuVhuwXEioADEzYRg2TyOuACo4xn5R7ULIhRvMYb3VJmJbzF&#10;B3LuUEcYBJOfQY71z0YmuxKXzFIeA2Ae2QfbByfwqzFGwdomLyvICGXIXaCcDI7c5A9MUk4XulsQ&#10;qa9r7S2j29f+Dp9xphYZQ+1w8kJ3GNJMnjdweepyD+A6Zq6sxukhhaU7VkzHuwzsWwNvqeFUZ7Vk&#10;m2lMjKjMQcNI2/tjsMZzgAY9BSIuxgqPtYDdGxACq2OAAPo3ofl7VTkmtr/oaRaTUkteq7m15Zhl&#10;VhMZGeRfnzsVcknBHrwM5IxtHStJGkmkWJWQCMh2J67hg4xnrkZ5646YwK52OeWR1gcOZOPND/IG&#10;7kHHbGc4POMVNa3QgaRQjM23ajtgMzAhT0PTHOD6dKqMeVJyehm587ST1/O26Z0Hlje4dlMKY+TG&#10;TIF7g5wRggnBPT61LPMixGTeixkhYyFHzZYYIHbnJz2rOidVTNwT5zyZlBO+TsDyOQCSD27cmobm&#10;eKSVYCdibQVyNrIRng8jPAHI9T61Pvp6bBU0ajDfb7i7E65LlVCZMhONxkzjqPTOeR6ippJ3nkDc&#10;LFHyy/d+XAxj69weuKrRxZWUmQZJLI6DdGQMH69Aw6dx0qUGBlKxGSLCKnGHUna27nPJye368Vm2&#10;oOyNW5qPNTdk7fjY0UtFvf30jE4XcAXDqeVA75zznjstQpCNrRKwjSMtsIkyhB4HvjoQe+OtU0vJ&#10;bVFR1wvmBFxllG4DnH1Bz65HFaccyQ24m87PmZwwAJPAB+h5z1B4NVzXd4abEKck02rvXz6/1Yoy&#10;WDHzJElKkjexLBmU4XgZ49f09KkjjlgQq545wS/Jwezf7WDzg4PHcCnR3kH2hwki7Au6QcLnCr8h&#10;6DkHb1HanT3+f3WwvxuICBG+8B0xjkAH65zQ6cXs9NxKU25Nuyf4dCSC4ubadZonmRUnE2STGyfd&#10;GepwQpzgcd+/PoekfEXWtPeD7PK7QwOiKpIK4VsAAfkK87MkbWxXJbaN4VEIK4U8PnHYds9RyMUP&#10;cQi1WKBgGUrI6nBIABDN1P8Asf55rixODwmJi4VYJ37o7KWLxOFUZUpu2mz6/qj7E8MfHYrJDHfu&#10;ViI+bdIGJxtyckd8MQevBHfNe2aT8VfD+rNFHFdRRhX5Uyb5QrZ2AsOPzxnaeBnFfmWm8xyGJmA5&#10;wU7Y9upxk5HU1PZapf6fcNKk9wrRp55UNlR1z8vQjg8e/pXxuY8C5Xik501yvyWmv9aH1WB4wx9J&#10;xhV97X7vn2P1qi1K0ndBDcxTLKAVJcYyxyBkkAAmXPcYJ6cZumRVCKhZxEhJVJD8yqpbcBj5sBSS&#10;RzkgdTz+bmgfF3VtIlgW4mkkRJU3mR2BX1YnnvkcDt0PFfQfhb466XeQql5MFklRDlvmO0524wCv&#10;JY7gDjg9eo/PM24HzHBNToQ515I+yy3inBY9r2suWWnW1z6sSAlQSATjqHyD6dM/zz64PFFecw/E&#10;HQZYYpF1C2KsgKlmAYjHGeD+feivl/qeMj7roO68v+Ae59awb1jPT1RIZJEZAVU7WJKAlckHK5Hb&#10;huo4OfXNT/MpMRYDen+sUchQysPmPQ8gdupqAFlZYuFYbY5mIILFfu5BxyDgHrk5zkniwWQtA7AY&#10;yGbGGJBAO4Z6nuR6DjrivMmuZxilbz9DptN3v8V/+DYiZzE4l8vgKu2I5LNtUAZJIY/MUbGeAWPQ&#10;VE7ruy5wQ4RJXlDu4P3cYYFRycZyCBxyNwlYqeSFljROYy24NvH3t3OAHKDGMkccVz3iDxLY6FZT&#10;XtxNDBBC7wySyOsaFcFCM5wTjJx0+YnoeNqcbtRgm3f+vzFKSo2d7Nb+mhuyzeU3CLCFY4bBZjt+&#10;Vs+qkPjb3BPpXL6r4p0vRg09/dxRQ7WUyuxVACdzEDjOAMkg/wAPOecfJPjr9sfwD4bFxb2N7Nq9&#10;zDIwJt1MS3HYfMV+Ugkjcc9emBx+bXxW/aO8cfES7uY11GWz0pi3kWUT7VRCzHAA/wB9jj1Y+9fY&#10;ZVwZmmYNOouWGl2/l/wT5TN+MsuwEJJS5p30itfR/I/Sz4hftb+BvD8Vxa2uome+tS/kRw8yMw4X&#10;JOeD83JyBwOea/O74kftY/EXxmJrG21GbSNMlJjNrZ4R5E3AqGbqMEA8epr5WubmeZjJLcSPMX+a&#10;RpC5Ofb0pisww8gLMpxvPAIIyK/Usq4NyvL17SUeeW133Xkfmua8Y5nmF405csd7LT1Jp7q6vJXn&#10;upnlkkf53llJd8kkMc89qiAxktnlwm3dkcDqOemO1VvMw0ZBBfJDA4KsOaWTc2WTh152DG73x/nt&#10;X1qXLFclrHy/tOZv2jv6/qOCMJGjYgFRyxOV6ZGKYX5KHCsTlgvXGTk9fenDLIpdcKcAtn16E5/C&#10;mDbkyKx3AHczHJA5P9P1q4u/xGSm2lyf0hq4Em2P7rAgbjySSec0jgqxGFGQBjPzHjFIzD5doKlD&#10;wwwSeh6e9SKXYFdoPylgeAemSSfzNJLm1WxcZRT1jd/mNZB5e6UHKHbgHcSOn+P5GpHO1FQIhG4H&#10;cv3u/PXjjHFIA0e75d2FycncoGOM1GGwAGTBU8YOD0IHNCshwSavDQbIAoYjazMACWPOOufSmFt3&#10;3eQf4TwDweamKsxwF8z7qEKcYz9frSMuWBC/dARfmyzAZHTqOaIa6sblHlV93/mNDmMbDGCG4PGM&#10;YHXP5UrDGz5snAGBzjHygfoKVkO4gNuGSwzwR6/yp8uxkV8FUYqq5XarHA56f/XFF7qxKhaTv2/I&#10;qkZJxgAkAnJLDrx6ClA4kKjJUYIOVBH+QKkK7ULjccEDkYJxnv60EA5AUgH5gAfvE46/lQvel72x&#10;jZ3u99fmJwMMTkkfdIP5j8ajK7WQEDD5OVO1geTn+tWAgZTyCCOBgZPY/wD6qFUlQVB+XOSACoP1&#10;7fT3objGTbNJXdOOmr/IgCYUdAAT8rHOcY/Q5NI0bOEVfmfdkEg4Byc/jUrsCyFQQGOASeSRz1/z&#10;1oX5g6OzrgEqQ2Cc59vehrZvv+ZPNa/Z6fkR+U6ASOABjIYDrnpTNjMN7YIOQqkYKEYA+gOasGVi&#10;AoICFcYxx/nmgOxZAF2kDYwPBIPf86ad7plpQ0aWi/EhGSScAgDgIMe5OOmM/wA6hYjkqpxg8jJG&#10;TngGpZM/KUJwrcqOSwwc8/rSFWxkZ+VchAwGfmA4/CklrogcrUuXt/X4DCrAjkq2QqgDgjGdpqNi&#10;75UYXpkEYU8Y5/lVrBLK+7AyAAeDnB7d+1IwEbnAJUDqeDjPPFXZ9CGot8ttraFNk7Dqy5OOMZJ6&#10;+lUZl2kAnsQRuwpyMg/yrUZtwJ2hVbkHcG4zjJPv6fWqc6EliMgYxtPA4z/TinHRWZnLlWvcxZdy&#10;MhzyCNvPCnH+fyrqtKkuGjBJZn2ncc9OMZ9x/jXLSht2TkqPukgcc44rb0m6JKqwdpGOCoIIPPcU&#10;a8vKw5UpqVzdf94CfLLZOAV+Yqe2fpz+dMkwVCgBQyjaxzubHXJqykR5JPlMjgDGeOASc/0p7xs2&#10;4pt2owUvt3MTznOelZvdJG6jJtR7me8KlcB2ACkkg9ccZzjr/hUezHJKnqSD95eB1P8AkVZETZcY&#10;LKVO4HoSf8mgxDAUlS+WUDIAGOR9etNtKyYryk216fkVWUhDgKWYAMcnjjjA+tRgEOM7QAu1mIzz&#10;nHIq2YpA+8tlNoDqvUfh+NIQXV1G3cRwd23oeT9QMj8aSvKLl1NHHSKSt/mVCrtlVVSu484IJHb8&#10;TikaPay5YAA9FOM47foathWYqq5VQMtuJJbjjrTGKOW+TIUA84HOckcCno5JJaGUYuD8/v7FUYPI&#10;ZXU5LccdulNDAjqFG4D+70zjj8f5VZSNTkf3wSSpAEfPFGwKRGgJVFbfIRxnr07d6rlT1Rak4tTb&#10;8imSQVBAJI5zyaZhVXC7TgY3EZDY7Yq1MgDM33Qh+X+Ldxk+3f8ASkSJck5Bc/dZm4/L3qFdrme4&#10;5QjzqnF6lVto8vBAycMCNrgjHH60Pv3FDhdqYGOBj3qUDn7u47jxjBHbp+HahonJZuQThjxkkf06&#10;/wCTTeq1M7u7UtSAnoOSCucseTTHCLh8jpk9QDn/APVUoQFiQWJYHC/dXIPf0pGjeRduFCYJJ3DO&#10;eD/n60Winy32Kgmr8y1ZC0aMdwwRtBOM5Prj170BQEBABJ7E+/X1qZYzyoj2FTgZ+UdPrxSlNxVg&#10;MEADGR0B6/59Kd+VLmEueWyt/wAHchGcMQOeu3Gdpx0B79KCGD7RjHDLg5z9alQNukHICscZPOfX&#10;9f1qEkAA/Pu3YGME+nGO1JtK1hWUFo3e7/AZsADALxjKhnyeOuPUcUjLyNxOQmMcgnPY/lUnsOnO&#10;CTjj6fjRx1Y/KRjA5PYDBqWpXuKFoxcSoAy7ifugAYJ+Xqcj15pSpJGcc4OOnT1NWWzjaCSSeT06&#10;/wCf1qHDE5AOACv3skfh/WqV5PmDlhGSi+v/AAGM2nBz8pIJGOOtRgLtwTnJGFJ6/j709S+5hj5g&#10;xC5IQkeoP55pMENuxluNzZyOox7UrWb13C11zDV2g5/hI+XJy3fGP517h8IPE66dqhsrh1VJmDRy&#10;M2VGOox0zyPyrxHHOPUZB2g98YPpWlpl3Lp93DdRMVeNgwUdODgfhUyipR5ZbbFQnOlJShun/X5n&#10;65eC9TMsIRnUAkEgtsB5xyrcc4I4x933zXumn3bSrHAGkwIwqJsLMOAnAIB4ByMH7pr4f+FniiPU&#10;tLs/njVniyQxXDsNzONpGerHlSOgr640C7iuIk89o8IflV4wwl2k8EMBkdORycdOa+SxlKdKT7r/&#10;AIB9Jha/tqMXT0T/AKZ7LZL50RVoWKxwMVkWUTOqqobOxsFRgOSc4HB7YLU0vV9NujOJBIIHJELm&#10;R3i2uqtuCqz9toZQVI9qx7G4BBMuy4h4cQNGksQIyA3lyKSegK45yM5zgV2C3uUe1nEbRuuxYGlZ&#10;0G4kcIzZzyeVPcDPTPDGME7xdv6TPYTUrxXw6P8ADp+Bct7+CVBGJo08tVUt5hlVGYbghIAYN1B7&#10;fKe2aVr8+TL5a/bnIMoxkmMEOvBHIB4zkHoeMc1XCWN3GnmQQkovmEKEZs4Y5xw3BPXnAP0FdBps&#10;VtAjoFWJXwdgTzBGdpwr7sOuCxQjBx3z2zmveUIb6BKak7ta3tf+vmVdK1UalGQ0QDx5RorhQ7Ky&#10;/PgZAbqRkjOfpnPQNIiB1aQum0ZDM2zKgspEb8A5ORx1I6cYy5DFFeuIVV2VCyx4ModcFQEDAFWw&#10;OxPQkZrQ8lcOIWdY40Ic3MbWrSKxGZDncFzhiwzxuxnnIynF2bY4Nt26v7h2MxI4WMlXIYyOwVmy&#10;7YLD5QduQMd4zwODUsUiodplkfZKCVQDCgswYgqQSSpTAxnaDwu0imOu471EMar8xkVBN5Sn5VQe&#10;WOcYGcgkbWyM9B2eGaMCRnIOzKRh1I3A5xwThcnjHB69KiMnFKKWr/4H/AN66jFJy3dv0LyNFI37&#10;8RojqpkUr5rhlAJI3jIxhzkevXmrsTzquPNhtzCyERyB43O/cDjO5R9xRg7c7s881lrK8KNEQ0Yc&#10;bzv3qkTMNo+/wPlQDAwMsWIyTma0lchxGxeKRAyeWvMhD5Ybgc/KVzk8DB6c4iVmuV7iUJyXLHf8&#10;Omp0u3yy8siR4U7ZSSTgFsEMyOCxCk4OSvuRVuB5ZGbAYSFBlWbyZVYAkrhxkEYUHpkE+tYqtvV4&#10;7gbipG4LDHNtXLbiQzAscNwMZ6846a8bvbnfk/IisWachIsryApRgVzncFxnJOQQQc0opeexbvKr&#10;GL2NOKJ0A4BR253ytFJx82CSCueoxxk/Umta08qObyg0kzlN5faqgHcdg4OeCeCPUZ56ZdnPvKed&#10;EEO1WjcSZEXI28qTkADOBx27VqLbuHKgpKABtdcbl5ycjggDk/lRKNOMlZbmkeTVx1t/mdJpd5K1&#10;2YpGjVjD5ibIBtIjQLhi2DhmyOp4xxkc+g2t4ZYTKvmxOqllURNtl2IxHzqcADcSQR0XODya8tsE&#10;GY53Yxk5DvLI0b4HOFXkdu9d3bSttbaQ7IhO5B5798EFXBVhkE8EgqMVMlFWUn6FRmpate8ek6Vq&#10;+F2O7IpkERJmEkknC4KpJgjovBx1UHHNek2dzJIhZYBFGreXJdGAxlFJ6loj32feOCecgZNeQ6XP&#10;HE0bho3Qx534KuqsxOSHUbsDbjHv9a7uzvvOVVjj5Uh4z5YcsWOCBg9AcdRxn8TlGPNJmy0inU7/&#10;AHnqUNxsWOSPbhQrkR3LpEoxgk54yRz+LdM4rqbW8Sdg8LHyxgeVcX3m8tnBywC7ueScHC8kbcjz&#10;Wxu4BMZDI9q8eDKvmXFvcOWIG4fIygA8YIAAA+g623uGRlYttG1V3o6XPdV3qpIy2MEqCc9jgEiP&#10;ekve26Ex5FNNLX8NzsoRHJmQsyoJFjWLbG/lNgHAKgFSc5yeSBzzliS2SyyHEY8t8KDJG8ZJOApy&#10;TjB4J47e1Uopj5nmsjFDgLOtlGWkwE3AHOVz8ucHIBXIY8HYhmLxmIw7lO7JMToWyjKzIQcYy2QQ&#10;TnYCD3rL2bS7NnRCpJzcV2OYutHLDcY4nYEEBpGXeN/HzBTgAFRkZ9a5bU/CyTRoUgiTcxESKwdy&#10;M43Nx8uNh68tuDdOB7IIy0EbmSH94i/LvaMnAbBA2tjofUDd1POa11YI6higZJyAqyrkAqQDxwem&#10;QP8ACueVJt8yXqaQq8sbw1/rQ+S/Efw+t7hRELSOKWFy4OAV3LgnkDoCM4we4r5F+JP7NXhLxXFc&#10;DWfDdpeEglXktUMyvyFxJjfnocA4zjriv1LutGVpORsPzyOTgISwBK8gAnrtHsAM8Z4PWvCQkQuE&#10;UK3JRG2NkAjd1+XBXoAfr0NcVWjGUkktj1cNjalO1SDs0fzt/E/9hi5je6u/BVy6MIy6aXduI7fA&#10;G4hZOMdFwOevrXxD4m+F3i/wndG11rRby2Qsdkz2zPbZXgESAbecE8noOlf1S6/4Bjl80/ZmCTlG&#10;KvEXVDx5uWAxkByAvPOOeDn5/wDG3wk0zWoJIdQ0uC6WTMUhlhEwUAYO7cMgcE4PNTCviKStJ3XY&#10;+iwWcy92WJjzRVr9GfzWCLy5DFLEqlJOe4fOBgkcnpnr3roLa2RtjsgSI4G1Mr82M9T9Dg+lfqR8&#10;RP2M9CuJLy70CK506aVfMjhjt99qpXnHUbRzjC+o5r5L134A+N/ChmFzZG/to2Jje2RpgiDgZA/2&#10;Rxj29K1+vcyu1Zpa/gfX5fjsDipRXNsno/w1Pn0abG5imxvzgEjgn1JwMA89gAM/Wr8OkyP5myJj&#10;IMIgGWdj3/HJx6HNd9H4bmt5leS3uYookdX3RtgEEDBU8/3sj3FWLfTy6JkLGJh5ykchCC4BIHfp&#10;nB7nmsHiLO0GfWYfDqpFWSfn/XU49LWV1IkZN9uGJjB69gQR2wCOvPatC10yVJDK4SOQoruApJKn&#10;ryOOBjn3/Cupg0uMT5ZCWUEtIGykm4HjByAcZ4PXn610lppZkuIlEckglTHUmCQMFIYYwCCCOQf4&#10;j7GuSeI9nZQerO5YChODU16fmee/2PFBuFqFMry/MpjOxlIDF93bJO0HttB+nTQ2PlybJImeQEwr&#10;GF3PCFB4IPJIxjtz+JrrE0RoSzmMzrE4Z3Hyu0YIJwp56Dtk+1XrbTTIG8pDIyv5zNKd0y8f3sZ4&#10;yOM4rmWJhKzZ1xy3W0Xa/wDT/MxLe2giggwCjQv9o2hCSeSQpxnOMZY9MHocGtxRFHG9w7KEgi2s&#10;u5gUB+UEd+DkZyRx3q8miXZntyIzJESXYR4ZtgyCcdiCCQDjIP0NaKeHBOIwkZaMv5My5H3cv94/&#10;73Ptj0rllVjZc2j/AOGOhZbVU/aW02L1hfRGK2ZfIa3kCBeqOOe+Oxyo9ePy1IYBcwu7eUBIrBiW&#10;Ks4bOVGTyAQPyFUJPDLoka20E0gQs6FFPAztw3oDx1x+taun+H7i4lMk10IjEN3lb2LMcDIZufQg&#10;nH4+k89K/u+p0YfBypR9m1qtfzRn6Wk1vc2ttGH4ZWLxsRLNjBDN6DpjGMY6V6tp0X9mZlCwPEdh&#10;wZ9ylvvKTg4zuB59G/PMtNGCp9olnQNBCI4mCDc5PALHOSMLnvjA5Nbtrbt5VswlhlVJgGSTIDfM&#10;QCRwMFgcf7vTiueVanN2k+39fejRYKVN88Vf8r6fj+Zr3WorGJ7u3t9ojcxpJHGStwVHz7e+ASee&#10;nBx3w2LxNcW89olisF1JczKs0UmZI4htG3jk5bOSNu4GMdORVy8tftIgtypGXEiiGNihyqgDDc49&#10;+vPqONCLw/Yt5TB4reWBeXkDbCxQYJXphdoySB94dsmuOcktIasqGDcEoyjqjoLHXGuoLeSSO0SY&#10;Hz2PnFw5YlgqDgEtkY4GQR0yTXd6Xq7XBD3ccguWhECxwoqSyKGBwpPIyUBBJ/hHOa5HT9Lhjnea&#10;SWJY4EVEWMKCxAAHJOeMccY+XtgY7vSrnS4J2urwRgSSrKk642H5QWVQRjCq2Op6468VlN+/drS2&#10;vlsdywdLlTWj6W8jYsJrdI7241CwaeGUJ5CyXUiSxrgLnPbG1RgYU4I6E56mSe3SdFWJABF9rS6W&#10;fzJGZyIkUKTv4VHB3DGG7EndRjjgAZzcwSGVJIkt9zeWPlwrcctyFbj9MkDP1DTCbCQxG5tzN+5i&#10;urSEb44+XlK5U/Md64L8DA4IxjGVSF1Fb/8ADEfVZ1lamra/ejZubjTbwQmCSIP9ribFr8ozuIVZ&#10;Gx0BXd8vr1HJrpYbNprWZLXbBG8YWS7lQqmxgCV2gBmJwzdDww9Kx9A0fQ4LIXEksmn2gYW4jW4Z&#10;pti7SzOScliWLMzHJLMWPzHPVTRaVEIrOGZ0iun/AHCiRYg/U8kAbgSgJHbPbiplOUYuME2VHDtS&#10;ipPstui/U5q3S7v7W5+0Wd1p4Nw8NtZrIUjmVCfLuMlsHerF1BJIDDvxUtkmt6ftgtUhMs86pvjk&#10;80ZAIBbaSOj5IUjrnjgV115mOPyjdRPCi9VTYYVXOcuGzwCOMAcVjwz3ctrcNp0qQ/Z0IWXYZVjB&#10;BUlVABzyhHv69inP2kuWUrHdeFKhzQjeTsv8jX06GOzlvLrUZ4k8lHmk8tt7S7iWbLY5Y9wBk498&#10;VftWN3JcXhRbey3MpuJYpGlmCrj5VXLDJzyOARyO9c3b2VzLHKxu2km3MWgaNIYdu4jDHG5jwOpO&#10;MD3z6Lolk7W1ocI2YxGxVRIiDAYdM8cjjPUkduIqTSXIty6eGmpSxNZ7u1vM3tMtL68hsF04wWsT&#10;bnkvZbZkZ12jKoW+Y9MH0JyScV7J4Y1RLAx21vaNe3cLASOyLa7whwXCgEEMSvHy4EnUcY8x0fTt&#10;S1OZodOt2iEcYjmmXAkQH5iSecLzn0BOBjHHr/h650rw9LCupiK71BpltII9rMu8sCAcc5G3JODj&#10;B61z1HdrnZ2TU/q8qKXy6+p7HpkEmr3KXM6S2byFIbpUkViGJLlYo9nBPylTnJ2Z4xXc2wurWS3h&#10;jllm0yxt2sNNtDKZo4VRjI4c9Ad8jlsdyeBmuRXU7eeG3s4iR55+0ywBmjZyRtJjA6DBUbuD0zjA&#10;Fex6No8E1racNbqIRNEkrsrzKw3fKWPzBl+bdnkPnJ7qMOeTclt2MoUuVRdRWi76HN6JoT3c8usz&#10;yyRRSXYTeoAEhkkBEaryQMsABjgHr3r7P8O+HF0Kzm83UYLieLTI7xpob1dsEZXfIDKT80hDICoy&#10;cbz2Ir5x020uZb1reNks7EfMkqZHAOMIOAcnI4wPXua+mfD+jiO0iuJJWmupVtrSyhmCCONSpLuy&#10;4AOTzjHO85OTXdg4wp+9FXsjlzmup0YUoyt0t91vTqepaDcvp1pA2oTi3uLkDT4hOzAWsJHmEqpO&#10;MnacL3Kt6k1YmvkttOaytT9o1DVbl5xPM/m3IifPlRnHIATB4x8zH1OcOGS8l8R2t/4hnkuJYXzb&#10;tJb5tzC6SRi4VjzgZ3L8p3AZB7Ft7qNq93eapaQsEun8nTkUAkAcBBxj5tvB6fL74PU1Gcfay0e2&#10;u/8Aw55WBherGE43vZ3W1+i6O3+Q3UmtNLtmt5A32pUeAudsxRmBAQDkZUbskdcnoMk8faRIYzbT&#10;xvAkcpErMGzAvGQRnoxYZHPKY44qy2qQySNNclJLm2lJSEucM4yCAO4UsvByPlPWoYmOpmMS7008&#10;TNLckkH7c4cu67vTKiuKcvapNn1kU8O+Spo+vr5fodPFZwm6037K22wjQS3TbuWDgkKR1xgjsOpq&#10;j4lkNpFqGpCFUtbm4MVpDOzZEeSRuAOf7nI4BHcmulsY7hdHvr+KBY7SO7WHzQD95wdgyeoCkAe2&#10;fQmuC1+8/tSSVmUfZYH8sry8QZR0BPB+6SeepP0rlxrp048qT5nZr8vu0OVTlV5ne8V7r69nt31+&#10;71PnjxhI81vJAihlKvIWKs+W4DYJ4x8oAAxjBGAOvwh8RrZZhdPgl14QckIu31xjqBz/AIV+iHiW&#10;2gaeWBw8aRFlbOBJuAYksRjBBXJyO3rXw/8AFFLWCfUJAJDDGv2dVXADtneAvOOS4/rnArzKMuWl&#10;zT1/qx0ZfViqzjCLufmZ480Tybu5kRFKTI3njGJF3JKvOM8MuVyO+0kcZX4d+KFkk16kcmYhGC4A&#10;J++C2CF57EAYA6fU1+kvxDkia284w7JTMin5dpZQnKgdiSw6gjK455x8GfEi0iu7u4mjjZItxMcf&#10;JVcswA3YyNvI5/Hmu7BRUZuX4fke5UbdOV1qtHc+L/FGloLZ5dm5iQVG3kE8lvQ/eAx0HTsMee+E&#10;fE998PPHuh+KNImktJ9J1CK6UoSqrtKgqSOTu+YH69+K978T2gjtZB5eMLuAlwFAU8EnGMYGcHPJ&#10;7ZrwHXLBY0lbazbWDJnBQ8ZOeeSDjpnp7V9bltaNNOPTz8z5HNcAqkXUgtbp37H9j/7LPxN0n4wf&#10;DPw14tsbqN7p7WJL2JG/f7xt3bxg4OJP4scZwcmvu7Qz59rGrLx8pMgLLjnjgAnP3T/Sv5Rf+CV/&#10;7SkvgH4ht8NfE2pONB1zatkLm4BSCc7Aqhm4GeM49T36f1c6I6GSB4Zg0bxKVkUhlyvDEMOD97g8&#10;8dOBXHWwqw+IlBawe3zPlq1S9pSXvdfX/hz0C3hVIE+QY24EijeDk5B+vTp2xxV23jUKGbsSqggg&#10;nOTkH09cEH5uKvwxJNbbsr8mN4ViVHRV69ySfyPpU8NqyKNxUEfKNwyQQuMEe2NxPOcmrUOWKb9D&#10;gn7z0ZT2qMPGowrfeDHHGW6gY5GAf8elxYFIEZz8qFFJ/dsnzbmJGeWyzD2HqRkzxQvvUSIoIfOS&#10;C7ZIJyc9Pr7++K0UhCscZkw+w9XUMSB657GiNOKS8tzKpUTXLHdHM3diEMpCgomFKkkNkLkgjA5C&#10;gZ46jHpWFNF82GQHP7tQVIEgI+X6/UHsa9ImszIhUHaT0IXnlm5HGQThjx2I9a5i7sWRyMkg/KCC&#10;VCgOHAOCe6A/j07VE6Lc7wVtQw1aV0m0coy/O7ueXbcd7nMm/Gec55yfT73Jq1EoyFyrYkwRG+xz&#10;znO7pnGAD7jg8mpprcxshwSD8r5G0rhsL7cEZPXjvnNIsU5bkuHdQFBfLt/DtyeBxjrgYz+PKk4u&#10;y3SPQU7O/Q0IrfzF3xhGLD5c5X5jjJHpjcTk5I2nPrXR6RNcW79Cueqt8hySAT+vPv361nadwUQo&#10;ihgY2JIDH7mB365B6e/07FdOZ081EON4VI1OCN2TwPwI6d+o4r2MPFOKqw0b3PCx9WUE1a6Z7t8P&#10;tYaSSKKWTAVQuGYqvIzkfTPPckcdOPqKzuBJar5bIcR+XtLnDEEkH9QOnRRXw54fuJLO4hC7gyy/&#10;KokHmPtBPQcHvwc52Lg8nP0pp/iZHiSNjho13u2Q24lm+6AAccYJx6HPOK+xynHxjTtJ7Kx+acSZ&#10;W8TONWiup682JFRAVOzOVLgfLwOvrye5HIwcV3FhtRQVAUoocBQfmxjJ/mc/4V5Npmo70jLSNjcQ&#10;u99q5z1wfbbznnbXoNhdFwXCsm4Zw/yooBwcH657fxH2NfVYSsk+e2p+YZthKsIKm9lf9DpZGtr+&#10;CayuU8y3ueJEYb1Jzyc5xzxXld5JP4W1l7ZQwtLmRmSZmcsDkAhs8ZOCTkHnPtXoEl2kMUbFlVpJ&#10;A5Z13Bclg4IBHIGeoxnBrB1u0h1q0aNOLiIPLvRsnJHygE84G0YBPrXViVOpBThbnWxw5XahWcKy&#10;/cy0a6ev6Ffxbo1v4t0d7mMRjUrC23RSbdzOGKjHXJxwcZ5wO+K+SdStJbS7aNo9gjJjIkbJ+8MF&#10;Tx7n/gVfTvhfW7qG5ksbt5I5LWY24hlYYkRHxlTnJDAcY7N3wM878TfCcW+DWLOM+VdrumRTtKMz&#10;bWwcYxweo/iGeOa8bH4dYql9ap/EtJH0mT4mWVYv+zqrvSlrH87fqjzPQ9UKlVkYqoHysinYGwRw&#10;PqBgHt2zxXuXhbxEPljZ0ZUkU7dxQsAMYYEA/wB0evz5OOTXzlboYmSQgjE+CoyFA6kDnpgH8Oa9&#10;B0m+MY80HZsKrvc/NySM+3Ucen0rmwVepSktex7maYKji6LpyPrzS79ZI49zhldQjls5YYIJP5gc&#10;DGM/h4r+1R+zN8P/ANrr4KeKPg98RLFZNP120dtK1BVVr7QrxVYQXML84IJwwHDKxFb/AIU1lmSJ&#10;G+VgS5IO3kHoT05yec969dsboyquHcZAZsgMxAIJ7dSD29T7V9/luMjiKXspH4hnWXTwWIcor/hj&#10;/Ky/be/Zc8S/sn/HX4kfC3xBYXNrBoevT2umPeKBcXtmZCLabfgAlo2iclD/AMtVzjOD8O3xyJCg&#10;3KsW0/u9pBGHI5/uliMj3HPQf6Zf/BWD/gmb4Q/bt+FE2saBZWejfGjwbBJqGga3FbIs/iOKOCT/&#10;AIlty2MkFhGyN1BiUcjg/wCcD8U/hf4k+Hvi7xP4N12wuNN1LQdVuNH1K1vIGt7m3lgleKQFGAYD&#10;cpwSBxXp0+ZScZb/AKHLh6ntKfJu/wDhjxuaVmjypDK7Zlx8oxyGUjjuQePT6Yy5I2lEbf6obySy&#10;gFvu4BBzxnkf/rxWvNBNDbiJo9qfNscDCg88EnngZ/DueazmeQRLAQd5YSKAdiZwduGP+63euiD9&#10;x336G0pJ1ea3l6XKSxyRyAKRHGqtIGL7W4AAAHTr/X0q7G5nRpYh5SRHcJAh3sCUxu57EnsOuPSn&#10;pBFLH85MgDEOqLlArNyFI7AkYHsM96rmX7PiOPdGTlWXzCQoVtzbueeT2/ve2aqDfI7dik1K0b77&#10;ev8AWxop5xilCHbuQpGHJA3MGwRg5xlc/UUt3JGIVYIGbcAUEmNueMk4646k9dv0p1suIo9s37xJ&#10;CpQvux8q7QfXKnJB9O+6q1xE8TpJKDuEQwikyKoGMbjk84AGTkkt78tOyTgRyeyT53r/AF+pC0AU&#10;xHapATeu3KKABgD6cd+eap+SG2seXmkKhpstL65PGB0zxjvWxLcK4VpNp2xFRHvCuF6gD8vfvWRs&#10;JKlRIVGXU5ywzj1P4fjSbsuZB7TnfLHTy7Mrm4mRzkjcucFQAeS3zDH3T6c9gcir8LuifLlj5YDu&#10;PnKZJJO7HpgYOfu8Y61nXCB0fLKZQu4ggNsC5HHrjAH402K4a3UxSvsAOSivtXaM/wBRxnuKpczs&#10;v61G6lmnU18vwNyAAscpGsmAFGS2NrE7lI68g+v4ZqCSOW1czeYEES8h87gMs2WOO4Oe3PrUC3Ya&#10;5aYHbEgAB3rExUYOcZOCQO+ec+tSXdwlwkDqrB5cMUGD2YcA8EgE9R3NUlJLkQSSilHr+G5bE5kk&#10;jaLezupby+dhJAAJ64wS2D0pILa4M0u0gTBSyAkbySDtxx2OOxx3ogjdJml3BCsWQB0BAOcEe59z&#10;x05p5bciTwzZbGZf32JWIYcYAyOeMY+uQayi7Nc2pVSm5XlT0f8AlYYA6PKxJdVbcuFLgjd13euc&#10;D/8AWass8jvGyoq+Qod5GGMgggk9s8HjrxUzzo0R8qLe6qfMYjbyOf684/oKpTRTh3ZGkG5wMgAA&#10;8KW4znhWJz0OGxnBxSaWj3IUORpK/S7/ADNWUSBIrnOUclxmPBGBggdcjv8AjzUYmjeUXOwsrIEU&#10;RqTu6ZIwcc4Uj3qyzl4oo5iwDIGjHO5yMFuB2HXPtj6RhHCCPaUjTvkKWGQvXB7kc+p/Cmrppy2I&#10;VpVubsv+AbL3EM0GxQpG0R4U/LGuAo4wOOT6cVnzCSNzgBw2Q2T8qc5Bz064Of8AZPY4ptnat5ss&#10;kkgMak71Aw27jgjqOnQ+tOeV5GaMMrRkbVQsZCBx19eh475xihX5mrasKiqSalJ2T0f4FmOCO/Vp&#10;HkWONAZIyCdysSc5POMcjk9CKs6nHEbaNY5gdo8ttu5ST0+bGDnn/E1QhR0t1CEYJIZgwLICeg55&#10;ByenqeoPF95IghinG5pJNykrkqQoC4PbhIwevOTgmk1Z6b9fwCDjTglJ6aL16lLTejEt8+0buuWy&#10;c8HnAywx9D15xPLiUbQzE5BO1vmKKcFVAHHTg9v0q/HabYiVUt8m35yFYr3BHXqSew4HNVpVWGMu&#10;ixooQAkEhh/eGcc5BHT+oFPlbSZonGn7kvhtr96L5/1UUZP7xCUdkGzDHjnPUcj8PSqo0+O3LB3P&#10;mSneDkyJwB+Xbk/UZqtHqErOASU2SBSwkJQq2QQUHXjuTxk8dK0bhZb0BWYncFUSAlmjCAKq89CA&#10;o4P5URgm1G5jKc5fEtn9+mpTgMsTupbMb8FtxZjg4AHpyDjj0+lW3WJADIRHIwDqoYhtxGBkD/dY&#10;59qfGypO6kIDncAxAjUZJPI9P5dKh1HypiImkKLG4fK/dzj5iG2gHvwORkeozLb2Ohv9z7VaLt2K&#10;Etos0b+ScZYL5jSs232X9arpM1sy7ZHUhSHZGwg28Zxg+xPHryDW1HNCY4oo48MowBtAk6MdxGOc&#10;4xwe/rVOfylkCHILHAAPzcMPlUE4A7enBqeRSg3Ibqcqi6ejVn93RfeXI/FWsW6LB9okPlDYOS3T&#10;3KmiqJimBPlyxqmSVDEq31IAxz1/GiuV4HA31opv+vMt5jiVKynp6+h+qZP3FUOzFwQd+2Vcknkg&#10;5yTnp69RWDquvaboStLezhVgUF1c7GyQB0GeRg9e3Havmf4o/tN+Fvh6jxG/iv8AUA5lNjAQZVVU&#10;XGcDGWySOoHP3crX5q/Fj9pnxh8QtQuEsbltK044jMED4cqASct+OOc1+A5RwlmGapTUeWk/tP8A&#10;rU/Ys34sy7LLwTvU6JPr+mh+gXxU/bA8JeCnlsNHi/tS8D8+TOJVhYK6oOuMfKmT7e4NfmR8SP2g&#10;vHPxCu7oXup3FjpzyHy7G2laOMJn5c885wM/lXit7dvcXUs0kjSsSG3SOZC2cknNZkk0e5SSCQfl&#10;5PAwckfTNfrWTcIZXlMY1FHnqrdvXXTY/Ksz4nzHHyceblp3dkv80yeWWWSV/NleV8bwx5B47k9/&#10;8KrqGQAzNgHIOecg9x+VI92hA2bJGKhFbJL4I6Y/zzVWTaXycn90SVPyhT7fjx+NfVcqjE+bvGSc&#10;5PX/ADJJnjwXCByCRuJOG9MDt0/Wk80SIAvyrngHkcDHWmqwkjK4AwpYEjOOfT86YqRnadzKqkHr&#10;j0zj2x60uVSSSFKo4TbWt9/1FRCHzkfKwJJXLAZP69fzqQlWI2sC3JbcMEjoO3XFI+GJWFWjA+87&#10;EEZB4wfz/OpE2hMyBVPzA4HOQM4NV8KV9zKzfvx20IpN4Xy87UBHOPmYe304/Ck2NlVYHk/eI2lf&#10;T/PvU+zzAowUbdksBnaDzjH55phMgP3yWxgHocYAz+WKpuKViowctVotPIUwmMoWU5xhCBkHPf8A&#10;nQhBK5JOOMhNq475+tKjup2uwGDk7iefQf59aXzWOTkD+Io3zA8cD+tJSdnCxUZQdRKD1uOKMpXO&#10;cADavQYGR0/x9ahMZYq5ZMEEY3YI7jP4/wA6e5LKXkIORhcDJ96duwd5jxgkD+Lf09vX0pWbLfLv&#10;JbETAggoQOMjA4PTn8qlRhLjKAEnDZGCD6Z/OlMTsgdsFCmQoXhTnkg9OOn5UAnHHzMcbSDgLVJd&#10;I9CVKPK7u3b+uhBJGPmGRu5CgDmnTK2F5U7UCj5cA4wDx9c05Q4lfOGBzgAfU5z6DNSFVADuMlhh&#10;RnGD7fnmotfYTk0paaL/AIcjKK6qxLMMYUZwCB2/z6mkUlAwxgAFT3yOOKVVGBg5ccqF698H8+tK&#10;wJ81GIVnG5dowR0z0+lU3FaN6ip80Wm7EbB1iJJwdw27RkKD2P0FNaRljWJGIUfOeOSexI/wp/ks&#10;UTJyyL0YZHt/P9aailwCqrkMQVPU4/X149qVvdsiHGbuo9f0IXy4CjDMu7P8K5OOP5fnTiiOQrFi&#10;7cEge/r6VIAN7qWOAAWOMFsdc+nalIwSpGQMEfLtbrjJH41Vk0l0FyuEkkr7JeVrEKxgkBiSMbQ2&#10;cA9R+VJwPuBW8v7vGd2eo/nUxO8gZAU/3htxgYyPxpnlqFwpDFhkORyDn/P5URs9wvKX7zSwx1Vs&#10;sBglcZI6Htx7UxV3HLPlj6dPpj86s7SjhnDMcjlRke5+uaaSql8LjawBIHQ5Pb880k3ZpaDmkpcy&#10;76/MrucANt2hW+VipP0pyBRkGMNuG4EnGeMEn+dPZ3kcKwXEYzk5wBgEYH59aY4V8EEDLjBPzE45&#10;yfyovPlSluWoqb54vVNfkQEhvux4+XO08g8/Sqkz5TdgcHax654GDWqwG3ecyEnlfuhufTsKoToq&#10;o+BjaxVzkgMP9n2qm49CHpJQev8AW5hSkEYzjknIXgVa0yUxTgsVwBuTkZ9ufxqG42kkIMjIyFO4&#10;Y7fyqG1BE6u2BsO3byMDOB/OhN31epNVSXvJnpabZIy6lSzLl0GQCcD/AB7UxldWOzBDpny8ctkA&#10;Z/OprVPMtUbcoYY2oeC4AHJHenKqBz5vyjgBiCpyB6+lEtHoXHmnFa20Kfl7QoLBWZd24DIJPb8c&#10;GmNCGVizFewbGM8EZxVtYf3g4ILZUHDOqD/OentUBicHcp3gnLsOqcHNTJRfwmitGldbr/gFJYcK&#10;x3jIwu08bgOlSPblGTK4XcThcKTkdPofb0q00Sl2I3KqqCxJK8c9KbOqEkorOVUFQeck9fwptWtq&#10;SqilHkRS27n8wIdoGTu6DsDj/PWovI8wOwHVsDAKgjpmrT4PRFXn5lJZQvQbRz9f1qNydpUDcAwU&#10;AEjgYzx+VNK0dFqTzNuVl5/kVTEVcgHaNv8AEOPy79DSbFVGfJ3qeFUYJBGD9amwGYs0oO5MDAI/&#10;D6/T1NKVcBV2ndnKkA7VwBnnuPmH5UlG0Urjbc3btqVPRcZjI3cgEE5I6Y9qjVGKMpUZDgJtODxn&#10;nPU1e8pVIkwzIwBwSQFzg8f57UOsRKkEgqBnaMrx3I/P86Ha3KipKPOm99vyKflMSq7SwYkN3z7j&#10;uOaDG6gNxuYlWO3IHPQj+tTlQFWUB8EkKM8jHoO9Nl3lfnIJyI+vGP8A9R/Ok0uvUhXim7aIrOhO&#10;MjGcsp6FuDgg9/xqFANwySADggjg8DGf1q+cumPvBc4OPn754+lVTGCQQWGxyVDfNn3FCit7hK8O&#10;V9dCPlmD53AYORzn3J701F2qCxxjIGF+UjOefzNThTt2B0GcDHYZ6Y7g9aQ7s5bcMAKWAI7gcHoa&#10;fLFJW3CEve5pbflsQ5JclVCgnPPU/wCfeo1Ta+MBSoBA/vZ9KmRMOwTLKD9/dz/9Y0u3b2wRhRuO&#10;446jNEuW9xbwb81/X5DCsZGCQ20YwVweenT6ioCqLtypUE7gMZLDOP6fpVlYwZRk5BGeGwxP+H/1&#10;6SRQWDFTwSCewxjHHQUlKLd0U3eDj1/4Yr+WGA6n+6SAWP41XaIEswVhuLEYHH1/l+VXRkKSxBXG&#10;Dk5I571CRkYVVAx1zgD/ACKmLk22NKFo3+f9epXZQ4DHJKg7ivGDxTWVivBG5+mBgD2qZlY8jOME&#10;kdu3b8KbgDGAQWwxOc/kD6VdktGZ3cv69CMRk5DAEkZbJOM96aMMrbcEIMkE8dv/AK1PcBTxtLH+&#10;FuN3UZ4+tJsUgsnOTk4HLYz/AIfqKTvYUlzTaPfPgx4payvl0qR2Ad1e2DuAitwzDkf5xX6HeD9T&#10;aeziYkiSP78SZbHBClkOMHIPf8ODn8g9Mv5NNuob2JiJIJhMGzkgg5AxX6GfC7xnDqun2MqXEWTA&#10;qzRI3KFcb8huMjPOD36cV5OaYZSo+2Xz/wAz0suxCo1pUZbS2+//ACPuKwv4zbcnBRQTFGgXsQFw&#10;3U5PIB7DrXQ2Mg+QB1SSF0UZjGSTtVcxscEHGQqfgAMV5FomsCKKJVkdbdgH8uRhsIcj5grjnJZR&#10;8p6sMe3oNldxxyQvdSyFJQXliigx/EzEBXwjEKVPysB0G4c18zpCVns9PmfSWbhGLd7bnaAttRd6&#10;yYALgpuGBtYE5AIzjOQx47HpWhBMTKHRnLOw3JGFkWPnAAQ7eD6E9e4zWRFcA7UijCR7NzLuWESK&#10;pkA4OV67lBBUADtk10ECpIigoFRsKWUY87IwzFenAZgMYxg49awbaimdMY8qfZO3r/VzTWcssSlA&#10;kok2LGxBXIbyz9/02lDk4+Tr2rWhJVQNjMEiAYwEqcEHjzAShwe+OSo52nnESIhmnkQ+Q0bOXCm3&#10;lByBljuZGweMKBkZyf7u5ZtIJGeSZIiQCkuziNido5j3E4Yqd+Odpx0yZ966vqjanKSqWa36Gip3&#10;RECNbhyySwkIki/KVwCAQc7c4OTghTgCpookaPzJWkWYfOYt2AMlQNqsDz8w6H05GKqwszIEKgup&#10;YHESTl9xGMYXnGe3QdQa1LdXS2ImQrMkjCNlWS3Ev3/lyC+PlwMnGFAPIIwpxjFNp3f6F+zk3GPz&#10;19CltkhHzIQ6nJaRdi7l+b5gpIzy2BknOcdzTvLEhyixxRp8kjRgB2ADFvm+RyDk4I6ZPB5NW2Hm&#10;I2+KKVpEKyMFVlyRzsdcEcHjoe/GTVWMLk+aEjcFg8fl4MYBLHPHGQpIwDjHTArBRqOFl95VKMrN&#10;tWS2v16F0GX5n3KkUk2VXzRIxKKVUkMDgKElBGc52nnJIux7Iwi7yFjY7XVyrKQ/Ge3PTjis2BZG&#10;SIOH+9saRDhQ5UHLEFgQBnuenOKuGQo8MjERSeWWZigMn8OxcZAyDnJ5HyADGc0nTV1J9f0QJc0t&#10;G7HQxyMoXaGkR3EMjhN7AEDJXJA6gdx0blck1q212Q+1V3/IwVSdv3SxwM9R8vHbA9K5aK4QuN6b&#10;BK+VAjJiXklgCfmA+53J+Y88VqWkjRl4kuPN2R+S8mSig8gZB+XjJOQP4hkgggS+WyV/L8jGacJW&#10;fws66B5P3amNgCxy+NyDPHqcg8Djrk+1dVBMkpZslo8q7hNrnI6lT94A7hke3tXCWEsguIl6JtX5&#10;mXbuIU9CMkMMhfeuqtXDsUVtp3BxGFU7Mk8KcAnGBjJ7H1IpTcOVu3/AOpczSjBa3/yPRbG9e2RJ&#10;I52CJ84wrIkgUfdZDuDBc8AnGMj0B7PT5Y5wuyOTdCjZDQRxwo2Bt+YHcSQFAAXHynnmvLLO7Pkr&#10;l5QgkKl490OGbPTkqOikHGOnFdvbXCyFZ1+clTgKY3dCSOAOPQe/PrisI2joWpuVPmXU9KspWERC&#10;uqbgFMkMs0XmKNrOrckYAIJCDkJ3GDXc2d15pSGV7ksSZA/2iAySZk3blZ17Z2/Nz8meDk15bpN1&#10;C0CB7gK6AKVWJ4hKu35yFGVwTghST1P3sZPZaZdl4mQM0kMp82P/AFJkAG0jG5SRypGT2JweaHGL&#10;i+U2UUrOC/ruegRhlZFS3lYmJxcMIA21Ad2MpIeQSuSQOFAB610sbQpHGylED2+7zWhmkXjAboD8&#10;56YzzzzjLDiYixYsIftKxKrJJBaC8WPA2EBocsSoVju6Df128Vu2NxuVUaMoI42aSW4S6gjyRzgq&#10;pyQTwAD90ZHesZN8/qQnK3us7CCSMKzhkkJiVlkt7mY7GyeGLrkMORsVmAOORjFbVvMs8cTtPDIW&#10;XjMyoZANwJ5xzhemOT7ECuQtLtongVmlKLEVlzduMgMNpXch4+bjBGeT6g9JFLAMB5lKSqZJmmuY&#10;UlmYKV53jBJY46fxADJqHDmglbU1U29+n6mkQsgaPYWlVzudXVwcHBOAOgLEk5Od34VW/smOQBpL&#10;ZmBx85AhRslTycAAlc/dGM88DObcVwftKgJOCAm1i8Uhf5TuA7jliBnnnA45O5bRNIEEkUiSoocI&#10;0IDxFlyV2qfvDcAep47YwYTjCDlb+v6ZSlUjFRT31PO7vwstwSn2clQpYloM4yT36emMdiPWuJ1P&#10;wbbNvjWAR/OVKqm0sFCnI79x09cd6+gRBleQQNhVd0TbpApAB4yPmzxglcDgnAByZrFEkaOQMUVg&#10;sdxsZskZAOcYAOD97GfTiuWrFTlaKu+vqdlOvKLvfRP8T5H1r4b26sCLUKHjJMZ3Et/Ft5GR0HGc&#10;D6YFeO678Lba5HmR2qsz/NDKyKocFS+AASCDjI9cDpnFfoBdaKskuFU7sgO29ioLfLgEcncDwc84&#10;6HkCrJ4JM8d0YyA8aebucl8ksUPB7/MoznkZ4rnrU4taLfU9GjjXGf8AXU/Hjxt8CPDmpyS2Vxps&#10;K3JtiPNjttpgYDAY7ARycE9yQep6fI2v/sw+JtNe5uNHSOW2bIaJ1InXAb7vbB+Uc84A5Ar+gvUv&#10;hwly+6W3gJJeFTEsYf5No5UEn5iykEjncfSuB1j4VqMkWgUsv+taLO0Zxjb0BPP0968+dBSbcviP&#10;pst4jr4R/wCzS0ffVH83eteENd8NXFxZazot3ay2zgPJNGyKGJKghhxweoPX8aksVMYhaS2R1JMK&#10;xdX4Xg/7OSD68EV+63iz4B6drKvBfWCTqAWw8G4B2UfMowcA54Ht9a+P/G37JzAPPocMtrdnlIBG&#10;pt1BZG2Y4bJww6jGFJz0PnyVSF5SV+i/zPvst4voV0qeM916aq/c+C9sLxxRKHSNiAwY5kXlhjk8&#10;4wenHWp2itomwQ8EYwdwADnPBz2PJH616l4t+FXiXwYk0uq6ReRWkD+Ul/D+8td/97cQODtcAHGQ&#10;RnFcJdBJ1WJ2hARgpDfcnwd3PTuq9h93pnmsVKnO7XTofouErUqsVPDTvr/X6E+n6fZzo3lyBgvO&#10;V/dyxg5xn1+nbHWrr2G6RY1kSMEZUpktIwwSdoJPTOR7+hrLWN7WASkssMrAq0TbQu4nIz2zgceg&#10;/LbshDIzjcreSpbfMfvDOWz04POMZzxzWVWMXLnht/keirxjzJ31tbpqOS1uoh5MbpKZ4m8ohmIj&#10;3Zbdtzg7evp8v1qW4guLTm3IMqgLIGwDP15ABI/iUDHT3rMgvC00yhpJIwm2NmBLk5YAkgYAwWxw&#10;Bxjnv1FnJFPPbySK5cRIHdH3KwVQoHTuR29uawlOas4eR0ujF0/d1b/Au2FyVtbbzYNs6MglR4hh&#10;9vQNnOMkcjHety0E9zI8S2bMiRb0eNFWQsrq8u5QDxw3PHBBODwHR3WleaYzHcSA7GYK4Mo2nOFP&#10;A5OBzVl9U0ySAGKCOK6jDASE4klYMGGc55HoMZAU8nGFTbk3pr/X5GNWnJSiptpafhtcZai4juXf&#10;zVDySlZopssWU9JGGM8AOMjqVHTiuws76xibbEfMmClLptjRuSNoGMDpgkYzjBHBBNcjb3LJO8qQ&#10;CRsN5ixOHdQqbdxJySCWBPYg8Efw9BZNJcxmJ1NvIcsjzFdzjgH5lOON3PBJIHPTMVIRhFxgtf8A&#10;hjWFBxV7O3ntudOYjqQeCWeU26oyRRwLsEa7mxySGz9335IPSpdM060K20ay3TW1pPsSHaYw24L8&#10;27JPRSOf71Zunm3zABcFYoZWecJEVIwQNp+UHaNvTGPlyMg5rpdPuLdLmNYzFG0ShkG9swoCCW59&#10;eQOT0OOlcyfO2n2/I6IOlF81veS/pHV2luYysUd2LdXYeWDyJj5iDYW6jhzgj5h+o6S4vxcILW2u&#10;2uR5qLNJDIu0oCjs6kHDcc8ZVu3WuAW50uyvoUzJLJdsGzMxlVYwAmCfXI4yB17V1ltLYvdwfZXV&#10;XAwFi3I+cKcFumMqVPzcBuMgsRE4zdmvv/ryMoShVqcz0S/M6f7BaSiAQmSdiyzQ/aGUJGV5IZVG&#10;QMgAnnJ34JGa0bSxtZHluTHPuO94x5USghlijYJgdQexLcKTms6zuoluLdP3ZVnQyOymSN2Gcknr&#10;wTwfRiO5rZiezszC9vDIwdx5quwEec8jBwvOTzx16jPHOp2tC/n/AJHbLkhZct7/AImpZ2CwBY54&#10;5LlCXbz7plCDdzgYOMY4554/PQjtpYt1rbG1eC4cnhhJEo25QEDOT2HoXPIBNVklvbmFDaQ+eHLy&#10;tOgFwsRYKF+fqQwjQnrjaTg5JMj2/wBms5FguUjWM7sSbd7BUGXHHIIG0nrxz2rNQdOcbbLcxS51&#10;7O1m+noSWdlNcP8AZWH2KFYwtzNDhjGxLEAEg44weM9Rn0rfi1D+x/8AQtOUTMnyzXRxPtJJ5Yjg&#10;Ebs5AH3+nUDgBry6hEYPOvpXGT5EQMEZZVYlQ4B43FmHTqR9dHRI9akuJbL7DIbSV1klmEhla6IY&#10;fOSAB1HGOw5zyacpciaijWgvaVJQ6dei/wCHPbNB1G6+0QsdRazhlBEixKZWYYPykKR365z1Y4Oc&#10;V6jpWn2yXkl7HFcSSJudrm9XzSzbuSuOBwCRnP3vy8q0DTL6CSOytFtrZ3/1bbcMoOQR25JPQeve&#10;vffD1rcTqdM1HU4LYvxI8AXzlQHHptAOCD14ycAEExdOnt337nZShKi/bLX/AOR7+Z6F4ak1IT3d&#10;21nFN9mRraOaSA+cACWwqj0GPfkZ75+h/DE6amgdbZpdSuLdIGlnQyCyQKyIAuQM43Kf4eR12gjl&#10;NC0xrbSrg6RE50yOMCXWdRCGWfbyFVAdxZgDzyBkcgDNeseFLO7uPDk8mkxW0UYuTNe3k237bdSD&#10;aFUAYYphAQi5GTyQcV0Uk0/d3av/AMMeRVxDes1fVa/5+h7PoHhTw7ptrIdQtp59c1GBF0+3nixb&#10;2sbgFZmPG5mBQhiOARziuhi8M6xpmoC3vCyNDb/bbhJX3LGrEbEAJHJG0EDLAHngGuPtYdf0gad4&#10;k1pnW5jj/wBHF1lXZVwVbJy2FwMc/wAJznHHoVn45GvWoutQ1CLyGnMtza20Y3lUjVcjAx0UqATz&#10;k9DwdpOhUqWmnFrZd7d++p50cPi53rwtKD362a0svxK0mpajqF+2oao8sei2kAsnmkPEnlogWNcn&#10;O0YjXjPUYOTyWS3Wq7r5biK2t4/ntUCbQvGASP4iOuTnOOW/vY2oeMbDxPbNZ28MdtbWkhVbeNdi&#10;DaMtI/c4PGTnIA54rkn1++a0lnhcW2nWJSOM7WXcgOfLQYBJI3ksc5KnvSdaEk0pOSvv37nvYHA1&#10;0lGUVCS09F0+bG6np9zbaoix3CtDd3DhJsmRtgUhmcA84GRgHP06nqdI1ZbO0khuIfMeSURQh4/K&#10;UoNwAxxjcWJ3Hpk/SsSHy7qzXUGIjilZUtYMmUIuSzMGON3oe2QfWuy0nS7bW5rO1jtmnuLg+Xwc&#10;m1AyN3blQG6eg9SaKVBe84vVs2xVSMpfv3pHd9rO/wDXodlY+I7Weyn0rZutJ2OJ3ASNmYeaNhx2&#10;GwA8/XnJ831C2eG4eRY5Ps0RZFiCb1dhuHI78sevtXoGuW2ju08GmSLHBYRxSFwypIzggNnoDuZS&#10;cnqDyOa5l5hqjogCIrzEs8iYRlDAmTGCec7sd84PU1wZhJyqKE3e2zRxwnSo0nVoxa59WnvfT8Tw&#10;bWm2QXBKSRCWR4yzHAbBbJDE9gEI6feJ6Hn46+KunrGt1gNI0sZI2nIDBeAAD69+mM4zjFfZfiqW&#10;KC4vRw0ds7og+6GcAtjJHOBtXr0POSK+TPHdwtw85uFk+ZeSp2xsDxtIwcAjPQDoO2RXnxnCc7I7&#10;MJHkk626Z+cHxNtp1sppRlpIwWUFcEgdcAgHPUD8K+LfFVrPJBNJIqoFm8siQBmztGVzgZwMdR0N&#10;foj8WrS1SGQRwO8jpiQqoJJ+YrgY47H1O3qOtfEPifTEk06eRGXc8m9EIyflAB/IZJ/DsAK9HDqV&#10;OopX7I9mnXU4uTWun/APlXxVpIbT5ZWKuZFDKVXhwzckH3BHt8p5r581TSJBG7SHIUKWyuVkOAxL&#10;Z7liT1zzzX1xr1oz2DwgMWI6kFQFAyMEDsU/Aqa8J1uxQW7qQSwjJ8rBXbjsUOCOMcYyOfSvWpVJ&#10;QnZ/DdX/AK/MyrUr03F2u9PkeFaZrd94S8S6XrWi3TWd9p9xHcQzJlZVZWBGcDB5UEj0x61/Zt+w&#10;T8fNO+Ovwb8Pzvdq+vWOnx21/DJ+9lV0UZDLzyQFOCMEE88AH+MnUIN08oZFDRZO7aW3Z6H15zn8&#10;K/Uv/gl5+02/wo+KVt4N1O426VrkoWNAzRxozFTjoPQqdvf2Ne1VisRhk19nqux+f5lhuSrKbfxb&#10;eulj+xLS5PLjWLAbzPkUM2c8AEdD6+2cDpXTm33wFY4lY44ycAnBIAPY/LgZB6nrXEeH9Sttd0u1&#10;160JeCaFWDBQAyuc54+Xop5/XkV6Tpa+YyyNg7kAO87s7RuI6d+RjuT71yRX7tJfI+brOcG7brci&#10;+wpHEGCkqnzKQpDBAcKCMkdB71aW3YKj7ThQwXaCVODwAT23H8jWvcRvEiKoIDEKDs3HAPbgDP1I&#10;6GrdvaSGTDoFWEDcdu8tg5OB06YPJH3Tz2rpjBKTjFbnnTqu3NHuc5Hau+ThC28FVJA/hVTwBkdO&#10;BnHynk1Bc2WSwKuN6nbuAaNAFOOTxwAwH+7Xof8AZuFJC4KruzkFlC5YHb6fKeCD3Hesa7tB5sQX&#10;cWKiGLaWDL8zHv6Zbp6nk1p7FWfY41iJ1Kj/AK7Hll9ZCMMcAYlDgBSsh6AjnAOcDHP8Q96xxE25&#10;R5YIDAKAo/2un5g59RXu8Pgu9u4nmaMkMNygDaegz2zg5Jz6n8BgXng+5gcs0L7w4AOznIbPGB1y&#10;Fya554OrKXtUnZo7KOZ0U+SUvU86t18uSMEKpGGZlYsOu04PBxkHr6GvQdHuUKpu+baPm2qPMXJy&#10;vIz2x17g1nf2DKvSEgFQWOzdt6ZJ/nx7471YtLGe1IdVZQSQ6AbSRlc+2QQO/wDB+Fa0oVKdvkc+&#10;KrQrpxTOrFtNBN5ibiqsNzKd0YGcZADYAYqSCTx6mvW/DrR3dtFLG4YrGAQynOM4X9T/AOPV5NYT&#10;GVWgkAWUqM7VJCEAnHQegPy/1rsNBuJrKZSZHVXkB2mQsFGFYYPQ8encetezg2k/I8DFQvCUOp7f&#10;plw4kWM5yhG5cbc5O3JHfGSTjHAOBXrWkSkKdp2hgFUE5Y9NvPTPb1/UV5VpSrNHFKiqMBg+0A8b&#10;doPfoc478DBHSu/0+98i3KtkMAGJVsYI9B3xyf8ADNfWZfUStN9f8j81zyk6i5IrVGhql6YbeWU+&#10;aBuwjldyZXPGR1xzx/vc84puh3TySMB5uZgsLchydgcnjjuW4B6ccjNcne3BmlUhQRI+xn2CNwVy&#10;FJx3O0AemRW3pCNGAhjIKykvlc8ZwfbAA6D0Jz3rvp1X7VNPRHm1MHGlgXGXxP8AA09esDbKmrWa&#10;KGW4UzqE3HBDk5HXjpntk810elJba5pU1rdqzQXMflKpQvsJxjn8Wz3+b8rVnbC9gmWSEGPILIF/&#10;dOTkEAc45B4NZdrAdL12KzhTZayxrKsiqDgA/dZemfmBAHow7V3qEadRVLe5LRo+fqVlXoSw7l+9&#10;p6xfkrO3qjwXW/Ds2kald2hUfu5Xw4XcHBIK4OedwcHjjFR26qsgQRgYHBAwrDqSwYjjhu4yB05F&#10;fSXi3w5FrFqmoxL/AKTBGsdwFUCTaGDY/AEgnPYdcCvIZvD+0hXRjk52uu7n8cjjHT6cV5GIwf1e&#10;vJJe69UfTZTnNPHYSHM7Tjo15r9OxY0a/eIIWJi2thhHlNrd/bv6Z5717BomsDCo7sQQCCwEmehb&#10;IA9Nx9sjJrxmLTZYW+UNkkDZ7cgYx05x17ZzXZ6Q0qzIrANmIgxyfKFwCRyMHPTj/Z966cJWnSlG&#10;xw5zhMPiqTloe82tyrKoDDBOw4JODkDBHrjb1/8A1/zif8FwP+CVdh8dfA9/+0X8C/DGn2vxI8MR&#10;Taj4+0izgW3/AOEoskhcm7jRVwJojlnI+8uSQcEj+hHTJ5htUknYVJGdxOQO/Xt+ZrrzFFeW89td&#10;RRT21xCYJYnUGOaN1KlWU8MCC3HTB96+1w1R4iC7o/KcVSlg6raZ/jv+J9PudOuLjTp7do5Yp2im&#10;ikTa8bhir5HbBVhjrlSCK5QWymD98hBdgFyvBUDop6H39Pbv/SX/AMF2/wDgnvafs2/tBz+P/h54&#10;eSz+GHxcQ6tosNsyrb6RfKy/a7XoNql5CyDJwqY4AXP85l3p9y129vcv5HkTbCiR/u12Lt3HHHGC&#10;cn8664TurS3N6EpV/wB7fyf3o5u1BikYlQolLkKhAXg44Pb0H/1qieCNZ5DMAq7/AD/NkUoq9y2c&#10;jnryOhPbGa1JoVikMT7ZGRxuYx7iSGJIJ9PX61WvkNwfNVljt8BFiyVd8hs5I4xwo9eTWkLxk4vr&#10;/SNZ6rnXSyS/X0Me4LW9ysm0MWYlSTkDJGA2OOwPOcA5x2GnBA0zCSVhMkuAQxO7BBIBGeCA2OOP&#10;1qyLG2uFKM25t2VO3dkgdD3weOh5z16VijbC8ge48xFOEQYOQu4Zyfx798n1q1Zyu+3/AAxKi4wV&#10;SWuv6mnPFvZpojJFbxIPugNtwoG7Hr32nj5ulJ5Pmw/uvnaQBTtwpPPXB6dzis6NmMcmGky+ZDuJ&#10;JkUHkYORwMY6Z5HpmYLNEgkhlfdIBtXdgHpkLz6Y49+BWq5JaQ67kNywyTSu3r/X3mZMv2R3QAbD&#10;lUL5YcnPJ/4FjH0pJrSWRmY7AsIDsY8n07kevy8nnPU1syCG6tTDujE5YMB5hLZ4JGW5zknI6cVj&#10;A3CRPvCGTezNIwITC9AeTjpxzzuPNQnbRa/1oVUtKqmt/wCtBhb+zojNIFYbcODEHLkAfdAPXgj/&#10;AIFinW04uZzIXJQD5VwVTsQQP6Uy4s5Lm3Fw8pQMwjQZBEhKEkgdP4TnoOQKgtYyuUMY3bR8vY8D&#10;IH8sVUpNxUEwUZVG4tabr13RvxXP75yAclimCo5B3AE9MEcdAcgepwIJopbcmZVBderbTtweOnrx&#10;zUSGcyR2lukfmO4DZIDDqT14PBHGOq9Rk1flheKbE25kOBNuUFSBngkc+5xgDPTJyxutehzuNSMb&#10;93p92t/nsLHecQgIA7hdikluDnII/H05rSaaBonGN0qESfKCVk4AOMjpjBwfTisKa6trcIzEERkv&#10;8iFGY5yAAD1Hsf8A60sc8l2jSsgA80syE5YKuMbR/Efbnp3o5pNKVtv+AdkZczdNO+mpqW94Ll3M&#10;wkCxACM4yAuCDgg4yCc9uuKnmuFKJbhsHAQouGBI+cHcO+CAenTpmiWGGS3SVXUkQ7WRUZZGyMEk&#10;Z7n/APVVSEvvjjZSmDt37Cu4FiC248/eJxnOMDnGMtK6Vt0/8rGNT2c3eVrq2vl5/ibyxrFafvHP&#10;nXEhRipGFzkNyevfJOTgdRWfPEXLMjISQqIM7PLJZRxzjuc5zgZ9QaS48zZDIkhZZFUurjClCrHn&#10;LArzsGCDjLZ9BEyyxuScMGkLMN29AXGeh9+cdMelU5JtJvV31FCk5JKMdW+vyt+BpwAwxxwqS7sm&#10;8A4IJJ5yevTvjtV4hC7SSMmwLkIoy3GW49MYPPX6jpzU92FkjeFmC4I4PJG0kZz24IrVjkSZNzOz&#10;bMkhsrg/d3euPl/TtzUOm3Jo05ItvlV2noaC3u/cEkYGMjlUJKKQQODnP388d+xqtdOFiaPHmB4w&#10;U2hVIG5x8oyOMgr3wQeODVe5t7qMy+UkjMDkbCFDE4XjkE8Rnntg9M0sSR2rRvMyfMWBcR+YzZJy&#10;QOh4wR7fQ1Si18P9bEezulBPS+/6Do4HeRHRcE8qF+RRyVwc5z6454IzznG1bFbeMPIwMrgIoU7j&#10;GCCQDz94BkyT0yOmcVkB1aJCrfvMbVUg5LLjJ3AjHHOeQcfjUMkUsYja56SZ25UqVOAR/wCOn9Kn&#10;Spoo6/1/kNykoykl7ytr93/DGkH/AHsklwjM+75QGKgjdj5iOc4446ZpIY3uJl3vvQPsjjXpLhSF&#10;Jx1wPT1JPqIIJVLOCTIwjYoU+ULnruB4zknk4we/HMAvEs5hB5bK08g3gRqTE3zDD59xjp0OT61F&#10;ub3HuVCck17VX6m7DYvBFJcLtLMFAGN33huAHv8AKw6/wnpmsyJHFy01yGba2QjcgkgHBIHJ6HPt&#10;261oWd40vmJ6vyvDKRzgAe/J/CqyzISIU5y2SrMdhweDj0OD7HHeiNk7PcKs/cXIv+BqMDRkZ8sD&#10;JP3kGevvRVoafGQCTKSecx3GE/Dg0Ua30f4GLy2pJ8yafy9D81Nb1S71PUGvL+6muJ5mLF5pTLvH&#10;U+wz/KsmS6RW8sIpYSbmkDYMg64x+XWqW6ZyjE+YAh28Y2jJ6D/PSkdI4gXZS0jMCBjIIzXIoU6U&#10;FThG0V0MPaSqV3Nu8nq29R7S/MUAbBAZSpBAHp/n0quNgY4U4Y7snkAE8jntjH5VZBQoVX5AEDkl&#10;SQT/AHRUKGRZBHkMHYSDK8gc9f8ACtUklZdjmbvBST3GALCq/Ih3DOVbLc9MflShSdu1gDwCGbK5&#10;5PzH06/nV9rZJEJ3fvF5cFTluM8Z9j+hqmhCDYwPzNnZn5jnPU/0p26PYqUdFL7L3FeVNwQA8L8w&#10;BGz059c81PgxwoZNoaThFYA5GO/+FBiALFQAFIPAGCBnP8/0pHyFCN8yjlRjewyOoP5Ua2S2FZyg&#10;36foNVyqbsk4GChBKE9f8aXDPGflCqx9jtJ6fl6UwkBTGu4qM7lxynTPFSozjHGRuPyEZJ45B+tD&#10;jpccLSVtuvk9hpZ8OGLtgBQfQ4PeolTaSCzqMEYYZ42/yzT2RkAdWGJGB2dW6cflyPwqYySuoBCE&#10;bSrEKC3TOP0FEr6Nf1YUubWPTQi3KkeQgbcMZ6YPJ7fXrSQlzwEOMYUo25hkY6/nSEc7GJER4PBU&#10;M3c/iBUgCqFCfeAyCw2j/PPSm7uKsQ1KMm3p/SRCFcAs4GV6gnIQnI4+nFOJKqpfcxHzLgZ4559c&#10;n/CnRo7O7BsqVLYYHJIOTgUTNlxEo3bFOSTjOecZ9KrVtpFuTVlL/h9iQSO0JiBxGo3lFGAOw7de&#10;B+VMVWOV7lM5+6Gzzg/TFKip8uAwDEFsAlWOTn8ODUgXZhWQYDFQzcK4HPP6d6FdfP8A4YbfLdtd&#10;tCvvVBuXP3ck5GOuOO+P8alaTMYBjTc53FlJBxjrjH6UoVXcl8LgZJA+XHbj2wOPeppVICEEEORH&#10;jaAxBHJNRaIptyfMuy/pkJXcV2gbhkkjOfc/QGq+6RX3g5YHbiTBPOeoP41dDAbdvB2YcEDn1yR9&#10;P0p0piCFfuNIvOfuKRkjPX1PGa00vZImWqUJPqZ6B9/3QxY/NzzkcdauJC8KqIwhDZA3Ebyeu4ns&#10;OT+dNZIyuFLb8j7ozk9sn09valOIhllLFlLFCeuec5rOV7sVN8vvrdDExGzbiUBJU7cZwAPmJ/xp&#10;No5fczkuE+bBcjqPfFOZR5bOgwfvMCucHPPv0x+dJn5dpBLbgAFXDOPX6VaSRo43aV9LEToQwkIz&#10;GRg4HBIz/X1pirtY72YY6mPDY46D/ParSOrqQMqFXBIGDIR6D2/pSNCyspkAUggp06kcD6/X0qeV&#10;STuVJcqVuy+//hyLZhXfeVG3AzggnHHPqKgbLKoJAYdEB6gnGM9Sf/r1ZkDlwpXaB825m+ZRwB+f&#10;X8aciM5DhV4Acs/Cj3x2pJJO7RDVrpa/0iu0bEbiw45GACznvn06VCiE8noR/FwSR6E+lWiMjIIz&#10;njZySPb65pmBvIeRSyoDiP5uo6Dt9aptvSw7qE+W3mROTIpViEJwpZflZvYD+tVZ1XYeqkdOM44/&#10;QmrZRUdiASQcYIyFGQOPf39KheMsucqNqk42Yxznn8KTjZXiQ5Pm5reRzl0pB3ElNzZ6EnHf8Tmq&#10;MRKynGFIGRkZ6c9+eoH61oTpld5yW3ZIPpzzj1rNbaXHuBkAcnqfrVKys7XZk5KXroeoaUWubYE/&#10;MQgXKkJ25465z/KtRlBEaNt+UBn2jkDsAM+oxnmub8MXMrqY+AqLu+6HBIHH4jHfjmuut4omKB2K&#10;RtJhmVN7p1PFOpC7ub4d88LbP9CiiFIl+fLSEqQp+ZO+cHnsOKoyw3JdkXGzeXLxk7iD6+nArXS1&#10;RZHRXzjKo0ifMMk+/XGc06NWQBXBHOMgFT14/lUJq90Wouz6Lv8Ah+NjJZSSVkD+WigFcZcnAJ69&#10;uO1R+U2QVzsC8IDg56jnp/8ArrXuFUy/KWdyAC5GATwM+wIAqHyNwwU4BLBh1wOpxntjpVNWWorx&#10;cmkrtmUFRGUSI4G7HzADk8Z+nGKYkKEsVJMmcHAwBn8P/wBdaclqh8pnOVfcV2tl2B9T78daiNq0&#10;MZKBI2B+UEfNzkZ/n+dCfKkkTGMlJpdf+B/kZbCXoyrgvklQVUAEZIz0PPT9andSGjBxjGOQFGO2&#10;T69DTjDjIZmyQeAcuOepFO3blRW2lEyq4XaT6c/TPJqb3Svuh2ekE99/67FIRNuwMgHBOR0yM/5x&#10;3qs8eMqCMqeCJN3IBHB9eOlaTIwdVVCxKh9+NuzHb64FQuFJ3KAC53MmMk/Uf4ULSSTHNcsfdfvf&#10;oQKjfMSRkHks2UHA7du1RNGAAGKiTBDDhhg5yRU67Fx8zFWY7WxnH1P4fpURCsGMQ2bSeXHAznGP&#10;T/69LT/hyU3GKUtdSuF2sYo8bCflLEcZz0b244NMZZB0LfLkjIwMcA59e/PuavPBkByysSobcvBO&#10;SOqjjI/pSYcK6gZMeTk8uRwM/pQ2kkki+XnmnN6W/Aob2jcrj7wGSeOMetGFCBWOWDE4AynXr/n0&#10;q0UBCn+8NzKBlScgj3HbP1pGjJYlhtY/JtK5bpzu4/lSi77sFfnuvQrHy2bbjCk4ZhxxgYJ6ZxzT&#10;Am0Eg8kj5hznHAI/SrAUq5Rdu1jlHHTPB4P4fpSE5Cp90g43FNo+hA/H86LXs4+Yo3bcun/DFQYJ&#10;bouckZ4BJ559Kf5e0ZwD1JXduA96maFM4ADgZwBx69QeoHrUQV/m+YdxtHOR6D+v0pJ6vsQopRSW&#10;5BwUHyrkyZCj73+z/SgjG0kLkcYH+e1PERZSDt6ggc4Xr+OaaFIVfmAI+VhwMjsaEo62Emly9xgB&#10;JbaAxwcY4PsM9scfnUDq/DEKWBGDjBPr/hVvbj73LAZ4H3iO/wCo6VGQMDkkDGMLnjnijmvoU7pr&#10;m1ZV2ZPJGeSd3Bxz+v8AhUZXbgnOVByu3nOT0z+HSrUgKlvujjC/KWPPFMKMTtKglcDryPenq0Qn&#10;KDs49SrgqrHnO7nPQ56D8q9s+D/iw6NqiWEsjGK6fEYZvkBJHGD6142UwQSN2Tlh/D6ZzT7d3t5k&#10;likKlH3IU+/j2PaomlUg4T1TJi5xkpLdH63eE9cguYIkMrRyjBYuzRI64TaoyMYyGPB9PTNes6dd&#10;SBtpIj83Oxl2xDCoWwCSUbC7h17jgZxXw98HvGy6rYQKZFjuYNkd0PNKSjYMKcMNuOB3H49vrfQt&#10;VtrxdzNiRf3qsYgkZwMfK3IwQD2PK9+cfLY7DQozs9j6rCYh14Jxt/XT9D2jTr2RY1l53u2AxIjQ&#10;hgTkEZU447fwEZ611VvdEEOrxKoQKyxSeSsZA5ZsZVjndnP9wH2Pk+nXMkUkbuzRyBgh+cGMnHJ6&#10;445AyOi+9d7p9y0qtG5NvFKnlrIJRLswxySQcjPU/U15Mov4I9Xc9WEpOanf3dE/8zuI/LlXyYlK&#10;iRUYOqtHE2Pm2Fk+QkYyASchCR1YVrskW/zXkaUzgK4EasqbtikkjB4C4AJ4C9Rya5K1dipS32OQ&#10;Qg3DdInC5yVw38QY8E/N+XRxJLGvlSOHCKfLTcC0h5ztVgDzuP1/GpuorlXcuEbzSm9/w7WOgsZ2&#10;wkUsgCRgxOq42r/AdxIJx83focDI77UR3eY6liVwPNR2CkDIUsASGyWyQR/Bx0zXLwIGbKuCrRDz&#10;BICpd+HI5z8pKFdwx+BJreimk8xT5ZZWKB1MIIdeWySGyewwR0JOVOCcnyqFou9/61NrVFNNvVfj&#10;sy6sUzJiOeE7n25Z1Dq27HU4AxuUE8e3FMjP2dlZi4iIDBQgZkwuSNwyq85AAOcjjnpcdT9lf7jM&#10;DtcSEkvt3NuDHOPlAJJ+b5cjqRWe4a3LpNjLAMF27mO04bcAfUP7kFTwDiseb3uWO6/4cqE5/C9E&#10;rafqTlmfIj8pJkZpGTcoAx/d75zu+b0xxTxGweFSsvnIxUSPKJWGwFlySuWPAGSey9uKazSDYFZA&#10;qMkqu2ZMbvmBIxgBgcr9e2c07Me4s7zM0qBiY9uwFS5GDkn5lI7UKTlt01Hyzlq97739DQKlYYXI&#10;AZYyFljIyFYM7HAyMkKf++AAODmS3VIvK5IEpIXDkq2QuQXGPQ5OATsPTs23hG0XBXdgDbIFywAZ&#10;2x7kbzwTyT2zUxO9mySzQKp8oKZZm3LwqA5+8GGEA/iGBjAqYXve2n9IU05R5uidkv6+RoW7vK4k&#10;RQzMFO8nB+UkjI6nqAMexx1rqLabb5TMWQM25trZJ4ONy4xnqe4/OuYtFmJW5kC7Mg+WQ23ceTg8&#10;8AHPcYPqK249zTB1jkZGlKCXb8sPUAsB24GOp5qpXjByj9wqUZrm5l1+7Y7myuVBVt0hO3oXwFY7&#10;uTjgnAzk9wK6JblUdTDs37WO+R1ZSWODuz0ztH59TXCWkrowcbS0ceABJuRM/KWIJB5PbJ7dia6a&#10;0n3STrwqqQ53gD0IGTkdgeeMDislH3XNdbHRFczSei0/Q9F08Fost9nDswASMOjhtu4BQpAHGTk4&#10;BAbOTiu50uZ1QyGZZlD5AlnE0YU44AKDOBuyOhA6DknyazusJwIsAiRZotykZyoIK8Zxz+Ndhp+q&#10;Tu6QrLKXZgZJUYIM5HcgngZ6njJz3rFxqO8b+pcL3vBeXzPVrW5Tdbp5SyARsUhjhjd8EYQEK6tt&#10;IO0kDnFdTaTh4ZmkAiUrhdi3FpGgUFZGV8luN8eAO465HPndveu5YsSNswUiW3RtjqCDnAXs5H1w&#10;ccDHWWTyfu3AaPzV3ApGf3wUAEjr1I9xk9eooU+XVLXt/XqXLVbW7/15nWWl5IghAlUM0A8vy7tl&#10;dD6NvgbacnsGxjPeusF46lPJdoZ2XBea5R5MEEnbuUZ6MMc4yB/tDzaC6eKcMvzbCYyzXbq7ckcA&#10;g4wMg8fWusttRjZla1lkZEBZ4luYpJU4OBsZQcDK8ZJOB6CocZuUUpago/aWv9I7a0immRssjSkr&#10;JCAlvdgqBIN3mIx6KNwU/wB49Mc9PpyyOw2wBihWSJDaACA73RNpVjkksrcnq3T5c1wNlOl9LGAm&#10;Nzj7RHDbW8hAJ3EopdQxwOApHOPqO9tUaP5DFJtQFgraaImYAOjlkWVs42gHbuxh8tkDMTpydrvf&#10;ccZPVp6JGjC4uGdVSKAyv5hL2RjxvYFg2W+ZsuRk/wCzmoyjNJbB1EgB2sVjljA27cqyEHBGBnIJ&#10;Jzwe9SRzudJYmlnVzhfs0u0hTubDI2CuRncAOFz8tdDYGKTcyfZ3jcARmWadCpQNguzHod7Agk4P&#10;Tgcv2UOa6+Y41nKLTWpo6RYxPcxS3KrskcR+UX8yV/UkEAnqMnqc9OcV0UHhh5L68EO8Wz/uSIma&#10;ZJPJGB8g/wBrCktkDGfYx32m39nBot4JBNYvK2673/aIGaFWURkqQRs+VipyQNo6cD1PwvCrPEGm&#10;iZmO1sKTnqdxVsdGBGOmTVRw8XVvbqJ4i6V3e5xieBWkX93AjjBUnduBJI+YntgYJyeATnnNVx8O&#10;Y5Q0PkqnOceRubOdvTIwcEYx15GBzX1RoOii5UoIlTeylZwjBVUbSzcZOQSc+o7EgCush8HRTNtV&#10;FjuCMoEkBMQJyM5BKtyBjHJJ564mpgoybcup0RxjjFWl2Ph25+Dv2tvJSykYSyNCXeBvlP8ABwN4&#10;GMqSoJJKnHXNeieDv2Q7XVbhp9UgR4zgTbsrCx38kEj7oZRgnuOnQ197+BfhREu68urSCOKJgW5V&#10;Y4wA0mSQduQgkYnpgDptzXRXHiHRoXnsrBY5IISYWljIIkYA8gBs88YyBx+Ncry+lGaT26m8cwqq&#10;8YPf8D4J8efsf/CvUfAfiHwrqFtYTy6jZTQylIES7iV487gCqjerjcpBPQHHHP8AI38X/gb4k8Be&#10;LNdspNKln0Sy1W6g0y+gVyfLWZ1j8zueAvzZI7Gv7U/i3b3V3ZTzeH5nbVrqDyo4lXy1jUsN7Hnr&#10;xjd2y1fljrH7P2s3+p36axo8E8V/ey3aF3F1YyBznDBk45GMc7ti4OCRXz2Owf7+Kw8Ld9NPI+84&#10;S4qxWTTnVrS56cmnyt/j9x/M1JocsCpH9pcxmPFxCG2KpOdy547AH/gRHUGnTaVOCzwINjMQPLG0&#10;ohxnC9B0Oe3HA4r9q/iF/wAE/NA1aTUNT8Oan/YGsRu4k0/IurF5CuSvll1xyuAyDGPTcQfjfxb+&#10;xF+0PottdarY+BbnxNpdlGWEvha6TUJyhGdz22VkAwP4Q3Lc9CR506FWn7koNxW7+6/yP2DLOMMi&#10;zDWVdU/KTS1/Dax8QpbvHtEcAlGzGEJ3g4wSfUHAP1LemK1tIwsJ823iLZMhmZsSKqjHXOAPy6Hs&#10;K9DTwbrOjXTW+qaHqGl6hFI0ctpqdq1ndIyDLho5AG4245HAJPQczP4aJBEodJGIfICvGAFyRk9c&#10;DA+p61x1mufkcbLbsfcYXG4bEQ/cVFJabNfPqeeQanFJGsUCxrIqkSSyDzC7ByR0AKjBIxk/dznk&#10;AJY201rMj3jzHzpDdEnLLktgk8cgYA9Bj6113/COR20klwtsXXO8xqCXbOGABHQ8Z+rDBrYh09DB&#10;AWt44Ay7c8vtxuDBiBxtKD1HNZ86j8Mdj0oqm2k3zf1ZDLS2XULhxHvjgkCsTbEB5CQMg5UjACZw&#10;O7U+TQllnBgeUiNyojLAyKhwBgjGMZ29vz5rq9M0LfH9pjnlt5lgCKEUOHOAB3B749ePY1sWenBb&#10;uSH7PI5UbVYk7JMks34jAySMDHWsJTfNzp69jePsbbaX2/A5TT9Nu7SRraK7D72xIsqArGxA5Zz6&#10;7lA78HpkA7cdoYVF9M08t55IhZBCVQbeVV0x3LEjpgA8V01xakW6RixcsbggMyEyMwPDMRjAA28+&#10;p6jFaWjaTN5mydJA0suSipv6k85HXvx2Jx61kpXla25bw+HcVZWa/LY4yyhupENydOYyTK6Tokoj&#10;kKhcgAnkY55HXHAGDjZsINbEzbkitXV2iTO10cqckLywPDLnJ6MOK9PtNFntbmX7OpWCQJ5u+INs&#10;ZcMMY5CrzjnqQc1oW2mRrdbSkE7Pu80I+FjXJDuADk8EMCOe/bnCVVuTiuv/AAxUKGFot2SaffXz&#10;M3Q01KECO9KAxgIVijEaOOnlk5GON2RjJ4A5IFdekEU1sDMZS7SFl8tVBIUMBkZxxkc9CR07Vnz2&#10;66cryQajHFFGwa4juCVSEyRZKZBIyQrjd359KS11JZo4Wu7hUXzSTHbBpH4zsBLL2bJyc844xkjF&#10;07rmcrW/r8znqRi6ntaV2n2+80IBNJHM8DyKsyebHA8hWPcMjaMcDnuO6HgZAMLyxfZYbrUYpknW&#10;MyGKBTOG7YwM+5AAycjHatO2uNMknijglkURLhFcMrylm5DnPucjPO4dKsXukyCZJojFM0g8yJpJ&#10;CsaN1RmwCcdc8HgDg8UoS1vf17a/1+BSjHnclBptdtSlZ6XPc24k09xZxuy7VTDSAbwCMlWA6sen&#10;Pr6b2mWt+t1GHvZg4cnEQILcZYfQfzq3pN0gkS1lvbKRiqeatu+JE43YYAZyecbgAcDp0HRpot/J&#10;eJLaSTNBLKWdmfyYtuQShx2OM4J7jjAppypTcmvd38uiLpVP+XekdOvU6rSVtoL61kEOoXJJCzTy&#10;TNGky7WLFm7jazZIJ4NfQnh6y8P2Ya7jje/vZICY4oAXt423LuLPg7uTuz7HB7Vl+FdNhnsorTW3&#10;tNPt7faUWRUNwx+QuWbtyueM4wBkjNereBdL0ia/1C1sLqSx0q43CS+kVkeWJgyHy9wLbGwfu8ZL&#10;dicTFz5+ZSVnsmjGvi4xhKnFNuK1aejX9dEen+EbjQtS0W2S61S6k1G3SQSQxR507AOYYYow2eGB&#10;DPI2BvP+6fpb4aXNh4XltZ0jt9Q1GeN5NL0yUJKtu7qVWRUb5RJk7g5xsJzwRkeaeCvCuj6bbudJ&#10;tons7i4FreaveyCVsOCwWFS3BwhGVAwT16A9rdxaT4Vl1S+0PU7m+ubNh9lnbEtxMgXMhfBwi4Zz&#10;tXqVUHrmuvnqJRqU7JRXTfRa+p867YirOgm7Tb3X4O2252uua1FbPf6T4iFv/a1yp2QwzC5Om7gQ&#10;Y1YfJuwcEY4xjvWFpvhuLStJto4CXur5fKt4N+IUi+Ybip6NnaS2cYVhyembo+qWa6faXep6dcX9&#10;5PeyXMz8lrxjvIjGc7UQqPQkM3IwAda98TzW9/PELK3utb14vZWUQOVsfMALFABweoUgfLnjnBXS&#10;c6cbVJeXTVXs/v6Hu0KM8NTcKSaS31sm1+SOMY6XpD3Fjbzyfabi423t4kxSONGx8gA5+8zcZ9Pp&#10;WrrUV3fJBFbRrb6VLCjsok3sqplz0/vNz6/MRzWO3hZBLIt/crZqQbmeQSsFDLyGZgckZABGD3wC&#10;cVuW2qf8SuWJ7ef7XKpWxiXMiqByXfLZ2qoAAUFfm7ADPNCg5e7Ncq3sj0quIj7joNyl1b637en4&#10;GhYPf6p5MdpbKkFtbi3ijbAW3jUKg3DHUAISTzkV6zoV9L4Q0dphum1ae2ktrXjOTLGUdsY/utJz&#10;xjPrXjVrd3IhVVLRxbN7sIgrTuzALk9QPvnH544r0u5vL5EtZLkyLK0X2eB5V3TRo3DsOeCQe57D&#10;jrXRLESpxUYaS7vtoc88H7bmdVJ0307+Xnfr6nN6NeXV7eFjveKc+VNK8mxXAYNI3uevX8uK7h1y&#10;jRW8axypbsrGPGzDAjkgDOAp5znDn1rjmiLQQWdnMIpUAtYnQhEkdmPmEjI4+cjr0PXArrtNEjLc&#10;QXBWOaOA7pFYIOE29z1IRR154xmvHg5ap7a/0jLNZw9qlayt/lY8G1/RJY3u47goyxysWdV2qOSC&#10;WJwc574+p4r548VWMTPJlI1VRu81to3Hn5enB+bHpya+ptauQLa+imG57q4UKxi3NxncB2APBwSO&#10;3vXzv4ztkEMse+NUK7lZJcOWwcBh2+7uwe23r1MUqUaN2leVv8jmlXcVyyeu3/BPzo+NNuseo3C5&#10;3oI/MUpiR1JB6ejDndns3FfDni23ZoJwmSkLFJEUnYxIBO3nBDcDJzjjPQkfdHxBs5rnXbwXDCaP&#10;kcnKAAn5fyxxn+LpXyD44sYPtdzZxowUk/OCY2HUEBt3JAwc9eMjHOe9U5OKT0f9f18z1sPUjTj7&#10;JXd0teh8/wCp2ElzbySCGJ1dGVSVHTBByMdefwz714Tr2myxpdsEDgEuJN+AOBxjHP1Br6p1W0Nr&#10;ZKkKfNMVKMpyvAIyfUA/3uTxxXiPiWyijspZpCBKMx4ZtxJOCp24yOO/PGeMc11QqPmavp+f9M6o&#10;2nTfOvn/AF6Hy/qOnM1tLKVVSHJJA+ZgMLx+v4iuR8IapdeFfHvh3WLKd4ng1GNiykjGWA5x6Eqe&#10;o5HUV6/qlnJKWCIyRoVcjaMErkgDBA4y2PTcfx8d1a1Nrq1mSVPlX6THYThtrkjI9eAenSvocrnG&#10;UWpa3/A+YznCXoKcemq7rqf28fsMfF+D4i/DrTNOvZ0W8gt4ozEZNxJCgAn2BORjs3av0W0mJ7S5&#10;dGAEccuFdj+6IAAB3Ng4AGRnBHOenH8x37CvxUv/AAZd+Grnzn/s67FutwFkAXDBVYZ55zxg9M88&#10;8H+m3w1qlt4t8PadqlrKpWZBc74nAwDGGZtqnsBjBPVD9amje/LJax2Phswi1U9ovhlb8ep3gtkv&#10;TC2wsAoI4DnuuCe/BLfUda6WPSWlh+dcLje77cBsEnGffpz2NYHh5nuH8pFVNp2KAgbHTBJJ9dud&#10;vGc4Ar1+KGOG0ztDEgqMgEjJAwT1PHc16WGpKcfaS0sfJ5hX9g4xjuziJovs4YSR7VUeW24DA7ck&#10;jPUjOaq6DpR1G/V5AWWMriPJXadwwCDyMc+/XtmpPETi1TbH8pmGXOQJQ2VAGQcn5d3OeuPeuk8D&#10;GELHK5Kh2XAKg4+bIHp059j9MHppQjVrxpSemhyzqTo4GVePxdD2/Q/CtvcpHGyJ/qjlFUKc4wCD&#10;0z29u/GM6OpfDO1uQzRxo4ckgBQyruJ5HpkHqT0x6mtLRL6KNRJIPuk9DtAGQT+HX8/WvVNN1CO4&#10;UEEIrMFO5V3Hdk8n6j9a++wWXYKvR9nKOp+I5rnmcYLEOrRk7fgfNV18KECkfZ0YdSpUBcK3Bxx2&#10;bGevX0rnpvhFPM37qAFxwCFCt1wf0zX2a0cDs2VjZxuzlQ+CSTzx1wOnenQ2qI6tmIbuAAQQAQMd&#10;zn7v/jw44rSXC+DqaR2Oan4hZrThqlc+GpfgzrUYLQwuNrFUw5YN3OcjjGF9sdD65d94G1fT2CzI&#10;SqnJOMM23O7pj1Xg+x4IGP0PjjSYMmFJVV5K/KCwyOMf5BrH1Tw7Z36kTQhmYHqm5egyD26Ace2K&#10;Vbg+kqblh5GuG8TcU6yjjaS5fK9+h8weBtLuLi0YOMyxOYioPQdR1x1GeOvHvXV6pp8tmhIyABkj&#10;gYzgjI6+oHQV3tl4dbR9SmVUTyWIdRjLAtkY+vCj/wCvW/faVBeosTY3FQzBgBg4UnpxnJJ6Z608&#10;NldSOF5G7SWhnjeJadXMViI60pa+h4RDC0jxvkBWbkjhcZX9ecd/6DuNOhDy7BtXaiFmDYZR91ie&#10;uA21hz/ePOOK6RfBwyNpUqAMgNyAcZzz9OnpV+DQJ4m3RpFy4KO7kBsgY5AOOTj8q0pYDERl7yMs&#10;dn2DxELU5j4JlgRnUJuBJ8vALZ2knK8cghuP92lu9Jju7cTxbvtMaoIVG1pHG4AfMeQBj8TjOeK1&#10;LfQbjcHlKrjosalh6nrxntkjv9a3rXTUtg2XYg4LKyrsPykZ+705B47r9c+1SwdSS5Kq0/I+RrZh&#10;SozVTDz966+fkY2gNvg2XByxykqMQSpLYwR+fFUNT8PQLPuRQVLblJVWBByRnnOB05GMdTxW7ewp&#10;aSRz2yiOM7vOAAWJeikk5ABIyPw7Y50UIurfPyHYfl2kkAf4g5H4ds1v9Vp1Kf1eqlzR2ZyfXKtK&#10;t9coO0Zbo8wudDhzLtAOMmN06HoRwfc9fT8ahstORLmPr8wD7gMZAOMgdTgqw57/AI12l6mxWCqx&#10;8tcheofgMBn9PwzUdnYlnaRjufJYsQCQp9B6AAD8vx4HhIKraC1R7cc0q/Vm6ktGWrKFRK7FFQ+Z&#10;lVGAFz0Htgj+XQV1NuAqhVICj5VAGBhQQf1/KsW0JEhARgvLtIwAVj1GP4jnGecY59q2cyb1ESL5&#10;aRMzZ4eRjjAU9ACckk+g4OSR7mCSjE+Ux85TlZn54f8ABUH9liw/ap/ZX8Y6Lb6Omq+NPA9lP418&#10;D20m0NJe28DF7fcc48xB27ovI6j/ADNPil4XvPD+v3vmwGNEupre8jWMpJa3ELvDcW8inBUo6OpU&#10;gd8iv9dzDzJHHNbwGOdG+0oz+YigrhlA24IJOOcDr+P8Av8AwXs/Y1s/2b/2i9W8XeFNIGnfDP4y&#10;Wi+J/DllZW5jsdP1DdMNWhVRkAI5RwS2T9ob5eM111IfvFbZ7mWErcr9m93t69P8vuP5r2ntlZWb&#10;OWiOGVzs7YIJxz7c+1LCpkMmMSeXGXO4ZUnDYIH9CCOau3thAgjQqJElVigYAKu1iAM5HJ9+OM/X&#10;Ljmkhe58wNhXCRFepx0GM46Fu568dK2lJSimt7HpRnKK9nN79fTXX7zJuZLmPenluttjIYqcMxI+&#10;7x0KtxyPunqTwsqoixOEzKUIG8BJCGLcY5OABnPTnntnRmvPPWJMBo45MoqrlsHBJB9DtXt/EPpW&#10;bJOZDIhUS702OQvzA7cHGTjocYHTt0qpJWsyFGSfKtV/TKsK+TcI7NlPM8lTJjcVHLKBn2AzyOe+&#10;ONa4Uz+W0KIu8bwASGUAHBYdR07VmPG08TQp5nnKCYUZSSpOABxz6/n+Vi2nEIUXUcqtGAjDYCMY&#10;C8c+59OlQ7XtH+v6Q3F1db9dPRkMisrShJIyVO4qGI3eww2CRg4YA4xx1OXyRTzRIfuKcrgdVBOD&#10;xn2zj2FR3LxSOTboVy5K7gCXPcAk+ox9DTYpn3rIPkiZRG2U+bPrj3Of1q0nGVpO39IlxbblJ2a1&#10;30JZFeSOK2bPlQusqZc7ZBtA6AdCVAx6flWRulhctHtZhBnGQqnnnA6cnOcccD0ydC4jlaMyllkw&#10;B5YA27jnBHTgY5zjqBkVjy3Em5kUKRCDExUYVz0x6f3u/SpTaaSNJSnzNLRpX/yLaXFwqW5hZVmV&#10;2d2Y/u0wSRwffmtI3ksxVVkEpkGxZSMk7lAUDJ5zl+w6isImR3BYAKW2l8ZPOGyPyzjv+lXLOeGG&#10;TywjNtIyYueRnjPr6d8Zrabb925heU1FN3fW3XTUzjHI10+9M/KqREYKoobBODj3J79hWikrwxu8&#10;ku47gggcZz8wJ2jjGFz0Bz0OOourNa3BzEhwGYvGWO8biWXDKQQRlRkHoo5qjczRoJAsRlBkw6EA&#10;7jwTkehGOnHJ9DTbvDmej/4Y1vGMVOOnn37mlb3QXy4pQUL4UAlfk+YPwcZ5OPwPpWnLdQbJYIsC&#10;RmAbBzg54/IHoPSuTaZ7nYyYjYuAUIYtz97DAjJ+91xknOBitQxq0cYQxiSRgGB5O73/ABI4/wBk&#10;YPFQveXw66GUZxUnJK6NU3UjBVGGODGrK3ATGV698579utXd4B3PtdYkIKk4OQCR9epH5fWswIwA&#10;jdQu5PMLOCSeSoPPHZvy+lWtNuEKzGRXAJKK7IBuyAOCe/Q/UipSTlqWpubhr8+xJJ+88t5gscb4&#10;cpj5iFIJG7HQj/PTMaSxW0+xkZ1aQsSvziTA7k9wMcD9Kcskc021jIgEezG7G4EjIB+oBwemBUzJ&#10;bO6gFi64IUsXBKjJ9+dvv/PBGVmypTjCMoLRtad27F3+0kZFKO4LFVDNKMr2B3dsHnOePzqJpYp1&#10;Yt5cnljzQRiRiMkhQv0GTg9vbjMtTEZETzNqFTkt8ynJIGPfIPr/AFq3GIUUspWSFXKBnXDEAgsA&#10;RxyB0P8AeHTmtLPZvUynyQWj3+fYl+2MpOxmEYbIWQHYjHuAAeOcdeR2Ha1PeCYbiv73ZwCcY6cg&#10;frz2NZVxdxJLHGsaGEjD4QbFAIHzk4+XgjGMduRU6TeQzuUUxs4Kll2gkHHJ6j1OPf6FpRUOdaNJ&#10;f1+JrG04uKdrv+v0CDzpJW+VlZwx25A284PXoAB39TngVbvrQLcvKcENliisrBlORhffrkDgkH60&#10;9YWd/PCkL5IYbfm2D0wPbOfw7c1Tvbidt6+c7u7BSoH7wevzE5HbJznjrzUW0t1JfNdOD0t92337&#10;/eWEvExtDD5n3OAfMZjwxYtyc5559aljlKh9h2kAqzOM8EA5z69uueenSsuGGWNo5ShKIQW4DODk&#10;A9uByBkjOR6GtCaSSRlby1zI4JbswyNx2jjnA257nqRiiCStJidSzt5r0a7fqW11F4lWMMcKo6ys&#10;pPGeRRWS9sS7EqSSck+cOvfvRSu/6R1Kq1omrep+bbLvVFYlfmIZg3ysDTX5cBXLjAUbjgH8PyFT&#10;xt5qrGXCcMCSNpByBg/57Uhi2k/KcD7xPAPGOPXPXis7KVm9jw5Ll9/a1iHIZlRAQi4UsPQngCpp&#10;Ujj2MhwHB3M55bg88cDjHFOhcKAEQtlDkFQzE8gcfj0qNpF3HAcqT93OcfT6UnzbolcvLepuLGyq&#10;dxIfcQud21V9KEDsSdoZjgZBwBj/APV1p+B+6UjCMcnamCM55xUcqPGVcAyIBuOG+bngEj156e1F&#10;tm+pd/c5Vtb/AIIqhN/zqCCT0bC5wAPw5pDGfLVkIJDADGcIW49OAM96mXyiFB3E7SoZjjrzn64H&#10;WmDLRkK4CjnbuySAAaLP7W6LhCdnKHzREd2BlWOGxvAIEmTgmnJhR5e0hj0ZGw7Dk8egJ/lV63gM&#10;8Ds0wWOAbSj4UtkjAA6nt+VVXViQFAwPmDE4Bzj/AAFKTTmmv6uKKaXP0XT7iRQCfkUAmMBg43Ac&#10;c/hzUUm9QMgESDC7hkjnJ/rUrB48q+1iig8cO34d81DtdgCxO3JySAduSO3r6VUdNSJvlXIt/wDO&#10;woBYxDBIJODkBif938+aR43LFUfkZyC2CO3B/SpDbuNrFmVkJC7mGGB5wOf5elLtXJZWZe+4rjGc&#10;nj/Cps27x0GnzL33rsNjWMMhCkndtJz0Gecev1PrSXEWS7bTGEO4O2fmGep9+tPUNtKlQzAY35xt&#10;7dP8PaplBVBkk54fcSrZ9cfl1z1NUr6KRaheF0t9NSOSMBY5BldyBwGG0BQMgk579QPT61GoEn3m&#10;YlwWGcgHjnJ7H2q7MqMvnOH3jailpdxQDp3wegwO1JKFwI1wuz7wU4ye2f8APepcbS0FJucveev/&#10;AA2xAroY2DgqedpwWBGARnjk80ixgqyFyi7BuOcqpPQn1P0qfaOpOERCWGQxUnAwfc4x+FQLIoWT&#10;AYkAbcNnZ3/E0by0LatZVd7foRFAhYYZl65PU5FShNoBwGQKWcux3ZA6H/PenpImx45EfcT5nBJ2&#10;gg/LjuxPelJI2orbY0jLFGOTjsxPUn2q5OSsjHljuu5CoAj3qgALlgFOOSeCc9+n4U0N5kscmAuC&#10;D8xyD2GffqfwqxGrSeYPmCgZwwwsYAyePerSxwJFG6+YlyZSGQkMijB5JqHGzvIIRi4+6/eZVKM+&#10;7K7XLk8/ebHUke39KgOSIwioXUDKHIZu39asIHLMzBipJZW3ZJ7k/SgxmNSzAytI4wPuls+voKb9&#10;2N0XLXWWj2fy6/kVQxXDldrbPlB+QDJAwPb3pwJwvmBSGyHJGcemCOpNTMpZ16gbvnIOS/PCqfTj&#10;+f1p21t4V+AoIKhsCP8APv8A40Q5n7zKScv3dr6fiVyoz1JAUEB1OF9/c8U5XAjIULiQZYZBYe5P&#10;b6UrJK7KrKUQgAjl25zyT24pEVChk5+bhSDu80g/0weaHyrW5mnNwajtdXIAofcGQK2eADyxHT6V&#10;ApPm8qAQSC4zwcDOPXt+VXjJ84Kx9HyCvRiccD26nPtTCpLsxAEeC7YP3Cen49PypJNxVi5pykuX&#10;crSAbQFwoB+QsdrDkfe/A1TcKCV3AHO1QzbcnHtWq480gqwI5++B2I5b8M1RnRTlVHBPcbSSOp+g&#10;59qpXT8iJv2kkovdf1/mYV0qqgwC5BGSvH+f/rVhOqseQwyB83p2/rXQXKYGWUn+8w+ZXJ7fQetY&#10;sowW+ZsgYPfcOoH6fyqbWV/uM3HmiorY7DwrKBLsKnIkABU8r2wMe34c137QyNucoVjR9ihj8xyR&#10;nI6fj3IrzDw1E0twGVzGNwVsyFev+eleqcAR/KUOQrkEkL2579s/jWjt1Y6co6t9NilblhKwly21&#10;V/dj7464znjjqauyjZGzShSST8qHJDY4bIzjGR/hxT5lKLvWJZArlGmAKsQfXP0ppaQCZhGVxxgk&#10;KS3UHp16g/Spd2rS9PyN5uN2vsp6L1KaQMrtKVY5kAVN4Ck4O3r06VVMborFSwDEtt5GMnkBen/6&#10;q0UkdHVNofeQCpJwCOOB/T3omjkUMd0Zcjf1zsGevp37/wD16q2nmKlLRpbW0/rqZkkbo0byRlwc&#10;rsAyeOg/WlG6SQ5LKPlXew6Yxz7g4B49K0FkhhaGSaJpYRyVLYGOm4evrzzx0quPmBJLx7Gztfac&#10;gn19ef8A9VJR18h8rXvRWq37Gc6SK0pKKxzgNnqOvOPpSoiMFkZWUquN3UeuPfqeK1ZQ2xWwNoYA&#10;yD5JASMg/jg81VBQsyspUK/Jzk8cdB+PSso6/CJxj7Tmb1M+RcHKmNBIwUKzEsDn/HtTIrePy5Dv&#10;BDEquVJZjz09PT8au3EaH+GNXDkkl9xfrkmmKi+cvmOHwOCnzlcdh2PbP40NvS5pKk2rQ3svuM8W&#10;6uNpAXY/zFRknAzgj09xTNiFSF3BUwSTnpnGAMcj1q4HOW+YI6M+WQ43cAnA9MA8ZyakMYYqI1UI&#10;3zKoOCzd+T0Pt0ptJxd0QpX92S1W/n/SMqVGySnzAJ8jchQBxx6EDnHtUWxt0ZJDA/fBOAM45I+t&#10;a80DqZA29ePm3OR3H3vbnqKrqgYH5CNjA5K7VX6Hv9Pei7toEqVrO+39foZzQnzD5aEcZUgnP1Ht&#10;jvQx5DttCqSGznnI65/DvWiI1jYsNj5HALAKuR6dj7VWeBVY7ySpJIU8k4IPIz9Ka89hRlKL5uq/&#10;4DKJQCR1wAhGSpQjnsD6Z9qR1LIibs/NlWA5Az6jrnkVbbO4hFLbThVJ+YDsR+f4VGQW+X5vvZLZ&#10;wM9OPTFLmSdhRXuu+j6fqVyAzOCQgKYQjJxnkgH8O9IciMFc5PXshx3x+J/OrIj3Hjq3HXI98/j/&#10;ADqGWNTxtYGM4fI/z71Ksmk9kKM58slHb8yq2xiSudm4BlXIC8c5+lJt3ooXaxUc4G5iAGAPuORV&#10;uJGbJHIBBBJGGBHb161E0MiozEEHJG3oepOR+GKFfmt2FyxajG2n+X/BK0m4tgBcYyMdTx1H9ajw&#10;GAwMncCduOg54/Kp5FOVLFQGPO47SDz19D7moyu1AjBiytuyW6g9MDH05ok2oqwP43b0+W5EyZyi&#10;heDkEfe696iO1WYbufr8wxng1aLF+SDjo2BjPPWmsu3cwA6bQCAxP+Pf86STUVJjk3eyKbK21shV&#10;BBwueue/600qM8DHADZ4LZ+lW25XChiSCW/uj2GPpUOxAMFshxkn0OeOaptNX3JfKuWS1dtPmdv8&#10;O/E0vh3X4JQxW3uHWOVN+FzuBDH6ZPr1r9DPCXiGGRIJFmHznCOjkoSRnllPPJYfX8q/LrLowkRm&#10;zuxuxj0xj689K+rfhT4y+12MNrNKiXNltjww5l5yGyDnIB+nFefj8PGrS5krtb+h2YCrKnWdOTVp&#10;a/P/AIJ+gWmXbSRxShZJiilTMjAiPjgMVwQejZ5+90611ul36KzL5KyFyqCX77AId24FeeoB+bPG&#10;eoJz4FoPiF0RGIlkfcXAVw7dAFVQcYxnBx1616RZ38bukqbWKsr/ADMQkig7sbW7EHnsa+WruXM1&#10;fbY+mg+ay2t+Oi/I9x03UU2eSJh5py/li4V5FYL93LlVUEqeTgfMeBXaQ3UZVtyyMfLBZsF3h3lT&#10;0ZQMkAA88DOM9/ELHVpVmU/u3Vhk+YSyMAMj6Z5yQc5+uK9As74tEscczPhC8aFGhUkNsAABfnOc&#10;59a46sVB2jvb79jp9rF+9d3PT7Uq0Q8rzXJbEW1CW42hizDgjlByvf8AA9CGeTy0xGVZhb7tqyCV&#10;Qcl8YBwcgEnBwvQDOeJsZAIoJVkbeAFdV2F5mwOTgg8kA8YH6V00bltiS4jkCqFV2w5G/J4CnGcE&#10;8+o6cGsIR5Frt19Wd105c0ldf1+ZpGKR2IafLM8bLy6mUdwDk/eKt/TpVpLc4K3GBIcKiM/VSPmk&#10;BIHJwMEeh59YYRlmkKt5vmo6jCyKT5aYJHoBJnGOSFyMGrQEbXEkchjLKqu437dyA7ccZ4Iz69Om&#10;M1lflkoyev8AwxMeWcH0u9Pn/kJbrIgWTaAfMQKwLKUOWAORnuq4weMHuMCwsYkaJbosokDRlI5C&#10;yMp2EDGAeMHnpgc9CS5zFEgchF2ShmVYQZJuQEAAOePlYnBxuqcQ+e8MsTNuQK6ICGMRGQdueMkA&#10;9urjPoW5L4lsv8ilTqcmnTdgmTbuYlUwb1QncylSMliRyByCMA445PatCCNgsogdZQYWDlgBtPzA&#10;HcOSSuDhgCOMgcgRtKPJMILq4bBDLsUBcEjI7YG0A9CeOcYt2rukRDIuG/dlnXlSQ20ntjJB5xwf&#10;Wk1aL5e/+RdOEXaTen66E9luMskcyqf3jhg0f7tQDnG3pzn+QPpWxG5jddxeZmz5R3YkIOQxHHAy&#10;M4A4wPUZz4VZ5mkChNwPmo2ASeTuJA5H709e5HpWzAropcrGuVBVgArKRtAwcZyMAjHNVKTd7rQP&#10;ejO6f69P6+ZYtjg5lLmSYkDHzNkbcfMRgY6e23vW9EksMcRCs4kQiR8/NwM4BycgHsOpxnpkZtks&#10;UqDKnbIFJRcgRehycdOxJ9fQZ1hDKqt5e3zQcqCMcbsDHf8A/XUTukqaer/4BtC8tX2X3GzbyOhl&#10;3uvzuxATadoHyjH0G0A55wMnPJ3tPmKXMQ3uAVy0itgoSDjPYc9yffI5rnrWIhFdmd41T5QwJ2HA&#10;JyTye4zntwcAZ17STbCnzRABjulCb1IODtODg8YHHUt3HQbXxIhc0mnF+6ehaZqD3aCNXeMNGoji&#10;Kq/lMVfLYLZ3Yz1GAeCeRXYabO7CYK5R0G2O6biUlSyMgKt0OA2e+eM4IHltpe4EcaozoXzHlC0n&#10;3SAOnIIbHy9SCO1dbp2pxOkcZaGIPIQwEQ85iW5JP4KAO3PPOBhbVPqaxprk5ndJ/idra6l9ndUc&#10;qvmOTJIfN2KcdG5JIAI6k9c98V1On6i6IjRTl4yDmMSK+QCQAgccEfNyCfb38yjkhWbfvMiRrnHl&#10;7c4bJwQxPduw4A64rpLTU2EcHzzq6XGIQ1w0SHJ46qFHbJPGPpSanbmT9fIFJRipR+H+tT2zQpFu&#10;RcStDtCRsUcIj4wvXIxjBZsZ6Dgk992C3MnnBYEe2d/LeW2tgiBmU4OVYnOEPUkkDhsZrzTTdQS3&#10;gSY4k3yAEsLe6uIto5UB2DA4xkjkYJOcmu1s76OVFkjjZ8/Oxj0/CkKuWP7qQkthSM/mTSp+9K2y&#10;/wCGM0nTt10OojySI5hMMHyzKNPuo1jXI3Bwu4qSAFBIzknjnjpNHkmtd7JdRstswbcLhw+wquAU&#10;dR/ED8p7DJ4wK5qMJFJysSMjrJazQS31iHDsWADDdgAkk7ec5+YkYPpmjX+hWj6dHq0Et7BcShbm&#10;0ttSW3SSLnzVkLoGjwAxzvXBRMdWFbxi223uZzcHJNLS33XLWi+Ir++tYoZr8tbtdyXuLydYoxud&#10;kRyQgG4oqg7e+e/A9o0OdQlus0iqWZJNiXeQgZG2noep6bhnJIOOa8v8LaVbRm6ubOa4jt1lby4D&#10;qBCJG7BlUIw6D0YkHbngivWNFizcZiaSOQCSI/Z72ONlCoQSVK/MBl8844xzkGtaUX9rdmC5Ffl7&#10;nu3hXUPJkXaI5fMXDZlEjbtrAk+h/eS5HcuOygV9H+BtEGuXStCHdoZN7ncWV/mUkknrncSSe7d8&#10;18u+D2lvtTigim8x3mMcsxuo3cFQnA4y3GeeMBBjdnj9CfhxpD+HvDtxrl7bFIVja4iaeISRu6qy&#10;hFIPRjwcEcc84rqi0k5S2sJy1supxPxf8RzaBpEHhjQJETU7y3dtWutwH2OBk27VJJ/eOScqOSCR&#10;jGa+JxbazpFx5lvNLAM7XRiVRixyML15BB57V9ca7ZR6nfXV7ciR7iZmeN3Abyg3TIPAxkDpnCkZ&#10;/iPCX2hRMwVkSRnHmHzAZZY87y2RwudxJBBzuBNeHiI1J1OeMranq0VSpwtNbdfM8TuPFniG1SNh&#10;p1ldxS4WZHilDyAgOVCqOARlWJBztOAflJ5m38bz3V59m1zRNPgsG/1iwRBryMnAwJTnnkg4G3jH&#10;OefeZtGh2Tq0KiPB84pIiSSrlWwZGyNpKjIjG7Axg143r3hJn1FndAu9A7DmKPaDjG45C4I5Xktx&#10;0BBrnUa1OaW9u5unCUXFaDtS+HvgnxHm7061s3ubibymMbxfalOAUUlVyzAnBOOeRwRxszfCRLfS&#10;9MGk3dqr2tvi5tS3nTFyoJlK5wQQVO1sbSCMc1wOp6JqmmQRtbpdP8oNuu1ofO27xgAcsuMDLnbh&#10;iTnOVzbHxb41023nmt5HeNH824gkJWy5cKob1IyTtHPH570/ZRTUlZ/8EylLEQ92LvFnsWifBy11&#10;zT2TxB8PND8WW7yy28ll/YthKY41B3u7OACCTJkq3PlEDOcHxjx9/wAE5/2VPifLCdU8A33w11bU&#10;JzFb6j4HlTRIpPMI2+bbR5iLHHPQEMQCrYNd34X+Oni7Rp0lvdMliheRo0m08zWTOckbgc5OAx/i&#10;A9cZwfoiz+OGi+IvJuL+4nlltpEMa3kku6d4wGJG4EFVfA+UYO0ZPJro9hl+IXLKz11TLw+b5vl1&#10;RTwtSUWuqbPyy8Wf8EJtF1GE3fw5/aPu9KngjZodG8f+Fhqlu5ABSNLi0MToAB95wVG1iQOo+dNf&#10;/wCCHn7V0KXN14f1P4c+LbdpCLeS1119Bk1AtiRfJW5XYAwOQS4zxk1/R9pvxE8B6/afZ9b0Oyub&#10;2e0laPVbK7+x3kWVjCj5eCqnHDIT8x6c1634a8SfD+O2tktpZoJZIBFNiCKWJZFCR+YP3gKjywfu&#10;9Tj72CaU+GcnxCcVGy30k0fQ4XxR4vwKtHEtpPTmhGW34n8UHxP/AGGP2lPggJz47+EnjLSbSzRz&#10;Jqdtpv8AbWjgR/fZby3MkRQZ+8SOh4xnHzbBp1+tuuwRbxlkG8xszKcrluxOMc5xhiR0Nf6KelzT&#10;T/avsVzB4h024ht4YtLupY7UOpVjcHLF1ZSJFJVlUHYR6Cvkj41/sHfsfftEPeXPjz4U23gvxeYz&#10;PN4m8HgeD9dlxkBpZIB5NyoLjC3Ebhs/dHOPFxfAco2qYCqr22l/mj7bJPHythqqpZ5hOeKt79Pf&#10;5wdv1P4a5IdZkhFtsaTy32KoA27ADtIyMqCTkDAyBSxRX6xxW5ub8CZnMckdukf2MfLtIwvPY/Mc&#10;nDDPev6Hf2jv+CHPxI0SwuvEH7NHxD0Xxy1tAbiPwP42t10DXL9FBBjtdSVzbSMV2gLKsS8AbhkE&#10;fhl4v8G/EX4T+IdS8E/Fj4f+IvAnifR5Gjnsdd0trKUrGdg8qTBhkRjjDROykMuM54+NzHJ8xyuX&#10;Ji4Wu9HuvvP2zhzxE4Z4opSeU1U5pawlpNX/ALr3SPKU0fxLK0sr6tfXAibKvLOA7jGUwQR09ODk&#10;N/smujsNOvQhbyknmO1pWkjJGSVBJzwVGMnPPy+vWunjW5jmtba3snuoJI9jz7FjiiKnOXTOQSH7&#10;9Pm6cZ2bTxRPJIkSxp5LPkeWyoqhTlgcnAIGduRknpwSa8r6tOU2nJWt/Wv3n1EsbLkUJQ2t+lzT&#10;EEbu1tcwq9yYRPIixbZFwT91yCMnqAMjpnI4N+C1tppIg1g0MqoDKQWHTjhSuOB/EMdq0dLa6uJ1&#10;ltLZppiAwM7heMNlsjJPGO/c1ryahr9vJMg0yxKxLyWcpICOMMenORj6fhUV6fs9XsvmTTxEFP2d&#10;Na9P8i/ptj4esLXeNMlnupWJVpSQACQ2emfryM8dMc7E3hq0+yzXAjeIPFkIjmZBnuc9OmPfPtWV&#10;pN9qWrNie2VowxB8tlDMowAp2k/7R6j73JzXp+m6RPOYLa8tfJjkYAK5bbjjBK9+v61jTnCnF8iv&#10;f/gI6F7Zvnk7STu1fpZHn+kx2OlzxPHpD3Uk/CkIGtwWOSeQeT6+5ODgGva9E0zV9UiQpYHy0dW2&#10;xlljjUYKqeACe1euaP8AD5LSy06bVLKxht72MS2iKVRmiy3zFeSvIwO+TnoM101rd/8ACJNM2jyW&#10;1xNMDGXtIvNnSNgdyox6DkdsnAzyDVydWXK6ztFq1l5HnV5KvZ0leTtd9NzhU8A61cmxkUS7WbZt&#10;t7d1UKV4AyTnAySfXPSvpnwX8PdBjtbHR7udoNR277lLtT9okYLtYyRntlxnI6qOtcn4c8e6xeyX&#10;NxdmK0vFkDWl9eOJruV2ZAhSMA8jcDlym3b0zxXpN4um5SRbm6u9SI3vPITC97JICQjMOcckkKMf&#10;Nkk4xV0qMeVVlrfo+3kZV/rLnHDSXL0vH5NX8jsbCw+0S2+hWM6slirXctyWaCCBQQCWPQjG31OT&#10;064vaza20dnE8sscenPE8lwIZ1ka9lGMRog+baQVAZv9rnisPQvHGrWObI2OnROsIMcUEH7q5AwU&#10;Mikl3UsoOJGP3QAcAVkR3GpeIb+6vNb1Npr2S5a5uIp3+ZwS3kBQPm/1bRgAYUL3wAa1i6MIKnTb&#10;c3fyVlY9HDYHEU6kq9drljrpq3f/AIP3HfJqhTTjDBMz3V3uW2maQOLQFnB2YHynLfh1x90iGG0s&#10;/Dyx6hJdpqV3KvkQZXYbJuCGLA9PvDjoBkkdvNfEia9ptpbStEYY3Lm2gVzGfKYDa+3r/d+bvgdS&#10;OdXwjpOtappzNfNO1wzebczK+23tVxIQQP4mIK4PGNpHWnTjOcuWrH3lt5HTWhThh+dVFySfvLyO&#10;svLVWvft0891fxEogijb908gAYDH8QXOOfUc10F1qNnMLWz0/ZLeXEbC6MXMgUKAyKRyoxt6cE59&#10;zXXPo1h4V0DR4J1W61bUIEBiMm5bJG+4jH++cEk9sgHJ6WvC2kaU3iX7MmxWhjWS5ndgYoSF8zyh&#10;x945UfXHWuhUpUpJNpN2v/XmebTrwqpygnJQvZ9LLf8A4A/SbKdtKN5LaRs9uRJIkhCn5T8kajHJ&#10;ztPH90ke0muW9xLMr6hcxiRGM7Qw5xCow+3r0Xeg9TvB7nHSz28spk/swpHbwTfbppNpddudsCbS&#10;B/eViBjJFZttbLdy6m8okmmvdllE0vymQvy7g8d19PTtXBiakknCq7vv/XyPVp1owlFfZjrbrrb/&#10;AIf0MTwvCb4zXc7ADTP3Nqm8bnZ3YsVJzuB3jBx0BHGAa3/EUElvp0V3DkzmQ7gjKxYHcpB5z/AC&#10;BjBzkEd3XFjFpWqmy00oBPFukjDfIm0AcN0yCXIx2IFP16OWxggWWQyxpGGlUyZ5Ybzx9TjIHJGP&#10;XHmyfs48klfb8f8AgHm4yr9Zr+0gtHZpeR4Z4pguriEmF/KJ5kG3AztdslT3BOckcg+4rxbxObie&#10;12I4Ro0+WUkMzYB24bPA+cA5/uHjmvpPWUgurCW7iVYvKUMwJAY4IH1ySSfoc4AFfL3xAu70RXUl&#10;kLhGdgonViNhySpUjglcA/XPFDi4VZSjt/kTRl7aPLJWa/A+GvF9pDd6hdCLDorLGXjxiQk4JBPO&#10;Bzn04r5H8c6S76kY42QOZA6+WTlslmJZs9htG04zt6GvtjU9GeA3ZMZeQBndtxaMHGAM9MkAcevX&#10;NfMviXQ83Ek+GLSyEsVIUIuCGwoH5EEY7V6Dk9E30uejCfsZcsfwPnHxPpJtLEt5hMjxnawbCcY2&#10;kL3zkn16DtivnrXNLfY+5XWFZN4O0tkgDav0wckfTjIr6t8T2MkpjR/mhEh8pXxJEB94jHfGCRnu&#10;wyea8h8YWQMFvaxW7KdoSafcUjUg4Kgngn6dCR683Tl7JwU9WzppVHyqLep8s66FM7RQqM7SHKuE&#10;XjPT65P+eviPiixKuJQWhYfvApbey88YOM4yD+I+tfTOv6XbRTN5ayKsRyj8usgbIGehPY8+vPrX&#10;jHiuySVZyEwxUFSCFXgYXkYBxgf19a9fAVpUqkUv62OXMKKlQk5bH6a/sqX7aj4H0O6SVPNAVIsn&#10;ABGCG3ZwCSePTGcmv6Jf2LvjB9t09PCmtTjfDarDA+Si5I2KuCd21Rtzg5IbGeSR/Np+xGzXHgs2&#10;7MMWt2YQEIHlHcpAAz0UFMHj+LsuK/Wb4V61eeFtd07VIC4WGRWY5wWCllwO2CVA+uecV0TqOliJ&#10;NvRP/gHwGKoxnCVGe9tPuXU/oG0Vhp2oMQpW3YK4lPLSHlQR7E4J44wAOvPrcUwljGCMKCTt4UAc&#10;A/j/AFNfPHw08Z2fjzwjBd2rg3cEKpKoYBkZVBPHHXKAj26816lZeII7GCaCYnchYZZwGZsAYB98&#10;e35V7VGcYRs37rPhMbh6lSWq95O3yOc8UXTzXzxMcxxD5WYlmB4z1+9kADP0PNXPD+teRNAhdggV&#10;XZiflYBcEgDvwvr90HvzxWuXjXO+UE5uJFEbb8AbuFHvyVJxjgHiqFpdpakNvPmhSY1YZRiRwv8A&#10;sjkc9cn0rKNZwrNJ673PQWF5sKqbXQ+t9H8QmWWKFJAYl4yMgMeOn6EjtkevHsGm61CqIwlO0YRT&#10;0XsMn0wAPz784+J/DWunazyEmSSTaxBGOTgfQ8kjPH16V7bpOvBrcKMhlUR8jaqZDAjnB7jB68Hp&#10;gV9Tl2ayV7vU/Os/4bhU0ij6Qg1+IDcJgQQGyGGO5OPTGT+IrpbTXI58BGXAQnJICg5IG459xnJ7&#10;e9fLK+IpIMh51UhAUG8jJ4JA78fzzV7TvG6tOIkYhtvyFmyG4yeARkAknnoc8HofeoZ6o1Pfeh8P&#10;i+Cp1ItwWqPr63v4yqlXJ3suUJ+ZMhvz6AED0Jpkl7MpctICiqeAwZgAMDcSM55J+teSaL4i86OF&#10;2kDAbZMFRGH5ycjn8Oe+OnTqI9QllchSpRlWSU7ySwA4JOcA4x27dK+ip5mqsVZnwWJyKeFrSU0d&#10;kxtpgxeMEr8oO4MVUk889OSfwFYt6hgP7kFEALMAN3ckd8ep6d8VFbXQBkMg2q25UCPuaMbB83TJ&#10;Oc44PUe9S3s6yK5BY4X5ogwbhc8d88A9vStJ1VUhdbnLSoVKFZR6Fu0nTy4g7qSFDJlsBQDgDPts&#10;z17j1rXgdSwAIXZ85UnkjGAB6Djt6GvPVu5IZW5Ij/5Z7XwcMM8nocEE9APbjNdJZXpkPyhmQsC0&#10;iqoVOmRu5PYA8ZwOcFhSoYmN1FseMwMop1FszqRJznIOT1yeARxj06fifSohkYZwpkBKsyIVQA9c&#10;AsSAMg/gaqJLgKFAAWTLHeNygc847sfTs1S7jj5vlVRgKDxjvg/THUDrXeqt9meO6biy0wjlV7eQ&#10;qwckFR3GST3+lZVq7WsrW7nDr8wQNkhTkKW9ztb2yCcdc6AV8AbQVIAUBtxcgDLY9Bkg/T6VVvoD&#10;A7zlPLjWM3M90SCcqRwTuzwoOMDHuuAGU4zbVZLb8iqcoK9Kb0l+ZavokK5VFJdWJcnJQ7cfLx1O&#10;MVXt7eKIKnVVxt7YOccfpknvn2rThQtE6FiWAHGB8nHTr7e3GKqExwDbJIWynChtrYAAwOdxOQT3&#10;6nrWk6UU1WloZQqvldFPYshUAVlYZ3A8NtYjIbPvjAJHp+VTJGVCIFbIBclGI8w7QB3/ANpsAk4x&#10;9CMNtWEbNHb2Ut1si+Zos7icqqfIAeCOc9guPanTa1LbuhudHvYUd18yZRHNDjbyzFSSApIHOM44&#10;yAa2p1qO6ZlUo1pPla/FfI6MZb5g0TAL93BGcgHrzx07elfnX/wVB/Yx0n9tX9lLxt4CjtoE+IPh&#10;uwm8WfDbVfKzLb6jbwOWticMfLuY98RABwxRgMqK+8oPFmjTAE3UaEruKeajybuMDCkkkg544HQ8&#10;8VvR3EMpbynVyHweMFsbQxB7gbgCRnByOorpcoVY2izklCpSfvqx/kGfE7wLrXgbxLqXhzW7GTT9&#10;S0u+Npe2M8YW4tpEODHIuflIyM9/lGcYwPKry2VY3UuRKgAKYAUD3PvjNf0y/wDBxB+x9afBH9p+&#10;2+K3hDR5LTwl8btMm8WJFZwAafY6pCVi1KABV2qGOLgKxz+/cjhcJ/NJdtNE83nGKLI5fdhWKtjB&#10;4xnGMD+VRTa6bo9mhKEqCb6X/TUy5bPYkcpjcFgcuMl0BHUDsAQCD71pi0NvbR3kcMTi43CFXUj5&#10;h/CeewIGO/6VWbVY5QAQVY8pk7lBbjOe+Rjn1BpJdQEgaCQuqopMZB4BZkyd3c8scnj5RzzWsYtN&#10;p/13LnKmqd4P3m/xsrfIitZFsrpp5ShaJ2UKP4znAb6ccfWsO8mluZZRJ88jS5QHlznBZvp2wT+P&#10;Jq9dxzRIHZ0kY7Q3PynBUDac5+8w6ccnng1jXscxmjdjIpCjbgll5AO4nPB9PTJz05pRl8b/AKsW&#10;pRUoKXy+787hcTW8Z8mKIbnCmXI3eWEzlfxDHPXnp61nrKIfMMO0qZ/MMTAhowzPn3HLHrnOOx6z&#10;XMSNKWgfJVsu7D+E/Juz6kZ/SmQJbXESK7tHGHzggqHO7JHvzjkdwOaG7tSRz4indRctr6+hdeYt&#10;HsdmCqMIAN7BSyscADJP7sj0GOQOM0W3Lc+TFtKoWADnkjk8knrwTnJz061auSIwhXMgUZGGG5Mh&#10;dpB7jIAI9z6VWt8NKglVeUxvL4GCOnHUjDE9xnpkCtXdR5pGlS84Nx/HtuOuTbokSgSGSabErsdo&#10;AADbWGBjlcH/AHvbmrFPIoZinlvIcRhvmI+ZQcHHXg9QMCpboMkxaEFlXAjZxt83rjnnrnJB9qnn&#10;kLx2zZDuUIAZhG4zkZOQcbfT/ZwOKlLmvzPb8TKnBufvaNNaeW5msjqzIu8JIAmASq44O4enK9eO&#10;laDhoUw5jbPDHA3KeoCjkde3uKW6EqApGwjZPvzFwvG0nG4kDJAbgHkCqEM8jMY0TcFkXJdyQSVI&#10;yvoSRnHvUuTe6NJRaglbft0+Raih2sBEYyBF5j54KggqueM8+5BGDye9uC6aMbw27ypQ6hyfLXBG&#10;V56jII5J69MVLGkLGUJgTPFsBiwpjwwIAJPGeePWqq2vm3JjcqAGcooYAsTgAkcYAOf6itHNwS5k&#10;TUhCHxayejNqxc3TswJkbysFnXcFO7kHnB4wRwP4gDxmpYpggBVUyeDkjJOCflPv6jnBqgsE2nvt&#10;mcKkpYApJ86jjIA69R07fL6ioGvA8w2b5InwkagjanyYL5H3jgDnv19zly395df+ANKVK0o/Bb9F&#10;+pcu54JOFDq27e7EDzACSWxxk/dA4B+8DVqB/OcJwqtuI2OCxO0kY6gnt25PWqcjRotluSWRmAaT&#10;cvAGfmB7YOD0/wDrUnlSOf3aEBTmMHgEhyCAOwPPufwFXG6dktP6Qpvmi5te9p/wPzJ5ZWgnUxLg&#10;yHCtnb5Q6qMZzxz6HOeasW0sUKXEcp3YXaxPDNyTz2/ixj2qhbeVIZzcANOzhUBbPl7e6+5zjPtT&#10;ZN/lxMrldg2ytkKRnKkY9OV9857U2nyPlWitf5jjGFWT5Wrvf0f+RqEWgdSwzsBGVXKcc56Z6OMD&#10;uMcDvPcSLG+FZmgDBVTgFMnaR26dffFQW8kLWjrMHaRwz7iNxBzk7R0P93HGM5z2pTFmMMBuwdx4&#10;KkZPGTz/ALWQP0qIu0Xzap6EzUlyqT1b/XoXPtTQ28mcGRgscQPBQgkqBj3YnHv0qS1aDzyWAZ9n&#10;mHO4ryNoGB34I+o7AGstVkk3MEYkqQVLEbwBtPoCMknPPODnIGJQgjlkJd9gYsygAhvmG7PHufz7&#10;dKdNX99v+tCZTcat4q66L01L9u0c8sxWTzgrsEiLY2buATjk9uevynpjiSFRHOsUm5jyQN7KyqWI&#10;65wc7e3Py1TsgIJCyyDbgCOU5cNxwpzyf4hnnrz14uyWRVRcMcKgKoMlhwg+UnjPRmB6c4525Ozi&#10;pSlGLvtYcqXMoprRX/NGk0kiHZGIyiDau8bmAHGCcdun4UVy73swZgc5zn/WSjrz/CcflRWfKlpz&#10;EeyXRfgfnVCjFDkoeflyMMPX+dTy7PL2PxuY+YqMVBycjGD6Zqm0UkY3p8m8nB3kM+MDntVl1BJy&#10;owYwZNvqRxg/iKwld2tscMeaU05Ley/4IxfORCEUMV+XdjaXGScD8f5VGp+Ul1IDHDtjIyDk4H4j&#10;FWIJgQit8igc4OGUFSOPYnP6U2RG2FlO5EfYN3Gff+VNJxZF0oNpNsRj/DgsAd6tgnOMj69P5UpV&#10;mVQgkIyMs4wThSMZ+pqYxkIZFkVNpx80n7yTqc47VFJI6ICrhAPmC85GT1498UOW3KjSEGoc3RoY&#10;qrtAZ/NDPg8bDzgAZ9OtTt5UblFbcSoI3LwOhP8An6VV2KrFmUbSfvsclSc84/Op13OAP3eEXaSe&#10;WPQAZ7ngfSnKz0fzCjPa62/r/gEaSL5bqgYSDqCdysP/AK39OcVKzmRQGUl+y43dRwc9zSRw+XKD&#10;GGdfmTkH5c5yo/DHNSyyDc20ttjx5QDEZx/CP0/WnKV9UgSko3k9NvvIVikMn70lGUcbhlycc8fr&#10;Vg7I41jjdZMfMWcAKp3dM/Q81FPIXZAx3MfkJ3dOSOPb3prxxAmNJMjGXLDA+nPbOOan4VYSm+Zu&#10;kOuCJDHvdnCgquznB9/brz7UyNkdIlclvmyu8FS2OAfbp+OamDhMIDvZUyW25UjH8sYoXyw24/vJ&#10;DwwZCMDHy/h9KUXzadCuZp3lbm3+8cuCXEW5zsJDNw2AQcgf09BUTZEfRgytkJjJwerH1Pb8Ksoy&#10;h5CJCS0RJI+VYiSAffA5AqJXl2gkkjJPOc45HPv7UWaW4KTdPl6a/wCZEiyMj7coS4XLLkKvbIPc&#10;irCRO+JA4CqpONvMI+XJ+p/rTo9m4PlysYV2jz8vTgnjkmkllklHm7QgLFwYBhIvw9eB+Zpq1+b+&#10;tC5QlyXXS346gWIRxGSO+Su51Gen1J/nTQVdipVRgDzGAyAcDgd880sRBSQP99W+UrkjBHTHOSci&#10;lRXGGDBOApDAkx5/9mNK7Xr/AMMJzk5Jpb/gQsZWbH8LqF+cZC9/xPHWnJFK5YKPlV8kqNxz33d8&#10;1LtZD8wXYuBhj8y4/qanhnaJ5BbrJHiIoyhsDnkl/U0JSfQzUaamlfT+rlVkZWKsSqFd4yCBnPUn&#10;nn0FSRR5Dkncu3dsC7ivByx/OnbBG8Zk3SBzuVGPTn75P0NSbf8AlmqqC3z4I5c9/wABRbcuDV7R&#10;SSdnby7fmMG3BYbnU4LDbsLYznPoOBSnGVVWHlgB8t95+4A9ulNRThiYiwZivcM+CDheOn9M1YK+&#10;YGkjUI8ZCFPvls5wq+uMDNUo2SbKcmlLmer/ABKju5k/dsI2VuG2hlJYdEH40qq8UrN5ats6rIvy&#10;Bm6k89ev51KUQRs7rgocB1BJj64AOO5HOPWo3ySrMpBQkIpyQc/xsfw6Urt7ifND3ov+v6sLcQuj&#10;FyH2yjcWb7rYyOfQcVXSFiisRwwOY2Yndz1X2zipS7yjmR2Uck8/vCCfwxTzIYpGRW6jLSKMkkjl&#10;VFSo3VhSlaS0tf8AMrN8u4ljtPys4XdyP4V/PrSEHDAAFYyCoc5VQeSSPWnkbckFBvclwTwo45HP&#10;X/GldWYgJGCvB5+7xgF255HWmltysbna/Nv0KafOoCo2fMIOQOec5J9OvWq08bFXBOFJ8vOOWxxg&#10;egxWjJEkbylSZIyMrKFI3luwHtnFQuAoLEsokbaxZ9q4HGFH5U5dGh3jqvI5m6LoBGN2G4UHICnt&#10;j34/WsKXJyrD5go+n/1zXSXapnHRw2dp6cGufmUrucD5sdSc4H+PNK2tnsc99LLc1dEmeG7jQOyK&#10;CfmIyoJxyfavX7eRnhTCb0kiCkjlnC5649cnnrXjGhFX1BBK4256MTx07/417daJFF5VxEoU7FUh&#10;mK4JBG4jtkAfjWqtyJyW35lYdtTbSvb/ADJ9oa32llSZxmRQco2MBQSenU4xVeRRLtTzGBtQVXb0&#10;Ixk4z0PXI96tvmOEkSxs+duwJ8hGcD3PXpU0EXm7UgKurAmdZWwF46E+2OKyuk2mtDZRVWSUV0Mp&#10;RBKAAzq5BAlkGwEdsc56496ikjEJdXOSFw0jYABOQR69+vtWmxTzNjoCRGPlYbCwBOCpweoxiqTx&#10;LPLOzh33NyyDG4nkE5745PrTW9xOMoqzfT8ypIkkrIIvL8pOeygAdfxOajMImRnYlQhCBRHtBP8A&#10;e6+xFSOMCNYTkq+3eAcEdenXt0+lXJIm2spXhijRsQSzcscH1Bx07YpNXjd7lwTppX69PV6GfMss&#10;aoqyANgKFAyrDv8Aj7e1PRIVeVyU8wAsjZ+YYPzbeMdOxqeaIyGIZiB+YgHIHX8eM/0pIIlkeW38&#10;p5HKsAUGd/HI9xjHI5+tNNOLXkKfM+W6SK0ccLRSKu0ZIdSybN3OSAT/AE4pqwfNGsqBUC7nkC7Q&#10;N3PHoR6+4q8CdqxCFMg7mlAPmBT2IBx19sjJqu7TTSGIArCoAY4GSNpxlu4H8x7Ur3NFzRp863Vz&#10;JljCSuE+VtpO84YLyQB7HjqKSLIaPzIgpCkEbSHJ3E8j+oq+dpzhE27CEckMwA559unTpTUjJcDq&#10;xXcrLkkHn5kHcdMj3FGji4sxp6y5nv8A1oZrxF0d0Z3lVyMZ+6Ac9e4wO9R7OFRsdQMg4VySenoe&#10;K01ZklEskfLLguGxExwOcY4I449qimW3fGTgONytsITOc/N7+9Ra9+XU0duVTir7/wBfeZjs/mkA&#10;sN3DuyDaMZ4Pv701t65kAOVJxkZ29gPccjpVyRZER2xkYAKElmwc9fb/AAqBG3oQxyd2URVyUB6E&#10;fTnrVWfLvsKFpNyl8vyKUYUzNG6n5yckEAZPIwe3emSZVvkBZW4ctxtHTB960oolZiWi3h8ksx/d&#10;uRjk+h5qm+4TSjaV8vCrnHPqDx096aT5kZtr4Y7dBiggs6E5ZSm4puIPoR09OaBGvl5IJbac7lAy&#10;c+o7daeGQuryKIzGxAXJ+Q47n0+lPEblNoPzg5MS5IAweVb/AOvRy9ZMqMYyglHfX7iqUYqqJk78&#10;FRgKo69PQ/WmTI+FLliF+8CCBzxyB35qy8ZLBju+ZgnPCy/j2zx+VV5WkBdXO1iSjbuMcgYYdO/U&#10;UorqiVenJOT3KrAbcENukOMsMe53fl19qZ5QwFbaCpGMgkL6A+uaueUwKEAHy/lUg5wPb24qNoir&#10;H5mKg/MRwVJwMr/Tr0rNuzE5yjNv+v60KzBgDkHleAq4A68j/CoMHDcDB6ZzknPIAHfvV4B8M3VA&#10;+QW5JGOf5n86g6qoDrtDeuORk4xjHp+VN2ejDRNzT11KbIFC4C4ODjbjNRFFAJxgEY+Ynb7/ANa0&#10;CzHJfCdiBzu9cn1PrUG0NuJ7AkgDr2Gc0WW0gqO/LyFNsllYDABxs2knGP8A63Wtzw3qsuj6pBdR&#10;uAN4DqCcYzzkVltESxYNlWXAwCNw7/jzUbQME3LglcHaDnOCfx7frRZWsglB8zV+36H3n4Y19Xgt&#10;ts25JYlMfmMcNvAK7c8j7oOAccdK9l0jU92IiuS7AgsxUc9OMleoIyPf8Phv4a+IxIiaddT4nhGI&#10;A+drrjp/L6YPrX1JoeoSK6udm4KTIFG0tyirkZBOcg9sbTyMrXy+Pwyp1Gns9vvPosDXdaKctWra&#10;fgfSGm6gHj8zLbU5ctgY7gHHUcD+mDXfaXqauxZEYEbvl80BmDHGfck7c4z36Y58H0y9kkKxb9wm&#10;XGwAt0yww3XPAOc8fz9B068ZJAse8uqqVO4kx5X7wJ7HIXHOdw968aUU56LRK/3Hsxqx5VSUV1/F&#10;/wCR7xYTl1TdIxLMz8MrFSedx7nO5Vzkd8ZxXd2M7XEzMrlVUDY+drKDgAlQcZyWJ68A+ua8V0+8&#10;Vo1Esm4lUEalMK5Y5GfTGcknoK76xvHzH5sp8qOPfv8AL+Z+gAzncAMHrjqSR0J56lNWTZ2Q5o3b&#10;S6ffoen2dzbiSRA0gXaFk3MoILKASpYheA3JwRwPXFaSBpFlKhnkMikSbEaR9oOV3lgVGCDgg8qM&#10;Y3EnlbSVmQz7wdyhfKGVYjeqY3c44JfPQ8g8AVt2126xus3LRlizICfNznOO/b1OM9awlyqCT3Y1&#10;TcpRv8K1N0r5jwwkj5pQjHaCqbSEwTj36dePbFWovN+VxuY8uoVdhziRTuP0cDt82O/FZ6StPgw7&#10;kZsbGVwzHcp449s4AII9iCK0beBlEcjSHcQy5ZTKV2kKcckcBl6Z+8fTNRC0dOr0LjzU4p2v/wAD&#10;dfiWzwyBgVKpiNmYsZMffHpx8p/H6Z1EtxGqhV++WRwVywOCeMdejficdaqqCHWFUcv5WC8i5c43&#10;BW6cnLHtxz0rcXdFFbyozB+6oBlyNuMNjszA54zj2pRXWX/Dk03Ko37TR9kNhTK5jUIhXYybMLu7&#10;bOOnXn2FbkdvIAhLSfKudrLvVenOM8ZwOfamWTRxsxJRVK+XEhxGi7sADnv6HjArbt4xucK43uAu&#10;5g7jpjax7tkHoMYYfg9Xv22N023GW6uv0J7W0dAowgy2NoUtu44bH6A8961o4Zo52XlMEui+Z/qy&#10;CzcHpxyc+pPSi2KQS2xcmQwx7vMZSkgA6ewwQMfStGECWQB0iaTepizmQlvmAOeOzHOcfeHTpSU/&#10;ecOw7JxatZ+XyESLMUixnZEyhn3KXaZhwSDnsCT159skhI7cvBGfnAdirl1CoMgKMc8kcD0GOnat&#10;ZVZFERLKuWwGxtUqDxnHJIHtnA9aZ5TJCFwoMbkLISSOQNuAASTnPQH7w44pyu942VzSNqdrO6aK&#10;rq0Zi28KzvIwUZcjO7hgeMcLzzwe/TVgn8lQzmNsHO7mOU/xZ56cnknPODg4IOcZGmjSSSJiY0Kn&#10;eNoUbvm29COWJI7nj3EvlTNHFLg7SoZEYlW243ZHtgZz6fSodNpKLd76mc6k5ScJabWO5029hmWJ&#10;jDCu4n980HBDcKSykMQMg9+nB7GVb5maJ+U8pEkIAkhBYhs7V2kZVu5PRhmuZivGWJVZ4ymAP3ak&#10;FCDtOQ2MZPccHggkEGrUczuWdpXXcpCsQRtG5sKevOAvXuays1NNrV/8Dc05tlD4v+CmejWWtfZ0&#10;RZxDMA3LSW8U5QdjuPPpx7fWuqt9ZjMSOrO6sRgvpRIjduT+8SVWBIKZ2gsdxx6jx22uWabyim8H&#10;BEhO3OcLzu7fXFXxJBD581ukKTlElMgQMrDdvDHacE/OBk9CB7g1BycnLrZCnzb9T6d8MeJY/wC0&#10;bSOM+RI7rG224ureRWYhGZWZ2Rl2s/3t2MsNu089nqd48fiCK/hvrdrYIUaN9TYB/LwZSkkKuFZY&#10;xwAAvyt35r5SstaEOmrcRzzreKz8xXk9qJTvz05DfeIO44IUcZGa73wP4kvY9q3tzKh8zbOqXotT&#10;lv8AWl1ICsSGdiqn+I9OldEIxulLp+JwNyvzrZ/gfbPhPxDaeRbK90jJM+3aurIS6tubCs24kAoy&#10;jnjcOwr2PT1guZsQak7vJHlXh1q1lR/MCgc7eMnbu3EgHGcGvjfRfEUhl81r2aOSLJllOuxzzSvu&#10;O6Ql4skbQEIIIO1jnsfpPwB4jvtSuI4pJb66V4is7C90y6HzBYzkBIwON25UxwowDksOmPvzUV/X&#10;ciXLH4T7L+CHhK61TXbUTJMWMhmk+e2u4PlUphTCzNwNpwRntxzX3F4yu7XR7W08NRBV+z7J74RR&#10;YIdljKBznlQqLlSOS2QG3Njzv9nbw3Bp9hdeI722SOwtLZbmadbKGIJtB+bdGAPnby8bmOMEkmqn&#10;ijVW1TULvU5isNzeTGVRHkFc4ZVQKCQWxgBeQavEyVKmo9WVQi5zb7FW7vLaQ7FnbLnb5rAxOCTy&#10;TzyWxnqQffkVhyRCRVcbDCoL4GWjlG1mAwOvboe4FcrqUkyMwSSSNCoALkRluu4Jxuxjaoz3J5HA&#10;ri73W9RsIJHiZyY2CK0jGNJC24gYJJK/KckAdPfnzalSL0kj0OSTg+x6RfS28UZck7o1KFguzYCh&#10;CqGzjJyQTkEkueM159eavp6SNnaDESQCAxLZABA7AZJ+uAMc5871Lx/q8rBHlYpJKY4j5e/YANy8&#10;EAgcn5iAc8Y4rir3xHLcckRu/JCAYRCc4wAPw78t6dMJVIczfQ6KeHlN3PWtU1aya3eGHH7yJt6P&#10;khtqp8pwdxH7peDxz0rz2G4S5nmQxhYftDoAsGWdWk4P90tkgcDHA9Ca84u/Gs1q8g2LuEmFY4Vg&#10;vzE4AOOcrz6fXAyx8SrOP5mtmQqpyBmXdjksQcA7iTwecZyK5JYqglo9blrDVklZav8A4H6HuVlo&#10;tldsV8uJwApdbmXqBlsvL/CuG6Dtxx0rkvFOjy6fbz3FrCZEdBFK6oE3NghUUDIVDtYIh6hQxUEE&#10;LjaJ8UtMuJ0ieRoWjbAWTG5SUTIGe/3TnttPPAr0638R+H9Uhdb6dPJYMZH81VX5vLVyoySWZVJ3&#10;Hkbjxt4pyhTlLmpvUi0oyUatz52sdX1uTekc97EYX2eZ5xaOSTeSQ+SdzD5iQOAVIwBmvSPDL/FR&#10;Rvstcu1t2kGyC4nKyyMRhRHHggdDglicHlQafqGp+DdOvTLG8XnlgGEcCCOJNuCqKCOQQBuP99up&#10;HPq/grVtOlhjk0+SOSCZssgnP2nBPyqZeuMHO1c7s9CcV1QjKSVptPy+WrMpOmpucY3Xn2JdD+O3&#10;j3wXd266za3NyRcq7PZTNCikccHILYByzblDeg4FfaXgv9r/AMP61bW8F1qKLdSgxm21WQWKEEYI&#10;wQXYqBnAbBYnHHFeQ33h/wAOavpcd3qmjW0kq2yQQoIxBDcKpQxxM2fMjgTYrHBMkhTBIzvHieo/&#10;DLQrtJ5LG4jtrwEea6RhI5GUs24EbQFB2KsfzZLnpyp7aGLx2FXK3zJd9zjq4PLsSlOS5ZfrofrX&#10;ofjvwr4lQCy1S1srt50MX2KUAoVZdytEWwuTlGxg4JBIOQMX4yfAz4QfHvwlc6D8ZvA3hXxxonMd&#10;lqc1qG1HSw2Y/Ptbxf31s65JLwyY474xX5Dx3/xG+GEkMtt9ovdO3BtkcwnjjXeWwXRioZsA7FJK&#10;8V9rfB79p8yyWVjq6XTvIot3sYysgQKrKsewgspyxYKCoyuTnofYwuY4HGxeGxcLN6NNXPGr5dj8&#10;HUWIwdR3jqmnZr0e6/rQ/FP9s/8A4I+eMvg/Drfj34Iyy+NfhrbW0uo39vJGr+L/AAxCqs5326R7&#10;bmFRsHnRYfAJdOrV+I1zoFtYudOa+lttQlcg74xbKoLAYJ45JyBkY+bbjpX+ijoHiLTPE8crwW01&#10;qwhe3n0+9CRxyMwUkMoLcgAj23kYOePwR/4KPf8ABLbw69vr/wC0b8BNFvLS9srWTWfHnw301mW2&#10;8naZJ73TLUEbeQXlt+RwWjUciviOJuCVRj9fyhXp6uUb7ecfLyP3jw28Y68sRDIOLp2k7RhVa3ey&#10;jPfd7S27n803hmz1KyF1HZa1fTGOUkh2QqpBznkA/wAKYB7jpzXUWuo6lDbyjU4NTumBYtLFbC4V&#10;EHByemRk8HnjvXdW2g6PBPPI96bBwpleIoQ4k4JIBG3OQM5z06dapym6kEkEUUl1Ep/chIXVnDfd&#10;wSmD6cc8cdmP5rKLWk3pt38j+oqMqVZuUY728vO6ZW0DxTNpbQS2ega3cQSLhQ2ni2g4bG1CWGQA&#10;OSQAM9eK9btfF+va3Nbx2+mW9lH8rzGeTE8ZJPyqBlSeBnnAAGDwa840/ULy0RrYaC2nuh2GRhiO&#10;XOSWJGeScnscMOeMDptOstWiiGoR2sd3FFKA+9mG8EjJBXr1PA9O1ZfV5uKcH8vQ9SnhPaL2lVJN&#10;6Jp3ue82uneJNZit/tXiARWtvEbhIbRTuRA5UpktjqW4HrWnb7/DizJaXsErXbmKVnIubmFQVPyM&#10;chc/NyMdByfmFeYXOv6he2irZwGw27VmEW7B27h+oU4HqM981Fb38NvcW17d3DzAv+8tGmZI5QCS&#10;UJHc5HTB6deMVVb0Uo/O5phsvqyny1LJfy2W6sz3LRZPE8Sahqllan7JDKpSe4ZY42fOyPZ3ySP4&#10;RnOTyAa7xNcvNMMdzPqkEk89urlIcO8Em0B93I2/ebGAeh4wQa5Ow8Uyat4fFtam3020iQoixyNg&#10;YOTyT3CqDkk/c+tNtLGyXTw9x5lxK4IAlZmeTc7OPKTGTxk4xjc78dKJOCmlTk3G2gU1JzaxMErO&#10;2i6ebOk8O+OdautQvcedJE/7pJI0BS3CADKkbccEkegP0Net6dpiz211f6XdAXcOZmnkfashJwFw&#10;TgYy5yME7W7Yx49pfiCMXUNjFawQiKJljtgMSzEkAAkAH5lbqeu089K6eLWdTs9TFlOINNSfyyYN&#10;gZUEsakcZxyT8uc4z3PIzppaNXav/kXiXvCmlCTV9Ho0vzOk0vUtf1C5F1qpn1AxR+UEACqnyMp+&#10;U4wgBX5c5O0DkZx6lo+p6xbRW915RhtmjEkNsEwGYnmRsnB9R1PBJNZsGoLGdIt101EtZIcK8gCC&#10;QpnfJIcAk+2CB0r1C38Oa34jlgukMzaVGfMSaeA+ZeBRulldhkDO2U9+h9DXfGlNQervp+J83XxM&#10;JTXtIJLv0stPvMSLU9a1zVdJto4Z3+cSNdNGQjOGAKoWxjHy/dB5HXiveNd06z8I6Ha2K27R65qO&#10;yFCVD7d43Fm5GTjaMdCCR3rC0m0L6pYXJVfsOmEbJoVMdvDsU43NyNzc+hPmkgDNT+KrsavKt7JI&#10;HlEn2aGMtlhjBDc44wy8jjOcZxWNeypyd9dr+WzZ1YaFqtCNuWCu5JXu3f3V6dWiGOa6tVW0tWae&#10;TyvO1B8lYw5AIQHkdCCAOuQOtaMn2iewguLVWintHKxIhO5AckyHng+/sKgsn+wCC1kKyT3kgnup&#10;cYaJdx3A9NucYGfat/xIHtNNkvNNPlW0kQtdyR75W3Da4jXPcFyMcZb1rglByjKz23/r5GmImqUo&#10;tx96T0fR9Px/JGJ4ftvtV79rkm8xoEVbl25Uhdwxg8Hk/mK3NcsodSjbY/ybsoWU9FUEED1wAOed&#10;ymue8PwahbgQzwC1W4RJdrtl1VuVLc5BwAccHnmtWVpBcJAGKKVJdwAwCg5Ixx3J+vIrKnHmklJf&#10;ecNdOdf28ZbHiniJdQsEmtYy/lTSqcFtpGd4VsZ56euMMeleCeOrC/VI47YgqQzsWI3SMWYDGcED&#10;agPIGQemK+o/GKeeVEnyrb/vnAJ+baNwwPUHPWvn3W7j+07uVk8oBHLhc7WLAbM59cADPfFTJNYm&#10;UJ9bfcrDoznyqyu1dv8AQ+SfF1rd6dBcSXNlseVWQNyRgqQSG47EnHTgD6/Kfi+QyWbpEH8/bujQ&#10;5Bj3YJG08HGACcEjHXnn7z+J8BvLaC3IDQpIVViNzklSCM9Dkk8nn5+eAMfIHjTRIrMOZFMatG0K&#10;Z+UBsZxjvySfbPsKqUpc7T6r+vzOmNnSU7e9f8j5i1O2W5gDxMH2BiEAG7nC9/8AaOP6ivEfFjlN&#10;MuFIRp42Z4tuN/GVKg9Tzjrnt9K+iNW0u70/T5rpP3kFwpVQzZPDE5Bz0POPTatfOevyJK91buGD&#10;vIVADEK20888EltwbOPug9D8p65Ss+R9LHpYKhCorR1inc8HuIZbm0eWUEz53MMDa2AVIIPs2R2y&#10;Dyec+VeK7QGGXJeSXYyNEEG1Su0sueuVGQRx1B47++3qJBFPAow7nZG+cq2C27PvxgccZ/CvHvEU&#10;KMkx3AvtYfKSTwB0AHYBjx16e9d2EqN1OZvyX4F4yEOWVl5f1+J9UfsE3jSW2vabk+bDfpOQw3RH&#10;cAMkHPJwwGMHGR0JB/Yjw/YthSisgBAiMqeW0ictkLkgng5AyB644r8Xv2A3KeNfElgSWEqLMrcK&#10;zhd6qMYOCAyEg9cfSv3X0TTxJbRBVJaTAU5Jfrx+p/8ArV34n+JzLV3X6X/E/O8bGVCol0sfUH7P&#10;HxDufCurxaVc3A/s+8k3MWB2ktjJwOOcdMDp2wBX3zreoify5LFt0E/72aRF2K+BnGc8/M3XJ69O&#10;1flXpcX2WaCSJnLqQ6LyFxgjPB75HBHf8D9z/CnxuuoaZFpOpSq08URijeQZcqMjls9eAcjnJPTg&#10;VtQrNwdBu3b9TwMTBc6rxj6np0t28qQNvwVbDMr4C8gZ+h3qD1HPI5GKZeVZo4iFP7v92xVSGYsS&#10;MjG0/wAQ5HbnJJyk/wDolwhOWUuJULYw20tg4478nnHyg44qt9oWWYEH94uEwwZBkfKccfU8E9Bm&#10;tLSSSej0K5dOaO2p2VrOIGjuIpHB2nKurZYAkA4Pchjkk5+Y9Tmu4s/EzwW8QZmxuxLsQY+UckEE&#10;nvxxx/LzkzhEVgwBctnIGG3dBg/Vs+uR0xykVytwI1jKsTldgx8pXsByc8H/AOsMCvQpTcdI7nhY&#10;mlCq/wB4tj1X+1p5yzRsZGVTI21cRrjdgY5IA44/DOa5uPX7mHUnVZWV95j3KQCc/LkLgDnPb/6w&#10;o6JI7B4pFH3DhmLDBO8t0Pf5hzkAEd8YZbacZNYicqGbztrMqlVOMsO3rxyBkj1rtc5SSs9bnjxp&#10;QjUlzfDY+p/BupTyWsJmbOYwQsaElB2J56Y4/A++PadO1GIwM5kIZAsg2nLjduwSM5AyQDn1zzxn&#10;5Zh1WS3hiCrEvkxZEbESAHBwCQSehwAfTrXo/hbW9Q1Q+TEHleaFAdsecgHdwy/NwAS2enPoa+py&#10;/FezjGm9z88zzLYYqUq0NFf7rbns0erRNMnzSvljuOFeNcYAUc7s8Ekdsd+g3Lee5vUzaq8rSy4k&#10;lRW2L8w3ZccrnPU+nQ4rjbWGOFAzqJZiwdSvzxR/K2QxGSO55wB82a0pdX1KW9WxgiurqQLvZolA&#10;VQCxYsxO3aGwTjHGfSvcpVvdtUe/Y+JxWFg3y0EtN29rL+u6NiWxW1SOW8vUIkJj8mFtzZHLnzd3&#10;HBHqMVoJr9hbReRFtQEeUquzZYncmCSeSQFz9R1rlEiur84vyY4Z22yCJhF5vBXbj7oJ5yenJ9Aa&#10;7nTNG0i33yramV2JLG8mNyFwB8yoeAcEfdGecV00XNySo2S7vc83GxoUqa+uNzl2jZL+vvZo2F9N&#10;cqN0MqBIwXUxYdSTgcglW5+X5fY8jFdEjMuQYs+WAzOzBI2XOGIPb6fyHIhikEaRiOPzHO0Ff9XE&#10;CMdPTn0z1q0HuHkG14oY0A3nYXd+jELzgDjHQ8Zr3sLG0byld+h8fiqiqSbhCy9RSLssys9vAmdo&#10;dFMsqkkHOTgDOSAMEDHU8AR3s0UFu8VxcNOsp8tB5O04UgtuZcDnGD+g4NTCDBQySTPgbR+8Iydw&#10;JzgAnv7YHIrKcRzaiYYIi4haMO8pk2tIuQQCTztUgk9zkZJ3Y66kuWnZLfT7zjowjOom9lr228zX&#10;t1xDF5rGOaRDCrOQrucMeADjIAJwPQdhXn+veL/Atjqt7pHiA21leRyp/pKo0RnJG9dsyYbcASCM&#10;j+LrzXU+J9ZtPDehar4hupQ39j6dMY45H8tJZWx5UZXsXby1B4OGr83tT13UNVuHu7+7N1M8jOZA&#10;xVTvLsdvPCjJwvpkZzyfKzvM1llCEYpOT6PtoepkeWPNcTNyk4xXVd3sfVXiP40eHfDkDaX4RiNx&#10;IQVS4FuLhI2aQhnZjKC3G45OeQPpXLaL8d9RtwiX4N5MZCj7gfKAYSMCe+PlKjH8TICcZNfLtzck&#10;OXZBncVIR9oQ4wOfx6DBwOopllqAmkVPMA2DcQX7kqDjnqTt6dgfSvjnnuNlVUoNRS6H2lPIsBCD&#10;p1FzSfV7+p94aX8ZX1S5jB02GGE4kRifMfYw4w2/GTnOAMcYyc16DJrEYTTtR0+Cc29yH89ba33w&#10;xhWViWIAC58sjPcD2FfC+iXxjCqJMMnMcgf6AnOM46nHYDPHIr27Qvixq+m2lppcdrp5ihj8pJpE&#10;YOq4ODtDevPOe4JJr2cFnU6144qVvNI8fG5DSoRU8JC7vqm+lv8AM+Of+Czn7N9n+1P+wN8VX0ey&#10;e58c/CfR3+KnhER2v/EynOmRtNfWadDtubdZhgnaWjGemR/mga7abLiW0XLqJMmQkOJ1OShyfXdk&#10;Dp+lf62nxP1W01b4FfFa6voI1W/+D/ieTUYoABCYl0u7RycncflG3JB79MYr/JS1+3ePUtzSCMva&#10;xlnzvQkKucEHGevPI9O2fr8FUdWl7SLv0/BM+VhB4fFyotW0vZ+TaOVZVB82XegQ+U0h6HjAOMdR&#10;nr7+9VrtUcRABYiAPKK5UyH72Qc5HbjsB3q9eoyk+YoaPPzDBdCwwQQfp/niqsEiyrHIduCAsiOP&#10;KcEkg89BgbfQ5B7E12PRqXf8TZQTXNNbW38hYlMjZuR1xyQGZeh+XnkDk9e1Zd8XnnCx7nRTkhVy&#10;JM+hzjgds9x04NdBqNtbRsBBMW3wDzd2GjRyAQo9+CeOck+lZMaJCTLtjxsHGcM5G3Hy59h0GOnr&#10;TdnqiubncXy2S/HW35lC6geKHyo2AeQqEdQWUfMwypzjgjt6Ui20UaFhMSyFgNwwI/uknkc5PP4G&#10;tJplmVCECbR8oTPyjGc4x2wc9KoS2E28yoSqZ3sS2Nj9ww68YOCSOuOvWEnB7/1oOU5OnzqOn9fe&#10;VnU3U6RBOY3wgb5SgCjHbt9aR7a5tyfM+ad2XHG0cgHoCfcn8qWOaeyMjuoD+Z8rI3mLjIwO4PAU&#10;855P4VKLmRmWRR503lDa8jb1B39TznqwGB+nWtF70GpfIIOXNCcttmSZjClWVBIuEy68nax3YHXj&#10;p279ap3TqCjJAZF8wqz9eu1wQTk5IHfnntk04wiNXuiYygmkKEsc4GG6Z5wCCQPf61sWUdhfW0kh&#10;nERgLbI0jyZMfKQPwx+XtVSnzJTXl95mrcrbe33s5m9uCEDsqSOZUlZASFxsCuj4cnHfufQjirMX&#10;lfZtyY8wbd6ltpz93d7A9emPTFV52USEupZsJ9443duAenY8eveltoBFdEArIkkePMJ4GDkE9Djp&#10;jOOvNYu9lJ6MSjNpONmnb+vwJoyYFmkYsygFlOwDdwOMZzwf6881VgnklXzI2KNLK0UZGADhdw+Y&#10;n6j/AID0qxJGQ6QGRlBVmKtgqoZgckcZ+6cbc4Jx0OabJI8hjijcRpBlw42gkZZQCB9D15+UVd5x&#10;TciIUpOUVLf/AD/yLUwZY8zu8ysMqA+9gTgqAMcggjA9BjtU2nmKVgyJsXg7mb5+nzEnOeue+cH6&#10;YyUmhmKfMXVIcujSZTcQMjOORyPQkHtzUsNzFGy7d25ZChDNtDDnjj6H8qLNwUYnVBxjCPn93Q3b&#10;2ZDDGVhUgYaQthQPmJx74G3jOOOneq63m6Eq+SrlgDGAiAAZIB98HPHOaqGYOVEwBjeVo1i2/NyR&#10;xjpng5wOc1Z2ozM6qsSRkqkQbOVxzwR1z+XSqpttJdf+GMqt5tK6S/K2v4jbAyu8zbHk3k+ZjCgk&#10;LkY9f06n6VdjwWkcIixhP3se3JZj0GfYnP0B9hWaZpdqNsEQRSFUKAoABGePQf59btnHLgMH2l28&#10;y4QjJJBGQPTofyFXF+zinLrYxdRzneLtLb10/QtmC5kaMIVUFmO1eeqq2B7kjv8A3ccVZluZI7Yo&#10;I/nb91GyrkjHKnPt8x47kmmwuIXLuH/d5ZdwymenTr39fSh38yLzI2KsMMsbD5oyQcDJ6cZzjtUS&#10;35OiKbm7RvqlqZ8b3QuV2krEAN5KMisSQRgenPO6tpR5aGOXkM3zAqS2OSBu6Y79zwaz4mRMQxg7&#10;pGBZyfmyMg/nirSeZblXmMYWOTCDaTJgDBIPfqOD69M04pOLj10NZfu3FrVPe/n/AJF2GJUnhYNs&#10;jQgsgIdeQMgk43Yzk5xkduaLy++do0kKbj/yzIAB7D2646HpnoaovJcOJXBUdMJkruHX6ZODnp16&#10;cVTsY9+8qXM6ktG0ilEBBIOF5wMYP1z9aTThLV+7p/mZNyumlZPcttcyqSpmYEc48lT15GcnOfXP&#10;eirxEaHYUlYqANyllB49KKTq1L6NE2r32Z+cqCIzKZHJj3MrHgqM+hJ6enrUiCU5VCFDZfBUAkAA&#10;KCBxjgU6aOIScgcJl1+8JGzwSfUHJx9KRHZULBi+GAChclRzgn8P0rJPTVHJKnKKSve2xVDPJ5q4&#10;ZnQ8cABxn+LPQY5x71IEZlPOFbkeXgl+B17en4/SlWOQh3D4RSGHG4uemB603DF8vwDuJxjcvsPe&#10;qSVr9SXJJqLQrwZGRhNrKx3ncMdMZ6ZpXH3m4KqCEUcqcD9Sf0xU0cbT+YGKoqgYB+ct7D3JzSOH&#10;UBQE3/eCocEdwAalpXV9w95/B8K/4AsUSNG54O3AwT93IH5nkfSmLHIqx+YOh64Hy89s9+OvapYy&#10;I3jAVWMo8uNVODjJyAeOSe9PZJHCDhGOQiqMkjJxjn65oS1TuJcvu26b+oyTZGsDxyAFuMxsCTkn&#10;K/mBz0prw/KJVwXDFIwBlRkdAPTpz705liOS5RSpx8i7SDwMAnsPWhxhRIhLoCQyk5DdcfgMUNa6&#10;lKSabk7/ANfoQAsEVkSF/OwGB4I2kgg57D254pw2nP7ssz5O4cBfmAP4c8VPE3mbiyiRVG5kHyu2&#10;B/Kojjh0fCyDIQnJfkH8AMD8qbeziOHLKHNfV6f8Eb8zvIi7hs+fcWGGABABPpU6PtO3edrYMhK5&#10;DY4znsOR+VOjDRLKGKkEkqufmkGFxn2GT+VRxkyyPkhU2dG+UAkDk+3p9KHa9xpyb2XNt6f1qSuF&#10;CEENlDkSM+Eyecn8h+VNhZlVo92SHO8gZJzjlvTpj8qYgAXBc4Y79x+fk8An9aeqvG0kYBYklmBI&#10;TAxkMx9cflzQ7MlJ6Sk7abDS+GVcqoydrquFTJ6nI60hBiYqpZo8EjeoCpnOCT6/4GpigKMGPLKF&#10;VnXb5Xbn64GKDuicQL82ACCVyFOR85z+P50KPRlOq43UG+hGyeW5ZW27TiMlsshAHOO5yTUiNK4O&#10;xTiNcy7VLMMk5ZvU8kYHQCiQRAqxDKBjG7tnGWPXrirOxhzD8vmAyFicKMcEv3HTge9HTQU/aczU&#10;fLy7Iqy7ngYpy6nJyw3rk5LN7+g9qf8AI3luqO7FAQWUIX55ZvUA4/OpYYDNKqbA6swcqwOXbOSz&#10;ew96sT2hRwA5Ytwq7t5kOA2PYCqTb91bhGKcf0+ZTKF9jBS5LiQkkJ7c/wCzxSA5mO7cTKTvKEAv&#10;1PHoM5qaRJHRgU6jaSSI/MIPKoOwGDSSQIpyZGLuwjJiHGSeij+dK3K/QTjyySjv+Vhm4hJAoIUM&#10;yeZkAkAchfrQi7Y0kJC4QruD5K+igdz6/WpXjkXauFURsysxGI4gORz/AHuRz71ZNoDarcebbbxL&#10;g2wfbPEpHLkdOemeuaWvJzJX1LcVFqF76b/11KgMiKgbZlVxtwGKZUn5vU8Dr6VUKYUEBlZ3BJ5+&#10;fBI5I6DkVeji3uoWNWRXV4QTt3ZJALnPbrzSLEZvOT5WGSXkAG6XPO1B+lJPdsJtxpJW7a9SJwzB&#10;EIREjO0uh5fOAQPUcjB9qruhjYP5mxx/EpyFHIIA9evP1q+YgVUrgKnKoRnywOD9TkCo5YwihiP3&#10;zAbV42RA9WPbnNPpyrcLQ5ueb8ym6FnUKpXcQ3OAiAZ+Zv8APSovmfCAS/KcAjpLjv8AQenvWiVU&#10;Ah2JDP8Aux1V+OrH+6KjCyqSMoYsg7/0AUf56VKatZ7jlBtRnum9iFiuC3yEhCuUOe+MAev09azp&#10;Y3kBDfeDdVwViXA/An+tawRlwyGMOmFUhciEHOT9ee9UZ0UBgGCgvujVgQ2P4mY9O2foRVR5fmZT&#10;TUUn6HNXcEv711MjEbcbsOfqR2yDWDcDhVAJU9QWA3dK6a7LlWIZihA5VdpfAwAfoM1zc7cMeQVy&#10;GJHUDsPxpNc3oTG0XeS3H6TDK9/FsI3M2cEFlPXjb/hXvWnRStAhxuRkHO3LEr0A9VB3dTxxXhul&#10;Tql5bFwymNjzEQrAcYIPevetMuma2hYhAWUIHXB3fwhwM9euR+fWqbl7PkuVho3nd6af8EsyiPyP&#10;NJLksEmi2hFIwec445xjHc1VkeeF0WNCC4IdFwyAcY57HgiunkcT2zC3iYxSuJJiI9wLruAAbbnb&#10;ycqDx+ArHkScFAsCoBchNxby448ZG3OfVuvPPele7TZ0xiknO+lv1Kc8kMi7g4iGQAHILgKMtgdc&#10;fyOaryxFcLEzb8BZQwyCCSTuHYHHDfr1q2bJA7yKXLqN2VBCA854xkMOMjufoaV3YlYYmYmKNdsg&#10;TDDceTj6AA59elPdW+Zm1JSSaTVv6/AqxLGolIcSSrICu3AT0bHuBjnvUcclzI5cBSrghdzKpTAO&#10;T1+Vjj8c1oWcEbSyoXVXEbIikFfmb+Fz2BxkNTBGyOwEKyiIYIJIGSpILDr3G1vpU3bVuv8ASNXS&#10;TcU3ePXy8v67lOC1WWN2KFlIACs2xycg5U+vFJYvJp11b3schiurd/lZW2ujdDjI4IGeDxyaueRL&#10;GZFmcyJsP7tQI1PfGeuRgc9TVNVineMuTAXYpIJOoA5Ib375/wD101o3yvUc1Hm91aXI50ZPtDO6&#10;u0r+ZvC7DJnBHHY5ycDqCaZKUw2dyMcBznaSOcZPY59OOeallJEw3JIWZsQlxuJA9e3IPBPr1qtv&#10;j8xkfZJG4xKG/wCWeM/K59+n1qEny6hOUXr97+ehWQRuXQAlhjyz3DEkfgTx9c1FjZOj4eJUByCd&#10;iHIwc9weD9c1M8I86IIpUJIdhJ7AdG/Ug+/0p7K7xyAqCVbALnCr3wR1weeevNOSSXMjOm+STg1p&#10;+ZUZiI2zGJA4yzsxMeOMKw/XIqJcsjecEV048rG04OMBsDkY/LFXwgbYJIvkjjwI4QHOcZHsRUQM&#10;nkyMqKFJLKrDcQBgZTA57ZB/nR8LuNRUWk3pujPIJYuOSUKhAw4HqD7/ANaggREVpUGGZvkyCGUY&#10;JHPPYdD75rTSMPIH27W2DbESFztBLFT655x71WGVJZFJA+Zo2RVDAnGCAODnHPtSdmJxmpc3X/ht&#10;yuC5yQULF235baDkDhh0zVZ4CQxI+ULyx5wCPX+IZ4z14q4v7uTevyl8ghgCY/qO4ORz/hURLxOY&#10;8uIwpw+3DA84I56dc0LpYhOnFtzXVu/mUlQb2zE4jVM5ZgGGffqR61Mwfyiyfu8IcxxtlXB7gjv0&#10;4NTuDFF91jkALjlSCw5Rv6UKq5iym5SpJBOBKc8454PNVZy1HHlU9N+v+ZTRA8RJ3BS4Klhg5wMq&#10;2OQepFMkG9wio2QCGJGSB1/HrVuWIbWEbFgZSGGCAo7A8+veoCzqcbjE0RP3cnbgd/XPrU7Xtqgu&#10;1C3V/wBWKLJKRl1OGHyoAASQPvA/0pJ1P7lNmJN+WJxtbvnJ6EZzVxSWbczHgnHHHTqD+HSq+zMq&#10;lwSzOMbOBIOi/wAqSXVmf7xx9m1b+kyoM+UwDgDduJfG4nJ4I6//AKqrlQVI2rnPzseGPt9O/wCV&#10;aBQIyqwD8FHLYyOcc/hUQUP9zlFyWBXpk/y4/WknpdlqMvdvvsU/LZto24AUYZ2HAyf/AK9QFmjB&#10;Y/MPuIMdf/15q+8ZDkj5o+D8pHp/D7ZNRCMlFGQoVc4HfGf84pNL4mKaalyJFIMxV8jBSXjnpn+n&#10;FMYyGIkMVwoG0NknOckfrVyREQgg53A5AGewqFowFBI254Yr7HoB+dK7bvYeri6fNsv8ibTb6bSr&#10;uC7g4eKQOAr5DDOCfyJHNfX/AIR8QW2qWlvcwOY3aI7d8mAHwBg9u36j3r42IUMORnoNo4IyDivX&#10;fhN4hi0/Vn064dViuWDRmTkK2On0PtXJi6Cr0nGS95bG2Gn9VrpfZbs/+Afa+h35SZElkRVUruj3&#10;53AnsQemck454P4eraZctNErI0MTlWSVvl3krhnPJzgDbyeCc9cV4pp2ZBEwVQGIY9AwAGevQ/Q9&#10;K9F0dGicNDMXLMGmc8gqSTgE8d3I5/QkH46u+ROfk/uPrqE5SnzR1SPZNLli8u3LBHCMSzliplxk&#10;hu3YjBPPGPQV3el3kkpEYURx5CFeQxUHcCB3Aya800m5R0jEm9FByUEYZQOo49ie/XvXoGmzndAq&#10;xOdrMxaUHDMkjDk9TnC9PwIrgnUtyy/rc9Gi/aJSlo1/TPTbGZvlVXVTgEFn2CTBydw4756k8ke9&#10;dNY3ZE5kyo2hkjI4BGMjAGeSeMdCDzXCabO0rlHYuxRtqiIEhVCsSWGfy9ug7dhaXVuw+Ql08skq&#10;5YuGHO7oSOO3tj65cz525L+v6Rq3GyTlp/Wh20BkZZJvmxJMEjBG8YySzFcEcEDpnkZ7A1vIiORK&#10;kYO7asi5DblDSL83HBBwRz/GOeorlbWRmkVZJQxX95GoZgRwDtIxg5wfpkcit+1lKRyL5m9VBbZ5&#10;rFh0yh6lugOeck55qZOEpRcnqh803S10tfT8zfUNCsu9wI5Mo48wYUEBRgA447EHv1IrWjmCjBj3&#10;s2SrEl25BOc+mQMk8dO+KwYJzMVDKHjMZjjRkKD7x5yenQ9u47VsRnymBkRWhUtveUopB++x2rgD&#10;5d36dc5ojo+W44ylHZa7/wDAN20RhIjgBXWDJ8uMIoJ4yGGATnn1OK2YG2orgNKpwGJIjMZztyRg&#10;n5cngcn3rAiuid7kooiYMwQkSOMnH8XfB6cdMVvJLkuwCoM73+XIbAAGDyDgj16seuaV0ql47F0p&#10;WV5LW233M2YyollaQt8g2OjyebFjCgt8qrwdgwBnGBkt1N9JQY5GR0eNHYeZISQR87ZVecDJjwMd&#10;35yCKw7R2ctIzq/zbcBRESCTjHQEYNXY3ICxkIpZwu7zNu/IwoAz17YoalJJ2s/0HdybclpojoY5&#10;zuJK+WXfcHYNIMYyq8+5wfp34qYRxSRSFTvYzlsopKsXbJyfqxPQ8AfjQMkoChjhc4G3GFyABkcc&#10;E9/SrtqStmy8N5j+czZYgAZ+UHvyBj6n1zWimpQ0WqNJuLneOyuWXRljKyHHmLmBFAAjwyg574Ib&#10;HPG499pBZ5UgCmRmCYxEPKOQ3PI9uOn5c1KslvcFmlH+pIIwxXaS3AIHHQjqT976VNcbYXsxAxLs&#10;wXyWAkkK9enJ5Jx8vqapR5pb7L/Ixm4355SGSQloeZMKF3KFjUyqWypIdlPzABcHBAPbnm0rtslk&#10;SQAmQBikW1ioJbAwMkjcBznr3pCrSgK7bvvD+KNgTI+5ieh4xnjPynrVqW1EKffGS+Ccgvt5xjgf&#10;KTjqOMZyMc4NtSSUbruOLlyuw+GQeUsYaRjLJsRXk2KjBdoJyCMbmBPQYB6AVSW4maJSqNISSzO5&#10;TJUgBh1GSecAZNLsmkBWM7iAGAI4bjoD34I/zxUMl1JHIEZSHHViPMAKqFwASfTOBnByDjFJKMfU&#10;JNp3b9fU0nu5Y/K85pIQrhmb5tu4DptII6Rt2OBXoHhnV/MRbSVpWaSYFidQjVc5O47mUjg5+ZmK&#10;kNnGBk+Whri4mJJwUtXPzkjaxDYU468nngZBx71v6SEQpsV0CAM4aTyi7KqhlBPX+LGT0JA56kaj&#10;pzb8vw/4cJRvZx27fcfSuk6xOoLxXjsojjSJZb61nvYgr4wgZVB4jwQFyA3JyefrH4F3Q1TWrOzu&#10;PNkknv0iKXNpaysqyY3bXUBs4BXlSOCQMsc/AGkanLG9qIXMklxEJfn8hwhAVm+XacqTuIz02/jX&#10;6a/sa+Fo/F/jHRgokmmiuIXZpLVAsZwxIUKfvAp8vA4LYAxXVQm5Vopf1qjlrUVB3vsftTb6avhv&#10;4U6RpSK9vfarcpBLI1o0DrbW3mS5BPPzrGFYAYAVgRkEDyG9DneIiGc7SxQFpG25JTK5IwSDjPJU&#10;cZCmvWvirqUdprFn4fgAgg0HSIbQJJ+7VpdrvLwNwBO/BbnkgdMCvFruUsHyGbbGV8ssdz4JyACR&#10;nBDevWjEzVSb8i8JB+yi+r1+XT8Dlb+1aXb5gbKruCqq2hU8EkuVLDuPmzgYrjNX04AMSQzkESTK&#10;DcMwC7QDIRy3H3xn0r0oQubgoNhSP5d5jjKn5mBPPcY3DoRxiqGq6ckkTDYQ4y24OX34HQseOg4C&#10;jqe+RXJUp3jzLY9CM9eWS0PnO90UTyyRCOVkYsEVEA5IIJXoBxg+5A60mnfDDU72UO062sRACu6G&#10;9lUN5Zb5ANo+Vm4GccdK930TwyLm43CLJzlVPygnIUk/X5hkd1I+np1t4bWGJdi84O0D5tv8W7pg&#10;DqMc8c4rl9g62iWxpPExpWcD5Yk+BWi3MaLeS6nKRkko8cSx4xgABeD8zfeL5BUcYwcO/wD2ctAu&#10;lf7LqGp2BZCwb9zcyhgQ6klk4A2rlh/e6YOK+tr21tLE4uLu0gZHOVa6jWRiCM4TdlhxyRnAOe9c&#10;tJqFnHLmG8hky/3EcOc8kHqTnPA9SQAPWpZXDaUdTnjmta+rZ8SeIv2c/EulRmfSZ7fVoo2MqRCP&#10;yLkjbnJiyxzwM8/TjFeUJBrmlSy2l7HNCytskt5RtlXnIDoMHOBg/wC8etfqhpN1p0+y31B/LtwP&#10;LFwq+YIQPlUsMjcBgZ5GAtct8QvhLpOqiRv9HnkKsbXUbM74pARjaRhe4yVY5AYHHeuWWWVKC9rT&#10;eh1U8yjVfsq0bN9T8zLqxu7uWGUpcSJhcRRkuzEMx27TwDyeT7c1638Nhe2V7DZuRbT5UGCaQiYE&#10;hsbYlGTgEdOnr0r1aT4bjTJZtOu7Zt4VQZstCjjbkSAgbgp4IGVJzwc1YsfDNrpFwjxxrPIWEYj/&#10;AOPSIqCpySGMjnI+aNMZ3Z5AONcLGfPzDruEbKG1j1zV9SubTQ7S2t2lC+SZ2kMO0yLuTcwYZOOG&#10;zjIGOCxYhfKF8VPaTObqdo1DAKolys4II3NgZIHGVGQAwG417pD9ivtBkBCs6RBlkeLyZWAJZFwC&#10;VCqZCVjUA8ZbJxj5l8aab5rSQW3mkLKRHIrsrFRjClQdx6n/AGRjp1J6JSnGul0djjjCDj726/r7&#10;z7Y8D+Edd1vQGvdc0aTT/DZsmmGs+ILM6DpFrDO4keWOSeNVcyq/EqB2K7SuQqivO/FXh/R/B2vf&#10;2j8OrxbbT1s3Ua/MFihMpwS8CuNyJGFbEzc5ccoVJr5u0nWPF91JYwalrmtavZ2MKWtlBq2stcWe&#10;nwoqoiQRu7JEF2xqAijaAOBjFfRUmmarruiQWkrFDMfLCOq+ZdEhihjRpAxGUz5rhEAzwCAa68TG&#10;FT3sPF8669TmpqtTk1WkuV9Fsdn4I/aBu9J1DT9B1HUbPdFbLBFHG8YlYO4f5nHJ+aTjcSQCRwDi&#10;v0U8GeMbXxnp7pcLbmVo8SQkZjuUdsNnORhsgBRkgA56ivw71T4YX1ndLqUct0JopVRltiZX3FiC&#10;I24Ln5dzSfdB9PlB+x/gt8Rp7XUtP0Szubt7uVEtyssm1lc4QRqQccMxG4jAz3xk9uVZrVpVFhsX&#10;s9LPscWa5TRrJ1sNva910PzR/wCCov7ACfDjUpfjn8HdG8rwN4h1Td4s0u0hZ08JX852xyoq8iyl&#10;ZQBj/VvIBnYVI/FKfWNe0bVk0l7S58202LO32QS20ZiVXQgkYX5sAYOc7uwOP759Q0zRviH4X1Pw&#10;x4n0W21LSNcs5NK1rSdRiCW91bygqxwQTjBBXGCCBggrx/JF+3h+yJr37OXxb1u0hmuJPA/ikvrX&#10;gPWmVnjntGPz2txJ08+3chWBOXUq4+9x8Jxvw1/ZlRZxl0X9Xm9Uvst/hZv8T+i/BPxKqZnBcIcQ&#10;Tviaa/dyk7ucVb3X3kvxWvc/ODxL4y1W7nWF1t4dmXCxzJCqEhUwqepCrnHZeR3rofCXi/UJ7f7B&#10;LNJPGpbbC8GwDJ44IAI7577j178fqPhpryeGRXgklW48tXdgfKzuJb1z93nkY469Nu08N3Wjzw3K&#10;aoJoWgZpSY/LYsMYGQABgA8kE/N17V+fVMTNzuf19g54GnhY0J2T6K3W5754TutJu1Sykje1a6lM&#10;N3OQHZVUKG2Ke5H9Kj1/wrpenlEttQxALkM0bsjyYwML7AEjJxzuIHtyPhe2xHbzyXRtf3yxm4CB&#10;IV3jdkDJ67SfwNbuqL4fsL9bqPUJb+WTDXAaXzUZgFXPTvyeQPXtWlSrJxV9bW1PJxdWH19ewbS1&#10;22un1PT/AAfOLeAWMds6FmIWaUfuCCFUHBGOu7J+nHU11FlPHpuom1gQzTQoYFnMjTwkkjKnIIxx&#10;/DjFcta65Yarp1jBtg06KO3ZhLDMFmEkiFCu8AEfTtjGDzWFo+o6hql9HYSXXkaTZTnzmXczEggF&#10;wRwTg9c9z1q404xalzXX/DHnr2uJnUdX3U1rf81/ketW9xZ2OuXGpuBdXiINiW0HmiMkZBbbkYAT&#10;GT029etd1e+LI9W1a3vtUsvt7SBWuLmVVEszJEsCDoBhVjIHcYXnjnAstY0+0ubPRfD9nd3Qu4VW&#10;8urohWu8nIUDHAyqEBST/wB9bR9BeEvCegRC2uPELwrqeWuY7SSNlPykBUwBxgbCOQBznsatrkTj&#10;Tnrfrt/wbHmVcTGnKm68G3ZpWevL3t02Oj8IW97q1muq3OntDpVkQGkuYgVkY7fkjLdgWXgfNkk9&#10;B8v0ZaalPraXFr4e0+S0tvs6wyhnBjijPQBsDOQvzAA9s8deXXUtK1SLQfDHh+0Lw28bJdXgURQx&#10;q7KJAduAMqo5zkY+ld63iKw8CQXGl2SpeTzfuLh4owxQEjjpwGYDPTIPpWtSq6UnFzutLtemljxV&#10;TnXqJ06V6ifuxb0tday89L/kYmr3lhpOj2+ikefcyXK3EskJO/aAScgAkkjaBj6njNZWlRR3pfV9&#10;StYYbW3Tdaxu2GjcJtULjHPbjjDHr2xtPe51PV7mK4jb7RePJKZtpdIYsncAc4GQRj+nNej6rHHJ&#10;Zadpmm7XS3Pn3AXkAgqcEEcjCj72Bg9wa4qj9rGUk7W2X5I9yS9hOOHe8tW77aXb8uyIrCzhguGu&#10;dRZbg6vl7ZNu7yWdtoA47naQe1QanNJpaXlu0byWljhLVDlWuXcbpG/MnnPXtzV2FriS4sJoo/Mh&#10;s1FjZAgyb9qZLsB67WOR/tdKPFM7xWbRTxR+ckgkmlwAQHGNv4jJx1wRxyK54pODknbXTzONznPE&#10;qlU1TWqvt6ei0+ZY0xo9QsY9UupA15NKQsa/cVQG4J69B7dO/FWDZ2duzSzz7HkLLAGAEhAxyo79&#10;8n14pmg6nYnSZdMmgjbyrqKSCfH7yCMId8PToc7h/eJPrkVtRmjnvSIt8kMStskXocYbJHPbBz2N&#10;J8q5ZxerPPbqKpUpxuo3dvTpY818V2rRQ3Mh2iIxELnaDh8AD0xyD075NeB3mjpZXUaRsz+dB5kh&#10;ZgGTdmTGT2AdfxHfjHuHjKWW8tdQ2bVS1jDohJ5KgAcfUDk+1ePaW0N8XuJ2DlEWKKLOEJUMqAKO&#10;uB+HK8YpumpVFJ9tyqVScISa+f6HkHxI0sWekRXX3pZblQokXgK25WLdxg7ecEdeD2+MPHoMzIkr&#10;HEZC4U5DE85Ix2Ofy9q++/iBpSy6NcXDMGeH5EDfLvJ28HnsS3Ht0OTj4d8WaZO5llbKxuDPCXG0&#10;lR2x2znHPXHTinCm1eUf6X/BPTwTjOjzTet2vw6Hz14gtopYo7RJTiJTO0Z4Td028D/bJwfb04+W&#10;PGGkPHqF0GVQw/eM8Z2I3bPQjPDfkQPUfU+p37WlpcSCCF3VmEm4EPnI2kbTnn5hn69OK8B8VBrx&#10;by72OATtMrIG3DJLZOeCOR77uNu3mede0unppf8AA9fCwqYWLino7I+bNW8+BiZ1VgH6BtjNjnAz&#10;xggjn/axgYrxzxI0ixtO0cRDEvuQhvmG3AI74IHXjPTtXuHixD9ni2bW2AOuEIdgRwBz1y59QD36&#10;Z8X1m5kKpEcICRKSVxJng49vr154xiuzCztNRLxF4xabu9z6A/YOhEfxZuoNrl7qwYuq5AbBGwsc&#10;eoJ45+Vsd6/oL0WyWC3GxSPOCoRuPmKFYZ3KRuAU5BGAflwecivwB/YoaSH42WUUMkaLPbSIQoBZ&#10;ztPAIxzt3Lj+6596/ot0LTUkgiJTkBGGflIOf4uQPb/gP1NepKUbpN+v4H55nLtiVKL3/wA/6sLZ&#10;2T/aN8shA2eXNHCwIJwQxBAO4DIYMf7xGRwa7zQp5tNv7a5ilMbxOJuGGVDZwcdycY46E/UVBBaL&#10;ujcCTzCoUbPlJL5yzZPuucZ4AwDyavQ2gY4XO1MkEhg3TkBh0A9wRxjviplTcY81/M8fWUrPRH1j&#10;oesQ+ItJR1lUXSoA6uy+YQAR0z3HHuceuKhRyszBt8bowRSOQ5z7cjgcg+/OK8T8I6xdaNdq6u4i&#10;cBCseI16EjB3YGGVSevU+9e7tHb6jBFfQyKXkKO8ayl2AUEKoViDwo469veu2LWIpKS+I53J0nZ7&#10;Pb9TZMsZiUI6kmPeAfkxhgMEd8jB+XIGcZqLTiTI2DKpEzOzEhWJbO4gjk5z3/IdyxZ/kimBzE4V&#10;UCkZxyV255zt7ZxgkmtQJ5YURM4jXBZo33M4HGQM8nluM4OPqa9BOTs07WR5VVyjzN9dvI63Rgk6&#10;GRo0zE+1tiDDDoSeOx2kjnoM+3f+G9L+2NPLCh2q3BYkgs5A3AgHrtVeAfu47CvN9CW6W2cytLtu&#10;OAIi22T7xYBQME4Zehzz9K+i/B1pZaHoslxfyIPtBaVZI0BBAxtAYEZyCfmOTwOTnNezgoqtVUZ6&#10;Ja36dD5XNqvsKUuRtydlZfJlBPDFzJdu+SqQqDJKH8yLGMZBHAAzjoe3PUV2uiNYaXImmaaqgsA9&#10;1dFt+QvIjU4+VQjoSWPJ39BiuO1DxG1yyx2rLFb5IyfmEj8kc7v4eD+P5dt4N0+aVZ9SuCmSd6LK&#10;TEmEVVXacEAcAf8AAc17OGhFVVToO77nyuNvDDOpiNF0Xd+Z64l7b+HbF7y4VjJsMsbbFEbswYHD&#10;qcHAULg9AW44FcRb+OYVhfU7l433XiaZsUhrgrICxYZycAADBGBvJPbFDxJdeZatLOBLCt3FY2sf&#10;m+ZJeyy4xlhjKoqbiR1LY24BrxnxYJLWS3hVVjt0Te20KURiqkD8t3I9D2JB9DEYmdP3aa91fn3P&#10;j6WCpKnOpX1nNrp03t+P3n0g+qxXEMIjug07TNLaoAN00YUZyQMDaNwycc565Gd/QvEcc1ybWQ4Z&#10;Yw6qTjdt5xjHB6g98MOlfKvh/wAXz6fOgMf2oLG0VsGkdVtpC/O0DjdwQScnGODgCvSvD+rTapqc&#10;M8JlWXe5uIkj3RnJLHaOTxhRk+mPc3hsY5SjOL8grZfTrUXTnHTo+x9Z2c0bpI2d7KPmfg7QQ4J6&#10;8Djqp9OeTjULtjaGY5XKDHynpjZ0yBgsec8dgQK4TQrlnt4QWZmZgEw21WYjbtik6HGeVbn73bJr&#10;sorpBHk7nzxhVwy4JA3R9V+71GRkngCvrcLVvFczPzPH4aVGs4rWzLv2uMbmYttiQMzYyAoBJYHH&#10;PcHHTB461XsibrULuaTDRoqwxIQDsBVSQ3+18xHPaoHMR3yTSDFyGjVfNOzaYskbc4bARjgc8n3q&#10;bQYDZ2NtBNK8s8pEkkm0gsxAOW9PlGMH0rupTlVrKm1pv/kcE4Qp0Jzj8Tsv8/yt8z5u/af8Q+Rp&#10;3h3wpAUhOp3h16/bzVjWRLf91FGR/tSSbs/9MAOc8fGP27yhkh5WIclMZd8ZCgEdwCM9stjJHX1H&#10;44+KZPEnxC8RTBitlpEg0DTkD7g0dpuEkg7DfLJMdp/hVTzmvEnuUSRwzI/mt/quoAHVecf16nOD&#10;zXwPEOJeIzKbjrGPur5b/ife8N4R4fLKcmtZXk/0+5GrfXkLDYCA8sgjdg3AB3s2eeTlhjBHGeOR&#10;ijbQhJVlLHCktuXAzgHcc+mMgL07+mI7nTUIVtwAkHmsCMjcQfwxjnn0PHFZ/wBpeI7cMERdoLEl&#10;QAUfPBA+6xHtt+6c4rxW1NpI9/ljT23/AOGPTdN1B2Me8lQBkqT8pbgtgdO4/DHtj1bQdNl12+sr&#10;S0ljM93MsUbOdoz8pGcDpg5z0OPavA7C4YEBVV1DGM/Lu2kHbgg+wxjg8V7Z4ElvU1CweyMgla5Q&#10;QMoyyk4ywAPJK/jwa7MLd1OWb0OLE8zi+Xp9xu/tR6+fhj+yP+1r4i1C5+zDwj+zZ4qkS5ZlidMa&#10;HeqjKSQAWdsr/tEcsev+V3r7M13iZWjuMB5xCdyRBUywX2yTgZ9M9q/0BP8Ag4Q/ajtfg7+wjq3w&#10;ytri3Pjj9p3XLTwBHbI6x3Ueg6RNFf67cyREbjHK0FraHJVW+0uN38Df59Vxc3NzPNNIxke4Lb5N&#10;oVEyQc4/HAA6DNfp2VwVHBpO9m2/0R+Z139ZzGrXlvFRWm11q197Rl3TySFFjXeAVchsmTbgMOce&#10;hBzz9eoquHjghbzotgbG4kg7clSD+Rzx+taCyqis8POZNoJKltxJzjrnOTxkDJ9hVCd1YfvUfCFi&#10;BtAJGSSB9duc98+9ei3GytudXJyLli73vqWrO0LzSFrgBUwzo5yG6nALcADp7g+oqpsl/eFWVzM2&#10;AACWXHPCj146+vqMi0u2SOedHABGCoGFOOhUn3P4ZpiSIWgedTCzcHfHwwOSWyDn5cnP096cf5bH&#10;LK8orm0jbfuzOcukzxxqH8qMo8ZcJ5nAJ65ycseATxgjjNX4i9xv811SNGLFUPlhpGOWJ428kkc+&#10;lSFftDhbeF4/NUySyKQDjgLn6jOa2bTSpIkV3EXkFcB2yVPoD37k8dwaLN3cjojHmSpr4f10OUub&#10;dXKNuZYXbaQygKP93jsRnJGOB1qlI6WpiFq5Z5VKB1XaVOcnOOuMAc46Zxziuj8RJ5cAZcbSx5jY&#10;hgOMlcemR+Xua5i0jSKVW+aVVX5t46kgnJzjgj2x9MgUbRXcwjJKpJR6W/Qivo7i2s3jXMss8u4x&#10;MmY0TIBz6DJxjr9eCbeiuQX807UZGLsx3yDaBz3zgkk1HqDy3BdVeT5stGMlyeC5OAM8DnI6EZ5r&#10;MRZrcwCJlEeP3hUHcqEKOVB6H5ueuV9OtNzu4rRGUYvl7t/l3JZYp7hZ58eWqSqYgF3gZOd3TOeT&#10;+vanyymIogjQGGIxtyXUbSpwQD/sjg+o71fjYJEVLq5fBxklQM/e9G64xjsO9Zb2rpdtIXLKZi0p&#10;AyoPTn25yMUWTdpbWLTvL2dJ7a3/AK6BcX1xMGCIqsJfszTBSRj5chWzkntz+Peo41EGwGRQGdWn&#10;WM4MmeeeCf0z0pHmPDvGqmSX92q/LvAjyxPHT5c+mdpqtFJEqP5oMSSMGWVySWbgMf0xxjpTp6NJ&#10;7FSdOScXe6/M1rOC3KSScrnIJJCh+SACP8jmobiCNRNKXfbEGJD/ALuNlHzFjg9FUd8DAJqCHHky&#10;TqyvGmU3KoIXjceCRkce/U+lNlnzOYbgFV3Ko2R8EAcnbwD2AzjJB6daiHNe7eoXbhq1ovxLjLFJ&#10;uljdpppkMZMmU2M45x1J9cjj+spl8uZ1kdJLhirbidyqpGNoUYwQB2xyc4J60opY7bkRsZJJMkBQ&#10;DgsMjjueevery2srGW425Yq8pcrvZljIyoXnnAboew4qoWm+ZE+zvZR1vv8AfuPAZhNcEBli+RmI&#10;DsxUnBBJ5Oc8jP49alS9xKsaMVCEDcq/MQQcg8cZwcAg5z74oie22yRB8NGrLKRgoWBGOf4jlse9&#10;ZsbLlhHthdmAfcTuYOSvB98dM0KTv7/9dSJKUmnT30e3p+ZsiczeTIXVcsQTG+BnCscHsD8oweo7&#10;HFaccKurYdGVXRx5TLJhSCueD3AU59z9K59LZyEySnlqXBI2lg27nORnqDxxnuMVpWLtGyn5g7H5&#10;8EBkAOOADjgHrz+NGtjoiouEZVEua7v/AJFmN1E5x5aKuCCG+Zuue/8An3qxiOSXzGYKWRpCrNtb&#10;DFiDz0BZXAA6cjPBrOc+RLIwHyq+7AGSwDBhwOmcDp71PCDO6lAAIkJki3ZRlHz5x0HGePw71T5E&#10;vd9TCpNe0UIr5f1+Qkly5n8uNtqMVVcgBUwx2jA7neRj0UDPWugt4UjCRyIIsMWZk54JI3dMH7o4&#10;5+9xnFZESwFz5sZEgcOpWMM5wGGCAc9GI44yea6G3WGbDNkFTtkVAdrEHBGR3HOen1FRJyn0N4QX&#10;JeUtNLfJ62/AJjpgkbBZuhz5jR54/u54/wA9aK2GhsUYqrK6jgN5BOf0/lx6cUVSpq2k0YOrWcm+&#10;Zn5iH5om+6rNKxRQ+eoXIB7n3oX5FOUw2zZkZKZPB2nucdTUIXcY94wYyQVRSDKechR06Y61cEW0&#10;r8wUhMlN2cfMQdo78DrWbSi7x2OGMJxfLfXb8mV0aQliXAALADO48Z+7+Heh44iqK4C7uUKj7xI5&#10;A/kTUiluEXgSMQAMMWHPA9B169qRI5i6BIt7sdobGwHH932wRk02raSBK8by3JFYRyRhWBZVaN8D&#10;CPweOep9zTFQSPkkIDwRvJAIOdo/LFWDHyyEhXU5UqoIbIJCqevfOablowFaNMxnazDDEnOMe3qf&#10;xoa5rNFO28V7v+X9XKpyo3blb5yoIO0HnhUA5+tAy0ys3IJBcKSMn+7nt71YSKWRV2fIgf52zsDe&#10;wz+GT700oDKwVSCMD5GJD8kkLn37/wAulSlqu5nG8pNL+rFeSAFThBJuJBXdjOGwQPYZHPuKn8uM&#10;wArvcFgdm3YMjHGfQd/qankcAxeXtlUn5gwCNxwQB2Xv15pTkwEEbz5hAVE2FvZR1CgCm020PlXT&#10;sRNCwDiLDhgGdF+XfgYxkdAKRIV2tuRm2jHXBB6EKOwqZ1k3ujMCxQYEbbGYFcqB7D19qgDyuXRm&#10;DDDKjBfmk5zkEjoMdaatFhHmirPvb0BzuaNQSFJKkEY6gYGPQY5qWNDIpYkFmlwke0qJMD36AY/S&#10;mM4Pky7M4PlBlGwTAj06bRn9etD3EypKq4UFsuoAJmx2z1AHWpm1NWW5dlTlaO/+XUVFjAESEMrY&#10;Y5J3KQe+ewyfyqa5hRX4ffhyFDAJ54Q53Ejt0GKI44l3kHKybl2jJG729FBOajlgfyfNUK6htoMb&#10;fM5P9Bgc0WkmipRjU/eR33GtEZHDKu351ZjK+Ux13bfTBwPpT3SITIxKvvXLFsqrEg5dh6ZxTeHC&#10;qUCoF5dn2oSBgkH056e1SKRtZW3yjkI5TashBOTu/ujBpbe6TJvn5p7+nmNXMUauAJg8hCtIOHIO&#10;M464H+FSx48uRtxDSMSyAHawHf2HTipWZkgmLqsgRwqHjMpABHBGNoyPwFRs84ywxtkRcNgDzW2/&#10;IBj+HOOlVC6TinqN2cuaSdiSCaW38sxkF5SQYw37xwAcZ9FzipXRkLeZhQzK2EH+tPZFx0UDvVNE&#10;VVkd5GmdhkyBgQxyDsXvirCxOyS3LOd0ZKko4KoOAFQ9M8Y49/rSUrS+YOLacYdiaUwtJIybmTYI&#10;3yCDI3Hyr265yfeq4RFDb5vLZeqwoCFY8FRnjPvT4o5chjiIkAxoWO22Ug5YjuT1qOJNyzRqpJif&#10;KRZ+WNRn5z6nvj2NOSb0Xb/IiMmrS31JS6lEzvDgfvA3EUSk4y3qTt/Sn/KgAWMNyXAchCcfxt2/&#10;CoyFIhCjzFI3goTmU8nc3t0HPH4VIm65kYmMttzlgxzcHnb7gZpKyd/66Fzqe4o7NW/L/hiKNlDC&#10;OMDEgIO8Y34OMsc8Dk8elRskcZbbIdocwtMOV4wcRevJ6/SnuwUtgqwyykOdryHlSqnuOeverHlp&#10;EE3BQ4i3Fw5aC3ByMHsTxmhJrXzIk5P0sv6+8qqysqfN8yZYRfwpj7rMc8seOtRPHKxAZ2fChtrL&#10;uJGR8zewq8tvu3sjK5yDDDv2ySYzhmPZTUMwLLNtZ3Kt8wjIJmIz8v8AujkelEk27opR5mr7foiv&#10;JncuWMwKEKxBQyEZ4HoBkU4BPkxIA6HlhwkWeAqL1z2z701cO8WSVGdkjk7QOB8q4qeKJ1mRFVSB&#10;9xWbEcYAzk+9S3yu66lRs4unzaXViAILcCE4ZnkGF5+TPO5z0x096zroB5AShKkHkZBkxuH5DHX2&#10;ramG2ODylLKW2yEOG+0MDyQvUDOPbGazrrzI2dCdyYI3LgNkg8DsMZPSqsuhM4N0+bm13Obv8CIM&#10;Pnc/KQM7RgADB+lcvOTtyykqo2gNkqp7/jXS3rDGRgAAYXO4R5HY9ya5yUBiVb5Tg4QkYA5GT9aU&#10;dF8zOpKMpavov0/Qgsow95GjjABDHnYVxjv2r6K0K2gVbdnbEKDDbm/ebsEgceh6EccjmvANJkkN&#10;7EI1UjzCWL4AIPYk19B6bATbB9pRWiChpfmQdMqemOpIIq9qbv5BRipVG7O1vwvY6Kwvpra5nEU8&#10;u3BWIhhtUkYI2EY6dR35xzVN3l3sJWCy7CIYo1xvGT1J4AYYIPOMA1KsSTRy6jbiUochYlPmRhsg&#10;gFu5UDOByce9QSyzy7nZY9qHy/IjHyrgYbYoxhWzg9en1pKV9FvodEE3GOvuq33XVyKdnKxtlXcg&#10;xld4SUBO7DPBGeMckfUGkWGJIJJhcqkvGRGwUHdxvHORjPOauXiI2CCAIYwFUgpIueSrc/KfQkdE&#10;FZ88G0xmMyYmlC/6tokDKpJYryehyfpxmhN3s1/VzSUIxSUXpb77dymg+wvMpDvJOoI25bIbI3fQ&#10;46deKJElVV81fKQohLQupdA2SCFycqe46/jWk8ExVAVHm5MqmIfuwxUAbP8AZ+U/KeRuPHpRiZ2t&#10;5PLIjJmwmH/eQk5+eIHggkHI+lSrqSZEY8ra6dvTUjVpHEaq4IgYK5b5pCrYH4jscc80/wAiJLhS&#10;xVISC20OG+QZOCSeV9+cYp1xDI0u6ESySRp5jQxrw20FnkXAztyCSDyMdqEjE0M/nOPO8rKQqPvK&#10;T8zKc/L16YyaUk1G63K54xneez29L7MihkR41VFQNCC+SpkYDJ3HHJxx25HFVpIrYOwCFmkGURW8&#10;4oDnnIzuGevpjqeavxIITK0iElstGAu1VJGVKMD1+XBWoEhmebeN8r+WCi5KlTgA49CB/D9KV48q&#10;7lR5pxUZvT89dCn5UO2VbiO4V2iBtnViYYwG+d2XqwwCMAjGKrGBD5nkyHakmFJyG2kZ+XrxkEkH&#10;npWpC3zkxyNPtfDMMKYvlPAx3B7Hrg1HceSRJGv7uQjJH3VmDAj7x535z/8AWqrt6owjFyl72/Qz&#10;0t4ESPDS79uCHOepyCPX6Uxg1vIybvlkjOzywQA3HC54B9unrT5Ru4WbchfcNpClsfNz6EE8f5y9&#10;lZk3F33Mdm9+NuB91x2Y56j2oStqwUZytGP9dyGKGQoHcKMklTK29LnGeDj7pJBOeOlNaUySuzgh&#10;CNjhY87Qpyd/sefm9cVY8lyPKMoj3AYJGShwN2/HHXdyP60u90aKRBlI+ZUJG4ZIUg/3l5HPv2of&#10;M9YjhJKUlF6pW9TLlXduWNDuRyY3c5Vd2M59vbHemLbYjlLo5dV2Egblj5PzKPTP8q1Ag8u68pWU&#10;rxGd2VjXGSy+vUDP6VWtEeNAgYs9ymHVSWfnJ3A4569Pah2i72HGHNK0dvPsZ7I8ixq7K0e0Muw5&#10;Eg5IZfpz054qFwd4j5mUoeCSA/Tn2YelaDW7oshSOJZEYPsRwmQCQCgwMHqMe5qu6NI6uAX3gDAA&#10;RJBkHDHse2ep71nKSTv3JfMoKSWqX4XRVEBgRJF+Zd4VpHbDITzh1/Hr0qJUXzkUAf6s4VTkoDnG&#10;f7wJ7da05RhZW+YqQFCkhniA6gjoR6fSqTCSNiVQnC+WrE/PHyMsAe2M00twqQ5Yrlem/oUdkiyF&#10;MpImWKjd1Ixkr3/Cl8tmI/dbXZcqQQV56Z54PJqwiljIUJwzMzAAEOSOWX0+lQR5yAGOVGzLOWDf&#10;N/F79ef/AK9NsSTqS531dvyHTwWgijaO5ke6Yn7RFLCUWBQuVy38We/HGPeqLElIlXYWViflAOMA&#10;YOe461ZlzuYyl/uEJ5Y3SjqSFAySPYf41AilAcF3VH54HOM8j/Cqd90w5/esloEwUJFhFD53RgAj&#10;PHXH51SKhggLEg5JGMYOc4+vH6VoTAGWFvlkGAwYtgKSO47Gq6qWErMOSMDcBtbHJz6Hrg96x0Sf&#10;KXObnNN9bfPQpH5H2bRsZSD1G7AyP51HIAw27gNrcjueefx5NW3RcZJYHsDgZ7Yx7461HtTZjG5s&#10;4/ug/U57U7kpNyvpZv8AQoSeXgNyrbSCP4gc/T2/WpbeZrW5huYmCsrCZHTIweOQfwpxURN1DOQS&#10;HxkLggjJ9+aidn3pgKSATxjDADqPzpTdmuUFJyUk/T8T7v8Ah9rUfiLQbK6iZGlkzDOFlPnRlAAx&#10;bB4znA9weK9qsQ+Q6rFsyAqgGQHB5AHrz+GB618I/BDxT/ZPiEabcyLFbai4RWcYEbY4Jz0+bv71&#10;95afBLOgaFsxyqSyuCNuM/K3XjAI/Edeh+bzLCQhWTStF6/5o+gyuvKrH2cn76v+at+B3OmO6NGr&#10;uHHm4YMjLtIIHznOAM7hycj8q9CsbmEvHEfnV2Vyyko8pIGSQPfP6V5zZrscruwrJuZ1G8nkE46Z&#10;PHf3rudLQLEWkDeaSoj+UsPl2DgrnBxu79Sue1fN1YU21yrTt9x9AnGnHlg7t7npdhtcqIGUNEio&#10;yhNwRQCRnnAJ+nVhjqK6fTWlUyAs58uPy1JIXewTK8dePk+pJ6cVwmnkJCzK/mZIWRSxZCSUDKMj&#10;/YU54+6ep4rsLQSMp3KB5hUs6uHYgqGwADyDmNW5LbkIwDkHGMFqvs/qVBx54qO2/wCp2lteIsMQ&#10;LNvLfdjGyKIkEHjjuqfQYHqK6iGT98AQyljmX5SqybeAvTqMnr9O2DxNpv8AMXezujA7WXMZQgBi&#10;cEdCQfY7Op6DatJmMisEjj3RrlZGxuPAI7dgSfXnmnytxinqzqpOKSjV3O3t5zIGdREQFxHIyhXG&#10;fmIAwMdEOAMHjuK1ra6Mm9ZU45cMCSGwdob5eckbODk5OPTPLR3K7pJHYKIiwhz8oxgKjhe56E9S&#10;cevB1bdnX96p3nar723LHvO07m55BG0Doct6nFZRjo2xOMUotau52tvMkkYbcoZHJDAblwDjg9Mf&#10;MTz/AHeMnFa6TYSRto2nGwlQVBAIGOO24/45Ga5G3uiqKhjdi+Y8M2/AOc9e3zMfxrVhu5cJCCVV&#10;JAFVXBkfscluM9Tzx6mpj8Guy3/r7jdSSklLe251MUzvAVj2KpAZiWOA4wuMDv8A0HbFXYZCwRHA&#10;YJMhaV5A/wB351ckgnkgDGcDHtXNrdNySSY1ULGN5AXAGTzz1P6d+a0rKRtsYDxEschPLyw254PG&#10;Dz6Z4ABxni25KXJ/Whk5e1ly79zpUILXJZgq5VFGPkzkn5T178gjHXrWgHdwkQ3LtBGeAingrhT7&#10;8557d81z0MjJHAiDYpQeY7PzuKhmAfnqSAD+tb5uBIqsP3mJSjY+XfjAJJyc5O7kDoo681MruL7P&#10;/MqPLrFNp9fzNOJWD/dKiI7sqNyvgHPPfsOvpV9tjNDvSRirGTcoORt+bJPOMDdyO34mshSHePEz&#10;xqU2srHhRnHOeM5x07gd81r3CwqpmRFWR8B2kICNl2y2eg+82OQMLjtV0783u7voJpcii++v4aGi&#10;N4hGQu8jDIODgZwTzx7euKgMc/lwbt6HLb2ZdyoAOQSfQHPPscekrSsqRR7QWliw6Dq7DPcDOAAM&#10;ZGecdtxkYnytxyUQMHklODgnsMkDK5B69cZ6EaRi7JyZLlyyunZbEdwjxBESYl1xtIwQw5LZxz3B&#10;wPTsOtJmQuEbc5DKdwi3u4J4IAGWwCTgZPPHvthLeRYpYQwU8owbysEAKcY45CMckc4zznNZV5Zg&#10;DzUV5GDjb5cjOi5D5wceoA5AwWXuQKzlBRbjbTY1qXnK0dur+SZnQagY2kt0gVHOz7QWOSCu4gDj&#10;HHyKMcdT1yT0mk3GV8rzPLTbu8kAmIlWB69j09/l61kTx20VoojuUeeS4RBGVKqo+6SQRwSWH5ZN&#10;X7FY0iVJFbeSclEDEEnIwc5PfrWai3eN9yW3CXI9V3PQ9JZpLi3ZSv38IN/O0kDgleCWJ+6RyBkj&#10;kV+6n/BM3wQ99rj6xKrBLTyzLvjQqgQvuZmAx0GVBHLHODgBfw28IwRvcWmFdyJgBklFyQR7evT1&#10;HsDX9Lf/AATv0y28K/CrxH4vvoyFsdPa+iHTzFJfylzg5JO9QTjO4E9Aa7sBTi6rlJ7K55uMqzjh&#10;7pav9f1PVvF10+seIdb1BlVpbzUJpBGmSSCNiAcbh+7VMc8kV59dQlVYqpiDl1dgwA3Z/iHJPPrz&#10;+INbOoXE7zEuWZnm8xpCckO52gLlueTgnGTu7Cn26OynezOvAUKWVdud5D4+U9CcEn5sYyRxy7u8&#10;Vds9Fe7TSWkdDnrKMHJceUzPy+5MkhVGdpUbeBwec5HAxk7dzZAxgYAKglw7kLnChSCV5yW6KOSp&#10;9iLMFo8c48tpsqS4ZXYkblxwc9SNvuQuPcX2DyxEMuA6lCqhWZ+CMcE8cHg+pB54odNOHKyrtSb8&#10;jX8HeH4plW4kXyYYI2uJ5gSCF2g+uCcLx054zWZ4tvooA6STvb2zR+YlpDE6TCPkCWSQHJ3jpGFy&#10;dpJJzgd1Hqtpo/hmzsAyx3OsXEMMqh8ssX3imRgEMVUlSOCnXjNeTa1/pWoXYuS8iykkbJNpKjgE&#10;dTwOBx1recJUqMYU/iZxQkqlVya91f0/xOCuZ7G+sbm7sYra5t7dlW6SeLZNwCQXQgZA3N04G457&#10;CsRrPTJDZmTTRJJcgq1xaSrDJahc7VAUHpjO3I4wemK6pPC017LJb27BLeVPPuGQkFwHK7GGcgFi&#10;Bn+XfNi8LappeprcKSyMV2wKxUTuMqucZwCwU46cAVxS9uoXOtKje0ehdj8Paho0kUlhcnULJgJv&#10;LeM/aoguFwAc8DJHXPPoePTLWzf+z4Z4v9VICzBfmBIJ3fiDwfYD1o0O3juZil1qFmb9IWMlpGxh&#10;Kjghdo46AHAJ6cnOa9c0fS4L/R5/LBjnhlf93GAoRy3A4IUAgFuOnTuK76dJ1afLe6tdfqctWq41&#10;Vda3Pm/xPpa3MBmSMl4lMoVByVBG4cDkZ24OfWvI7+xuEVjEd7BlLqu1R1G7hyA2CS2PrwcAD6A8&#10;T/6FDPuGdhcKJCAJNoPUDpnH69TxnwifU4ZCyOyyhfkLR7Vdd2SATg4OCTk5xnnsK86pCMJuX9aH&#10;dCblStJ3NTSbkpZiJlkARGicF1bz0LK6kPtALLgKSgC/Oc4OM+OeMISHnkfKxLH04YKWCAv16ANj&#10;5icZHGSMeoWOoQr9oeWVnG0xE3ClIgyKqD5mx8owBuPyqOecAjwvx7Pc3d3cQxQu24mQIPmkTYMF&#10;iMcAKO+QoySOSKynNxrq+xdOKdKTepf0G4QqD9oj3xrgyRiGRVORk+Zs2n0JORwOhzn2Tw34i+y7&#10;AJhmQERrc3G5ZB8yxgzAK0nBHyRKpOT8yZyPnvwoNQtyzTG5SMSFBNAZXZQPmPIIH3fToVNemQ30&#10;VrumIVXdVWa4unNvKXLBlQEkzOcOQyxrz0OSCG9BttKcXqc8lCVk0e0XGpq0BklCvHLENPZShTYr&#10;NuIdVUlUGZSI4/ncxnsSr8bplwdH1YXkdvNJZW86yXEbiKG7P+rVQAoAXDZCR/MQDljx8rY7l7hT&#10;OYZZgIji2Ro7cqGBRiFw/wBlHVC7b5CzIAMHbVEWryQuhgKLFE8MMSr9kQFlYK45OyPJXfK/7x8c&#10;dFI5KiafMvi7hC8VydGfoX8JPifFq0cdrHfSExOCkcnlyXFtnrbu5yM5yATkgAgdK7n9oD4GeB/2&#10;nPhXrHgPxZbPGJl+1aBqyoIL3Rr5Yg0FzETuIXc21424ZdwI6GvzY+HOq2HhTVZrrVJ9QsxaTC6T&#10;7F5sTTOhCIoCg4QY+TcOdq8ZIr9BPhN8TLXVYpY1vZZ0Z1YGOyaW8aRjtY88buVXLDChcnqRX0WX&#10;Y2hjcK8DjYpwkrNM8bGYbFYDFU8yy6bjWptSi1o01r/XzP5Jvi38Bdf+CfjvXfB3jmwksNW0W5WG&#10;5CxN9nuBjcssDYw8cg2lGBIwep4rjR4ZsYtNbWNMtm1sMAhstiteW7MDl1g5JXHGVB2/LnqK/ql/&#10;4KDfsv23x/8Ag/f+JPCmm2x+JHg60OoaVdLbBrzWrCNvMubEsCCTtDSxHBO5cAfPX8sSWt94R1O6&#10;Ztev9P1Szc20c0MIuoYduUkLIzKrgbXBhzhuVY44P45xHw7UyTMZYd60X70X3V+vmup/aPhp4iQ4&#10;1yP6zVlbGUrRqQ7vuvKW/lseRaxqky4We3eztftRzH5BicqOpCgdV3NwAOvvWnomn6Y3mQ20Wp3b&#10;6hJ5xeVvMliAG1gp2qAvU9Dxjg5OfWNX0rwn4ysDDpF/BL43WBpTHJA8VjqeFL5Y8xROdrfKvoB8&#10;xIDc5p+pWWnWw05dQtjeWcQW7h0+Hc0JORiRwvfDjCnnHXivnoRdOp71nHpbqfqDzCNaEfccZq11&#10;rb18zBuPD+pR20KoZ4bO6uAYUViGVlG79Bjp617L4U0DUBHax3E9raafNIglXGZ7oocscdf4sZ55&#10;x3Nee6Ze6it2Bew7rCzG21ecbY8kAhdp5G3KdP6GvbY/7S1mPTmt7JpVWL9zerGbWEYyP3a8ZHyr&#10;97AOfoaalCNlBaLp6mvt69aP72a5X+Hb5nu+lWdslsYLLT421RmW5F2k63M0SBTksBwMkZzk8L2x&#10;mvVvDHhEXbyxNfyancGREfyn8xp2zggMPQjAx/e6HJrjvhz4A1q+tG1BtQaCB3WOeyhZ2kmUEhi7&#10;cKo3EKVAJO4fMPvV66NRXwnEtno9lcy6j5glFwjiOaQ8sdpAO3BCc+x4OedEknCrVjoeNSpValWW&#10;Ho1L1F/wN3/kerx3lj4L0i1totJFlqOo2Zgt4/LCyzEscyHA7gZ3DjG3pxWZcWl5/Zkd1qcuyKSR&#10;pfL3bpfMbliwzjP1/lVjRrBtRW18Q635l5MuQI55muJIgyru+cjkndtBAzj2zh91I15qkdndmP7N&#10;IpNvFJmNTtAOSSeBnjHfK+1TVqc0r2stLL7tTpwcaNOfs4/Gvek/TornNWOtG3upZYoFji+zm0Vt&#10;xVpWwFY5x1OMjA55rqfh5p+uWqatZ6icalq+rOdrHzGtIpFXanOcblPGBnBB6dej07w9Ekq3TWqS&#10;abaFZSzFgjOGyVGCOuMfQd6f/a9rHPqcOkwg3s7i4WSKQFbNNpDuzDJLuysVTrhR2Ukcns486qVW&#10;9fxuTi8VGrNUMLBO61b6PS1/Td/cdjBe2Gh/2v58sUw0qNraDYwaO4nO1pGDDggKyAD/AGmrzSbW&#10;Y/Ekzy3LtbW8rqI4ggkluCoDKgXsAAcnjAB9Ody90a6EFpbXUbxzXkRkRJG2FwCpZ2zjqWGWPBJP&#10;PXHnulpJbeJGtLpCsUSsbBQuEJJ5ZRnsOB2wx9eI9+c0npBbI58LhqC5q0Z81R7yW1lvb1auei28&#10;cFtFFaWpVnmkBuPNUbpXbaMtx93Cr9OmadqFrJbTRRRRggS7Jn5YtuA6nvyTz1ySajQrbzG5LOCs&#10;mEDkBfTpjJ9uvXgdqvXF+bq80iAKjM+69uSp3PhI2fAPBB28+mQOaIvmnyyXn+Rw4uUqUb09U0/z&#10;PP8AxJo7RxXUgClZBgo24BwckY55zx05+bjAArxaGxj0l2Vo2EYTzmyQVkwGyMepJBJ785GSCPp+&#10;9ja/Lx3UaqGwyBTn5TypB4BBGCOmQeuK8M8S29uZnXarpbSZAUExqWPGe2MZwCexrvp0YuN2tzgo&#10;4tyqujLseM+IWWaDUVvWZvtFySiE7mG7pk+nGec8uecV8f8AxAjBnnikjMUcatHEoZf3gxgHr3+b&#10;HfP4V9la9ELuTyYYyY4CJZxGzAEk9No5GcD/AL5618c/FiaG2vYlgGyNW2hCuSFyAFw3UDbgD0rO&#10;cPZRvFabHq4aUpVFShvv6f0j5N8Si3IkgZldGYhgilUIztHbuMdccMK8S8VzW9vps8MbsZJFJwIt&#10;jOPvMCMZ48tenUp0J6+r+K8yarcyoHQSS+YFVQScKiAgZGOEU++D6186eJtQaFpLdWhDEhEIO/kD&#10;AXJxkYXoc+uOeedX51GK6/efV4VWjFre1/useJeIZg6yQM5G0/Jycgg9uDjkLz7V4/rlpuEhki2F&#10;dohUjg8A5B5JBB9uRyOletaxaEq0kSsMMAyknaVIOMH8Oh9c8548v1h2uLDcEcvbTeRLIrkuuFUJ&#10;0PA2ggZJPy57ZPVCN5Lk9DHESvLmR61+xnqnlfHfw/HERLJLJJaEEbQN+CBwO+zAPoWr+nzw7YO9&#10;tbl0yPKVPlILAFUHDYyPlwAegwOK/la/ZHvrjTfj74O3yeSsmoNblSSNpIJGBjud3BP8Vf1i+EYB&#10;Lp1qy4+eMFRgDj5huOeM5zx2r2lCNrvY+B4h0nB+RsCzCL8qn5WwCqhd+e2Me44zUiwEsMHliHky&#10;hO4LxwT0+6CMdwM84rcWBlj2OrsQeWHQ7s8k98+/pSMhDMojOSSx5+9zxkgZwOeo7cDpjOcYxi1H&#10;0PnFU+z1sZ8Fs5kK/fVgGXBJU8cr0z1r1jwbrktnMts8ha3c73TzCEyRjB+uQOPQc9j55axBRuU4&#10;bPyKp2k4zhT7H6dvXIrf0xljuAyAsxXCgN8p3fKVB9uM59AeKdBqlO+ppZSg4T2PpC6063v4UvLJ&#10;NzlQGjUhjkg8DA59McHPNRwvJHGYpkQTDbAgTAzkYXjvjggeuOO9YfhbWpLIr5koFvIAUzIFU5Cs&#10;CPThxxzz9K0vETqlxBcwEmJwzq2ehIJBHTs3B4r2lKHKppaHhPmVRUZarozuNJZFdBJyo+4xjKou&#10;SpGDjr8oA9Np4xiuo1HVXe3SzgCmxgTb/rAuCQ2Afr0yTgZznArzG21LMEDJuBwE35JIAHHPJxyu&#10;eO/cgV2mjyiSB3bDKTlTzmTOBwO3BJwSBgZ9j6VBpJRTPCx1PkvUqLY2dGlS6uooHDFzOd2/aFyW&#10;JOQAAO5xjvX0fBMmn2Fjp0e3zmCoG+aGZ24DknJUgAHoAeCMnpXjHhq308Lb3k0yz3cmotMqonlx&#10;26KWABc4ADbiCvQbeTwRXT6Z400+TxILOOWNoIUEaBRtZHwxJHpjIUnvgnJr3MJL6tTam7Sk7HyO&#10;ZxeKfuptQV/wPUtX8NS3+hq8APnWdwjxKuVLZJLdPQL1OB+grh/HXhO7msorq2iaaGKMxSmNB+7a&#10;RSGDY54BY55HTpXumk6jalVjZoZlfG5Dn5xuBAGD05UEn8gc40ZREI2VIoLuykR/LUojyQjcWZjg&#10;Adc8k9G6YNe1LBwr0nKOzWp+ezzLEU6vJOOl7rpp/nv/AFofn6Y5I5XG0xmMkqBxuOeTn19MEY5/&#10;D3Twdpd0trFqcRkhdLbz8WjASlRje5H8WV/hOOpyeeO713wZ4Jv45m06ILcxeYY5luWs4XKqdxID&#10;DgMScYBOOmeK1pVbTbfRbF47KCaIT2V2sFwrhLdW3iSVgMFtw2qvfapPBBPBhMBOhUc5u6X3HfLM&#10;Kc6HLTT5pPrula97HS6VraM8rwP5om2Ca4QoLSZCCu+RAQ8UilPvLwN/YmuxivXlkXAkaRcRiRys&#10;w69S2Cx6/wAQyAK8usrFZdS8y0nea0tn22tzJH5YlG0Jtyedh2qACRjtgV6hp0ZjhWRkd1CxyNKk&#10;ZmIC5JIUdVwDwvP1xmvosLVnUly2/r+v8z5nMqOHpRVRLVr569/l/lYvXlpPJp9sVPl3Ml5HEzMS&#10;XMTkrKdoCnLLuyAD93qRzW54l1vT/C3hvU/E98Ujj0PSJ7ktIWODhGEZVeSWZIxxz6dawopl1LVN&#10;MureWCW2bSTcLFGz/vy02IpMnGF+QlcjPzNxya4b9oTU/wCzPhvdWiskC6zrdrp7BWCNIgZr2Yrj&#10;nJFsx45PPc17VKp7KjVrdl99kfIYmFSvUo4d7uX3XaVj84dWv5FlkluZhLczSPPczOw3zSSNJIxP&#10;bkyscdMIMEgZGVIhvFhvNxd5SZAzkMMBwT1Gcn5hk5Py9iK6i+0kaosrJgllYuQ2SCRt46HjHf0q&#10;omkPahlSICMkESbcqxZgCG79Mn6kevP5lVqOdR82rep+p04KFJJbJfgbNlbi7sUWPyyyuYnAyW42&#10;qACc8Z6D0BORhc50mizSgSqkpxnI2dNwIBYDgdeOmOuOMVa0eb7JcLC7ERsuDnK5JLEE5xj7oznP&#10;bpzXsnh/Sbe6ZVZAxJDRkAOV3HLbSeRgBOQQTz6HOtHD+1mrPQzqVY09zx6z0W/VwhUtG5MbHpv3&#10;ck5ABJYnv3Hua958Bxy6G1xrepL5Wm6Bp02r399ct5EFlFFbvJNOz4ACxhCxIxwvQ9Bp3dlb2F19&#10;itLM3epbwDFGmQCNw27gMk5zkdQc/j/OV/wWq/4KnRfD/wAB+L/2LfghqDf8JX4w08aZ8XfFOiz+&#10;X/wj9m4VbjRYrhSD51wAwmCk+WmAOpr6HJ8ndfFpOXurV/Kx85m+b+ww7p0lerPSPq+vot2fhf8A&#10;8Fc/289T/bY/ad8QeKdIbyfhV8PLP/hXfwmsFdpVutOtJWkutUdCBiS/uZJZzxnYsXCsWA/KZrmO&#10;VcsJGXZI/lK2WLMo746ZUH2GRiprmee5kDSwtEjuI5HY/u/kOQFOMZwQQO+Kxvs8kYmJl8tmc+Uh&#10;BHyncR6jOD25FfoMbcyUFtsj4+nReHpKDeu78293+LESYSG3KoIwCInJTIyFVnOfqr4HbAGTyall&#10;cOC80e19uxI8ZLZHzMDjofqOc8VUR1XZuO9nJJc/IG5OSfXkA5Hdj+F2L9/loyZGjAji+Yxgc8YI&#10;HX0z6GkqfLdy2sbRqyl+7vaz/AVHkW1ljX5HlBRkRR8oYg8j2KgjnqKlitpJpUkdEjVFKhd2Mtld&#10;o4PUj8uee1RbZMGRXRFjfYcKVLZAJ55/rwRU91KiuroplRVCnLEscnqMcE8Hvn5R68OKtJPoEWpS&#10;dPrf5XsatlHaPA8okLnIEahv3YOTwB14+vqcc8SXnmu8aAOLZVISNsIq89x3JwDnsDWTEkcRjkYu&#10;gRQTF1bJPGRjg8n8PXFa95LGoARnUhd5ZiGBO4HOMgZ+RVJIPDAZ44t2cbbItQVk1sn+Nv0OP1Kc&#10;T3UKbkSJIxC6EiQlQBwBnvnv6H2rLnEbZ+zMEg4VW3fNjHzAE8gEknPJ5zTbpY7md3LLh3ChNmCQ&#10;OSfbkg8+/rUqQtbtGDjATaN5G05bHQ9D3x3px5V1scaV7W0V7v10/Apxl1jfcpVhJuyWXAGDjJPX&#10;16jp64pGZA7lGcwqch0OAG59TjsPypxSdZCpkxGF8xuiL3wR1554/wAioIo44oykhURLzGF5C+g4&#10;Ppj/AL7OfSnOnKLSet9v67lxjzJ+z3X39F9wJvXYDFgRjLOxyRkhee3f6dKuQNIoYcBMsGViN7nG&#10;eeR1x16VVhZZRJK6ske8suG/2s9O3bApWmWCdpJ2UR5JCsw3EEEEsD0yc59wfSpSb957mlKMJU/d&#10;3s/w/wCHK01r5s7uQFiiRAAR8wJTBIPoRt6dTVCUiPKzBgkUBkCKMbMkMccep4/EdznfvbuC42pH&#10;G4lIQ737AFRuI5HOcduSPYVzt1MBlJY0EpQoFClpCquBtLdf72T046VcbpW+ZjLkcXJL1ff+rjEl&#10;khnSFV2oSyON2FUA4x19QOO2Ks3PlNMGkBBVlIbg7SV259uC65HZjVVbGeQpJGqgvIylTL8yDncC&#10;x6Z5OPVulTHzYkUTMNyEOkroGCDAyPrgngkdKlpzio/gPkSp3cdVa63uTW4xvAVWDfvAq5d1bKg5&#10;AxjAC578fSrYuLmMi1DeajbiTnb5Z3A/THJJ+lVI5nUygKpO07GTJKgEtn6dfSmRGZyCYwjMxby/&#10;MAQDBPPpkZNZJK9mF7tez0jon6N6r5GnpBj8y481wjL6YJUkfL792IP+19aJzC8b3EZY7FUKwXaA&#10;yknIwO4x9eemBUUjwlDHGHAkEbPIg/eFsksCc8YwB785A4zBDaloJ84dRGxfJJZQpzkY7fKD2Pzc&#10;gc41unF3WoSTnG70a/Ie9wwUM0o+YbdoI2suS2cHjj39Kt2UhWNHiYRiRtjZ+5nggg/QHp1yemOc&#10;9IfNuCoz5YbYquMhiV7Z7468c4qwtyQUQJuj3qfLUMCwB/TP8qpuPK+Ty/r7yJy5LxmtG/8AL9DS&#10;/wBIdz5hZTMFAVhjcSPUcccde/tV+33WskLOI5I3UuQeoyGU59cnPB7rz3xlo4Eu1yWDOvJG5gMg&#10;k89ewx65Hari3P2b90WIRkysauWj6f8A1uTxnj8Js4vuXzc0nL7K08+htSXxt2hlVF8pA24+WX3s&#10;GWM8k56nce3HuM6cN0Jk804UOvzgKVON4AxwMngNgCuY+0RzIh+ZIg2ZAAG5OMjHQdARjrx9KnN4&#10;QY4IY2MTkkvkqG2EMgYbfVcj07Dinqm3tb9ATlB2jqk07dOl/wBDuo7iBkVttvz/AHiSw7Y6jp60&#10;VyMKTSxq4a8iBJARLho1UAkDgHHaipUI/wBMvmT1sfAAkA5hw0nIBYA9MnCjHAHf6VYV5Jlt8AsC&#10;23KpgOfQegA9OuaMI0vnHG4HdsQ7GnHIIHoMjrTXIJj8g5cupVlBCsf7q+wzzWeqfKtTzI80Vz31&#10;bsRvkSRny2Y5wpJ2FsE5/wCA1ZkkfecAMxTaEA8sSZ5IHoB049aJLa5i3wzRLu+8wY+WQq4G1cnj&#10;uT3qOJI5JJDIysxxGFBI3YAJC+gHQn1NNW5dVdltwglFPR239RJYppTGqsqysoZAoyzjjCr6ADjP&#10;fNRMkilldizITIWUgAktjaPXvk+1XSn72CUblKjyxtyBwMBV4x3yT61BKCj4dYwrqMEH5mJ7L9D1&#10;PvUq9tHqOUPZ+89bflYbmXaWkUFeVcY2mQjH3OvHA/xpNxLOUj+fGAepbPZenA6ZplwgL+WS23BC&#10;qu7kYXKqfr3q9ZJ5jKN6RDyxhVJ3Nn+Bc/hnNNKUlcm3Lo9rf5FYxxszSodspBaRV+7LkZKj2Hr9&#10;aljVXWUYfnuoCs3y8AE9snmpZN7Ou8K7CIQ4iG18K3b2Hc96YwA3hkBZ+PlJ3yjkEA9gOKe7shwl&#10;FRsn1/4BHLDNlWAZ5RGE5AA2gfdXjt3NIvlny3Ys7kFHCY8s8j5V9h3NPQtKC8sjBQDErD5chQfl&#10;UDtk9e9RhQkhAZpY2Ow+WQUxn7qfl1olql1sErx91L+tGMlLyB2ALop8o7QAq8ghV/Pk04wyhto2&#10;jCgO2cKykfcX6Z6+1TEFFkCggM20mJgDjsgHXt1HoaWOQNKGmQHnymIwCgAPyg989zShJNWaFJpT&#10;Xl+P9aCB9ph2wq0RGXCNkuemz1HHf2p84gZYygGdxVnhGFLHPA/M03YwTeyiONWAyG3E+iDjr60m&#10;RLHIVZY9jbWVcqD6Bfc5FErN2CCs1zNpbfcS+SzW6ljHuZsfJ/DjG3b6g9zioSE8iNX3SCOQrvU4&#10;VucBSfTuas+QhQo3lbo0Vd8TYCg4wn+8e5981ato7EwSRSmSNhICt0qlxEpJ3RInQk9cj2oTaev9&#10;f1cuXNUcYyejujNmBY4P3Au6XYeOeBGv5ckVYK4YK53wwrjMY+WM44Rff3p7xwx3BEW7YE4bZjyF&#10;6Dcvctu+vFSIDG8fzLE8RFwu35vJ4yDx1bj86LNK/UHCKvDmu7r7iMQyRMZXERhEbkFQJFjHOF2j&#10;+IilLI+6CNPLU4YJnasAHVs85JBHB9BWgbV5hD5WyN8gyByfJtwfmLyN3brx9OKqxpI6mRlWVXO5&#10;BIDHv4+8x/A/lRu9UOUYr3Zaq/QrpKSsnA8sHKqq5Z/lHzOc8DnpU0UZMOVLRu3zhWOJLliSDk9c&#10;Drz1oO+NHhCFlaUOfLbEszEZPvt5/IVPEvG1mPPyuwG2SZjgFF6DAJPP1qtZLm6mSurJd/w0KLEy&#10;jDFmOfL3IhAY9Mey/wCNW4kizhj5ZbAkVOHjA/hQDj6/U0s8HlhVyPM3MzhAQI0AwI1I7moYuQga&#10;JEeJgGIbiFc8/Vjz16Ukr6rqOcmpSjJdv0IWj3SjzEUGJCxfG5YeRhBnrnNJHHOxVXGFxujgbByd&#10;wwzY9B6+ta8pLAPFHGpVAYkRAI7dRzvkHckD9M1QKyqMyeWwmZggXInuucHI6qv40orW1jVq0W5a&#10;rQdckJKqxPnegWS42ENK3UpGPQAj86qgSAMHQ+Yco0gXLAf3QPX39qkRmYBlkjR1+Vzs3i1VSR8v&#10;+0fbmpt2394GRZDH8vmYLwqctuYerY6c07KyvuKUoe9yp30+4YLYGKNmwJQG8tNoeK3A53Mem456&#10;D2/CrHCWdy6sY928At/r25yT7Hmr8SJlUZcl2DxqSQZcdWcdMcjj60HdLO7TACJyFkmjQgkgY2KB&#10;/OlqpXJShyrcijCFGUyKC4YTOoHzf7EZ6Z+UdPzrEukdiykSW5B3bSAfKTHGT6nPb0rfbzPMjjhE&#10;aME3AE/JAMckk8FuKxtQJWIvMQxlkJjUjBcZGHc49SB27U2rPUnRJw6fk9zlb3ylRdvyhRhYipyT&#10;/eP49K5i4G4nnheg6F+/P6V0l9wpPJWTgFPvSHjP4f41zczqpPGNw5YDOM9R/Ks9lzR3fQVWMGlZ&#10;7f5EmjsRfwBNi7mCncmQ4Pv/AFr6Ttpv9CtoAGAmQR/cyox8xB7kHLAH268c/NmklhqETKdpQElc&#10;fKB3yfpX0jpsCzQ2kpLA/Z1CP2jHOBnkY5P+7W32VdXsx4eD9q3e2n9fizWNvLbwg+S9vbNIsoDc&#10;soB28t2Kg5yM85qOaNg6yq5wu4CSBAkb7h8jg+hJwT+VTxTTRhfOmuBFGoXyyd7sx5AGc4YDBzjJ&#10;z+d2+tp0W3USqJhH5ixYwmMbg7E5GCCASQTyOnFZOV22jrpQi6coy6/5/wCZiKCLhkmPyMAFBUCU&#10;syk8j1IAIY+h/GdFWSWOKSZCdm92u5jEkgXJ2FgOGIOAxGD+eGTEKscrOUYuEaJXDrADlirdzyeG&#10;/wBqqclmUvS0Exuop4sx+awD55BQk/xKMtnpwMVpFvRNb6E2nKCSWv8AwRoM8jOTJKtsGLxeQRtl&#10;B6FOOWGcc4yKdarGVhDlsB94jRNzPgk71/EjIY9xwRwLCy2KshlSZkZiscYYYlZAW4z/ABZA5PGP&#10;XmopmcKshO6ISLMU5Vg2B8y+jDA4wRxUu9vf0Qc3JFcuraVxptzE/mK8sJxvQsFEYB6sCeM46g1W&#10;fzY4nVIN800pcOoYE7SMOhBI7j5T+VT7WuSN037ub975Rb5ZFAIDrnI3ckH8eOgonMUDxsDlmgMy&#10;wRuyKXyPmUHJVgByGPb1p8unqYzacubS3/B2/UrM775DJs3lTv8ASQZ3bojgYYDqTyc1P80sUUMT&#10;7PPTzJcnasq9cqeSGHB6jNNe5keNWCIvmt99l2wzooPGP4X+ZRu7j8MRSp91lVWiZC0DR5LPz3H8&#10;Lgge/HTtUuCVrmkZU2mntoJHAxgS3gHmGV3aVAmBdYJ7j+Ptjnj64Ndrdp7jyh88OwPG0gw+8fwO&#10;egIPv+NIS0YO+RV85guJzgnAONpGBuqSOZmI84tIFyjBRhp/RCT3HOOxpcq6eo4OPM5tbP7vkV20&#10;4QBBK4U7iiIUKFjkAhu/XGCepxTL1irRAquzmJQdqNHzwHUd/f3rQZkuZAGl3kL+6LPzOo52tno3&#10;X5veq4gW7MbgsgQMIpGyyx4YfJIffnBx2pLSXMhyjTlaMf6sVnVUAhQ5YRZDIQ2wEYPHRhgngc1J&#10;5MP7tSU85VVWi3DLggkMuOq5xwcYINSSwoilWhkgkEiyvI4y1upBwQvdTx0549+Ve3DgBIlDDbuc&#10;v5pZezqfwHy5zTV2kmSnTuot6rdW/r1K8iPIT5WYhCu8tCMJJz99Tkj2I6VC0cgmUxHc2POiIJxj&#10;AAIxwSTnIPqasRw5maPzVXbn5xJuWcKOSigdup/H3qvIZHcFVRNoVEZMojrxyDnhu/vVLSfK9QfO&#10;5RqOV0yrNjMhco0hGNhB/fYIzgdiAPaoQuQpD/6OAFd5B/EQQFbHfjr14q+TEiSNNFBK8jgPvJWF&#10;QTgqVHKsAW/Cqpt1kLxo26KLEkhILBVGQC47jp83oKl6a20GoyUW5ac3/AZSVAZH2sU/d+Wynn5c&#10;nJ9wfXrTBE8SEKwklHzLznGSNxHYjk1amjVtjcxxkgrtUsAB1xzyuajd4jwAWZCSFC7Mjkb0P0yc&#10;UtXqTH2ack3dXv8AkUZVjR1Cq7eYx3+WfLVyCOmRx/XFQsqooK7/ADgwyDHuyvcOM4x2rTliDSQh&#10;QG84EeYX+QHvn+63HOe+arCNm4kkCqF2+c64J54Vh1I64I7UNqK1ZKhZ2bsv+GM99jgHb5YkbeFG&#10;C6EcZHU4+ntTAW3gIAxzukLDAIGeV+mP/rVajRXyksbIsfK4bd5f3slQOoP5U5IlO8xlOTnZgqXO&#10;MZVuxGT1pJxWxSvJuMnve3p5lBtsoADZDsSvyYU4yfzGahZklDOzF9xAVQuAcD09aum3PmL1ZgPN&#10;AQn5gOePfqcVF5COy5b5GGSV5YnOTg+ox+tDfu3RlOMVJQj95UlTGHVAfOATGCDkDgGqhGOHDFT3&#10;2jcPb9P0rQuY9u0K+RI3POw+wGaqzKOx3uRlt3G4DkAjt6ikk1FW3KlFKTgt0VJU3EhVOHUjAXA4&#10;x+PY1WYKccNkkgYHTgds9D/SrqMqbHClsgiRW6g+n1pjeXhWVWYkEFOgPPyj8/Skk73sE7pRknv/&#10;AJFe0uJLa6hljYpJGwaM4weGz+Ga/SX4O+K4PFfh20n3+bfW0Qh1FQiL5Tg43EZGBtzye61+bGwL&#10;IBhlcgbcnG3vj271718CfHa+FPFENlcuFsNTdbeUjB2seFbJ9PbsT688uMoxxGHlTW+69Tpwtb6t&#10;WVV97P0/pH6VWVvyyEiOSRR5jdyQMDavIJJOcMM46EZIPW2BEITLFQUUMpwVUcZx0I+6MHuCecYr&#10;C0wR3sMQgMis2JVIUBk3oAvOc9QDwOgxxxXS2dsk6KkiOlwXwj72hU7SQGPvlV9AATzXw9WEoScp&#10;Lv8AofaUnHeD0018zq7CIRCMBXWQZcgcunBBXqRnkHPtweldTZgIiIzwuVCPOQN38IAA4PBIdtuQ&#10;DyeSMVzWl7Y90SkJtYL5okjFw6liTkfKDghTjH8IA7Z6+1hjwpkVSrYDNDGTyCVPQ8g5/JVrnrT1&#10;Ubb2Z1Ri42Vrvr+Br22ZVMikBBIvmbTuXndwxBztYK+T147cGtm0zHA1upZJGwJncYRyxCEnacgs&#10;cLwBk5AHIzlW7FRIiKy25yAUBiVyQ6FsEcsDkHIySM85zWzCsZPmOVDp+8iJfzGYBl6ehCs/IyeB&#10;xjJrmcXF2eysbRslKMHq9NfxNKGZQsUoBcSgRKJMsDnngtnkgOM8kc1sRSuzJG7LHJw4RRuJxtDE&#10;5PTvxgD05rJjRVARSdr4WSEs3yAIActnDDJ3AEenNaVrGx84xvti28CZpGRWwQNy5wMFVbv0YADO&#10;aajq5PYmnCClyxdo3/r9DpIZTgqY8yICjSM33hlcgnP+zkjp8o61tWkkZgjWNAzhV3KuWUKN2fbn&#10;K9eRtPvnnItiNIUdHdH/ANWsyswAPO48Y4xwMk7x23EbcKCNQyln80lEjAxtBB6YI5yRznsPSpuk&#10;vMfvN80Xfp+X/DG6nzQfNIF2HBVTsUAk8+pBAzj39sVoaeQGjcOzYLIQV3DaRncDz78EADFY1v8A&#10;MrSNGvnSSlZRI5TbgBsqvQDkH05NbNsqgKUxICvmEbiiv0AB6dB6+pqoK0Ly3/q4KHP+8W7OhtmV&#10;ZMyBstKch0O0kjAOMjuOee1bgeNgI1cg7cBioKqDwcjB6cH1z9ABzNoAmZPnITEYOw5BOCcjscA4&#10;6dD06VvWQjklVYmLLtD8Fge+BnGehPT+dTUj+75Y7G6cXpNW/r9TRhkbKJtLSI/KsPvAkZ2gZ5Iz&#10;ye+K11KrIj7HDl1dcNwoXnkZ/wBlf1rFgiK3EqpIJc7pMqCX5fkoCD0Bz83ZT9K1YGcs6zhZERQA&#10;ygh1O4DcOOfu5x2BHXmpjJwS5fL/ACBSfLdLW6033/4BuxyLKyLHHtUxsDHgvuGArE5yAMDvxycD&#10;kCmuUH3y7KWO1mY78Y3bic88gYzyMZNMjLMZAVi2u2SCrBRjpj3BPPf5RyeDVgxo3zSfOUDBAB8p&#10;yAOccFQNi9Mg9eSSdE5OaTXS5y1VJ2k3qtF+BPBGAcKSzxrsaJhsQkHcRwMg89R6jOamn2zRh3RI&#10;i+BIuCAc72/l6YyMcAg1DFFIwkiyyndnJc4cHt68gDp79OKsiPiRnlLorH5WPyHgH5eM92Gf9oHi&#10;rqtTVrWtb9DW82km+v6GXeWVn9jhmWaI3DXzRrD/ABJ8pC5J4AO7rkfdz6Gnw2xQFoTnkDCjdhsc&#10;8/z9CO+a0NS0JE0nTr1AVee5kYmOZiW2DdgJkkYDE+p3DriqFizx7FVQjttVZHUGME4bIz/u+/Rq&#10;5m0pKK33NJ2nFSk9LaHs3w5tZLrVdLSMNhryPYpVg+c4A+U5P3gdvsAc5Jr+pb4EeHk8N/svTQYM&#10;T6gbJbVmJAY5hcBixJ4EbEk9TjjOK/mY+Bto1z4m0S3y8rG9hiRWIIkLMnVjjGWbaMk4yDkZzX9T&#10;WqWI0P8AZ38EWkb/AGaK5vLFp1chcgwFovXkiOM8c5J55zXpYVJYerUV+35HlV4uVSlR6uUfw1PJ&#10;rhG88tv3fMYgUH7x1JVSO3BGMgEjOBnpnpbO3j8gpsj8oRbNrK0oYk/Nt3ZA4AOcLwvHIrh1a/dE&#10;MZVIQSyMXBMmTnGz7xGFUg4wd55z13LTU7i1UxyQjJJRGO6EAkZyBz90fL0zlWxwQTzU7W97c9WU&#10;ZKFlr0/I0rqKTzFjy/lqSgUYSMkMTk8HAwV5x2H0q7CsmwbssCM7SxJVjjc2fqrY4+UMOeucIass&#10;kqrMnkgcpty+wbWXkHnHzcfTt1rfgnt2EflXKgzYXIyzMDj7uCMkjg+xzWkFzRuu5m1aza/q5wfj&#10;QSwpb3MeQY8PFOoIIwy8AjjIznPbpzgA3ZJ4dejj1e38oSzIDdxINjxSE/ONvTg5wDnAcV2V9YW2&#10;pWjwTqrpIm7OSxTIznd1IGWHUZI5yOvl1z4c1fR7p59PnljjDAribdFMF+YJKgPcAKCM8rnp0xcp&#10;JclTbv2JlBStKG63XfU1II7xJ0khkniOzYsKblD8E4dBwxyDyc4z711lkBdoy3si+anMbGEqTjnJ&#10;xg5yGJOcnH1qfRm0/WI0gv8AZYamNyESzARS52BTG5AwWO4nJxwAQcVvp4IvivmwSebArl0Mc0Zt&#10;jjjOSMjGwYGQQB06Vt9WrJJpXTMfaxlDllo/M461sI7C8juxKXeJ98M0R2TA7gRjng8Ad/WvX9A1&#10;BdC8P6lf3+xEupAoV2C7/wCMlcnryo9Tj6Vw12fDPhhDc69q1orKoljtIblby8mxk4CoSFJzzuIH&#10;A+h8b8Q+PtR8b38VpZ2r6doNmQscJcDIUcyMdxGWwDjPO4gY4x14aksMnOrp2XVnNWm8SvZ0Xfz2&#10;Nvx7qsep2/m2AcrPMUUpAtw7bj12kgZGQeeMHuABXh9xaSQNmJnSRRtJkvHVXb6J8rDOeuev0r03&#10;UIPOa3SGJltrKBYIoZZAwJKqu484ByuPmz8pXIGc1VuNOVo5Wk5l2lBtcvFncqBugIDAE9Act0rz&#10;pxjUqOa3O6jenBU9/M4KxtZCrwyArK7b0OwxiXBKAxoSzybcA7iAFODg98TWPCsFzMZpESKJgSUC&#10;h1QKMhWJAGfm5YdWVieor0uLTfK3FCjBiu4gZLnlc9emT0JPYYNc3r+qRabbM80kduicmWSQCJeC&#10;vQZPXI5BPoO9c1SnaSl8zenVsnDZM4L7DaQTrCE2AZjbfllwgJyV3EL1x0UZJGOmJl0iOKR2ieNA&#10;SCxiU25PC/dKlnAJIOA2Pf5RXIf8J14cF6ftOswxyM7BfMdmluMkLgDGckMWG7aMLyM8V3dhrWjX&#10;Vt9oj1ayaEOvzfahuBCMAMZJxj5SMd+oNdUfeitTJtxblLQ0bO0z5UYVBIrecsaRrthwN2THkoCC&#10;Rl5csVORnBB2Uto5oY3vHecTsCyoXmVyuwlzuOGfI3+Y/wAqliQOARVtp7BkkCXNucRl41a6BAT5&#10;i2VJ2LnCkE4A56c4fHq2jKG83UbMOFGF+1LJLIwAxhV+YtkYOAwHPQGl7NRk29iHONubqes+HLPQ&#10;5LSWyaKLFywIcbJJmAbDsrdGZshQ7AqpOBjLZ6HSr2Xwg9mlksq20kn2lp4lDLDjcVyGOCMsnzHc&#10;euF4NeQQ+M9H0+ORbeWe9ndUZJHiNlDJIGfYu5xlsF0OAG4ZjlR1muLvWPFs1rHeypYWqPl7dEki&#10;ljXqAWGXZvm44APrgVMoKm1KC97y+Q7OV4N6M/UD4eeLY9csofNeMCVerSghjnaMAjJJJVccAYUL&#10;kdf5eP8AgqL8Eda8G/tM63B4KWyttN8R2dn4g0+x/s4m1tIrnzBKiAMg4lSc4XGNwyTwK/ol+D9x&#10;HaWTWUM0r741S1O1hE4zu5GcjLORg/M351+XX/BYHR/EmleJPAvitL/SbKHUvCz+G9JvLyDdKqWT&#10;veX8km3LGV2u4kUAYGFIJIIE8VU3j+Huea96DVn5PSx9X4UYqeT8e0qVOVoV4Si09LtWafm/+Cfi&#10;JJ4cuvCkMSxTibUZ4ttzeQ5iijcqNyRk+hJ5IzgD2qXT/hve6pZCS3DQSySZiaECT7URhmJkHBHT&#10;JzjpjOak8Iw3PijTo77U9PttfhW5JNtavPo0twRJJkeaZF2hxETzuyJc8Hp9J+DbvSdRubfQb7Tb&#10;jwpcNCbWxtYbpntmAHRJpOS7YJ3NksSPQV+P/Vo2TbvLor99T+yqmIxUVy7Jbyt0XkcP4K+G9los&#10;0K66tzrk2UcQrJiC2JA4clQz8nB5AJyQcfe+mI9FXVYTGl1BYaOFPl2VjAYocnCiIMcEkISxfk4X&#10;Oc4z1Hh/wNo9prGnWM3k6lPcSSqbAzyDiJBI7s+QNuzJYnIAJ4GBWn451vwXrC2GgeHnj0ZrO3EU&#10;MlpcZjKKuyR1IOSXIc4J/jHC8VtFexpt1NH27nPQxt8VB0oubtq7XS7afI6Dw54wtPDmjTWVlqpu&#10;42drXU4rKN4beJUkAWPOfnzsjbaOhxkkhsP1P4l6VcXFxJb20N3rF5butnAqrEkOVPzP0CnnoxHQ&#10;9Mk155p3g6wlsbjJmaxtrZmaJMqtw4+6xHHGBgDk5YeuK9F8HfCeyk0+3u9QaMXt2TcyKZMPbjaC&#10;ASPlxksAD/cP48DrYitG8Ph0sesqWXUFz1G+e+vXfo/S33FHR/FHiyDWJ1jkiu9Oj2u9vFEyQOQA&#10;xCsWG4dORgHB9q9A024l8SahYXt5a3Fjc3NwqtpsbmJWRN2WznhMLjr/ABc9K3I/CenafDPeQKka&#10;wKIzIjLFDHtUcZPytuJzkY9uSayrLU5P+EisIdMuIrcTJLay6mF82K3VSHO0Hq5UMAmOoGe5GEaV&#10;VSjCo/df4bEVMXT5nVw8NUrXXXT8zsdb8XStqEPhawciKJFbUZo0/caahIAHHV2LHaOuOuOK6rRr&#10;XTfDlnaXrqSWkFzcyTnfcTE4Y56nhQAAOBiuYi0K0V5lhMtxHauby5v7omS81S4chmkkOeScD5Rw&#10;AvoK6CxsTqwmlvXZoLGMFY2fiRuAFOevTkd/WuipKpqoav7N+lv+GOV0cOsKpSbin8a9dl6u+oXP&#10;iLUtQGq63erHE1xK7QrtwII94ChAOAAAv4nj0rzKS5nupTeW8LyT2+HjuNm2NycFsnvgFhj1HWu2&#10;1uaGe902wXyjbW8ZEttERtnxhgZTgEkFQQOgxnnANQ3Ma3tzJaWUaGPeFWSJMRxqcgknp/D8o5J5&#10;4x15p8/u007y3b83Zv8AE1w3sacHanywaskuiVkkWY4LjVoI74yJFC583yIo2Yg8Lgse38OfXp3x&#10;oWFnNPqdzdRF1S3j+zI4B2bSW3sG7AcAEkk4684qksZ0yCW1BULDIHh3OQr7gSD9SSPfgcevoVha&#10;Q/Y1tto8xxn5T99gp4ORjufUA5x3q6dNus6j2SX+R8/jq/s4qL1T0OUv4A8sqW7KksjeXGjOS2MD&#10;bgnrywBYentz8/8Aii3uo5HVlf5nZBtXBBIGeBzxlfavbvEKNpZaZrr99G5jCRyhZCF2nABPOA30&#10;z+OPnvW9Uvri4u1dF3GNnLHIEaKCzFh9MDPTjoOldLrNwTlp/X+QsBhJO1WDTPFfEWr3umx3txGp&#10;PmRmEs4wWUIcsQemAzAZz279Pjvxzd3FzMZniLGJuPMQnBJ7t05w2B3wcDg19l6z/pNtczSqXa3f&#10;CnzDuUAY7cdhgnlcjgfMa+SviJHYx3dxMpCrb2zSEq2zB2kkA+gwSSR3PTrUOaaUI69j6LCxhSr8&#10;lve/r/M+Q/E811JLdMsas6HC/LsJJzgdOeT3z6fT5H1+O7bVrmaUkGLcRvU54wpPHfgY2+nbGT9R&#10;+JdUNtLe3UsY3MXCnOxieSOP4cnjoP6186eIB9puJpozlJpCdxUsUGJMHrwRgA9ufcVi7VZx5tGj&#10;6GMnSu7Jpr8dDgtSTzLC42Y8yWNcqsQYqQDtYA4/vckY6141qCAWN4GVDtkDtHnhzySxwT64x2r2&#10;HVJpTAYW8tQrAp8+SQRwAuewznrk46cY8lut8txKkxKxz7oASxCt1AA477W/ya7cOnGrGo3qtf0O&#10;SULUruWv5Fr4Azi3+NPge4j3p5mvxQyEgB8MewHfIB9x1PWv69/AsBGjWADEqIEcbsZZgmCewznJ&#10;GfU+pr+N3wXqUug/EfwrqCkRzad4gtpFTaATiRQxBAHVd6/n6Yr+xT4QXSar4M8OakH3rcaVBIWJ&#10;P7wtHk9P9rcBj0Ne1zzmk1s9vwPz/iFSSWul7fgemLbhIdxXLOhVgR85OQeCDjhQQP8AeqpLHufa&#10;pZV3qf3cYw3HIPPYZ9sZGa6FoXZCBh3ZGkDAbQvHQnj0A6d6oTwKj70OWCkJuJZRgEnCke3f1Axz&#10;SlHli7q7PmY23uZSRLtQ7HUpGVwCTIN204x0427eR34zWxYxjzABnmQHJA6MDkH3OCTnnk96rJE7&#10;yMGwMgbQx27iCST6d+/pXXaZpyqhkcEbzvAOdrZGM4x6BRkdfwxWTh9m5v7RxV5bHRWMW+OFTncg&#10;5baFXgAEDnPXPGMc9ew6y2Z9StZrOZARGuYg7bGXJIAznA5JPTJwaw7CMbJHJZiAXPyjdHgsWKqo&#10;+9yo+XngnuTUl1evo8guhK7MsuWCu6F1GQ47ZBHyn2avVpJRtJrTqePWfNp1/Igtbqa3nNrhjIv7&#10;sHGEUjrx15Jz7c9K7ez1YxRLAspUwsZGBQlVyuP02KPx7Y5wrK2g8V2q3ljMi3AQq3zMxVsbuWGc&#10;Dp17MDisi6tb/R7sRXIIGciYKyiTO3aRyNpGMgDjOeTxXZSi6a9otuhwYhRrfur+8t15npNtrFxB&#10;bTEXE4uJQY1k3uMhjuAJzg8bhznhfXFcfpY1RNZhurWScziZT5bjezruBBIz0+UfUq3vihNrqmQR&#10;FkRoY1VDjAAZmIOM8EDB5xkAHvXa+FZra8vJ4mLRecQ3ntkrwGO3I6EhhnA9OmSK7YTdeUV6feeT&#10;iE8PTnUstb30PoKy8Qsy2ktzdTRXTRiOZuwdkIKEemDjJ9Ae9e16DqN2YWlEguTLERG0qggnauRn&#10;blQSI8kD0GMZr5wtoit8sbyi7tTGqiaWdlckI3IyQS3zYGDk7VwOteoeFdWimtWSKZJrm3VLfy/L&#10;MwGdw4UMDySvC9jjIyK+owdSTSlJ7aH5vmVCnNbLU9BvtDhvrYxid7eUuUia3la0beDnbwQQhIZu&#10;vB61gR6bNo+otCYzNI0KxpPNKZprNgHLHOGy5BhweCNp46GumjvGj2hnngZrfL2/zIqsVISN8owz&#10;865CnuwyOcX7DTJblknYIHkBlEgl3hGwxPQ5H3SASO46Cu+VOMmlHd/geKpqjepWfurbz/r8Te8O&#10;24t44zNhJd/nNIP9YMksPmGRwu3t/CvPWu7mkFvFpdsvDXt8sEbgBRF8jPI2M4z8pXA7ydMdObtB&#10;9nQ3bbCsahGcAq7kr5aLlACNxwAcDr6GujeOSWe3Rmt/Os1kuIG2Y3XRjMaAsMfKiux6guQMFQPm&#10;9jBx5VyryX9ep8ZmtWVWt7Xff8P+H19Q0O5jvJb/AFdYzHEkS28UYiAMa25kG0KOe74HT5+MGvm3&#10;9pjVI72Twd4eR3WaC2m1/UIZVC3CG4QwW4ZAcq2EujjsFPNfTdjZwaTY2+mzSQRQRb3ZpJthlSLM&#10;hwGIPRctngKTyQRXwz4xm/4TTxbrfi+3gZYdVuU/s4zKJJFtoIYoIjxwdwhLgckCXHOKM2qyw2XS&#10;pr4pf8OzHKsPHGZvGov4dPX7laP3s8u0a3W3ZInHcZ5ODhiQW+vA6fw816LpugR3mPlXI+Qg/KxD&#10;Y6ce5PXOF9qwG0+e0mDNGSEQhv3rlQSRwB2HQYPct3wa9b8IxCRYlKbzI6xsijeNzjAGMd8Nj/8A&#10;XXyGHoKUve3sfb1KzSuuhwN/4DZkW4giKtGcEKm/JJznIHXgc89a6bwTaXUN9DbzodoPzPJGBhdy&#10;7gcD/aJ5xwrDNev3X9naVbJPdyQgyDKwFd8su7f/AKsDAyNnRj1P5fE/7ZP7avwb/Ys+GOv/ABB8&#10;da3pS+K5LF7TwN4Gt/3uv+JLp1eOEJEGxsD8yOeAEOAq816+Fy2daso0vI8PHZtRoUJVKrvvb/JH&#10;xN/wVp/4KR6R+xV8NL/wb8PdU06+/aD+I1nJa6NAz+fc+DrC4LLNqlztzhzhhErEbmA3bg2K/g18&#10;XeJvEfi3xHqPiLXtWuNU1bWtSfUNT1LUJluLm5nmJaSWR+pJJwcnHygcDGPWv2jvjf4y/aD+LHjH&#10;4p/EnVbzXvF3ijWbjU7h724aWOyilmkaG2GT8kcCP5SIABtBPUkt8+5S3hNy4adZSDIy8mWRg24B&#10;TzxtbGPUZ55P3uEw9PD0PZ01pda+Z8XSqVK05YrFK05WVv5V2X6+ZUmvZ3uBExJi6RBExgN8yk88&#10;8Hrk/wAqbLbq9qfOkJbaE8sA/Mc4wD1xzggjGCaSdRPcfa3wpkjGIt3zIB079T60+EyzKSqFIkYy&#10;zySNkgsMADjplscdSea3vFp8uhpFThrtrot9P6uZn2acA7o/LTy8/PnzDnAyB2zgkY7880/7P9na&#10;3cEljieOMkEMAVVATxzn5icc4PWpJExfxhpMROCu1G3ybc8jHGdu0Z6ds4pLwJ9pUMdkMZE6bn3q&#10;V+VCRjsSVHPGT75qoxVlzP3rAryulqn3+REkqMjI6sM5SPK7EjGPTPBwf19uJ40ZdqxYZVkDlic/&#10;N8uACOgOG/zxUSPulUgBmA3eWTg89QOfp+XXmr0sIGGiIJc+WYl3eYQyYJ6YzwASSTlh7kTJW/d9&#10;73YlzRcpW6r5jj/qXfy3kkyCDtOzOAQAVOM4OPxz6U3WTHb2IumyHcfLGSA77lOCRxxjPXjkH63b&#10;a48vzrR3ijRnV2EiEoW4UHAB7D05GOK4jUL0anqYj2yokLkMjlmIyGPI/E9eRn2rWMYxv20Iq+0c&#10;Elo3p91mymFjhTzAxfcvQDIBPQH6ZIx6VJJHc3UcijcFWPzAQhV+AeSOM5Oc4/rWosIaznVIvnkV&#10;IUZgQ0nchR0OTjj2+tVgd8MQdyglwmFOElO4lu3HJHTnjnjgqytdfM2krJ6X0X+Q+KSLCptysZMQ&#10;JXawUgc5x16Z6Yx15qldCOO5X7OVkiJxk4wV4PQZwThSe2RxmpreGORptpRfK3qmSS7/ACltoPJP&#10;3APx4zSvIkkOyKMBi2WZACWHygdMnv1P5VMU2uaPQ55KSvG+rtb7/wDMRZVknKGJNyIGIGQhIYkf&#10;zHTmqd48aF2lQK5chopYyx6MWBycggYAyeS/4VI+2K5VwZMyZLhZDuOFDADnrjJ5rOLR5jeWJFuX&#10;ct5Bb+HBA6E9gc/TimpaNsmcXZtvyfbf+r+hNI3nOsqfKzBC7svXaFO0AeoUEemRmorsxhTJHs3I&#10;hZGTKqSW3HB6jnPp1qSWaSWIWyrsDMrBScMo4IXp07fh6VnzsyRiFT+9CsoZvmDH+6O3/wCvHvVR&#10;jFK0t/X+u5aTdPSPu/8ABQvmTYVQ285dpPMUhnUDnGPof++TwMAiKINNAzSLjbyPmyASwJI/LuO5&#10;46U26kLxIUcM4AxnOXGFOG7AjDD8TVqxtZmMibiG2CRjv+8chfzyynj2qXdtOT0/r/gGcLxgnHrr&#10;r6XXyK0TRhiWJykpIVR8p5JGexJ5z3JNWpblbfY0WGKMFY4DICQQdw5BOf5fnBdhbN5FYgyliWdR&#10;vCkjOBjgHqfxNU1CMqKyiRGbPzHaBjHyj65Xgn+LgDkltSbvIf8AEtBWTvq/yLEco8rDq2zzDkcD&#10;y8FiA2Pbjt0q7FLIN8cHyq+5WJwBt6cnGDxj8OtVUS1jdgxRXk+aOEnO/nBPHpn6nPAODh15cvbt&#10;uQLHDK4BxlsE54z9Cen1qopNp9GgcOWm03pfX+uxIs8TFS7MCDnbt2bjg9AB25Hp7VI8myJZDwxT&#10;GUXYW2EnOT7ZHbrVQwzQoZjhXaEMeOck7WwOxz+W4VZhmjaCM3cpYFWAUdcEhgT3IAJzyfu/SiLS&#10;tdf0huM5K0Fp/wAN+ZftbprnzC4YmMmVyq/Jk7Rz3Hb/ADmkWJ2Kyud5ccgDO5TjCnngDkfQ0ltH&#10;GjsySEbmBcuSyHogJwOyhefYU8NJDG8gZSoGFUMSseGYnPcnBzTlL3UUnOEeSSu0tfwuW7JUuIFj&#10;kYKqyKjOw3bFBVQQQcnPI+Y9u3feS6hhiW2IJlIQxxFNyg7iMZzu6gcH+8egGBgwgsuwEITCQAdw&#10;GTgEcnr/AEHQ1NJ5IjSNmxIuVGG24B7evAPoMYNKPK3723+YJKd0tuXTz23+78DoIr9EjVDc7duV&#10;wLcsOCehLA/mKKwGuLRWIJk3dW2DIyeT1U9+vvRWapXWsSHioxfKnofEKRhtxyGLQklANrMRn5R6&#10;Afrmnwo8UauNwfI8vA2mQE9FbsPr6U6LzT/pE8P7o7zGxBHm88/QZodJto8uQujRgEKCPoi+gHc0&#10;o7HC7NRQ+d5J1dWQsXAVwuSCV4wCTwBgHNJb2iT7lhJ2kY+TIdiMcDHAXrkmlJcohhICnIbBIDsS&#10;M4Xsq5Ocf0qBm8vLLIFUR+U7xAruK4AUDPfcM8AnFK0Yyd3Yq3LGMZ621v5Fh4zEY/mJMCncE+9L&#10;nOFTqABg5Pv3qqhkZZPOjT5VKqVbccjnbH+IP5VNK83lAN80y/66QISQCAFjX35zxVqQTiBCQiNO&#10;DH5oiwYlz93BP3j3I64/Cm3e9iZ8ikpR0vr8uxnvIZChwQVky5fO4gKB5an045P+1Ukjn92IlERk&#10;UbWAIK5P3V/DiiRE2IdrwFAFbbhyAeox2Y4NPVvKlkcYRVj8rfJGHEKtjgehPtzTi7LUFzXcH1sN&#10;ixM6glVIUowPJJAJCocYOfb0p6mWAqqAsUQxtMW4fIJ2qPX396dBCYDFKibVwVPO5mU5zjrgnPf0&#10;NPUOzsY18khyDvGPLVsYVeDk+pos73Q2nd3V/P8AEimy0TbpCWDj95FjCkgERr+uSOn82COSESsr&#10;D5RtMiZIweqD35OT9alWBWDrIgQLgnZwIlyenJ5bn/61TMotcwReYI2gwGVN+wn72T/e5PB5qL31&#10;iv60KVoJKf3/AIL5DYTvWSUeUscSlCRgMg4+VR0JPHPtUeYjHuIFsSBGUJ3xhSB/F/eOM/jjpUpR&#10;9oSIqoKnywwGVXaDubtk4JA9uM0CzJheL5xkb0HlglScZd+fyo0bTHbXki7v/P8A4YhVQ/yMyxrA&#10;xDODuESnkn03E/yrQ8uLzUChBkkqC2DEMLtLerHr+BpIDIFhSOJYpX6uV2+ZuGGlkJ7DJ4pQsQkR&#10;wDuWYpE7EK74OHdlPG0ZGOvT2olB3Uf66C5ldS+12+4i/ehTGyhU48spgvEhJG9sdzzjuM1DbtAr&#10;KqsXVQWaEjZ5PBy5OOSMZ98iriM/nNJDHGsbzeVEFX55yozuPPQHcfxqO24upogBJ8pCps3NMVBJ&#10;J4ztAzn/ACab54xbY5xjdL53Io2RtxhLOBJtgSZSGkwMb2YngDqM56jpTkIEzNuEzBwYFACee2cZ&#10;9NoPP0qORZvMYEiWKWQqzqpDyMMblQc4C4559qspEAJJMfvoeBk48tcABFHrj+Zo00TM/elfS7/y&#10;HSvIcKc+WxGUTO+5fGc4B+6DnPJokEJMS+Y5iI3MA+RIxIARBjgA56elSCW5iE0m0RqqlZHVgSA+&#10;R5a89RxkimpEkrRrKxjjjjOwM+DapjgZ6FiSfxp7u5Tk0rdX/mTC3eUXczyKjRLunkZt4iQMECRj&#10;PzMSRkDnANRRp++RlUwFInVd0mzyQV4J7biT0q+IM7DGpijwDBFKy7I8H78pB6nAOKBHAAjkrMqy&#10;KYYicmd+7MPQZIByelLVXa22/Iptumrbf1p+BGiGJY2JR3Ybo3LEKgGMyueo5qultHlFSN3xJmJS&#10;MtcMSQ0nPRepH/66sgwMsqMjv5mQq7Qhlbsueu3/AAqdo3SWYGfeoQJOYl/enePlij47gEZ6Dmlb&#10;3bouTnGXJura/h0KSFlJj3sY3cKu/Aa4cNgjI/hHFRSQyeYV2wkRZFxcM5VIgc/Ki+o9asSQ4mEa&#10;uIykfmOMAi3jzjAGfvHnGOamjy/kIkSttDGGB/mXLE/vJD6dOPanTTT5mZxceRp62KsEKW5jEkAl&#10;y4lt7YnYkg7u54IHp3pJkEzybD5g84EsuQ0rjJIAxwqjP44oUsgbeDMkkhilmCj96BnKofTJ7Yxi&#10;pJA+xmMTRqyKzQqny2sZIxn/AGiP51PKm9ZC5/3d9f68wjijJleSeWLY5EswAImAAIjQZ4GeD/nM&#10;ZeU4KoqM6hZHZi0dqrdwB37596sxxtHsEsQV3DNAH+WO2QAlnfJ5bHT3NQOjna0IaSJ5CsHGJLhu&#10;7uueAMDg/nQ0+byNopunfq3+hTMK7yIo2eHy9sMeTun54ZvQcCsq7XzQ6SyszK2w4wFmbAGwEdh/&#10;hW/sVIrkm5kJB8u4nUFTKoYYjQdgSAetY1xIkYkZgI2wypHjebcEDgHu3Uf8BNN3Vm/62MeS75pH&#10;H6kwB2sRvXHmMnzLF2AXtn1x61yM/Lf3ccqDyEGa6m9GEBB7Z2FMbQBjcfc1yshIBU7ic5JK8v3y&#10;ahx5tX3Mqlm2nv8Aga+hqHvbZV3CTzCrSD5gMn0Pbr619K6dCN9vbTkGzESvJ5DiRXcKeQP7p+Ue&#10;gJ5r5r8L27SakrktlOSYwM9fTPtz7V9KWENqtuWdhgQcRIGkR3KgdOoDevABJ9a6PhSSHShzXd+3&#10;5ouQt5aTqYQkaSBomE6zK6leI2wcbk6jb1zj3CXMJUmcTNKTArbMFo1L9e3oCrJjjv3pTDCllGip&#10;MsTypblmAd5GRgXBxyHXDYA4PGRzweRN9o32U2+BWL+dtEahcgBto4G70FY2Sdmd8YT9nfuNa1VY&#10;X2QRRGQfK9xJ+7cAcALycYAIPXgfSq3nKbcRNHGrb/LlZF2y8fdbk53KQDxjJxVu9N0sAXy0HHmQ&#10;qSWlAZn3grnOCSSCegAA4qNVYId8bLdyRCOMlUXK7S2SucBhn7x6iqatotv+GIlUnH3Hsnv/AF30&#10;sVZJBLN59uuTG7TsDjbIx+UOoGMEE5I4A+gp7wnZIJJftDTot00MTBY5DjiRf9pQ2CO3PTms+KWJ&#10;4maBWWeSf5XIO2btkDqD0H0xxV23S4tyrOWcyfeDDfGRn+EZ+9kfkTTlFuGqFGUeePL/AFsUYY7h&#10;7Zoo1MqQEM8WRl8/8tVA4O3HJ9qZ5eHW5eNWQ8I+wE3JBIDKDyGXH3unFaqwxRyFhbySpMGm2QBk&#10;yRlQ6DsQRGSpwMA+oxFHuECiIEh2BmiIJkcqSfMU9MgH5geDxxxwrtx8gnTqKN3by+WpXIRrUpvC&#10;3UhO1j8yyp0U46Bxk89SDWfJFO3kLklJEUhlbYZAGBOTn5XAzg45Ix3yNZ4TKpuJtkqSI0gWFCXn&#10;IZlBDfwsoLA4x90jsaowxhvszh5i5jdpIynDqACpUdV2459fXrRayTQTipRjTitBJIrcylJJHLLF&#10;hFYhHmYZ+Vx1V+cgkZYk96Zus4YmdjvYR+WySqWDEgEKxz94Z4I9fqK1PKSNyrrHczPCQy7g0l9G&#10;DuOB/C/G3Awcg1Sa1uiqSSR+ZHckxRmVMx3ABxsJ/vKQ3T0pXik0zR2i1a129vuM+0gMyjbFgu8Y&#10;jZ3BSLJO5JTx2Jweg/CrYhIddrGKIKE2hcyR5BIDgH5gB/GT3/OqqhGMLpOHB343CRVRc5R1x2xn&#10;PtV1ERl83aRHGgjeYxbZE3Z+WXoT7Me2KFaVl0M9YqNuv4d/8ynLGUkkEnmRRQpncG3so6bg39zJ&#10;Yc+tQxQpny53b5F82OGNSCrMpJMZPYZ579a2IWjidlCIkdvancDyYifmwCfvLg9/730NQSXBWJN8&#10;eVZcFkhJZeRh4zngHkHB5BNEo2V4vT9ROUfaOUlfVrTsZUcEZuHYliyQGRwjgbSSAHXHGeenUd+h&#10;wib3ildSSWUBwDtEqngsrdiMnIFOjjG67BO4krujA2TKuPvqfX1AParSRQz+RZ+WYVLB2kCjYQMg&#10;MnPDYJ+XIANCjrdGba5uWTtr+mhRWykRiygMZIz+8kbcL1QBkO3UHvzjOKZFBGVlYt5Kuo+c5aRC&#10;esbexB6dOK1L6NJJ5BayO9kislu1wPIe7KMQGdDnYxXb36is8GaUPJgZKgBnXeVI3ZV/T2yM1Out&#10;zRzcoxhHbf8AQqGBnAkdm+zwnaIEbe0QOMPkdieT9aglibJCopkIbYqZYSgdGUY65P3falAEc8QZ&#10;yfnUPsyxiHQDZjlRzV+R4g4a3zEsTguu7DIedzxHqfp36UXd7ImKg4qTVl+dzHa2cIQpUFnOwB8K&#10;+R8ysOm4Y71FtUhNrMQjCPLvycAbgw/DqK1JGtmHnErIJCSxThbgDI/4Cx9Mf1xWMcYhDDna+ITI&#10;oITdwVbHPbr70pR106l6e0Sei0vcoGGRVLYIVG3Ltw7IoI6eo6cds01lxE7IwCuu9InTAl/2gc8H&#10;Jx7Vqz24EReMsGjUBY1GWiG7BYk5yvH61SlhYuH82QI8e9oYzkkH7rp2POffpRfpEclTU27aW/p+&#10;RRUzCNAwdTGgAwf9YCOqe647dc4qBlGHbhiAdqg7CwwT09RmtR4SyAHMu44ByVbC8bhnuMcjvVT7&#10;MrhSpwjoWZ16vxjIBPXrxU23i9tDKSVTlcNH/wANa/yKEzeeIS+wjeFdcYMmB1J6Bhj6c1FIFKnr&#10;+7Xhl6OoJGCPUcdu1XsJ5oyVZQ+1iAcseMcdM025+ZFkQZLPtZmXJYA4x2zRe6Qo89OfNJarS3fU&#10;ymi+Vdg+c9AeRgd+P88VUkWQu3miQEn5SB8wHOcGtMwyKYogCwyVRiMFvcEfjVRlCu5YARAkqx6A&#10;85/px7UlJN77jmk4qytr+n+ZUKuzYBAwOXJyo75H6Cl0+6e2u7e4gBD28omUljztYH69qY87u58h&#10;AdibVLIAoB6sR3+lWkt1VlCjBVT8x4PrmmmormZUouorxWvX5/0z9PPgL8R4/HWjSxXfkwarpx8u&#10;cJhYwnG1lGeB94HOAMV9O2oRY1IRSNoEaLnMhwGyxUkZOR2PJ+tfkh8DfHa+AfHOnXVwS2mXw+yX&#10;0W47CrDCt16hj+tfsFpsaahY6bfWgja3uoUmjk+Vk2kZDY79Bz6j8a+VzfCOM1Xpr3ZfddXuvuPo&#10;MorOq3hZv3o2+a0t93VmvaDejB8hlBcHymUOCUbG1h8xIxxyBk9DnHQWE0keMqzBlz5nykkLggE5&#10;65649RWHBHtAii5EbMmzBighYDv1GQAQB1J6AnGeihRFKJL8yhcx5fPmc5cDcuP4k4yT834V4M4S&#10;jG/V6f16H1FNpz97+mbFmZGAkCCICQPnDNHFkLhsA57jncSPTnFbNuYyqyOyOyZkUl90r5xjORwe&#10;eQRzu4xwaxLKP965YRfOxKRhMYOGBLbSSd2evufrXRxK6/KUZUWHasbq+yLgkrknoTnoSefpnKUe&#10;Vpve6+ZnNy92pL4fI0YIyskZMkasIQyNujVQSuSDgg+5J56845GvFHKF2+WqKGxmJGzGu4FicHAw&#10;XAOOyoeCSaoxwSRrxLuVSiTpI6Lnhgp5wdpByTg961LONyeYzGhTYAYEH3TgHCnoOPUnGe+alNqN&#10;09H/AFqaXjGSi+6/EvQiQSFJWaUvgR7ZiI5AoZskHgHLvjPTcSAc1s2ykxsMKWD7CSUKKCSVCrwc&#10;9OnPy5IPbMhiRUZNpCM7NGU3qIxkD5VBxuxnJIwQxPXbt3bZGGY2Z0XzMnAUiQ7ccgjtkD8fesle&#10;V3bUaUlJRa91GjbL5cas0ZLBNyH5iuVyrZ2+oz3HWtaJGwrxESIDjc+YgD3Xn8h7n1rOgR9yxlBt&#10;blykYUem4kYGeEz9e5ORt2cQO9FwzB+CshVnySQfxJHfoDxTvaSTZdKUvdSRpIpAeMKohY4JyPmY&#10;DaMj1JJNaNtE+3axUSFQU2ttfaqnrjsd2T7471BAsYMkhiWUo4aUZJZQMKckDhTu+mS1aNq0wkjC&#10;ujsrrcs6552gAdWyAM9PY8DpSeq5F8jTlip8tRtpfoaMLYUOiof3ZcFXLN14xwCejcEZxg/3c60E&#10;3lyOUTeMCVSG8xY2+YMRnGOcEYyPmPTAzCYgqLtRs+UB8m0gDBKqD36Y+g7Ctyyt45owXYiNwpk8&#10;0BZcZG/5gCQevODg9u9JWkr2s/8AL/ghSjKErp3QiKo8twWaQOPN2lWBBU4cj3y3XpjgjmrOQiQr&#10;5rbPlX5W8xmBG7LY4zggEDkEY9atBbeYNHsIUo0EjxvgSjgFdwOR1OeQRjsarXKwnLxKMl/NJEWE&#10;GTkZxwAPl46YxV2lez2Jre77q1sXIk2u+5TJgbYtxySQOfm+8SN3Xk8VMWPl7WeMsv7ok7crlgCM&#10;jkjHzDsMnA65pWbCJS3l5lckojn5EXPPUAnrjJAxjgDNaWwTosiCOXB3MhTcoJJO3H9Bx29qttOm&#10;5Wuna/r0FFu6v/Wu/wCBKdNm/suO+kkaRGuzaxxmMxxqwy5K4BB+8OpzggZJqKK0IdWMZfdkuQRg&#10;lVDYxjAOA2O5bd1q3Nb6m+mreiRjp8OoRwCOMgPHIwbDY68bW6dOOckCpLEW7bmC7ti4MjD5mB4O&#10;RkjPHXqMnr0rK8V012/BEXapq61Wn4n1j+zHoT6p8Q/C8aqTB9vidYwvMR81A2UI7bsj08ocE4B/&#10;oz+P+uNoXgz4TeGGgCW09nLrc0isAPMghihjU46bVupM9SCV9Dj8E/2N7YS/FLw8CgYfb4rcs4KM&#10;m+aNA3bODuYkc/IfWv3u/bBVf7D+F9wVAhRb23ilA3DeYLRwvQcFYWB6dQR93Negrxy2U46JtL8U&#10;ccIp5vRpSV1d/eou3qfOuj61HLgBzHEoG4A7nyRkqV9funA67ua7u31ZZEAE/mI7EFWbzNwyMhuc&#10;kZBOR/dzjOK+dtP1FIJo7feWaNvLaJTuTKk8gDA6ZwxzkH2xXpWm36PFtSTycoMMBwST1wxyAx69&#10;eSeOSRxwatd+n/Dn0FWiqer2PW7ZbS4EYNvDGpAkBGCxyM5I6ZycZHcjoKsvZQSYKFo8AMVLq2fm&#10;5wRwRjGSMH0z34XStV8ho5AR97gAFgwJBA2njjnPHDEj2HqlnHFdxLLGDtYAqzphmBxguAWAbaBw&#10;DkcjPWt4QjNe6jmkmn7z0MRbW5iDKl7j92AAkm88kDC5xk89OuRweM1QuRrkICpqN5IoJBE8nmKQ&#10;MAtk9zxnCr9O1aGr2/klCgKuQV+6OOSMYJ54x1/xJTSr61uCLS5ba7fKMfMIyScA5zkfdznnIIOc&#10;0lDmTVzKyhG6WlzkLtdQ81mYkSRfvCGj3GRsgjg9D164/wAedvLnU3Ti4u40KqpFvdMGcAYbcFxj&#10;Gc4zxu/Guj8bRa5oNyk0UjTaeXaVdjCW3l+YDIGCDnYpB9hkZ4HI3viWdYIZGgikVwu4+SIioAA5&#10;57qSQR7mp96F1zNNblPD80b2TOfk05ZLiSa9glvVUK5VrgNIwxuwTlsdc4PQ5O2t5fE9vpMIt7XS&#10;JYJvmbfHKWR2JALEj5j2BIGMKT644S88ZaravIf7PtSgfYhy6M2ANwYgkkn5TjAIJ+tcTqnj7Vlb&#10;C2Nqm1kA2rgKDyM8ZJODwx52nnrXNKraTaZn7CpNRVONvTQ9J1HxjqkbeYlhbuTJtZZAzggAsc7W&#10;VgflyeeD+Fcfe+OtdN2YYgVhcPtjAaQoS3Bxzj7pUEY6deOfPrnx1rvlRqdOsiqnrjJXGATtxj7r&#10;EAnB5rnx4o8RyuyCzslkVuC1uxcOpGCAW2nLAKdwII445JzVZJ3Uu3TudlLBT5lzLU9PvPHPi6G3&#10;lR7mFPLYqzLEjHI54xkdVAGCQ2OPSvIdZl1vxA80+o30zKhEiRys75ZSCu4AngkN97C4IzzVnUdV&#10;8UajEY2mNvHjyma2iEDJhWHJ6dSOmCAT64rA/sbU5BJ5uoai6SjhY7k26JvBO0hSOQQOfYjOc5xq&#10;1JVObdrp0NYYJOzlZa2PMdS0aP7ZD9tvxBbhy++4lAVWwhcJgrt35TpgDA+9jFTztaaSFFtPPK6Z&#10;8lYZXmkbcDkFhwucg/Lyeex57Z/AUlzO5W3LgytIUOZhE/ythgc8kEbQT0Wu50T4Xz3xVJLby1MX&#10;38KiREAHzM89yFPQAZ4ziuOnDETTilbpc7Z0MPStOWq7fhc8bsNY1eR1NnbXEkszMZDcSFbUksQx&#10;8vIPy/dyW5z0XOK9C0+Px1fhVtrCKGORCBIAxbcpxyuOue35HBBr6B8K/CK1jubWO6hXy5VdZwHD&#10;SxldwYgHgsAFZQOzfgftHwd8LNIgtYM2IWRJ4opZ2t8RafcHBglL4YNbXCM2HDABl6HCmvTp4LGV&#10;005WRyVK+AopJwVvlp8z8/PDPg74saiYFtFW0XzBGJI4xCzeYiHIlY871Xhf49wAzuAr66+Hf7PP&#10;xFvYo59b8Q3NhYXGySSKGbYkm4hY2kyDkbvMUvnKZ6Z5P1Nb+HtP0yLyIbVYbW7s/Ni2s5njRHjU&#10;qdr/ADSWLHcQgOYnOM5Br1nT7nz9O/cWsFwLhHjmtQpAd2AaeAFuAtxGEmjI4J3DI3Aj18LlCuvb&#10;Tbf6nkYrN1Rp/wCz01va7RleAPBlj4MtVhtIpJbvyV8430v2q4ZkAaW1ZtxCyfOjIwPzDGSQK/NT&#10;/gr3BDc+Cfg5MYYp2vtV1WxSeSIytFEba1nIVSOr+VGrZ5+XgjkH9UIroSxfaHN48E9gjLeBgJbi&#10;BWA+0GMcLPbM4WUbegBB6qPz6/4Kg6ZZ3nwL8D67NZMbvR/ibDpy3UW37FbHULC8LMw5O2WRLcLy&#10;MO4zmtuJKUVwziqFHS0b/c0beH+Kb8Q8rxeI1vVs/mmkvv6f8Mfz5eB/B+oS3EF3camthpKTLsll&#10;JjSVlZSwQHO7Cs3HQZGTyM+ja3DefaZ109I0t9gjVreNHu7l/l5MuN4GeQoO3O7GCxNeN63rt/O6&#10;21tdyw29pcSGNLe2LMwBKqT8w6gJkkZOPWok8XeJdJESWYivdR2DzjcATpb9WARc/eHU9cBvWv57&#10;nKMKam079Wj/AEHlg8Viakara1VuW2yutWfQUnxH1rwD4d1LSNVig1TxP4nU2f8Ablyn+l2tpMwV&#10;7GFsjY8uE3zE7Sox0LZq+GfBuq3Orz6mb2c2sVolwXjyGsWk8wrbPLj58qM54BDMOxavJr+/8a+I&#10;tLM13ay3Nu7CSaT+zYgQyg4Cy7QR83ZWH06mvZPhv4n8YaVpNzb6lFb6l4fuIPIKTpHZ3FqxA8uR&#10;WUDcEKqcHJOST1JOzr0sXOMKi1S0/r8znhgqmWYV16Eo80pLmSav00Xp2PY9O0TxNB4fub3UNQms&#10;dMjljFtaIRLcXHmFcEgngMAXLKM4VMkdK7C08ZX0cUdvvdkEywCRJQxdSg6N/DwrkknAx2FM8HWD&#10;eJ9KSXVNZiW3SUW0tkxBbegZvMfAGM8HnvjA9fTZ/AHhqw0qGW23X0e1Zbsl33TyjaTEnO7YdxXe&#10;SDt7DLA88cLLljyysraq5jLMcMp8uIjzTctElZLTq+5x9rrer+P45dF0XzLLTlcS3upyAiO6CnG1&#10;GJGCS2zdxw3HPX1Pw74RtVl061Vn8i0heVIYQJ3JkfG484BYqc479c1w3hmyube7Q3W2y0hC0dvp&#10;dhD9ki2naU3DOCcjkHufUmvYdBu7TRW8mzje+vLuQoCxzOud/lnr3+Xg8gd+a1/dU5Wbu1/wNkYY&#10;tzipQwi89O77vb17HRPHpuimWC8Q5WHy4o1mVhKTjOXBPJbj/gfWqXklLJ2tv3ayOZvLHGSWYhc+&#10;gGBUl3F9peFpWLt5jGaaQggsx6KfYY+nHrXL+Ibq+llGm2B25iZDIAFC5IwcjvgHOB2q5uMo3a/p&#10;2/I46MHKKXNeW8u2mmi/ExI2jv8AUZEtlbCW7LHI5JJ/gLlvVgePpnHTPofhe002x0/VLWQuZEMc&#10;iSSkiV3ILNn1yNv/AH0fUZ5bSNLksYo42O+W7T5pUXMaqCysACcjaQFCknj0yAdW7aKymgjspBPd&#10;PKMMWZQTgkuy5wApwTwT9RiualL2d6s/6ua4lxrQeHi2lpqv7rT389i3r9rC2vaGsMZNujl7pY2y&#10;gk3t5SFc9QFJGc/dOccV0Dzy2xItm3ExgKuQVUkZ3ds8EcDHf6VQtI1V7WVx5piu3kmkA+V3ViWw&#10;fQEBc54GMdKuG582C4uBGN6yDbux+6GcEcZx98Z6dFFdNJKOnc+ekpvlhPVJ/qefeIbW6kiDzKZG&#10;cF1jL4ZFBHBGcYyxPPTC+teE+N4pNO0gXVurrc3svkgpw0e/fwR3ztIr6Y1TbJA7XAGJIz5cu1pB&#10;gccD37DA/DrXyv4nivL6/EaPugglyCyl4k4DKDn+EFT1BBLk45JqZRjZUoarb9T18ulOdS0laMdf&#10;XyPKdUW60rSoFNwpa6cvKN2JlOdxOM5Oe/QHnrgivlXx5py3ctwJN6jYzOoPytgEDnuBjPOeDX1t&#10;4rhlmWFJPk8qIPkEh8DLHOQRyMdT6mvnbx9LZW1qXMZR3Tyg3CF8lnBPtjjnuOvIrKjHlvSXyOyl&#10;Uk6/Mvikz4F8amyDXGnpATNv3qzkMYsDqPwIGf8A9VeF3+lyNMZCXGRtXa2xM5GQCPTjJHTcOvSv&#10;f/GVtELye68oyySsysNu0FcjOCM9lzkDJIznvXjuqBknkmxJt2bwyRgo/AYHgAch88jgDtip9k/Z&#10;udT4np8v+GPoqKc4OlZ97+Z87axiK4ljAb5VMBjZiQ2dxxs6ADA/76IxXkviUKsyvEZAxctlW+YY&#10;O7knPIz79a9k1i2Ek15N8qguU8xh85wSBxuHO08Dpkj3FecahYzzpJJ5OdrAqAB8pGMdeMZxkEep&#10;963oRSkrLW1yqtJtcj+7v3PN72RLufStThHlXFm4NyVTL5XBD8dOW6+gPBxX9fH7KWoHV/hF4Iv2&#10;BEkmhwHZJlghWMZXnkcke2WPYDP8fkH2i21RIzF+4efZIGYYKgYBP1OMnI4Ff1d/8E/tY/tn4EeE&#10;vNPnyW0Js2dzmMED93tPbIDH6Z64r2oSTajHt/X+Z8PxFQVHC+70f6H3cLZxGHcOgZcthS4yWA2l&#10;senOTxxj0rMuYGT+BgBISShIZsgA/UZzjqBk10QjQxhgTySBkfdwACqkdsjHXqG9cVXa2eR1XaS0&#10;jiNAvK54GBzzzXVy3ej7Hwqk5PRWM/S7Jr+ZRtYbB84kYt6DAPp8w9sj6iu8WAJGA2MMoBG0nJBA&#10;JI57E5J6ZrU0rQls7Q7oCsj7XfA3BSyMxGD6cdP61dmtgEQLGCv3iSAMnoTj/gPPpj6VccIrc0t9&#10;/wBDlq4vnnyReiM62jIVBwx5JPmBlVlXJ+XtkhvTtx0qpf2kVyrRSBCkGNpX5NvJPIA54weRgjNb&#10;UcYQcjcxbqPmGBjqO2Pm5Hb0xzlz3SpcSYLiPA2l0AZRnAON3Ukj2APBPNddNRsovVM5qlXW8NdL&#10;nnFn4jv/AAjqMhtmZIXnBaBTlo2UAjI7Yy3516nqesW3iLR/OAEcyKXKLJ+86F13+53Ak/7TcdM8&#10;XcaNBqVy80yArGpJzHgueGyDnP0IPI61RsmbTbie0ZwbWVPkYryhIXdzn5RkHp0BA9a3jGUI+yXw&#10;P8Djc6eIl7dq01+hjvqY86SJizS7RGrZERGCOCTj1/XIPr2Xh3Xxbzwy8bjDsAyDnOARg8cbBz2w&#10;DxWRfaEkkrXdlHLcK67hZxJueQNsPGPm+XkcYB3HOflxS0OzvI7zy5IFjdF3xpKfLY4YZ3EnoMHP&#10;vjmtsPTnTlFPuY4udHEUpRittfwPo221QPBAkaJLdyxBy9u4Yg7s5b5QSuOg469O9eleB4bh9m9Z&#10;VSWeNJGNwsYmO9NpACgggg5zkEHtjngfC15Z6bbPJLEs8xjKQxTPHcEl95ZTuY5wGABODlenQn2L&#10;QJ3fbMG8pZCH+60kcAGQNwHA5GQnX2zX01G82kn935nwGLtQUuZas9Gge8uJLZZSXQ25jt3V+Y48&#10;KcllOeoBBbOPfpXp3h6Q3NvAH2TS+XsKxHzg+QVUHGGHODjBIAxk4zXHaLi7lMgiVFEAUMqfPtYf&#10;Ko6MSMAHI54r0fRY7OFY5bgQyPNP9ki8obHUoju7tJkMmBE/zMcAA8nv72EpSdS97o+HzfEQjQaa&#10;s/Ivyu0t/pllZn7TNBMNTvIo5hOyRxOw2KSwIO8xLtbhefw62Wz+z5k3BGt7ZnyHNwGO4SOxjIy6&#10;7mPzZBG3jGSa53TtMuV1i+vy2oL5hSyhnuPKhmmKRhy8CkANGxJG084Ung5rcnu7ZbZpJpYEsLJA&#10;bt0QxR+apDGJYix2kgtlOeqgjpn3cMlGMpTT/wCGPhMXU56kI03dJK9u7/qyX4Hm/wAXfEa6L4Uu&#10;NPgkePW/E9oLGGA4MlnaHb9qJUZKq6lo89SZBg/Lx4HoEUcqxwuEVFUhVJXJO4BQc+wJwO4GPfpv&#10;FIvPEWoahqt0szyXE8gghkJlFrEp2pCuOm0be3UcisDR7MR3YjUNsEmV3IUcDphwD23ZOMn5T1r5&#10;3Mq8sViFy/Atv8z6jKcL9TwjU/jnq/0Xojob/wALQXUDNHGokQEuykyDtg+x6Z5I+boDxVHQ7M6N&#10;cqr5ESksELMNx2gcZwcnCjPXA6mu6s7gwMwn6iFSAeZJdwbBHJPIbHA5yOucn55/an/aU+EX7Kfw&#10;s8UfGL4ta9baVYaJbqNL0zzY31XVriQoLe0tIDy8sxchVA+U7s8CihgZVasfY7/1uTjcxp4alKVV&#10;+6v60OJ/bD/a/wDhl+xd8KtY+K3xN1ATasXbTfBPhoXLW+q6zfKIzDaQwkFgpEi7nONoZs4wTX+f&#10;p+03+1D8SP2q/i54m+JfxH128vr3Wr+WWz0uG8a50fw5aBsw6fYg8KoXAZgo3HJOBwOr/bc/ba+I&#10;v7afxV1fxx4x1W803wXa3Ui+Bvh/bTMLfQLRnYoJSHKGaQFWkYAkEBQzBVaviRNR+xy7oIzOzoUi&#10;jjAaGzLFwFZicMQpUH619zgcJDCwtBe81qz4+o54qccbXWn2Y9l6fzPfbQo3lkl3fM7LIFK7xGuV&#10;kJ53eYeOen+TWNIPJmRYyFFxMbeOZhmMkhVAjGMDG4c9BuJNdJfStNZQSWUEjQuoDMpzLKwwd2ep&#10;A9fQelc/d3jXMiNO6L9nUI0Twho7Y4UEAAZY8Zz657nA7NVFRTNp8jtV3v8Ajqv8zIuLV7a7R92F&#10;ZAPJDGRy2AwOOoB+YZ6fN1q95cjWctwLqOJNha5ikdV3sABkEkYPGce3FRX09s8QEbSRSg7WOPNu&#10;JQfulT/D1/TGKq2UcVwrQSO/mTIFdMZSHcgJBJGMg7l6c496HzOSduiMopOfJKWr0Rm75CTt3P1W&#10;Nm4AXB5DZzgkY9Og4qxqLtHHbw70j3x+YrCXEmFIXJHUfNjr13gc81dkspLUhZCpS3cpKFIYEfLl&#10;skZxj1xwQSOaqXsavMSQRCI1iJ2bZM4XCj1789Mg8daWkrL7/wBDFQm4csHrff8AF/eVd8UEsEkz&#10;lI2H71lKknplgMgDqOTx75qxMFMscsYkO18EsxYRjA75449P7x9KZGEEUibF2q4K7xuyMMMZI6AE&#10;D1565qSNg0D5VSJyCvC/LyMA4z0AOee1VUi21b+tjX2kYyv6feVtR1CCFZXX5SAELGVUYjHOB7le&#10;g9hnPJ5iC9hin3TQ4WVT5cjsy7uOOPU9O5w2QOgpk8E9xeyM6MyIMssec4wDgA9yAOvtVi7tZF8t&#10;nijj8omRCFBBUYOCPU47DsPWlKV2uxN6rvUkv+B3NX7fEqoC+RsEK+Y+0occbsjByAOenP1qu2yQ&#10;RTeYyoqYjQnO1/4m28ew/GnRFJlj2RpvaVShIJQA4x37HP60kqtGkaNEdyxAMvBGclOTnOcqScD+&#10;Lr2q170LIc5uC9mn53XTXUZbyRxQMYXaRorkmTj5ACDwT6Ejkewp0DmGRpEjUhVKukh3AjoTu7dR&#10;wcnJH4ve3NvaieH9z8nKKiruKAbgBxk4JOT+FUJnlEckecspPyBFH8Qz8oP91UGOxHvmpbSsuhT5&#10;pNtLVfj/AFcj3TMWdGccbUTGcHJwORzjJ49QD1AqjNbyPJFPCdzkhSygOXwQrAg8fxHGffitW3lV&#10;Y4t/DHnaEULncD9fugd+tUb2RoVVoVyrTu6kLtIwQQRz6cc1XLyq62f4E2coRVuuq9P8yOYeV5gE&#10;u6R1AYE8IM4GB6dRj8az3BkJE3zBzJGGOCQzHIJUjoD3HqOBznZu5bZLeGRUaSd1AnQbWkPI4Uen&#10;Tn/A1Tu5okcJhioVhgKNiPliWLHqOnAOPxOKUnZJL/gmd+SLSl6W6FaQB4dyROkayIq4LZXafmI9&#10;BjcSBxnNVHeazkbbcSMQSqnqp+YkkAcYJxx71c1CUCKNY2Z1IDsjNtJG7nDLz0B4PrVe6liNqnlx&#10;FSAx3FAceg49yDQm4tSSvfoS4txab6W/4P3sSZoriYrkKTINw35jyCQefwzx0z1PWqMrrGzSIFKB&#10;UjikGGO7ewJ47fd47Zaq5BCrPKCF8xSdy/McgHOB04Ocf/rrTkWFoIyiNtWMMAAdrZ5GOo9Bxxn6&#10;1dSK5eZf15FuUYpJLXT/ACuQKCUyGZShYjzD8xyqnuOBwD7ZPtVm1AuHVp8Txw7HKuQ8ZcBfUc85&#10;JB/TgVG0RlkI+eMIGZ48BpJvlycAcDr/AOPVYtcRI4jGxVRCct0YMQTk9+VwBxwPrShG0ebvYza9&#10;5JfCn96WozeZJCZlUbswg4JKAYCEkfU8ZPK8io7qKGOWMq3zggFVJYEgZ6ZI9T36npUbOXUuWO0y&#10;usaKcOucHBUHGSOc56fqhSZpEhVUU7+ctvYkr6evBoqq9T3Vp+o6bU3yra39fkaAnleIGFtrZUMA&#10;RIVPrgDjt1z9alVrhpSGXbDGHEiFdmSDu+pwcd/8KYbaCOMETGSRxtJCHbGVbbwPfae+OtWE2Sl5&#10;JQ6qm4bFGwrkFPvAjOTk4OPTkZFVytLVf1/SK05lOJfWZrVcRuwaWRQjFQ23C/Lt+nPI9DVWaW7X&#10;aG8t1QgIWbce+c/m2R3C06x83JeSNQ28NGqklkIXBI4xwM+5+nNWzbB7YDIJVeOdnKuDsHOcZ2n8&#10;B9KjfWCE56OUpWvbT+vxIBqkSAKIXAAyoWTauDyCBg9Rj6+3SimLa+WoQw8r8p+XIznnHtRWyqSS&#10;SSLVKi0m4fh6Hx9Ci5Rp/mhkcwsQMrJ/sqD0AwAaQqyKzSEZ83y3MT7U29o0PTvkn+VOUMcxzPhV&#10;Yea2wMybiMIo/Ae9W7e6aKO9szbWsi3G2L7RPDvmsFXHMXzYBcdSc9R0rlTcYWPNkmqns6a69fMq&#10;tsVMksEViZNihgqnkRr3OeMn+VPmNvIGbMSqFwQsWfKxgBE4+8SDz7+9RmM4EbiJCgIyp4hXPf1b&#10;nqffmnyyO7KIPJjEOACVwkA2hSWJ/jbGT9TUytJ2iW5uEmprVq33MsiNS4EsjyBI97iMMqwccZPd&#10;uelVyFgfEIDKjBlMrh0iIIDOR3J+YAVOjyJCrtmVizSLEAWAAOd7nH5AegpkW10J2xnL5SMjawwS&#10;29z6E56nj8qro472Cs5cuq1f/Af5kO5QuSScbt52bljB53H3PbrioivmERGRSCol3EByoYZLlfXG&#10;KsyXOBMqIzjcZGZiWWbIHzsOoAxwOOpqZYYVh89rlDLhUSB4m3znHzPkZAUEDqfbvRd3S6IHOEot&#10;y+IpQFo5QseERWMiFl3ED/noy9ic5H1FWvJljjLCVsoTIokJjPzcs7dz0GKc0attInQyTD92qkM0&#10;rDqz56AYzVoZMFw7R+aXkEQkDbfMK4zwcfL2qmrpa6BCEHpbT/hjPWETCRIyThcw44LSAH5mB7cm&#10;pIY2VFdg24HaV3hzKefnbAwAOtTGP958shl3yAFYUwZSBghcdEByd3T8qdE0KqySPIxeXOWLFbjk&#10;4iX0UADNGyBLm9xvb7vL9CKGJzDuAkkXzgY+AkkzEEDP+yPftmp8hjIZJFJMqqpLc3BZTkAdlXGD&#10;jjtQk8szBZUlbYPLyi7S44wiY7e+elKythy0Id0QRED5jFu+URpnvnqR6ms3fZbkvlvFxWq0frsQ&#10;qrOI3GZ97hGTDYlwccMeijGT7AVPLEJY4sljiV1dIzhZCCMJGcYwOc47kU10ZUkEbOU8sRTP5mzY&#10;QeIo+fVOSPWnIzu0bPMyBG8rC/NFbAjoo/vHHP8A9arckpW6mjTurf15IfHbPF5ivHEFOS0nnDC4&#10;2lkQHnIGR6ZpZCuFkmRYQRslliXay/3UX8hk+9Eiqi7XMcTt85ldsR28ZGemM7yTz9RxwadI8ibo&#10;1ARgjfvWGWiGclwMdTjj2P41EdbX2LbjGKdve3GG1PlytGVLg+W4yVMAGDtA/vE4zTliaOQ5EcTI&#10;isG2GTyVYbst6sc/r+FTFZSrRQuYliQmMysFKqeS7k9SR6f0psAY+SpUT7WDwhhzctwNzHqVHUds&#10;d6LLm9wJTUaaVvW2/f8AVgzwORthjj2qZgisNlsCMlmx37BRmopIY5DtV9x+/Esp2SH/AKaSY6D0&#10;rS+xywRNIYVnjMrQKEwzXUoBBJPdFB6jIqGSAIjNOQyZBllyrPO2flijHft05yDVP3r9zK691J3R&#10;EkisPsxw8Mkgz97/AEpwep4+4DznHqaikiVpPM3PtQ+W0oBGMfdVT0P16c1eER+68rgSbftLn5Vt&#10;ULHbHEfU4Oceppdpld0KpBM6Dy4wcxW0Kk8uD1YjnPtTTail2NI+7F2Xu3/HoKWEsiS7BE4UBnZQ&#10;8dlGSRxjkuSOMe+abImwI0ZImHMYlTcyJgqZCP7xGcem6pmVI1t4IY5NrSFrdJVLPduASXJ67MdO&#10;cccmoL2MQSKhZrguwMjxMS93L/zzHfAJAOPXrmkroq8Y3nJ36ffsOkFvFHHCi+exiHlZ/dsNu1TJ&#10;ID2HzEZ7jioZLW28sl3uR5jFJZSdn2nGSkcYxznrnpipUgEQkjnffGOZ2VWEs7c4iX/Z9cemKc1y&#10;WZN+UmgbdHuXEWnxEBR2yX68n1FNK9rEc1K8oJdE7fcQuJJI9xzGsICRxKxNvZJhclupB+XHPqBS&#10;CdZI1XjyA29EY5klJOWfPcKN2Mccd+amdY0wkayPDMQIoD96/bklmPUgZPH8qbPbRJLIpmklRVZZ&#10;p0YhSW5WJPTHQ49B2qWknqt/0CM+SEmuq/B9RjhGkcRM8sIc+TG/+tuCTwPQAdKgjL25OWG4EmeR&#10;XIVTjHlR/wDfI5HJzUmyUhD5qBCpSeVcYGMZijI4JwPrwfxnezCz28Y2Devmxlj+7tk25LMxH3uh&#10;9+aFHTQh1HKfLNaaGbOHZ8hB5jruWHlre1TBLNJzyeO3+FYV0sbjYDkLkr5ow8r4ySR6cHGa6KWB&#10;S4AeQQO5S3QgebeEEZZh02/Kee2KwNSdVMu1zLIxAlkQ4Ze2xBkjGAMmm22lbbYGmp2e6/4Bxl8o&#10;HBYlGG5jyzTHqAPbn9K5WY/MMgnjDfNjnoFNdNqJcMQWwVQAYbIQdh9cCuYkfeMH5c/Mq46Ac8/j&#10;jrUK69TKaTduh1ng0ImohmwV4+bGWjwRxgdRzzX0fb2e6FIS6pJKBgMSYynBMbZGTkBSp6DHU8gf&#10;PfgqJWvEaQbSG2gk/L0/jGCSDz+lfScaQ3dnLhWsmgjitwZ2+0RXRJMkkbOoHz4G6NTkjkc4JNpp&#10;U0zTCqSkRgSus5KXBW1YOQcB8rk56n5x8wKr1AJ5ANTR/uiJsxIzlGkjiGIIfvFTnphiuGAyRkd+&#10;atraWk5DiSdwtvslWR2DXDCOVkkT5SxaLagkjXG5QQOcGmG2eG3mRCUNrccRhvljHTcqjI8ptgyM&#10;ZyVwO9J3SdjqXMrOLtH/AIa33MxpH8u5tk+y/aI4ly0Sna7hSPld+cBmPBJ431ZubeaW8mZ2kkTY&#10;ywEnyWmCDJDbsEMFwMtgnPTJxSxwhicIIpVKtHPKzeXISR+4duBg5XB69+xq1d2UcjwyJK8sM0Ri&#10;Mci7JPMUHcrsOdygqVZuSCp7jKtom9/8xuM03OTWyfk7PqYAt5WjeF4mUuplVc7gcdGQ/wB/jJ9c&#10;CryiFdrSo0yCNPMdHAKsMJvGehIOSpI7Y68xyvPApIZn2uxwGA85UII2L2cdyTyM4941eV2kVFSU&#10;TsCx8vsvIZc5+ZTtzn3+laP3fcve39fkZQXO1Jd/69dSzNcwXNtstpW+0NKEdYiY47kA53oTyHHX&#10;k9R0NUUsysMWyWVBcHzZooSoS4AO1njGANwzg+5PGKjSMJG9uziUEEuiEcEkMsg90BHXtVuBpGjt&#10;4omZnLCaN1ODOuAAUj/hIzlgRzmlGHNfl2BSlJwdRXZXSOeBIhF8+JfO8xeUkVSPmTOCGBZVII6g&#10;+xLWRl2pbOZZ3b7QhiACSkdWic8rjBJXr171dEzlbyOa284K4lhn8zyWByCZYx0J5xj8hVeX7M0s&#10;axW0hyBK6wqWVi20NJE38J65GMnnrWbvyqxrKXLNRitf+GGkKyB3t2WcglngYoLkHksT/C4DHIHJ&#10;/GqaqrMyZLHZtUl2Acj0X+GRTkDBwe/athVtHlniuLlow8DzqYYt8t4VHyYyRtcHk9zjpWfNZiWQ&#10;XCAMCpZmlzAlyF4yOo3oRjA647di029FqZymo1FK2l/y/wCHRXWWNZpJUeAEQGLcYwftZzt8pj0D&#10;cj8jzzSRR+aoEGwSROWYElywJA8qQe+Dgnj2PNPe3EdqERYpjNnzJTL5fnsSW2OD0bgY5xzUawXK&#10;6hC0NwFeZPIuHlQiJC/Xze5xg4PT86Phlysc6cqavDp+OyZM9pbW8KfaWS2mZhIplJMttlVAUqAd&#10;ynIJYDtx70kiRYgRLvSBi7GVgPKGSvmR+qHpz6EfS1fu6rPHdytdSQ3axjUJwZJocEBsr/EhO857&#10;DHWs+7+x3F1i3SeCEgbH8vCQsVLfN1+VgMA/7VO6SVg9yyla0mRxQBZIymA7qZ2it282RDyAwAzw&#10;cdKdNNkhZIgiqWbajf6zjKuhHGR/dPp6cl1sqKWklV0cEN5kZANoEBC4I6q/fjvVwxx/vd8m75A7&#10;Qxtu3nDZnt2wBgYOVJGM98UNuFrDapzm5VHvsZSf6WCIijMUZpwxAW6AOS3I+WQdDj8OtQRqIklb&#10;Mx+TMUgXYsbH+GUd+w7H+VaZZLhx5cQleTGZI0ObsZAJX+64wc+uOM0k4jeCaOFIyDmOCRnwWx8x&#10;STPTGOD1JAprS7fWxipKyUWrry/rsVIGtlVJLkl5IwrfI2yW19Wx/Evciqgs/tMzlkCLjfgNgvz1&#10;jPQ8/Xv26SooSOMhjEFcBMDe0WTjkd0P5DPvWlI5WMR90iD5R9vJyC0J7ZJPHvxUWbTfU0aUmknp&#10;+rMi8giUCRomlZmEQVQcMSAdzgdG9AMg5J9qqmKM7HV2ZeFUvFnj7g3gADscH2FbAdpNjR4AuVJl&#10;YSEpOVJyHH8J5PPfNEEO+V0iZS2wIgKAJgAMVlHGfbnPQ+1JJu6bF+7dTz8zClby3TyxIh4Tzcgs&#10;mcg890PuPX1pstsUZpFQqEAkL88YPDKT2PPHX+urcQAvvPmhYmORIoV42Jxgj+6R+HvVOQeZbzLn&#10;y9vyFAwDR8n5lHdT/wCzVTkrJBUpcsrp7/hsZ2SBG2wgbRI7KCMkk/OvPAz1HrmgLJIoC7CgG512&#10;5DDoHU/l+NaZVvIiZlCeXtQrsDhQuMsD/dJ6iqT+dmceXGkcYAj2NkK3XdGe4zUarRlQUIyUYrTT&#10;8Sp5ayyeWuxWXOcEDzDjAI7A4Jzjrii5g2qzZikMi7SsZ2rKCTk5z94en09qlaU+V5brGWDFxP8A&#10;6uXcQAWTAxnjJHFVrpki2Kzn5QWJVsJICOCvoOefpQ48toocXJe+3o9DJYMuVwXOMgOflUc8hh34&#10;6e1Y0ztM8UUQ3AMRLIB8oyD+fSrn2ia73RQuwJYpIwUnAJHT/GrkFksEPKFyyFQitgqwPUjuMZpN&#10;Wa7nNJt6RWit+hViiWOPeIkyQCABxkHB56E45pssnILHaw5CgYLde/bitAq00kkQUopbcPmKgDaD&#10;gfrz1qExspZXVkOwjA6MCPX8KHq7FU9IuS7oqLuVkZTko+FLkgKeORX7BfsneNG8W/DYacHjudW8&#10;OSiwmtnuBFdzR7QyyruBG0KSvUHKjkLnP5BMjAochQvykbM9uv6V9Ofsr/E5Ph38SLI3DSnR9eVd&#10;JukVx8ryOvlPzno+0npnAzXJi8P9aw0qK3eq9V/nsdeDxE8NiI10tE7PzTtf7nY/YYWsuTILR0O3&#10;97byCIFdzlQ+SeRkEkgc7cYwSatxQMhSJhPGkmHA8tgjdWCrnILYc5PUDB4yK6JrOO8tFkg2y7zu&#10;jBkSTglSVyDww+bggHGCBhqqi2dSIEikUtujbYD5MpJyMlW6ZIbIyCdp+nwtWDjN30V7f19x9woy&#10;bjyS7f8ABEsRiOWFihEoKliEwmCCSpxyRhuRjPGCQRXSWsQLIux12srHcNkZxnOUTOBkIvYdRx3w&#10;YYZInH2hdqbSjGRtkQABYEnbyowWxkZKD046e0jSNo2CK773ORGkpCliqhipyRuB6jGM49oST95b&#10;/wBWNXJJKDVu/wDmalqmwpFIdzy4EMuQ/nDhPusDg8gc9cd8VZaODdk5ZChIx5RQliAe+ScAAtjP&#10;zDByeIkAmTdImwnbuO54YwchlTqSAWPOe9XIog+4yNhEVj5UjI6AcZzwOg55z1bsMjBRa0voWnBR&#10;Wnvd/n1NGIKZA/lmIEMrFRhCWHzEgdAcsCOmR0xmtyCNchAxkzISx3ByFJBIy3vg/oMDgZn2fDLI&#10;AAjLs4GVUHAG4DOMkgZ6HJrbtNwLNGADjbvLMqMC2SFHsD69UHrxE4t3tp0fyNIOLTindrf8P0Lt&#10;vFH5kZEeRHtbYNvz4UDPXH98/Njn6Vq2cIzIhSPaFDIw3K3JBAI6k/MwwfX2qO3ikWTaFyvAnjWT&#10;cC4GASMDPVsZzjd1NbkEMHnBkd1JBGN5Ur0PIA6cEYyOSPpUJxaa6/iEYTglZ63/AOGLdjawsXkX&#10;PyNu2sqsGPK4JP0bpgnBrobK2Vc+ZtUAgruHMhJ/hA4P3lySev1GcpIJIyimQuRKI5QWDxvtIIGe&#10;eCMdOOvPQ10iQNmJYVAdFzLukOCeSSQBj5VABHP8R4zwU001d6bmsYSnBze9/vvoy9HAgkEUm9kL&#10;BlaTC4U43fN69SD3rXtoFdSFRgkSCNGOAJDjO/OMjOTgHptHJPNVbGCW5WJyuRs3TOVZGIym0Hk8&#10;A5IyR99sd8b9sskQUx7drP52xEZVI2nGTjIJPQnkE845qZNr3am/UukqcrU7WVygVTbHG6geUC5I&#10;XepbOMt+HJA/u1WkiRFdiRtaIKqx8secnIxnORg54IJyDV9/mGBEfOcElnkBVvm+UNnJ6nB9h6nN&#10;N+zs8zRssQiyqqwxtC5Gce5ZWGPfIrSPN8fQwn7LlfIn/Vv6YkcLLDbsYxucsvmZ3KoBUsD3G7cO&#10;O3PfpZhjMds0MbYD4feTgodyqGbnOMkDbz94ema1RaB2icMTGWLB1O+OQuWYnJIznPr/AA8cVJ9j&#10;bzGZ5TGBEcMvQZyAcDsMkYx61cZJJP5/MxVOoo8i/pEstvqg0OcK+dM+2IJNqjBlbzGjJYDk7d3q&#10;TsOB1rGtF8t1QYAlcu3zEIucZypySPXknGK2NSfVbPRp4xC/2Fr9F3nCl5FSRgOT0AV88cZqvZwJ&#10;eDeHKxtIEi4+aP5SQSevOcc919ejVo2k9rf5aFRe6gtdPn/VvwPv/wDYrZR8UPDjbXldLwSELlGy&#10;ACqliuOrYHPHzHHSv3x/bFniXwF4Et4kYRSa5JexNlMxxw2MsSqynHy/6QuQvTaAR1Nfgb+xNHF/&#10;wtjwxHMqBI9RhYtIwSNmVwMsTyAOGwDzt96/fv8Aa200P8PfA1yro/2HWTaK23ezefYu5ZiOMZhy&#10;xHt15x6MlyZPNdmvzR58Gv7boJ93/wCkv9T82pJPs7pLGWYsdy+U2+Q/7GMEdVOGI7/QV2+kaqu0&#10;edIAuS+0ZBHygkt7/MQQc8o3auMuLfzHLrvByoZWUDYCCBGTk9doIPHTB71NZuF2Rv5rKCd4aTZt&#10;I43gDjJ2kkDjCrkmvE5nFO3T9bH23Jzq8l/Wh7PYagEcMZGYr0XAYEc4BHfGcDP3gT1zXrXhzUld&#10;IgshwqA7I3+ZlHfdySOmfw65zXzlFd7TE8TrgqRkM0g+fJZRngDBBBH3c/WvTvDOsbZYBOTulyX+&#10;bJDFtx+md7Z9/rx0UKjSu3qcVelNXaWh7JrPlNbl3yA8O0nlR1BYAdOVXByON59Aa8nkvhZ3Ak3S&#10;4imRncnaqHcVyeOCMtjjscnJJPrLoLy0IQ72dTtLjc2AMHgg9yeOcZx9fLNZsJUnbIyGQwshBJUt&#10;njPTkKCVPXHHtpUk072OelBSTTser6abXxd4dl027aMyIrPF8oyhxlsn72flXb256CvFFsLfStYm&#10;0jVVcW6b1EmRHKjfNkk9APkJ9cDjGa6zwReS6ffqpk3K4wAGJjk5GCo9DkEem3oOg6f4gaEk8dtr&#10;1qu3fGTK3LCRgqO2T15DHkde3StqijUiqqXr+Bm/clKjf09TxTXPCsQLS2w8yJwPLG4FGzkgnqCe&#10;h6/w+teV33htfM8zdvwwYYZTsQO3I/3SwGOT83pkj6n06xFzp+2ZSXMgjikdNyjhsoc98Ef98/lz&#10;2qeGI5PMMceSUYKUGEGV4z7MHwQMZ7Z6VzTwkZK61uZRxHK229T5cOgtIqIowrAkkDzQAR0GB3+X&#10;r1z6jiMeHoVlcDI3vvjkU7lUHAIxjORx+Gea9yvdC8nOELGMqMOD5sagqSA/IyAMjpxWRPpgEbKc&#10;O6SBXaIkrJkjcwyf4gqnHQFQDjOaxWHTnaS2OyGK2XQ87OgKyEqvyFMuWGc43blIIzkhA3HbgH0s&#10;2miRec6ugkIZ0VfuCVxwq+gLLg9B0Fd/Fp8kZlwisuRvcqSilEclwPYfe9Ao685ydQszbyJKrF9h&#10;AlaMcxyK2/A46/KpyoIwQNxzg6xoRUk0ZPEVF7t9Tp9P8MaT5cShoprYukn2xQBKLd4/3Mp4Ugxn&#10;ep6cO2eOB6v4a0PTXLxyae5EzupjEUYhjkkRjcWuNrBVlCp5RHR0YgDAI8OtdSubeNUZQcSbokin&#10;VVwc5XhSRuOMZHPOOpr0rSPFLxLd2rqPmBbyZHJcoQPnBzjdGdxVsEYAI9uujGkpaoxlVqy+KWh1&#10;8MFssiHzow6MskM4C+WVVVa1lyCMYYrG/TBXJ6CvZfCWsWclsls9ncbo7i4tYraSV7cX1mYDLPpg&#10;BUqZYsTywvuHyggcgZ+cP7bWSFbtJtyO7r5UrgBWAG9CE2/JKB90dBjncAa3NB8SQF1S5vZViCq6&#10;XkUR8yNjHIsU65BDGJkUPGCCY8LuXKtXbRnGElDucNdOpB26H0SmsIIkZbxbl42RVnuXQWzyOES1&#10;unXJ4mVPIuRgYPpwRtaRr1mmmwyym7txC7F7eNdk0dtGzJJDHJlcTWbkSpt5ZJAM4bj5sm1uZJHR&#10;5BLcM7lUhdjFMzuQ6BWYkLLumlAJzuAGPm+XrrXxXCtzb+cGt4ZQHkvbUCZpSqeVHcLuX78b7Y5B&#10;0bPOOTW9OvqpdjCdLmVr/wBdT6Nm1ywS2e5F8iXTSpI13gyQQzuyCG6jjUOPJud6xyAYUGXJA+Zh&#10;4f8AtsaTa+K/2TfiDJDGz2+g3On+IILZowzWz2mo2/mQfeJBjJdgePlwvIzUkWu2z2ixCQSRQ+dN&#10;aW8smBbgJmWyVjyI2O6RMj75GAASD13iGxg8ffAX4q+ExDdX17qXgTUba1sZYxLcXswtJXtcAAbp&#10;45I0GB1KIeezxDeLwWIw3enJL7gwEll2b4LMYvSnWpy+SnG/4f11P5kdFfS57gWdppwt74MyrNKq&#10;uFkDFvNOAMsSMg464OK5PX9EPhXUIbqWMP8Aa7xppIsq3mKxGR2+UY7nHA6YNdY2m69Z6/d3toYr&#10;dVupIZzcB90ZWRi3mADgnYBxzkkAiqOu6XPqUsX2/UDqE7lwiRs6gHYCXXqRkkjHX92RkcGv5tqU&#10;60qbhLR/gj/RmjiY08RCdKX7uUU5d9jrbb4n2FrpDabBZW4ilAncmMb3GDypboFHX1I6EHnv9O8U&#10;6PJb2r6YUvblELi3CrFZRlvmYsm0EkcLjPQDFfPv/CGBr6ynuZysV2xkaOWYlYwAAmeOg4Ix2Axm&#10;u2tYdM8L3Wm3YliupY7wGW0A3I6gcBiOcAkHjuhzxisU8TCScpXskjNYXATSVK/NK7S1s3tqeuW0&#10;F5pel6brsV9NG1zqbaDexRx7Io3MSvC7BiM4UY98j+6a+kvCGpQpb/Z9Xu4oJEJjSCV/9WeMklh3&#10;5UcnAY/j5JZavpuu+HdMF5BHZwDxT9sWIFHuJvKtpCwAxuAJulGcHLKo45x1Go21hp91DcwwKkCD&#10;cs11OXeU9idxBJYlQB0xgbfTonCNOaq0ddFc8tR9tOWFxEbTcnZry8z3SDTpNZ1CFrUKEQKCsjCK&#10;F13feZm6Dv3znvXcNpcen3BvJfs0kqW4ZQiIsEDANjBUc5Dcsc9xxXiug/EO4WzkSG2ZTKFQXk7F&#10;EVQwJKADJHB7nnkdcDun8SXN/ZJAsTC2CtLLLtIMqnGArDnJygBOeAeOa6KdbDzi5O7bt95z1MPj&#10;lONFL3Nvl11Ni6vV1eeE7ZY7K1gAAK+XHL8rKSSepJJxjOM9aellpssSXUczArIXnKESO6gAKmeB&#10;gEbsE9W7Vy2jLd65dxW4RkjWPLopwEVcbmHXJ+Ynv09BXrF5o9tY2MUULq7uhkkUYGdpbH1J5xjn&#10;jHer/iRvFe7/AFsTi508FWhheaz7L8W2cNrGpeVHIVXcwQ2FooPO4uGDn6ADk9uxxUOhxRXk6WZY&#10;y3bXBnvLrGfJTCBVGcYz0/A0yPT5ntrjULpFkeFxLHFnJwGyi7fVyBx1wpPbFb3h6ya1sri6CNJd&#10;3EzXEspLZXcowrMRg4AHP1zXIoyqTX8u/wAuxVedKlRlGm9b2+Z1ki2sd3JYo2Y7OBnkjHBclWwB&#10;2z8uOP7wrK1kRabpN4bZzO12Sp24cx7sEsOhycZwRnBqkhnh0/U714T9q1C5EduGkEQaNcgAHBJB&#10;JOMdiOMgVNFLFqWmXEU7NbtZ7c+Y2wP0Y4I4wScdcjI610WUoNLQ8SNNxcasndJq/m9Nfv8AyPPN&#10;buWe0hi3yE+V+7IJAAIAbHHT5h64PpxXncmgI1k8ytvkIK7TyQRtJI9zkg59a9qlsIr1ZFLK8ULb&#10;kHILZQksD0BGDz1O4d64rWbVod4tY9i7BLhnwsjLtDEDHOQcnGANuARmt44ZUY80dXa51yxMmvZU&#10;tG9z5m8SQoI7l2BExLROcYIO0ITkHjKBunPJNfKfi6y+2747ghIoQzKpODJgnI3H0IYce9fYviCK&#10;4la8DR7c7kU84Y4xnp1IIyR0zjnFfO99pMbC+acOpER4ALOApZm3DGR25PAAz7jjaak6zbPTwU4U&#10;4ylN6r9T4U8fabbxq0kUbYQZPPIwSCf1wQTzXz7qugsYzLPFJGshCKHIlCkhDvLANnBC/NkgHJ3A&#10;Yx9s+PdDivLOaO1jVp2JAkf/AJZ59u2Of6184eINIubexWIrkQkyKChO0DgAdzxwSMZ4rlnVnLW/&#10;qfS4KrT9kuWXvs+QvFGkSiNmjBKQxEsG+V2BJIJz1HBz9CCfXzR132c7zOdpfDDHzHG0hv8Ax4jP&#10;t06V9N65YhI7iORChOSkrDC5YEd/xwR03euK8F1GxkgS4CKPKcnaikEE4YKwGMZ+fIGDxk10YWpJ&#10;WW7Wx1Yi7p8zXoeF6paoZfOwBtwpVCVkQZGD7fKc/Tvk4r+jP/glp4jGrfB5NOZ1Euj6m8DRlssF&#10;kDDLNjjGwjGeCWx1Nfz46rp5VjJIduASo4BQbgp9yB169PXjP7Qf8ElNdEY8ZeH5PLCW979uTDDd&#10;mVDuDYzwGDc+/PqPaw0lKSVrPT/gnyPEVCSwM29Vpr5/8Mfu6PLZApBXIGAX2dehPHfPOeMYwRXe&#10;eFfCpu7gX80Z8pAywhxhmJBGR7AEHHXIOOnGb4X0K61y8tbeKLhdpdwmFVV2jJ7ZAA49jivqCy8P&#10;pp1pFbxRBI41OCQZcDqflHqGbnIALH6V7+Ewntp80Voj8azTMVhIqlB++zy+bTlgRjGoIDrGoIEu&#10;Gwp4HbkjrnjqDXP31ikY+Viybd2SSGbOWAbJ4I3Y4xkivXr+xZhjDMPuhd3mHGemMnPHAA9Mc1wu&#10;o2rIXKIwUKW+eTkMAQOMe3JPPFdtShZW2f8AkeHRxbnUTb3/AOAea6iotozglSd4GxMCQAkcZz1w&#10;3zD9BzXNHZcQAIQdrfOvVck/KD0z0PA9DXU66pRTGgXcRuwFXLsFyQ2CTnBHUeo7ccNCZYpnRgDu&#10;wwCsSD8pHOM5OScDtXAkoSUUe/T5alNnR6dbJJEG3bwpIKkgk8luAPYgHr26VQ1nSI7i3lYkn5cR&#10;kMpIbJJOD/vMeeflAHpV/QrlVdvlk2mYgK5EgwsgBzgYJJLkHoORyBk93Jpgmt2wiON2UODgDO5u&#10;gPOHzjHGffNeoqHPFRdzwHiHTVk+v/BPCrLUbnQpFEjG4RJwyrIchQT1GPoOegyPofdPDXiTwjrV&#10;rb2+q2SDzWV/tIaJBKMEEL8p6naWJxwuMDrXnWo6IlwzRvE8rvu2BsL2XAB9eQfzya8n1h77Rr+3&#10;tLcyJGswVmUlVQb+Tjn3PbrzW1KpPDyva5z13SxK9lezWt0fYmqeBriCa1vtCjnvdJKiQ/ZSpKEb&#10;cZY5IHG3ocEHsDXfaTDqEenJctZSeXEPJP2uAJGPlA5aPZJ0wS2QfmOOK8j+BnxV1O01SDw9qEDa&#10;hczW4itnk5zHHE8h4IIYklzg9h7Yr788KJoHiKBDfaJYMkygldu+f+NS7NzyASSxP8R9Aa+iy/D0&#10;8S+ehO1+j6Hxee42eX3jiYc8Uuj1t3toQfDu2iu9Pjn3wzGNJNryyN5TkIuzzDtBXnJJUHB57Vd0&#10;9dYt/HOpRakiRWf2OC3tEnuRna5IYwyBAHJRFU78HDAYyOe/j8M6fYXKSW7udPlm+1QWKt/ocUux&#10;VV2A+ZuAducgMVOMgGpdYv4JoXtbO2NxqE7eUE8gzBcEEu+RtVADnzD3IABOQPqKeGdGmoSdpR7d&#10;T8uxWaRxOJdSmm4SVtdOX+tb/mXZ55rvzdKt5IZph5UjtcLt8i3yuZHXGN2RlQQAxXOMAkeQ+LfF&#10;Fte6jHo2nXaNpGlNsnjQKTdTI5XdvBJKja57Z3k9gas61r/m21/oelM0hmRrS+1RlRzdp8vywvkn&#10;aA2ATyO3JyPK59Au7SRbiEv5Z+VkyQxyP8M889u9c2Nxz5fZw3ejfl2Ky7LEqirVdIq3Ku70Tb/T&#10;sekxW8dzCFZVOVy0Z+fdxjHXBxx29jXPLp1rZ3K3SrtCTKsu2MCVlA5C8DP3jgZ9Oa0NKuJBaGZy&#10;pZGMaxq33m7jH1PGD1HSsP4g+JfDPw48F+IfiN4z1+00bTNBsJr+9u9TmitLC0jgQkO0rsATkNhe&#10;ciMkgjJHJTw7rNKC1uehicUsLCVSo7QW55Z+0V8efhz+zJ8G/G3x1+LGqx6ZpHhfSjcpaiWN31B3&#10;Lpb2saD5zJJIYwqqM7gAAc4r/PL/AG8P+ChPxU/bT+IOo+I/GOuSW3hGwnNv4W8N28+3SdGhjLRq&#10;YYQNpldDh5TkttBBwFA+h/8AgrR/wUw8XftweOYfD+mXVxp/wZ8A39zH4N8HxH7JFrMvmPH/AGvq&#10;SBQodwGEa4+SMgHLAk/i4IvtU0l4+YT5jq1ym5rSADcFEangnGMe/BPGa+yweBp4Okus3e/+SPiq&#10;lStmdV1aqtBNckey6y9TZ1HVljMKQLJGsseI7STEl1cHjc27oOMHHbkZOOXWN1h3t3jEyL++8iPA&#10;jjGAWaVyMHoxwOobrxXPSTC3WVI7WeNJGWY3s2WvLlQB8qg8r0BzweTmpXvoY5YrUxtbieTy47IY&#10;aeT5cEzvgZBDng8fL0JWvSg4q8IK39IpTipxu/I9z0X7NeW0TiWNVtxvuJSu2PopEa4BycDjpndz&#10;0yeC1uWOTULib7PGhZ2+y2sa/ubdQzNuc8nK5PJ54OSak0y/bTpVKiO4a2VozFGnl2kPX7oDckHG&#10;DxnBOB0p5gS/mudUuDKscsjyzo7bBdSkH8lO45Ax06VMYOLc5PX9C3zTjyR05X95yDS2+zzFdflJ&#10;W4upTvluGB27UGeBkjt34OekGnFEvJCU8xop8RRs5UMN3LOR7MeO1WJrTbJHJGvmSqcvKSTbWnBB&#10;Cr69u2c8kZqpDtiupYQFMc8nyIx3zz4ZdxcYOEPQE4/DoXBXi7Pcc5cta9veX9fkdTZNCdRc3JM8&#10;cjZYhfkmwcFF7EDHUH8QafdaWz3ks8YHCErGvzBQoUfT1/L3zVe1uWtgOI0mVN7PsBjtl7KD/e6e&#10;/B9q3RMkcEEcak/aEYw2+/eqrwBJIx9Nwyc8561EIty5X8whKG0FouhxLtCl7IjlWjVtrLgF3Oev&#10;HsRyeue1UdcvINPSMKQAuI/mkIDAjAUE9CST049Ku6zpjW9+LmWYuk6bS2wiNXyMgD6+nB49q5DV&#10;pBdXn2RnyyFQ28AqGUkHqODnj/8AXVNNTTgv+G2/zM205WqK2v3k5nmlhaZFWOIog37vnbpxn2+Y&#10;D2xgjioZ7xpYkidyyO583C7ZQAWI6jjhR6Z3D1qjFFKhlleXdHb43Q7tquSygEZz0DNk+1XSTsgZ&#10;odqmISKnCmPAzkHpwQOO/wBabpa839bIz53KHJFe71873sXLJoTGjRhUcKSGICgNggKTyRnPOcYx&#10;V2aOSVNyjfAsZDsfvH73UY+Y7sHt0rLsd9zIxfbBDEoCxlvlkJJYkjsfT6VeKP5EsfmljlZI0Unk&#10;KNwYgDnGBn/9dKV373c0S9681p1JIvMlZLZVDpHGUk3vlVxjkkgkcnpnnj61jXjyJLLEkZ+d/NCn&#10;DRZALc54x83fPp9XLfz26SyoWVJmC7UOXIycAcY/4FnPJxjqFmInSJCioUUh9hJzz0A6cgZ+hB6Y&#10;p2aSm9n0+4lyqSnzU9Lf52GefG1mqqYzL5mSrMFclDk+mOv0H0pI91wWhnjZEhjcoXXozcjIxk8D&#10;ucdazrgJFMrJDJGjRCMbc46DBHfuM46/nV/zHkEjtISoXezLxweuOwPJ/H6UaON4rQVGb52qmr18&#10;vIr3FuRcRMWwUQ5RSCQWC7DyOMjI6H7w9KruquIonYNLPMru3JVARhl55zycEnHTkkcaweBIJZFW&#10;OS4lwI8HLRleh68dG/BscY4zCCZGaaMxNNtKEjEgJ+UfLnpg8jj17CnJJpcq1FXcpuVlpcgKRF2S&#10;eNVMdsCFRiFQg5+X15wR3qJlUnbFEUKKR1yCWAxlcegI7dOnNPSJWnPIdEUs7PIcL1IA9+enqO9Q&#10;3F1JIjT8qZpnmyW+WTIycg5ySWP5mkrp89w5oLRrs36P/gmXdgrtd5AQyxttXIVieMY6dj+A9Kst&#10;LayRMuQixLiKNM4IyeevoDzU5hjuIIomDZeNQruw3gnB54yR0z3yDz0rMNtDatMifPGkkiBnGzLL&#10;uU5H15/HGepFX5m0glCXtW+jf+X+Zes7uCAOzF5ZmmEaI2UdRgk/X8B3+pqNT+8lEb4QjcVQAdxs&#10;GcYPXH4VETaPLFJGcM0gYIpxlQCMnJJO7rk/jnPFyVYn8p4VRtyKzKp3MMMQcEepJ5oV221tYLwS&#10;s9la33K7/MkSaO5XY8LIiPJuAblxhRg49xkZ65NVrny4nklUvnKxxALx8y/OST+mPfmlupBbzssT&#10;CTfN5aAD924wSM9hgDn6VWjxdb/MkIIZXCBj/DxngZ44/wDrd5d4xXM9Oho6cZWtp38+pegZ1Kjk&#10;AQErlj8p3EjOR7n/AL65q3tkfzFlZUt9pccYZgVztP5D8jVbZGHAlYyF2KbTgZxz1749Pc8VFd3k&#10;lzPIiBVj8rymTOEbop9MZG4evNX7RyvCHzuZyclbl20177bl06iojXEbBFTBIGQRjdgY57Z/xq/Y&#10;zmWRnkRiCWwjZbgtkHBAJPLcf7IrBjMUmx2DKgcupPynnbluvfA61uGSNUjeAqnmEAbchnJU4z2/&#10;D69RwJu4SjZadSoU01ep8i02qX0J8vy1baBz5Zc8jOCc9RnH4UVjK0u0YcKPR5cMPrk0VDp1L6W/&#10;Aw9tFaOWp8tsiIwaZyyqQQFOZICec49Tk+uKsG0upZUWBUiRHMkPmFQUUZHmSHnk4yAfWmSS8hre&#10;3jJEQLu/zkAdZH9yTx6c1GzMpkRWcwygTtFITiTncXYe3PHvRZXvPQzVlV5Yvf8AUeYRbMPN2Rzp&#10;mSKNUBDsekkjZx0OQPXjFRrZTRRxCZT+/TzbdZk2scnBmcenoPY1anaa+WKeTyXYoCiAbZZcAYYj&#10;rjIzz60xVL3EUYcN5q7WLfcmPUlR/dB9fSpsm/f0MoOLgnDe3X5EBdtyWqFplaQgRg7Xm/2j3255&#10;we3aoZYwlsZIpMgykKRzJO4J3M3XCggjHGat3UlrFMQZWkUARPMsex5icYVD3AJx6c+3LQUkViWi&#10;SNWU7IkKlQDhIR7HcCe3A78FJtpNFWit9xLVQY3aR0kEhVXkBIZyoyMA8BV/pUsDokckjM1wysdv&#10;yrulHBAHouf/AK9ZrqxnV3HyLgtIvyKwLEbE56mtGOApNJLkBSpedEJ+RBnEan1PH4k1o7XbQQ5m&#10;7NejIVdMm5ZwmwGMyKn7yQ4OUQcjA4/766UizC4sCsgNxICQ4IMZI6BUxyRnGc/lU5DZVEESEKVP&#10;mR7ktI92BjI5Y8HPXr6VYilGVuMQkwRk28SJtEScDLdMk8j1yOKjmvGzLjTevLpa2/5FVY3gyVlX&#10;fIi+cYEOYcgN5K46n1+nWrKwPFBJNKkm2NgkrPtxaK3GFHc89iP54ZI8km2KEpBiLdGTgfZwfvSN&#10;/tZ3AfpQyb97OssoWAmKJsjnI+eXPQY3t6+gptcqJp8mr3Vtuu49FhSKcqxiZtrK7MYxEg4O092b&#10;gc/3qUGL7RH5cbBmTchZjtgAGd7MR948dOar7nljSCIB5FP7lZG2mUj7ztx0AHSrqBIo45ZFWS33&#10;glSN9xcSY+ZsdlHGOecfkaLQq6cbPRIrqEPmMsih3bcEdS0cKEqC5/2jnIqSJHgSIKRECWlgSWMF&#10;0GTmRv6fhVhfLmcKyRuJ2Co6EmS4ZT8o6n5VKgn1HeiELHDNEcuMlXkaT/j5b+FEA5xkj8qIvfmW&#10;vQXLGScZPbT8itDC0kiSSKZAzGWEOmA+SRvb1Gc/lUtxKhkBOZmdmJJyizswb5mB/hXqO/FEUfyy&#10;ebI2SdsjlsqowMRxLjttbocc1P5ZAMkwxE+POcKQI0OQsan+9wM9OvvQ3HlViXGTfKvm/uVxXiZ7&#10;dY5VN1GwKKIcqLuUglVznoB64pJg0TSgqA/yRyzRgyKgXB8mPtxg89eatMUgtY0W48l5tz4ZiI7G&#10;PAUDaD98+/b61ENu23d3UKhxFbx5MjZA/eMeue5Oex9QaIaxuK8ebke39WFikk2TCVXiK25lXdIW&#10;S0B+Ziox94jI7detT2cKSqY3EkapH5luGGDbqVbLsT644JHBonhZGENsskyKQioxBlumwdznGOFI&#10;7nHH1qViq5TbmJpA0hjdt0rjOUHqpOPy96btsnv+ZVKLk1HtuQ5uvKSG1UmNCHiUkN57ADMhJ6gZ&#10;PXpk0fvUiWJpDJIJC91MmJDfOcFIwP7vBJ+la72LbD9phMDyRiWacy7hGpBZYFwOuNpwR/EvNUxF&#10;DarCZHiF0UzFGjEC1i2klpBnhmHIHvn0pLlkuWW90WuZe8uv6f8AAIhK2XmM8scvltDM4gB+yqxG&#10;2OPnjO3HbqajgARm82ErcwqCGkJZbJTzuP8At/Tpn3q7JdBPsix2kIKsGRJPnmu3UHEkwJxtGPQA&#10;4PrRK3nR4uFinEJUO0R2SX05GAGbqVzgHPQbeRVJrlblvcpRUUpR3t+OxEgkEdvMQoSWFZtOEmCw&#10;TcRJPKBkk/K+M4PXjHWB4YBEJcmWKaYMI5lxd3TE7VPH8AySfUL0okjhMKojCdxKWnZ1CoPSGP1A&#10;YkZ6fzqykbzI0khK3m0JdSNGAlhGoBVV9ScsOx+YfgNKza3uQ1zwSI5QkTu0sqNNEp+03KqQtsW6&#10;LGO5+YDjjrSSWs20Boo4oyWnsoZxyg43TSck/d3kZ9akIgZIJYljkeRh9l09pf3qheBLKexYqzYO&#10;OPYU64jeRJ0LSCINtklLZe5OcbEA5IJI6++fSk7NX/roKHOoOKXvbP5mesDmK3TC7ldxbIwAxu6y&#10;SAfeU8n8+eKbJBGqyobmWQPIWM8hwb1+SuBjIGPyzSKAks0M0jxtbKY53Y4kwrY8sDJ6dCBzTpmn&#10;kkDQxJIVQJbRDj7LH82HPXk4zzQrprz1NL0oP311/LUin84HCu/2mOPbczlQsViMkeWnuR3461yG&#10;qIUJkAWLzyTAEwwiU4+dvc12kzRyRSRiQmGD54YI02/bJAcbpPbv04A964jWPIDO000jTIWLspJi&#10;kY42p06L+XFTo5X6md4qLfTfU469VBxuYtghcqBuPOW+lc3OTgj5cd26E464/Gtq+f5mMjh2B8t3&#10;C4HU/Ko6dP1rCkwrNwc4B27fuAc81PRyW5lJx5rXsjvPA9ysd5LHIheRlyrkfumOPuOOu09OOeK+&#10;jflMaxJFLA10/l7XLF4jHgMsmeFxwVJJJGeBtyfnLwFAr3nnvE0kcUiyPsbaXVSCyt6A8DPbOa+k&#10;JZ472e1eygFhaRxmOG1luN86DLMytM2A7ru3LKcD7vOOmzScYtrXqaYeqoUpQ67/AJE8Mr2hQ3GV&#10;V1N1E8MAdoAz4eQJ1UkZDqcEhunINaDXTwySJGqYb5/MV2CyK2QduRzG5B+8MgkD1FVCVRW8hfPl&#10;JDvJ5shuJsklp0J4EiZIOcKQrEAtndMSPLaGKCOYuC8RLNJDDkDlPmwd+eQflB7dAIlq12OhqM7w&#10;Su/6t8u5YeWRIwiS2cMRgEVwJk8xU53G3l34xt6LLnjj2qBgq28OZGeRHkgjQFVa6YZ2qp67wATk&#10;nBx2FFskEccL3iyNbSM1rNHPL5krkkp5bKRkhSDhydvJGOmJWhtiXWC5mEUqtHJDMd6TgcgEjG50&#10;HOF4+XvxT+KXKtr7kvkVJTnor7d+5j3jQnym2yNBMzo0zscXEiEbtinneMc87TkAHAzUbWbyJElr&#10;HN9qG13jjj3W8iFSd6H1XOG3Acr0x01JILZv3Ukd1/orCUtEPM+0gkFpl5OHUlRsXg5O4D+ImEkN&#10;5JHIryxS2cd3m1XdLGsih/PjxySo4YZwCCD04izScehdZxdlftdfd/mYf7hka28sRySSvcsQC7so&#10;wAwJOAV64/XqavQIVlE9pHiTy0kLwj5U8tHJkhOdzFsBnHRcHp3jmtI5JpWjmKw7lMs6MbmaTJ3C&#10;WNAckYILdduSTjrWfbwtdugQs3lHzmjg3SIm0keYvqCA27sPTpTpqy10G5Ny5VqlovUtB4pFuVuT&#10;Gu9/Nd7ZVMuQWfzkJHRslSuRwOKpQvLbzCdWkRIwGT7Mvky7W+5MM9ANwbB5rQhgliNwJC7rbKbl&#10;2t2zJB281S2MxvgMd2MKx+XPFQWrq8sUk0k1vH5v+kG0+Z4MIweeM5yR0DA9AWwp5BcWudN+VjOU&#10;qqm09Fv+RM9tARPcvJDuWTd9k2/Z55U5xPERxglTuGQTn1zWe0MFykbwO+4KVuY4lzGTtDs0Y6Bw&#10;vJXOTgZ61pDS1B1AGSSZEAlMKx75gpVmSeNc8R8EMDluRgYG4VyIUNoptmjS4IaVLZWmlmC7gJoC&#10;B0O4K0Y5JXnnildLToXCFp86d1qyvJFDHcSiWeC5maJHi8tBELzBHKgfdcbT8uM9fSpPMVysnlhp&#10;ZZFg8z7ysSfmWT+IOB0xwCetM/s6KRXMtyrtIQYxHGyG4TkfIw4DAAgj1HapLuS3tLYW+nRtcs0a&#10;Q3BZyz7tzFhz91hzyOSc1Vre8iYzkpWtsvu26GZcRx/bI44NpeRtqtO2/qeIpM8Eeg4x+lURHKss&#10;TgNEVJtzvIdIuo2Ox4wSOG7dq0rjEQLFztltywa7j84SkrjyWf8AkRzwKzpXkYhmhYsrKqE5ZJE3&#10;DAYngt1wzY/POYtFrTcai4tye9tn/XqSE2sFkEuI5DMSXWRdw+yB+SsmeGDYGCcEDOO+YpoGgijy&#10;0lsdmwKXLS24ODui6Flbjj3OeK0XtZEtw7ysCEO1JYs+SCAdjqO3ox4IP0qCYNDMtqYZmuImDQGZ&#10;Axtw3zbQn91hjvnHpSk4tJImOrtN+70Klqbm1WdkWNJTEWK/cjZQQN8Z6ZHBwR2NSzMLiK2JiEsj&#10;7mZ41AjvOoAI7N1I/TpU5ja5jkLWszLJkyxrn9wWAXzkIx8oLD5e2OcgGoWtTI0UK3Kb0Vm2Idoc&#10;rgeYGxkMoyPzok76/cQ6coR5Yarr96IUt1eZQXlhiiVUWa4UPJGQDmNhwCDn/H0pLqMRRiVomBeX&#10;LR7t8kWTy8XHK9+wwDWrFcTo0m8i5Zx9nDz70huOBtWU5B3LjKnPpnio3SRoPMkluGCRFFLHMtiz&#10;kIQOzopbbgDAHXOM1Kun9xtKDktbadimkabWWRVuJTExhyTFDcJ1BU8fMOfqe1Ri1uGiS88gNHJI&#10;sKySptSRunlPzwckdwTnNWJvIEcTruVyrFhEW2jbj54j6dCTntUghvmiSPdNK8pE8ZkK/Y79Vxyj&#10;9RJzyx5OD9actNmTVg3NQcfn+JnSB4WkVlOZG2rJKMmMNz5cg7DBwKjFogkSR5YlUqwXfysLE/dJ&#10;B5UgkD0yPxuxxIJRcSfviwFv80ZZpAcr5ch7Hnr1NONvGrBCI9iDaAwIlkIbJhkI6HBIB4+uepyx&#10;5Uloae8pO+q/Lrt62MGMzRrLHs3AvwApUISeFyf4W5Prz7U2dGhjSBmVElYOVABeAk44b+77c/pW&#10;ret+/URQCBCAkccj/uoTnBjd26jPIY/yznD1G+SCKMO6ItuzfZR5eZE5G5GPXaR+f8harXoZwUVU&#10;corX9SneyR2oJIz5UmJI9ylXYg7WjOfY9PauZuVlvJlHllYgFddxOCBx1/A1OYp9SlF06hYlf93t&#10;bcjKTgkD0welbJtkJjiT5ULlDIuT15Bx6Zz701Z7LcwlzqLb2K0NoYgfLTy0BaPcqjA9eevOetSJ&#10;EI5B0BkUqXf5gAwIzk4Aq0sO4ybjIinYwI4RdpwxwPbP51I1uW87zCRGkfkAPxv6shB/Ampj8Vmd&#10;MYz9nGUVf9b/APAMpoXX5ijABdzMp4wMgnHTHTmmNESysrblXCksudwOCOPxq2+xnBVSoQB3IPpg&#10;EE/XNOO90QlSiKAzjaNhYZX/AD9KVmtjFKDbT7mRIRh8xsqg7WUNvYHjHT6frT7d5bF7WaCTyZoZ&#10;BMpj++hU5BB9uKnlQK67CnBKbinC8nI/LrUEm0uhKsGI+YEjCgnBP05qHeL1NZJtOM9H/W5+9v7M&#10;vj+2+Ifwx0O+aczX9pbrp2r28vlSkSR8JjcCQCFDH3P1r3670WeR1kWRvmiKrDLEhdzxjawcA5xj&#10;OcDP3Rya/H79iH4kXHh/x+vg+ecPp3iPcUtC6xgTQxuwALfLlhnuOVHU4r9rbazM53OiguoRmihV&#10;ZCuFIPPYfMPTB7mvls5oezxCqxfuyV/Tuj6jJcS6uC5W1zxaX/BODit3SSMAOjk7tm5/JDK7hc7g&#10;2fvngYGGB7VchjKmAhg20tCVRYpdmQo+YFlwU+bqck4+p6S80ZrUtPFKZkLriM7oWJJXaQoyrcK6&#10;nrnPTODVKHzd7tMgCSAq8YlV85wuzBxwGCjBIHy8dq8VWprfRrXyPXV3Bye+35al61WRJXQxBTkF&#10;ZDHwS2G3cEg7eD/wEgd6uxRsucqX2RYyHJYd2OGB6hSSc8emCMNgQ+eAq5AyTmFd4QBmzkMCDjt6&#10;jvmtS2BckbTjdwzM3TgZ9hkj8xxXK5uKbt/XYrmm5Wj5/oTwQqJEUiMfuishdPMDHqMd/Q/UfStu&#10;1tXy6jjdIMIGIbJwQTkgjjJI9Kp28QJKhndt5bZIyiVMfw42g4HA579fborOF8iVsrtbiQgxiVeV&#10;ySOuCwPQAlTxjIpK8bN6o3cYyunqraeum/oXYoJkIXKtl5BIXZZAWJyWBYZOc556ZrasLFTKWkia&#10;QIoeTEe0SbVAZsjgDrnPbHpUatE0agRF067pGwBkY2kbemeefb3rprW3CIjuIcF8KzbZGbI+Zs9M&#10;4I3AHHXg95ejvH0+4qmru8tI9P69CO0twrsAepAAxlH3dM+p6YPvXR2UEjuWVWkQDa+AhAfcQCMg&#10;DCjd1zww5A4qS0tYblw5icuwMSsA6kfKpyeSONmPwPqSOptYC5RdsoSGMsMqYUUqDu6ryOo54O4V&#10;ztqMebrZfiax5Wn7J2iv89GVLWx+SBRuVnlYbViQIFIGVbk5BU8cdznBHGj9hnMJ2HdzwrKqrk4O&#10;4gMcYAHHIGW55rXjtHjWR5mCI8e2IR43R7wOvy8scjscds8GtC3KRMkkIii/dlQ0tvE4yoU/6thg&#10;5IXPXOTnqcq1RxT9LCUuVWl5/n/wTjp7ZcxwqrkJkNmJo3f5iQGAJHDE4b72T1wBhkVtKtxBnZEx&#10;G3Yqjc2c5OcY5K8D+mM9XJbPcOiKsUv7shJW2BCp3BlIB4OVwOMnPGeKaLNRKWuDGgwTGrMzuXBJ&#10;7gjdnkeuw4yeK6Y8yTlF/wDDlTg6cvd2/wAjHmEkmZAWUeaf3ZjUbmXuGxnjcep43epq7azrcgpI&#10;jRncBueMxgDgDPbBGMj2HStb7MyJsxGVycqFUeWOCPfvn8+hqpJp+7aY2RUAWU4I3KT6HHPRTjnr&#10;SjG13FdjDmUaim/u9bFvUJr+bRLvTDCkmmi8hmluAm5oZACqAPn7rZbJ6c5PIBHOaas0MqFIn8st&#10;xtXAP3ucZ9frwDXZrqN5aaJqGlPYNLb3EkczXihjHuhyuOTtPfB6/MeBUNvYhkjEZ3QqdoVlOMkc&#10;kHGMgEcc/rVU7Sg1PoQ4Rbbtp3/rufX/AOyXPJ/wsfw1OqzQSzXMbSoZATGA4dtzk8YGMcEKB0HF&#10;f0c/tF29pe/BS0ub1VE9jeaXf2Q3kRtLMGikjYDBK+TNPlQBwAQQRx/OH+yxaXEfxH8P7XEBjvUM&#10;bsfKMuflPrwuQSemQPQ1/SH8cbSW++COm3Crk2dzp14ySEsWSUm3QsBgE/v1HIwCQccYr1Ye9lVV&#10;WPLrNSzbDtae+v6/rufmBcWTLvjfa2UYBR91gR0IHUnLYJ9KzIwyM+Vby2BmIICvlW+ZwBjnKhWw&#10;eQT6V3Eunx7SNhISQK44UkfNlSMdBgEHhs8ZI3VlTWTuzCHGC7Mdi7McYJBB4wcZGM/L7ivm5Nx1&#10;sfoEFzPf+uhVS4aIRRLGrr8mSVMm4ELheOdu5cqBg/NjOa6fSL6WJxLGzR4YjEiqV52459Rx8p+v&#10;UVy0tsIlK/NvjUbnPzId2TxnPynHOehz7Cq8d5LDKA0jnK4WUOCj/Lyv3iQygnnjt74zhWcJtPZl&#10;Toqcfd3R9XeGPEIljjimZCSqjZgMevygAk9PoMgEnPOdLU7KK5DmIo0gCsD2+6CDkdMZ28Zxg574&#10;+b9G8QFFRZZPKHy/OpAyQHyegIU7gOvBj4616hp3jCCdBAk2HK7UR2+fLIVKAnOSSW4xnk8cZr1a&#10;daNSGu55VXByjNyR1VrapFceYUjEkeYg6As21d4Y7eCMsQc9GKkdsj1Y2kWr6BPaSBg4CunGCACT&#10;gAEjtwO2R2FeMQazD57yl40aY+b5Y+ZVJLHgdP6dM5616JpeulLbfaQtdyqwZrZJdhkTJHAwcn9A&#10;c5IxmuzDyjVjyp6fqcmIpNS55bo4bTtOv4riW28xh9nDSPEImXYoXBB7HG0nnHtWvG9yzMlwrcA8&#10;hA2TyOx75BJHt3FbXiGxmsdWj1W2k2Rz7JcZCxIWVCAy4yemMEdz7Voadc286rLNsEmFLAL+7BPP&#10;HB9Omf1zieWSfJ1v/wAMc9S0lzvsch/Zhny/lDhvmH97gsQw9x2OByTnOAcyfw7vUNsf58HcqEtJ&#10;ncTwSAc/LgHnPII7e3W8Ni6YV1kUkjJYcHOd2AcYPy85/hHA6VK+m2zhUDLwArDbjA5weOhPJ5/w&#10;FU4TvZIxjOLd76L/AIB4MfDyRoHe2MrKvlvIkirz5ewYYg4GRwSvzKjjgkbeR1Xw5JNhYI23LGwk&#10;IBDqu9i3fIKsxKhehbHTAr6dOgxuUXCtvZVILblBARmxwQM7W5YNwRkGs+Xw4xGNoMrIASADn5cA&#10;YxyDgenHI6ChUeaF3o/6uXGo4x5n1PkuTRbxXjyhjCkg/IxCAncB2AHPyk8Lnpjgwm01HzHgZy7o&#10;CHnjiDDOXRCTkEcKQQTzjIA5z9HX3hcyGTcFQBgcJGCGHC5Bxngdiex5Pfl7vQBAAyoVZVK+aVCl&#10;PlXLZCnui5+mCOaiMZxaQOpGSblvp+h4+sZyV2SrcHKLFjCTkj5V6jGMhgSMkBQepNWS8jCBbeWC&#10;NhGXWNnY3ERO8KcdwShyvHUc8gDt7jwxK4kkaLe7MyvHIu0SHBBGO3Jz1JB7kdcefw+WM7PaQ+c7&#10;E7nUyeYADn5SSBuCgso+U7c4HJpKM9E/62NEoSlzJmKb69RrUl/OEe14JCpXy9hBIJ55DL1/2s47&#10;Vux3wlJdInmeKQJBLHGGhBG195VsYBKxb156rkEGpF0m5b5RawqkzCIxKy5IHzBeAACMnnr1Gc5J&#10;rS2lxA5ikeSFGDM7KTIYwW37ySM7QFwVGTkqQSRgtOUdHuJqCd0vL+vuNyC/mSBoldy5YZG4DG0Z&#10;QZPcKT07/hX1P8CPEV1LdNphMTW90oklgeIKWYx7VkVjz0AG3uGJxxx8l29tdzLDF5CCRZBaRAAB&#10;5vMYBhlcZIUFgSW5OM7QoX2X4TXUthr0ZuZRbQxlJ5JVkEcsajcu8N0JAQqR7jI6Z68HUdPERT2f&#10;9fkcOMpe3oTg+q/pn4z/ALQ/hi78CfFDx14A0u1Ctpnii7i83YZJJ1acyRsGzk7klVjgf8tDXzi/&#10;hvxMl/HO7LaO85QySMyR8liQRxwQAce1fqb/AMFJPAcvhz4qaD8SvDs6rB470RUu0+zl1kvbDEMz&#10;ZYFAxhW1woG7MchI9fzG8Rx+INT0yXWLzV3hjjlO2FG8tzv4IXaB23dQN2W5OMD8Lz7A/Us4xOEk&#10;n7svd81uvzP7i8OM5We8KZfi6bXv04xndNvnXuyVvJr0MnWPCHiOS+tll1SK5l25VoZhswzN0IJG&#10;M7skE+vetLTdIuItSgsNUmQEuGVvlZkUdSxHPY8HttPQ1z3heTWFvYbm2UXLwgxGW5kLxy4xjvnB&#10;3KDjnJ6gV0+owagdQt21mcWMtzI2AjbQPmLbiOww4OT614VVwceaCe6P0KMKtGosNOUXGz1S1+Vj&#10;3fS7zRrIadax3Nqwin2/bblAWQsxJfyzle4Hzeg969K8R654QghghgZdVuQN0tygxGp5O1B6dABw&#10;eQeD8tfJlrptne61b29vqbTw+eEuJ5Z/MzkAkjJz/f5+meuK9vi8I2N1qMWl6ZfRC3iQu15czAJD&#10;wCQv95ucBQD3yOK3hOp7yilfRf8AAOF4DCU6tJ1aktE3t/wO56R4avptYv3na1ja3t5WFvbJbH7O&#10;4AJMjAg/KMAANnOe4Fey6HL9qvHheB5pIkcDESrDGGIyAo7ZAIUcfTtwXgaGUxpoOkWqyysVtzci&#10;IhRtUIXdyM88Hk5yM85zX1x4U+Gy2VjLfXDJG8GZbyMK3mNjbjLY2gcHAJBPzDB7dGHo4nFy5aHw&#10;rft3seLnua4HK4yliXZuyilu/l5vQ5bR9HS3LGEPHNcL5ihFClELZ+nOTge3fHBej+z/AD7uV3kg&#10;062w0g5BfDNz78HA6nGK6SeXZe3TWCxmCKPyiyjCBim0Ecc5wTnuc/WuZ8QylNGuNPwHllkWeVSu&#10;4uwyvl5yflwdx6HpxXbXhChByXRP7/L5nztGtWxWJi5/b5dHuk97+i/M5nRYNTuYRc3BZILwSmKI&#10;EhXzlfm/THXgHpmuruZJY7JIrXEUCjEo24wcYyRz0JBOPb2q54ciRoo1udgEMIk6Yx8p4P0wKt6s&#10;La2itktiG+2zqhbgN/FjYc57g/hXLTjajzJ2bKxWKU8Z7BxvZ/L/AIdL8TL8R2w8jSYY1+W2tVEg&#10;iHzEruAJGPVR+p5NZ6v5MPkSLhLwbQuwb/zB7jJH+cemNpcUtjZTYUvcFYlaRhwcFgueew/IVh3G&#10;kRD7SE2O0JZYueQNuBge3J49fY11rDSa5pb6aHDhMzw/slh5rSLf5/5nn2rafDY2drLY3EkXmp5S&#10;wRKsiRbACCB2HQc+tef60t+WhiJTBiPlvkRiXbtJHJzjA6HJzjHeu4nnvdz2hiUfZWcE/e85gABw&#10;DjGTjPB579+B8WGVbqxl84vBDJtRRlGUjPLAdeOOnp0olKVOKa20/Q9mlhLWg3dtt/5HkPjTS9UQ&#10;SM1za2saRmYlIGyCNzE8gg/KAeMD5uRxk/M2sadcvcXMzXksi4eSXYuEA2/wjOST6HHfHTNfVeuQ&#10;z3cjguWLjdiRimVOfm6Z4Of++a8W1yKYC+k8qJeTHudcbwc5Pp05GOgFZ1qc6sNN0duEXsX7O107&#10;X8j5O1WOOW4fCSrDE5ALRmQNjG4Eg8DBXvnp6c+S+KrezSOU+WHxEUUyJtPIPJ9+/bn2zX0jqWlQ&#10;2P23z5EYyEhY2jD+W2cgbsZ67cnkcY4r558V6bEm2OTIfzSFRV3Eg4AX0PGMZ55rzKqlSjG/c+lw&#10;2HpTrKUVZdD5g1vSY2eRWChAxIfA3/NkbewAwTjn1+tfPHiq0EEriKMmNGATGCcgLgntk4I9Tjrx&#10;X2ZrHhQkO8UpDsMFMg5UAY5AyCM9eg3V84+MdOktrqeAqpD/ADlxycjIJ9QeDxx+FSqlRVU3ov8A&#10;hj3qFDDS1veSPmbXYbj7OY5IWxE24BhuLE7uPYgBRz15r9KP+CVGoOfi9quhQRl7vWLERhV+Z2WI&#10;53gY5JEpG4/LyvfNfDupaM11CbKKBpJpG4RFOS23CqB97Axj8B0Oc/0V/wDBG39imfwlpt18fPGe&#10;nSwaprFqdO8K2d5EwaGDzH8242MOrFFweeAM+/t5RQrYzGRoU1d3+7ufJcbZjg8p4fr18Y1GytFd&#10;5aWR+2fw78Df2HpUDXKq19LGJJ3VGKIxOGCZ+hPbp9BXf3dttOCqp8rAnGMnHr34yfT5RXWw2ASB&#10;VUIh2jaW7E9ASfwB+n41n3qAKdm4b1IdWG0gEAgY/Pr/AHQfav1aGDjh6ChFbLU/jurmtTG4uVWT&#10;vd/cebX9sWDZUMMlmJBKLwOOucA+3Y159qkQSNgwJZg3Cqdx6kdec98euMcV6rfxbldnQA4wWzjk&#10;44J7ZyQRnjJry/XLpY5QASHZgiHGWPDsSSegG3H1xnrXm4imot30PfwEnUf9f11PMNS0aS4cysgZ&#10;vu4OWVckZJ69ODgDqK4i4sGtZj5gUtnCKmJCufmyfTHQZ68+hx7dH5fk5Kj5cllAUqDk4Oe5wM84&#10;PbHFed6tbh7hgw2rtBwFbcW4AAHr06+n58Dw3NKM4nrPHOnGUGtbWOQt42jZOVjUYVWYB8/MScgE&#10;nAXHbBx2r03T3BSKJhkGMKQ6jcQUxk5zk5z2ODk8muDEQSeIAt8rLlRhXQ7RuYHAzyG68celdbb3&#10;Bj2FiV2ZRSDlSOVOAfX5SOOjDNdMHeSsjhvzUX5P9DRuNPVpclSqt8wleMk4OT8ozg4K5z2Dck8Y&#10;8M8c6M3264lCuFjlMkZYKGUDDDAx65wDzkHsa+hlk/1bttkSTliAMLjGeny55PAHr6V574ysmuLh&#10;givItwitnbsU7TgtnoT69eh+p7ZwjOleB5cK3s8U4SWltDgvh34iOmaxDcopS6t7aWJZ1VXZg+fx&#10;Jw23Pv6819O/Dj4x3/hnxvLpepP5mh38MLQT3IZJLaZgWO0gAYbIOGyB065J+SdQFvpF+lwkYjEb&#10;+ayAbUIJJCgjggcf5GB9LfCqfwd4ytr+18S+FLrWm+xI6R6askVwTCyv5hnQ70CKpLHoFLY746Ms&#10;qTpz9nB2PG4qpUsRSjV5XZKzPu6bxpNq7abY6YklzeXWJ4Ps8ZfyQGKmcyniNcGQMSvARsbjxXKe&#10;IPGkltczabpVybq5uExqOoIga2cMxGyEFVOAE+8AOSOOM1zVldrb2E1l4bsINC03y3t40tpZZ72W&#10;JnDsk8zHdIcYG7j0Oa5x7KazlMjxneJTJKSfMd8sFIznnAHHPJY8kYx7tfHSbtSd2+v+R8DhMqpQ&#10;ftaqtFapaXv5+R3lqJEgR40LbIlVxJbqjHK7cjqMcH64+la9tch44ftgnRZ5EXbDCJJ3Vj8+Mn5j&#10;gNx3APFUdHlRLeNZovNUERrCrECYthcKR3PQdRyfWq+t31j4Q0K/8T6/e2mmadpls9/d3d3OsFpp&#10;8Ko5kd5X2phVRvmOAMrzzxVCnNtRSvcMXXp0nJzdorW5X8Z+JfC3wu8G+IPiJ401O30PRtEsLjV7&#10;67upTBa2VvGAxdG3Dcy70wCMEg89M/wpf8FSP+Cn3jD9r7xl4i8DeA9Z1PQvgNoLNZ2ulQXL2qa3&#10;KNsbXF4qsFkdsbVBH3TkKC2D6z/wVl/4Kr6v+03r+sfBX4Tard6b8CPD2rTWd7qtmRb3XxHubeVl&#10;MxUEkQB418vOFIUNyTlfwFuHFjNLFIonbcJhbo6tbwF8HfI/Q8EHGfQgHFfY4HAQwlJSf8R/ht/w&#10;x8TiK9XMa3tJq1JfCn182cneQIRHIyzSbpW3WYQyXdxjCgyZPC55zzwDgZ5rLuba4iaLypbUtBJ5&#10;gicEWtrnPtgkZP8APJ5I6O8uraC3aRGfdO5WW+BLSSZ4McQHReQOeoHHrXPXUFzOskYhSTy4xJDb&#10;FzGkKn5meVgfcY5zz7V3630Np8jfK3r3Ryst159y8kd8ZLto/KmvLiPAixwwiTp2IHBIzSpFFcwL&#10;dS3ATzGGEViLy9BH3v8AZBzUkUbrcNK32SYqGf7WAY4IFBAOxOc8jgj29arJMIi00YiiDk4vZf8A&#10;XyHII8pP4cAnoOgHStHJzi3LQ54RjG7m9NfuOtt9chQC0uIY3eJdsVhBuSKMjO1pmJznhM/Q8Y4r&#10;rLVkNhcqJ8eau25mOBHbljkCLruzjg9cg8cV5ulrFDtjvIvsyY3xWsJEl5dMBkPI3G1S3YkgYzzg&#10;Ab0WoLLbRJcQq5iCkFcrDbDIzk85JIP449KfM1ZIqXsrS9o2v8/6/Mv6nBcxx20tuojiCbYI3IDF&#10;eNskuD1JDHBJBGMEjmuPhuSimZi8czOBJdELuIG3McY7DjGQMDqOgI9FjuI57AQGKaWO5BcJx505&#10;/hUY/h6gDod3Oa41rAW7XSzFGniG+FEAaO2Vshcj1HcGldLW/vafoRUjFzslfZ69LrX7jRtpmu2R&#10;vsxhUkMsEh37sBSWc4wOB09PbJrsLOONrMW6CMlgcMxJmkyG4HbbnGPYD3NcHDE8MHnXDGKC7LOj&#10;MSZpjnAAB/hx8v8AnFaVvfxwBihV5GRnlY5jSINkBQSO3yn0PHvTT53KS6lTjFOUI/1c2b+2tTYz&#10;PPCJbhslFJIVdhDqQOvHBznjj6V4ldRSFjIJ/MnBcn5ATzhsf8B/qc5r2a7knuNIlZVaK7gAt5CA&#10;VEaMrfJ7MdvX0rxLMsV5LBtUssjJ5kuGX58bsZ9gBn/aOD6VyKyk97iqU6mrqdktO36E/wDpMZZb&#10;hmigXG4NkeZsYALjrnJz7bT9KtSaozO0QT93tKoFj42rjB6+nHHrTb2xMM2yTG5WEjMJQSScE+vJ&#10;3dM9aoK6mRwB5UjZjiTLNnkE57csvI4wDjFZRk9Vcl+7yW26/wBfM0ZFuIRbs0jrEyAkqMZwVxzg&#10;ZGFIAOOp6c1djlMcjLGhcSjbGrKS5B6FvxOf5etVDtjiEbyGaRQMqmCIRxjHHGSepJPWqsnmrdxy&#10;IpCkqiZbKjYdoHXPO0H8aq1mkwUGp3W2z/BGrcC0WH59scqjcyqozuOUYKMYHbn3z1xibTo/PtxG&#10;FZZPlyoj3BiMgD64IAPvzxVOHyrlybhl5lyYpWxyMEocDoTjk5IIHApdNluEu7ghH3MuIipLRKBv&#10;BxxnIOMHphvajaLS73/BfkOq5Snd7XVvlrqPSLfI3mR+cVQBCVXK54yDxnoeg7VSk3QJiTAMpUMq&#10;r0IBBOPz4/2R+O9bSxpiMFGm4EjZwBg8k54Pf0+91quwjuWZY8yhZSFlzncN5wQO+Rg9MjvTjK0W&#10;5icG+WTe6/L/AIJRWbZGpVOUdSMxls7Wz2H+1g98E/hHcK1xCLlkDNF8hOfmJBGT1HIBP4irFzIs&#10;MdwjQ75GBYsMYQZ5PU9c/p69aEU0rQRqytmXPylTxjgAe+G9/XihScpKb/q5FSUppzTstl/XqzFS&#10;6kLfZUj2qQ+ZCm1SxTrnr/d6H6datMQsy8KIjLsO9S0SfKM4XrgZGQOlSXcEMRlH3zLuCRohGSxG&#10;QG/X6Vnxu0reUzny4ikuADv7k8Z9emPyq5NW8tWKEE4c0Za6+r7EdzKzTB0kYgoAESMDZk4PHQde&#10;3amSJNOo8wA5eQygKGxt7joD1HH61Glu6DzHQ+TIoCszFSOQNpI6Hjr9PSrimdmeKQBVVmEaAEMA&#10;fbHHTkdvbFS3f3V1SQ6dGcI+b1XrYgt1WPJQsdrpI4IBUAAqckg+tRGOZGQQEOZFZGKMdqfOTwfo&#10;ckeoNEEnkyCHd5kcoXzGz8jAnIwfQjFTyv5LMtucxxqxQtnOAzFQM/U+2TShGD0b00JkpOPN1b2/&#10;UryRw+dBE8jl96bizlmBKYyR26HtgfhVuaGOK4KxEsjw4EigNnaNp/Q/r2NZEqxTFpo8rJKqA7zj&#10;oSTnnrguM8jJ+hEm9odiMyMBuUtKrZcFiRnHoCACB0Xv1qrpaLoNLlfLzXX5taGipM8oDAhopNwJ&#10;bEbEqORnkkZPToT6VAYw1tM/lyK0WC7gbQcMoLZxggk8gc88Yq1KENsptiS0agOxAyxIBbkfX0/D&#10;OcUoTcSjY2PLMYCh8jkcHA68g+/TNTBRT5pC9mo0eR9V9wto5dY/PJEaSGZyo2swUZG7jngcdauS&#10;XjlFEfzBtsoJHzsDnPtzk9RVCZNplJCoAmUIX5D8uR6j/wCsSfSrFtNGkeWLl9gCptKscN1xk4HT&#10;nntWi+LntsTC/wAF72/HyHxwTsgJmRjkgM3VgCQD+WKKY0cys3lozISXDEjJ3fMc/iTRUezp9Zfg&#10;bc81oqWnqvI+Z7iORGjAJlQNskQHl5Ac7AQeVGOv1qTMgEZcYV3xcsHw8wJ+VAQegwOBUsu7cqyF&#10;V8v92WhUgRJyQvIHLbuv8qRVZl8ufy4wgEihm3w2iEElhzy2DgdcVLT5k1qcMnFTeyu18gOMysXf&#10;d5QinliG454KxL79jipZ0hjZlmnlWVcpMoUq1thThEI7nJ6UpdVhjRYT+7QiFsYWMZB8x/Vj7mow&#10;Ekk2KrFVGyEyAo+GLZmY+pweKlaPQiVow13a/pgRmMB3gtkSIiFz8wtk4wc45Zsn8jSxxJE5t0Uh&#10;dvmq9xgYUHcZCc+mSATzkVLHDE9v5awvJArO8CTARF2bGZHPcALnGcccUsLRShkMJmLoRl+WuSCG&#10;BHog9DxwaXKk3ylJOUlzar+tCIRBV4ASYBpYEbDDGOJJD1z04+vpUqsXiY7so67rdJ8KHONplbB6&#10;ZBI7e9RTtE5WIxhpDIPPkbK+c/zfKAuQFUHn6fhQsKGUhVYvLsikaLLq7KeIk46DoT0wM01bZA5T&#10;6vtp6/8ADkoZJY4UWIKY2LQ4G6S6YEKWY46dcBjgbqmO7lhAr7pGChPkS5bkhm9AnJFV0MJKiZGk&#10;IlEcgRjEccfukPU4J6+/4VZkgkR0aFRGrxeWVYhooUHAjQc8nI5689aLXaS7ml7Xi3fb80VzL/o/&#10;lyw+Yxl2+asm0SvncVXI+6Mge341PDcyWyMP3ErTrtneMBpJGbOIogegBx+B9qWWCRo3M2R5LCKR&#10;dgJtlwSEXHVj8oP+NW5D5bIBGftEUZyIyAtkp6EnPLkHp15HNNfC5dexlKM1JJKy7lBhGGmZpWjD&#10;L5bgRbmdjgiKNgeMAHpUhiaRgkknkKuI5mA2fZkONsceeAT39vrQsxSOOMpEGg3BI5UDGFTgmaQn&#10;uSDx05qdCRFFIsaSsZHkhErYeYAKDI6dSFHTg8H6VWjd16f18y2lrFK60/r7yZRHHEylWhkni3B1&#10;IaO3hBBCjsHbofc9T2ghZdqSxwhZlcqm8bFt02nc3TqcqMnnk+2AwSs8Qf54CxeEli0dxIRjeOBh&#10;R8vHFWhZySebKZVdVnEKRK219RlHUKMZKqMc9Ppmou3LlkilHmV9lbQltI2uPJ8t7aAtMYIWmUYg&#10;jYfNKxPfJPXuOKJbCSzsrWcSxzRThntlNwPOba4Eskq5JAHYtjOD6GmYkEdwsqD7u+eUZf7VJ0WG&#10;Neg2fh90mkjErqy3DJIEjL3apGE6YKxKeD1ABx6+lCUWrvTsaRai3ZJvqvn/AJkHMnyRbXy2xiqD&#10;Fw+SAAD1C5zkY+7VyPZbRXcO4C9iZY5r/ZmEcEFAexOQPw6017WX99MQY5WAMxjjANvHgYUA8Akf&#10;xe9W9sSRxpbhYJ7hFNnZ+V5sUCkNuklLcAkNkdO/sCkmp2XUybjKN5WT6CJFOUtZZLtDO1vi4bZv&#10;SyjBOEHbLZ7evWmtLIJPLLvBMgH2ZCAi2se4nzXI6lufXnFPt2iaGIPJuigIt0UAxteOQ3zHnJUE&#10;bieO1TiGO4t4VJlmG8xvNjCTyYO1AfRd3TrzWiTU1byCSioxjTkru13+haRrm7G3JlEhK2iyHzVl&#10;fG0TlzkjABxkgdqpG3kNuCsCTJCwWWSRwbm+fliRgD5Rg9OenXtr26mF/sEzbYhKW1C/DGA2qhVI&#10;iQZPUE8HnIHviC2kuZYljZo7eWSIE7iHGnW7YO1Tydzhtp6/f61L1d12KjzxhyLb17GVFDEUlPFx&#10;Ij5ubvnbaImSI0boehBJPtUyGdzgBYJWhEm1k8uGxQ8byTyXYewIB7ZNSxCaO48ryEkkM26zsCC4&#10;YEqVeXHUYOSfr0pbm0CwGd38wLMIruaKTi8mcbhGozxtzg9uOvTJFtqzBRlKTV9LaeWqKqTpNJbw&#10;xWsqtGoNhBKzr5zsG3zsecBfve59cUpuo7ZoBLbGa1WUlgCftOqTDdnk5+UHA6fXpVqK0h89rmSW&#10;d0i+a+uLdR+6BIVIYjnHU447MfSr4t2unG2GD7bDbsXkxsg0qEDGGyMb8sp7Hpjk4qNenzNIwfK2&#10;ndfrZWKBS1mmuwjrA7Mbi/vWVQAWztghxyMDjg9u3Z100rBQkMjtFCRZ2bLujsLeMbnmlbP3hgnj&#10;gk9qfY+XuQpH58ZytlZSIC11ICxNw/QhclifrjDAmpLi8hhWSKVHe3ZwLq+R3km1KRST5Uef4cgg&#10;49zTbcafKhUJJtVai1T1MW2jtJrmRhHHcMybLNJwIfmIy0j5IGM+px8vXFQyQYmZJZGkicF7uZPl&#10;N0VYDyk54ADYHsQfSpQZxdXA8iOCLyVM87qA6K33Yk45Jxjp065HIdIlwrwGMg3MqOY7BYQ39nRY&#10;UiWXPQncCAc9OcDG6rvlVkHuzlJN63/K1zOuBHDmV4iHSEC6ZQDFbo4yEX/awQCOo9q4m/aOQtKs&#10;ZWNlxBEWLbFIOXIHB4wf889rdwGK3DuoltjO32aJlPnX8oDKZWHXYpU89OlcFq4dd2RG5bPmyBcd&#10;D9z9QKhaMzq+zbSXqcbenoseSin92rD5m9SawJsEqTu25yADgEnj8etbd2WGCwzlQGVV5Q9h+AxW&#10;LLx05IU4OOFGRmlfTQwm0+mrOv8ABmoR2l6yswSQqVjdjxHgchh/dPf3xXvmmXszWg2SqEYpAJHQ&#10;bXBwwikYA5IIOwDjHbOa+TFkeM74yVbpwMYGK9A0PxU8Rs47oytHEyiQRttc/MfnHGNwHTIPatqb&#10;vaMnoZKXLLXqfVdm8MS3EaH7UWhcurIykBAwyScFpk+XCdORwelWPKmls2kDQKsYWQoEF4Zctg5+&#10;bC8Bg8f8JySBivP7LX4rm6k33Duhj8yCZFClkZtqMo5/eEEE9cc11mnTGKOdYDNIJpg/nLui8ocF&#10;7iJCSCFDgSEA9scgZzlFrWR6FKpHpbf/AIP5l6GC8YfZIo1xOXjl2wSSeb1k2kgMdpbJBUYGKZcw&#10;GNLnMkcshRUhkgLLJuQp+7Lg4EiryAeqoPUV1Iviu1rS4e3ltbT5YiGhVmZSrWkbZDCCQbi7kAkn&#10;HQ5XnLi2juXlTzjAJrkRxo8W2eYL96OM5O3yxjEjHLAjqd2CUnG1jpUYOm4tf5XZltcTtGJAqEQX&#10;EiT3PltHIzb03TdRt77o8And07GETWkdvLMWaOSOMi32SZhjJzyBhcoeMx9ueemNK/tPsv2d3uFk&#10;0+RmvItjrHIzfKDK0Q+6OitkfNgcnGaoNa7rkiVFVHi8yCKTiMszMQDt+6j8DPucmnp223Rivdkr&#10;797b69vwNEXlpvSGCWCBbcpNHIId7QTHskoXJgkJyY1A5Jwckmkfy5bySRUktDv3FdqCO3uiSQDH&#10;yBE+W+QALzyMcVnxw3NvA88c0SXCTmMRRRCRrYCTYUuDn5YyoIU4JO8Ywallm2NHYosXnOkkbNE5&#10;LAEnMcg28ZJUrg5IA5GKpK7bmReKaaejt+Fii8M0GY90iBZjG8qJtFq53DZjoQwznP8AQ1bhjS1l&#10;aOaFrW38kRzShzGlnKRuSbrho3OFLt8oDZwRV0kxGON4gY/K+xhZYPKicxv5f2e4AYFWO4425zhs&#10;uDtzXMk7SRRtAGngmW3khl+ZQm4r9mmxyF4JXtlR9Bnyvm11Ksm30T38+4+YX0VnNKpfy4wbm/8A&#10;sz7ktXGyOOVQq8o2SM5/iXHWsngxXKjYAkSGYIqlYsMytLCTkhSfvDqdvfirNwl5EzW0cRtYmvJB&#10;ZjCyNCcZME2Dlg4U7Tkou87epJuRWkttFY30EcccaPIwaeEbbCUMUKSM52sj7M7yCPm4zzQlG2+4&#10;48qulfR79zEWP5rZxbsAAZbuSM+XFKu8IJkUkEEfNkDkkdqu/YZUt74bRI6Li6BBEV1CCMzK3Z1y&#10;TtUZO7PsUeBJpppY1dXjZ5pFSRUGnshyZIwxAeIjIyDu546gmsXubRL6J45hHJGr3ttbzYt5V3Ai&#10;WMnBwGySG6hTwOgTk2k1sXGHLdy32v8A13TKiTurWrgxXsbKR8qFPNUAKquW4V04GOPXkContykb&#10;+cGumcCSNgAq3i5VQhY/xJjqR/DgZ4NS3VrNbXMKgNtVFaR4E3xvHjd9pjjJzxgfIeuDkAEZ14GI&#10;fU2ktYbwMrTLtfD3GSpElsuMeYMklRkAKSOAcW7WVSJnGSTS36FDTg7Su6F5YxbskDXEu6BwRho5&#10;CehA2gFu4yMEVQkEhM8wIEivhWDFXtyy52MTyQQV65yCa1ESZzNbNGrmZfOMcWH+2hUG8EHaPNj3&#10;AdhljjOcmeGFr2URw5uZJoTHYpdTCBmKggpOzYXIAGX47j3ofK43RpBxlBKS8/RaHPyR/Z2ghtor&#10;2Jdi79zHyLZlKkhzwCucfLnAyM01TPD9oRrWERKxfyoV2zo2BiSM9RkZOQcYPHWtRpZhaRrFc/u5&#10;W8r7Q6+WIgBg28vPCFsbQfvbF47VXknjhItPIKZJZi0Oy9tnGCu1uC6ZwOeACSB1rJXcuZPyIg4y&#10;S5V73Xu9V+AWa+VE0NwHWO8YzWm8gQXhwAv/AAIE4x329O1PvHuikV1Nhzb/ALlt64kjII/dTcZw&#10;QQMdfWrNyUiiM8sEqyRjyVgjDpHMWQf6RE+flIJJODyRwMDh0c08k2HdWhniiWJJf9GgnUsG2uo+&#10;65JGD/ET07VW75n/AFYU2kuWPw7XX9fcYM0qwsbVoWVgN4kY+dNbvgE7cfeQ57cDAqd5VUQu0nlR&#10;3EvIJJQ4+bcjDv8AdJ9sVLe27bLmVoVQpcAJbFjILBmAIgmYBRkgMwxkYGSMdEvEtzIIRDKTAUk2&#10;Bd72uQucNnDAnGVHTFLRa2KUlKST79fVCSKJblURIJGEYe4kikVY7lNoJkXjh1wck8kr+NNmWyjS&#10;RY5JJ5ppdiSyRnZdp8p4GOHUE8Dk4FJJAYoJ5oYYxMCcOj8InC+bGCPcjOT7Duea1XV5bVFDN5gB&#10;2+QHOYXYr846gA4z6nJ6YFJK8dCKlWcJu1m1v37Ghf6jDphw1wbpSgkMbE4dfmGCvdgVH0riYvO1&#10;BllucKouUjjjchnw3Ryfz4FT2drcX+oG5kcySO2xEILRIWBIAU8dxjpW1DYrKFFuw2G089vlX5TH&#10;x19fr0xV2Tjfr/kZRnKrNSt2+ZDEnlRxrgOPLlhKrHsZmXDJj1+vvSskjFGjIicrHOflIQ4BLZwP&#10;8/pWgY2i3CTlDMtwHU42rIu0nPp8q8DuaRkVV8tozIf3lsjq20sfvRgcdxn8qzT0V9y0nJ2lL3f8&#10;/wDIbtdVSKN42cO0BHBhVXwVOSOeccfWswOR5kTCZkVd5Y/MJCrEMdvpzWrKWV9iMPJAiuj8vyIO&#10;VOD14YH64qAQtMqxqkUYV5Yi5XOMYZR1ye/5dRVW2S7FtyiuZK2y/wCCZkkIjkdRuQyMVCFvnABB&#10;AOOvUc0CGWRGMavJGpcKEPK5JIJH9avT7GZnEskrKEclFD9gpbOSOg7d6gEkkSBIyRFsCydBkBgC&#10;Sf50L3oWuKMbztLS3b0/q5QWBV2u4cbnLckAMSOSf8feqUimVCjYHGGcDduBz0A9OPyrVmxKYyqH&#10;MRYbVHHBHP8AnPSoXXABUHJXczjGCCc9cf7RqJWTuVJRm7Ju3/DF7wp4guvDXiHRtf0+TyrjStSi&#10;vYCg8tl2OrkD1yARz61/Sp8IfEdt488B+GvGNoFaPW7FZ2EcamMHawfKLwoByAMDGBjpX8yrmIQu&#10;oiCMuB5g4XBySR6npX7Bf8E3filDe2GufCzUpmkubWYaxorTFXUQSbY50VSQcqRGcLx85PcmuDM6&#10;Cr4OSW8btenVfqduX1nh8bFSa5Z6P1vo/wALfM/TaSxguIprd7VHjYFHYRSxxjIC4UqcDjkZIPLY&#10;yASMd9IFuhNpI5T5UlilIWTaAnQkE4XaD2ztJxk5rtntGtwWYJG+7c6mJsENjBVs5A47/wB6q8lg&#10;l2wMjNG74IaN5beeMqcjBGDwQASOvPtXwsuWd5W1/M+1p8qtGd1tb8DhfKMUojMHmEuuFKowXBII&#10;yGycnuOuT7E79vAkhZI4jDhiR/o8kaA4IG05IPDg5zjqMDGKu3mlpaTpKxkeLnKyp5rnC5xzjJOO&#10;p/TnDbOOYlWJVhyqKIyoBGBxj2IPbisLpu8UazpS5tVr3X9dS0kSQqTGNwYHBLbieeHJx6rgk4wB&#10;6ACt61gjVJFmjRw+4KoUM6KQcEZxyNw5ABDDI5xitZ28iyJhyqhyVkZWwhIL4OCewbj6+mR0FvYq&#10;GyuJEVT8hYlnA+Y/Nt5YLnoMHPbtlVvGSjb7jbmil7miV/v6/eTacgEYAnMgBBdQpLEtuPGDggYX&#10;Pf5unFdBZQs84TDxeUzODIWfgkA5BHTgfKOnPrmqsVsq5EbwkGMAkxpg4A6DAB5UjIznB9a6G1ij&#10;KowDSF82xkeJcMeNgB3bicqM/KT1+bDEVnKcaistLPb7h8rhRTUuv4GtaEqgDSRncwl2kJsXZ8+5&#10;QcLwVUgHuvQkjHUWYBEjsiRkxLG6x7UBUbCDktnqiZ/E47VzlrG7KPKMsnDJuZSgJQjBxk5+UqeP&#10;73410kUTpBHuBtCqMgBBEreu4YB9Mg4yF55p3S1kvItcsIcy2/4CNe0hkBXccO8y/ICrF/ukk/Nh&#10;eAVyckHB5xzrQI4STdMp82ZQQ8jBZBgEhgp7+3Ix2IqvYwTvyqchjzLJuJJyflGwAkAjg46cEnrr&#10;/YTMyJGBExjaNJSxbzm3OcKdgGeSSck7XGanTlSXTQU0naW/mZQhITdNIxYMCoRW+zqPlOMlc9jk&#10;AgA5zxgUCIKplZVVHbzdyDezgjAJJIHOQee2RXXR6cyopdthwSQMwhOoDA5HHBOeBkH0IEcdjG0p&#10;OCkcTFSyh2U7eSBnd94Y5IPUcGtlGMbyW7/GxlFNJSWzTdzldt5I6o7mSML/ABMWHHy8HnjG3vjn&#10;jjk6FqiSISAFUkKGLkkgrGAzA89S5wMA7R2JFXZLKaWS3ijdnVSzkoCjTDGxgOAcZPQ9vamSWcsQ&#10;kfJUBoxMsjhCBtLE5OFAC7Dyc/OOAAcaRaesf68zN/Ck9Xc2R5cnhubTGtnuLyeeKdLkwAQoEB8z&#10;PJxuPIQlurckAZyLbT3jLvIpAjOyFVcEMxKY+YEYLbRnjhd2SMGvQdPv9Mbwvf6eGD3k9zBdwfLh&#10;YvLLq+4g7c4YvkbugAwM5t2NhDeQpC6R4YKPM8oll+bdge4wTwM9fwJJ3dtXoJrRpaa/8E9n/Zyu&#10;ra18deHJRb8R3KMu99sgBYrnHPI3Dv2b1xX9MXi6CLWfgnqYk2Ef8IhJdIksiko9oUlU5xyQYhz2&#10;wPWv5n/hVp32DxDo1z82YLqMM6A7eSFK9QeMkdhkZ61/SpoFyut/AucxjzZJPCV5EY8n5iYWkOPw&#10;IOQSTz3PHtYRxlgK1OS6a/ceLjm442hUjspJ/ifnteafsd0HlRD5nIOQxBwQTyDzn14xjis6awRc&#10;gearkBVaSMLLxk7ipJ2uCoyvPfJOK9S1PTkDM5X7/JOMgDoB6euMccH0zXJ31nsVAqNISQrJht7b&#10;lwuCD1BwSTnIHrzXzk6VrL+uh93Rmna+j0POr20J3PzEjncCi7toKnDBRyQTwT0XiuTu7aQiIMEG&#10;0llkVc7SfuqcnpgEg9e+TwK9OuoBl2+aPaCqEbUH3hhtq8dCcrkYPYACuavNP2M7GNlDZlO4fMST&#10;uHAYgZySOp6DjmvPrwtJpHqQs7JuyOEZpYnwhRCGZVdl5BYnG4DtjAbHp2q7YaxNZSsH+Ytwq7Wz&#10;zjdhs9Dg44+vdTZurOVgzBW2sGAdsk7gwyVAPHO7nH8J9K5uWM20m52kYR4l2joqjOTuyMAYc8dM&#10;c4rWlVcNLamk6caui20/Q9TtdZ3shBKsChKkA5A6ggdiACfbJ9SPYfCOvWzSJskQsBt+VmIUFcKG&#10;YjjIUjP5818owai4mjypVTgKiMS5Yqh9TyOR7gg8Zr0zwzqywvGUzjzBlVIDOCwBAXOcckbQOOnG&#10;eOvC4lcyjfQ4MRhE6d/wPsDVit9o8gB8woMBgMsvBJIOSB/Dx9a8kh1wwiCwWQCVZnEdySAQG2kb&#10;yPvKfmxjp83XIx2/hPUVvLB7V5GeOdAGLDcwwQM5J4ydpwPUc815jrmnLp+tTJOCbYs2HKkMdxwH&#10;B4I5PXoQBmvTqTu1LueE6a5JQ6o7Cy8QT2rmOS4cAAyMrDC8sMFsHjAKD39c4rpLPxTHJsP2gSE5&#10;jJLgP8hOVHPy/wAZweevXrXgOpySwyqZLosjgBZEDFMfePyjPqAen8OOpNVbHXGRise5pYmIiZGD&#10;MxOAdpBwR/cIHzK2O9TCvK+rOOdBtNryPr2x1iGRUBkjchcDZGFCDkKFBPoQMjHfAwMnoo0jlClG&#10;jZHONrOMgkgbcDnqQCRnjJHSvmDRte84hhM7jcFLINuAMnA7Y9OD616/omvsyIzyZkUgM5LKu8YL&#10;AgngfMDj249K7ac4zjqc7g4fE9D0OSyjkRpI0yCuRwG4IA78ZwemeM9T1rKvNIV96ruViS2FOTux&#10;9/ryc5OfStG01BWVN3yjZuBcZAC/Lljj3PPXr6jO4EhuBkNhnYD5idy9BknqcA59fY8A24RdpRXc&#10;Sk7+Z5hNpBiQfJuVl2lAuUddwwAOuBgfTpWVJoMEsisMkbyqAL5QbBJz1O0Y69cbj97HPr0toZAQ&#10;37sKPLAPLjIc7ceqlslcdZDwQTikbAOCyxKjY2BgCyrhctg9xyfrgc+q5Ve3YHNQd4s8d/sICNnI&#10;XByAqwmEBcA5CckZ7ADPHA7VlXHh/wA5hJvR5VVhGyMCq5UpuJ4z98jJ+8Djg5Ne1TWkbLjyhucY&#10;kjjUJj5flyRxjIwfUA8jOazJNNiQ8BiduVG0KQCM9SOuMg564JOCc1lKk+W9tTSFRSXvHj8mhXBV&#10;NgYgfLCdhU7clmO0dwD36Y7jGel0G3e0vLeWQsGikRlkYmJeR8oJHXORyeCOTzzXbLYbXRjDhmc7&#10;zFyGXlSCDkngkHHIAJBIzistrHwxZyRHvRmiZcZTngY/uquQASDz6A5Gmmu4nO712/Qzf2qPhlJ8&#10;cP2f9SNjb2954w8D7PEHh6WPMM/kBEW+jGefmt/NOMDLQoMH+L+bHxZa6rZapLpM7zNLb3TRNGHO&#10;xsE4POOD8uO/K5GOR/V/4I1z7DcQ6fdJCbOUnTpC6LEoDElmO3rhnK/NngADIxt/CT9t/wCCV78L&#10;virr0NnpF1Jo+u3D+I9A1baZIbiG4dnaFn6loX3I2eyqeQwr4jxByyNajSzqmtfhnb8H+nyP3r6P&#10;vFX1HMq/CeKklGV6lG9tLtc6V/lK3mz4Os5/EG+KK0mS0W2DKDGglGSOwBBb8OvPXiuy0zQNW8R6&#10;hHHfm4u5cqkCJIUjYMefl3DBU45J6v6Zxc0XwvrcyLLHZgjGYnZNie+PTr+tev8Ag/wX4xjmW98t&#10;EJxbxxId5IBz93jjnOe+K/JvaSlDkUG1+R/VeIxeHpN8soqaVk9NzptF+EnnOkkGkASQZkZw3mBw&#10;4IUg88DacZ5wRnPFeweDvg5NLqTNqyfY7SUhnE8fyXgXGEHOCBxknuCT3rqfh/oer24a51DVBF54&#10;2/Z1VluCF2gnfn5QN23k9AeOlfTOieFNS1qVprKNLizsovPu7sLjZgYALnrgAnHGSuPevVweDVZx&#10;/dtyb2/4byPis2zqplsJuvWSjb4nsvRvTVvTzKeheGdJ8OWcU1hbxRBPme5dRmcqCNsfA6Bhxyfm&#10;q6+r3lxEbKKS4BupWLbWZFVAWUEgHHOT19BWzdI05itIWaRYRtVOhx0weoA/+y70brKOCWCGAS3y&#10;ZzJvKhDnLMc8YA6+mMds17NWUYQUIe7H+tD4CWJdaXt8RF1KjfXoujd+nU5y6tzp8SLEFbj/AFmA&#10;FLsSzFuOcZIH0xjmuG1GZ4WL7g5LN5asp5OcHvzjjJ9QOeRXZ6o9zL5SHfGjx+YpcYMg5HHJ4P8A&#10;Dnsy8ZyB53rFhPE6LdSyKgO19pKA57ZB78njPXtmvPrzfIpQj8j6fJoxlJOtJczv6s3tMmdIwZZA&#10;gmiJzktkdD046Z6en412MOmQu1tcs6ssch+yRk4Eg2vl85x2UAcfXJxXEWcH2i8sLC3B+xLaqXKD&#10;aH5OAxzkgkAkt1J/Gu3vLSSfVbOyt5Hjlt1PCn9znacAjPI4HB6damila8lfVW/U5c0klVSjLlbU&#10;pPyS7/1+ZsXcFy1uYY1lYJLgsAZdoD8kEc9e/t0rKiTD3SBZArJuDEHBJxuzx+Z967+1EcQgtrkG&#10;Jo1/ePncJgPvHP09+Tjrya5nUHW0u3Eca+RJHkMV3FgCAee3UYA7e2c+zOEYNNu/T8D5jCYuVRyw&#10;6j5p99d/wPLbqzEc6bNhMjvI7ycKdwYc4OQSxz/3yelcR4gFm8LPOULgZh+XAUADknPXJ6dwetek&#10;6pmW7le12EAMXLEnJODj17dPb2rzPxDbRSzpFIoYFcGHOCCVBzn6tjk9z6cebioNQtHVW/4Y+8ws&#10;nUjFzetjzXUbGe6s3u7YxzSNDiNVP3VVhg45x6cc4INeL+JtOlXyliUO0jfPFHGd24pvBZfQ5645&#10;PI9/cdTuH0+2mhgmEZgJJkfgLnbnn2C/XgV414guLNJLS+tpJXEikzou8IxUKzr12ngnJx16HoTk&#10;5L2cYPTRXO+jSquq5Lbp+h8/eJ9HVYp5ZFxcmULs8zd8qjsvGMcev3jgkZx4nryQyJFGYEBt0xuy&#10;GbjkBieo5BwfQdcV9Pa3o0sy/wBoXUz5lbMcIRXkOFCj+S8/gO+3568Y2jpfSwwxiIsu9lVt20cd&#10;x2/pXkVab5k+i6H0uX1eeCpN3l+C7niWtPFFIXTcrbNzFEZdoz798jOfYc8V8t+KtJu7+/umaFSo&#10;QuquoByCSA2enAPUdevbP0zqMUyXdwkrvsCEKiKVJG4kKeenQ8+1eez6TLq2qpY2cMssks6RLBGh&#10;ZpSSF2r8uecDg8knvmpvKpNK9vI+gwsVQcqkdrdTvf2If2XNR/aB+Mml6XcW08XhrQZk1TXrjDYE&#10;SShTGvGAXJC5/DrX9kngjwhpPhTQNM0PRrWKzsdNsY7K2hRQoRUUrwO2dpI+tfCH/BPX9m+0+Dvw&#10;r0zVrqxSLxR4rtUv9UZlDSxpJteODfjkAknHfGTzX6WQQqqBFU7sE7mBycAYBA46nPOa/YeE8nhg&#10;sH7aqvfnrfrboj+OfF/jSee51LA4Wf7ik7JLZyW7t+XkUJLfCMCyqDgkMpOBkHOOn+TXPXy7E5bY&#10;RkkYwFA/kMk9fQ9a6q6wqMMkZX0OC2VGOuAAFB7dwa4jVrwqSkbFZNmB1+Xg8/Tn16CvpMRyxV0f&#10;l+WqpVmrHD63NErsio5MigbgAWzyABk4wAMdT34ryDXLW5M8k7EDYG4OcE5A4/IkEZ7da7vWtVtY&#10;b5bNZEZ4XdGcMSbjDyAELnngr24xx15ztWtvtMIkHlsEGACNyk9jjqQSPyP0x8/XpqtdXPucPUeH&#10;pqT2fV9jzV55VUFirQtI2VYEqAGYZGf4Wzx64PvWNcosheXl1jO4eZGxVvlU8g9ehOB2YnnIx0Us&#10;ZMe2RF3K+D8pfoADk55JyetZN2uWUKMbiYtzkKVPAXA6ZJJ7+tKNJwjyvqZ1q8ZVueG36dzkiu6f&#10;KgITIGCp8wwDuG3rjGe+P5ZuHiQAgN5QB4BbZk4XBPYnGO/9UMS7ljwy7dsgIJjfhgTznIDADGCC&#10;uRjoBTWysjt82EbzUZAEV8lW46exAXjAHYkVm0m+2x2xkvq+p2Mcha1j6ctsAPQDbhcnptCgL+X1&#10;JPYG9tYXDfP5RjAIxIAQOPr8uTg9qzLSUiCJS8hKukQ2oASVUY6nHIHUg8544zXS6ZIJAsZXd8oG&#10;BnO7dkD8ySADx0xjivRpRXs3ynj4qThXTvv0+Rzvhf4VWfi7Ubm1vZJI5Y3DtGqmXzMlsMWJGBkY&#10;Iwx5HGOn2ofDfgn4J6HJY+GbK0bxLcf6Fa3EjmW+tfMtVSSa47FMqWA6bpQOgwOQ+Eum2TeJbV5w&#10;CkunMJpANpLL5ZD8dAXx9e/vueOtD1GXxFrl5esTJJebkVS23y9iiMxqScALjJUdep6Aeph6Sw2F&#10;liIQTm2kn2PiM4r1sZmUMvnVapW5mr25tVZfg7+vmYWlM0NrbyIrBUjWA7yQc4Ock54xtB65OTXY&#10;AQTpCrhfMkzFDHhQ8hwSuD3HIzgnG09xisfR7eNLB4X3NdOqrborYy3yjPPYBmY+7YyMcLq99pHg&#10;fRLzxL4j1Gy0600m3kvtRvdRdbOysoIh5jMzyfKFHlzEkHp7HmsNRlKSXLf/AIJxY2vToKUpztCP&#10;mS6ncaf4I0nUPEHizUItM0rS7CW/vL64Qx2ljbxBpZZHLMFwsaEljx8ufr/IB/wV8/4LF2Xxds9V&#10;/Z2/Z31+5HgqbfY+NPFWmSPanxeySljBC5O5bcN1cYLlQB0Jrzv/AIK9/wDBaTVPjXL4m/Zx/Zn8&#10;RwxfCmzl/s7xr8QrGWTPiiYSFbi2t8gD7P8AuyrOp/eHcRgcD+aCC6e5nkuZfOWFiVEzH/TdSZif&#10;unHC87R6/KSa+2y7L6eFiqlXWVvu9fM+BxmKq5rNzWlBbJ6c2v5fmemW19dXF0XmaO4uI1ZZp5XK&#10;w2QdHRfLXIBI3FhgE5YZFLf3MVzPIksTyJLExjiU+TcXkpI+eQnHUgn1zkk965myuFGom2nhMMyM&#10;vl6eWZ2gySpaYnocA8EZ966W6EkiOsM8bqWXz5tpZm/2Iz9cgD8xzXp3TkpW2KhOS1VlZafgZksK&#10;xwi3n8tJSxYyggW9qobJHbJbAHI6g8dMs0648j7RFJ5pgv4dgt4wWuL5YmwHY5ztJ7Dpke1R3gIM&#10;MLr5ku3EcSkERJudmklIJJf7g5xwo9OaNpNcwyXDRySw2ksbQyykETTgHOyNcdAec54I9qpSjJ2S&#10;0/My9/mTez/pGfqC2s5VY4oYlh3JZ2lughs7EYYPI5HBbbtOevrzWFEiCQzBQwt0QT6jMCIYyyjK&#10;xIRk8YwR+ucVt3v2ZLcfJJFGcS2OnRfPLOGBcvKeOADkKR2FYJmu5rnyGkM5i2rFcTuYtN09ujFA&#10;SR8u84x13Eg0Oyi7bfoObShyRd27/wBfeRvcG6hlH7y0gZ8eduLajeDCAqAfu5C5GB3JwaV55pTp&#10;6eW0KWwCeTG2GHC5aRgfUevZvaoorW4WS5vDMnl7CI9UnUlZFGV/djGBk98YGPWq+nFYzG9y0rRS&#10;YMdpGm64lXALySdB1I56fMKpyjOKihQ55R5ZLXRtv1sv87HbWmrTW8qyRCJ5kmVFcx/u0ByCsYPV&#10;grdj1QHHy5BeLNdSloow+9ciNjlmPJLSNkEY3cenHWo7G7s1RSYoxeK223jj/dWtlggh2Yg5PbA5&#10;yvTudPybd7Z5UkxvJUOqsHvWyxZVAP3V4JPH3PSkknJ337+Rahz6Ld+enoYdxKJWdZSD5LIJXLqs&#10;UC8uEVRjngAY7EZzVyHLS2qLDHEwQyCJ2AMYP/PTnpkE46jd1qvBuginhKBpZGDgHLx2vDYcjuy7&#10;h7eme8kUcgbehlkZotoBi3SXDY52jGduSOPQ1CXvb/10MrPlXd3f9fJHQqjx2t0xIuBhppGR93mt&#10;uzI/HUkq+AOtecanp26dXjjeFXkZlfId5iDu4GOgzwc9/Su+sPtJUwysDKsnlzqqqUjyzfu15Jwp&#10;POeOawfEkUxhDYS3VSIHuCMsih2JCrwNx3deeMdeMaNreb/ryK0UVF7Wtbfex54JXe7uJGZpWCAB&#10;ScgZAOSfXO78+3NTpFDmR5P3bZPzA4K9ztPvg02W2lhuQhV0LnfEithiu4IzOeoBwTknHyt3wDY1&#10;KwM1orxS7X77f3YHy9D3yBgH3BqYpKz7/wBXGnFw5p/Db9bFKCYo8kkaM+5z83UMoA6r1APOeueK&#10;tFZJHa5klQorFVtkjxhgo+VffP8APsBWLAZ4Y5IRl9wIZSFDuMZBz17nAHBAPpVuynRfKIV90JDs&#10;zDd5e1lAAHHdge546YJIOVJpLVWLbg2k5a/02W5llTzHdC7svmKgXGWLZPqfT16H1NaFhcySIrzK&#10;0QjyqkNjceQM57dBz61HLdyRPmIxOJYynALeUAw4HHYj9RUMU6HMLhZd3ykIhBcDaM47YLevJBOK&#10;0tKmuaxlKV2pN30tZfhctw3K3VykUbH53UqANjIAcEjvkY79DTZcwTuY2dYkDIzbiwYZDAfhkj9e&#10;azHaa2mMsB2rI21WzlW5Odv47h6Z+uatzTSySxlCCjDzZdm0KSCCMcdQf5nORStGN3/XQl1Fyq6+&#10;b/rceJFnIQSIfMcphmBkAxluvQY6HryKptLDazsq7jGRvAc7mBIGCT9dxHAPAp9wzTSSPGP3nlb2&#10;j2A5JjUkZ9O2SOh/ANijVXikkRAGUOSxHzcfKuAPUbelS1JaJgnGcLzdttPQZI/mvMI0UyebglFG&#10;F3bgCcdOhHvt+grHTZbsY5VPmzOrFzkNGF3cfQ5J9eBzWr9pVi8kiFVmkUgqcEYIDcH2z2yM/nJd&#10;MmGeOOJvKg3EKoLM2SV7Z7EYGO+e2HKXuqCXqFJwUedW5l/mU5pYng2iMxRLGY4cOXZueD+OffGA&#10;PWqKRzpJGJctJJJ8rt97O0jk/iB+PvzZjkk+175kBWON3EcYKncw3DHuM8dqpzM75abekgbCrncq&#10;fKWKnHHQdTye3akk204hNqSd3qmQ3rtFLtBVjIELErhiDndnn37ZqBWlWUK7AJuZXHG1cHtn/OMV&#10;VvBPMjiJAPs+CzZJYkbuBnt789atRRPcwxQbtrRsckgYQn1z0HYk+lEbcqT3MnKcHdrVL5EF2V3B&#10;IwBDHtDnO7OeGJ+pOfx6VEY3kYcs6/M2S5OQGA/9m/T3qe2igZJGnky0sIOQv7ticfkCeM/7WKQz&#10;OkrRiICJQcMcnaOBn1704Llskv60HPRRcF7z/wCAPV5ot0MJYAoiyszYJAPAHqOM9/fpxIW+Qruz&#10;vHlbS2GJHDH3z70tw6yDzWdw0cUcSEKAn38DAyM9R0/uk9c5aiQrA0hDLIqNIWPzEM3G4c88sPbg&#10;GoUXzWZUp3V3t1/T/gFyETF3luDlWZYovnznCjO7n159Oe2Ka8m6Tcpzuj2vtcbVIY5Xg9M9BUtq&#10;+2JFYN53mLO67uFGMA4/AEH6+mTmmJwkzpyqQkKi5KMwkduR3PzAZ68CtYv3mns/8hObXuuO3/A1&#10;NL7YoJBJzuOeC2eeucd6KqxylY1VmjVgMEbRx+tFJQqPVMzcq7d1Ox84tEyx+UkyyEOTubkcc75A&#10;Pxx2q3Bt/cIkR35GyHaVe4PGZJifuqB0Hfn8YGk8uznQBZC8yq0p5ed0GML3CZHXkEfWr1oIRAqS&#10;Mwkmwl5cRybS+4jEUfYY4yenPtioSaVobnI1BzT6P+vyK5aduRCZWkuS0EZy32l8/M5A4CDHp3FP&#10;vojkSbg2XUCIPskkc5yuM8KoGB2/o420kSyvOwgWGRVuJkmUlAxwkcYzk8DnB7jOKkuI4NxKw7sK&#10;JZZlbDIp5RIyD95sEHPfFJNcqT3/AOGNKjnGcot2SvYcpjNrJK+1iZdszs0mWYD5YIyR90dyO/fm&#10;okYYkcIqkxkSyIDuTkr5UfoME5PvUxktna4cLOG2KVgVMx2iNwST3c8HgcZqtOZLea3jMPk/IZY0&#10;nJAVCDiRh3LDt9KHfm94Uot07x6f8DUbvYsVaVYncBbiQLtktOuEHbdzyff61bZUXy5IXKRpLuCs&#10;oaSKL5Seeu48n8RVS2MjXOGjWR7lDNbK5wMKCzO316/TFWo55lDSR7W85yiCQGYzbQB5uD0Uc4+g&#10;qdnd9P8AgClG65l0/QZ8pHmiJ4slnUhd0kIzklvc9vc1aj8iDaVDIyReYgYhI1XOTI3fnIwO+DTV&#10;uCx+SUqJnLr8gVJ5ApG5geNoycD1xUcaEpGouJJ5CScSLujuJCFbaD0Cg4am9GiklyuLen/DAH2x&#10;SOJXx5u+KAgv5gA/eStk5wOcZz9anVXlMQiDSxu3mwfaG8uS8f5SzueoUcdcdfrTJBs86A7pUjVV&#10;uJxhmnOB8qkDlQcjpjk1OLf90y3EOTkGS5zzCGOREnvkAED1NXaPLrt0+QXqfB2/LQhaLfvCosyb&#10;9hwdr3Dn5iPXaMnGKso0ZmmgZ2TEQimljJCzoQCIkPoRtBz6GkhjkVxESYA6mOQuoj+yxKpIXvhm&#10;wRyM8D0qxGbVpgqSorSR7YYmG0WkfPLHHLNzyOlTGLlqilo7Tev4a/8ABK4814nhkPk7Vw6KnzRg&#10;j5Yo8dyuDxzxU6xBJ0WSKaE24QmWAiRbVcknIxhmOOh55696bCZhLFcxbDucC1hlYtvG4BpZFxyA&#10;FcZ/Xg1NJcxqwWKaZj5jQxwMPklbJDPjONoOMHsABgc0XTlqzTldSXI9E1960v8AeAglDqUVlCbp&#10;IUnAWVEyR5jg92xkDvTopEeEfZkdJSpNsHVmkkywJlc9Bhdx5PYYzU5kuJhcD7Y1zHlWnlAKvcvt&#10;/wBUh6lR8oP04qeG2kNooebKvD/p0sRBKr91YlPODgD7vTn05Tioyt0sPkupXfl27aGaRnbHvkki&#10;WRnhSUlZL6QgKrtngKp6EjoOvJqYtFujRSUMKgX94o3pPIg5jjwOg59enFWIiQkiTtJBczrtSVsN&#10;BYwKGLAjrvcFR1H3TxzT4bGdeNriS4GbODaUa1jIz5reu4DIOen4VVpW5pf1oTZSXLSW/wDX3kBg&#10;8gyeYqAMPKK5Lx2Yfj5T1JwccVq6cbexe3mkjimmjcuLeVXSG1iAU7nIGMyAnoTwDkdM0EKNcSIk&#10;jzmGYsu9twvZBkB2DD1PORxj8KtwJttroysWjM+ZEVTi+kxhIgMYwCpJ5A+Uewpu28ehm1B1XBLV&#10;afMlW8nu5GEyfaVErS6bp6lYkYtn99L7YAKjJx6erZI3gFyZJoruJkJlaJCJL+bI+RCQGKhsk4xg&#10;dckLUUChVuo5N5ZSst7dqRtlYHi3jYjgKCoAHykipUSdSBlxNBAzCH5ZINLjPzAAHkNhz0yM575I&#10;zilvHct3tGe+rCE31rJfTFvLYgy3tzDGrEmQhRboR0ZiVGFwflx6g057G+txGPs32G4kgMkcEi7k&#10;0+BlDGdjyAzAnA64IOOgrRjRFkMtp5kd1JIRpcEtuqoqhRuuJBnpn2K4ByQBzKjbLaQNMt6UdYSz&#10;Eq+rzM2PL6ZKY28gY6dDijZaf13Kim3721tfw/W5XtjK9viK6ZYIEC2dq1uZWb5maS4mZR8o5BG7&#10;gcAdsrDJFZwTRrcefYhitxbwTCO6164zlR2JiBYDPTjgg8h5gu1XV5Jp0hCWaLqjQS7fNY4As42z&#10;jkYyOmVPSqiW9yblklHkyKUeW5QsY7JGUFYo8ZLNgjIAJyuMHkURUZN2J55ezVTzdrfK34suq9xH&#10;JLNHd2iXM1oHv72Et9m0qN0MSWyAptMpBCnacEnrgE1YVmVrRpYpJrhbVm0vTZYnEFqnz4uJTnDM&#10;2SecdPQAVn2tvMt/aCCzubqeZGutJ05JAZUcAhLi4AGSN2XIx6cYGaml8+4k+26lPPc28k3kSCJt&#10;l1qrD/lmh7IGXGTngdD0pyUhpXjaSu+v5/kZMbxNOhRJrllbNjZshInkIcPOSTnC4GP1zzmNEQG9&#10;eedmi3ebeXG8mW7kOG8mLjPTuPXp6TyzXal/3se0xrFLbxH97Gjk7baMngkc5xnvSTTy2twqlIY7&#10;mLdIkC5kh0fnCuxP3nwCQCTyOvqJrWLQ0kl7aK2f/DmFdN9pLPMWt5wrK5RysVpEc5ReeGbJ4+tc&#10;Fq8cSsSoeNCf9EDgELGB95u+e/413F3Kz20MPDxeZuginARrlw3+sbJzgbuK4rVAWRmAOCT5soAC&#10;SkcBVA7Dj8xUNJNIJt2VaG/49DhLwrwqEnDb1XPLnuT71izFQTjdtxgE87vX6c9q3LpQ5LrgkZ3k&#10;4AznoD061iTbxgOQrEHJyBtGeg/WiMo2s+hyVE4tTS0KROCVJwM44G7B9P0P5U5ZFT5gf4g3IKnJ&#10;PrSkAc4yWJ5Jz+f+e9VnwBnqR685Gaq9tFsYvbm7HY6T4nu7GNY43CmKUOhPIGDzg4zg4r2nQ/FM&#10;UlrYSJdRJ9mZjZpMreVFIwy0DHggORuyD2HPWvmbcVOR6EbSck+vFaFtqE0ABgkwVkEnyseo/wD1&#10;mrU7q0tf6Q03Fpp6n2/a69b3ts8slqhd2byC7sq7irrLDMp+XyySCDj5uTg1pC+ihKi1kMwuY94A&#10;lWUXEaOBh3U/IemEBLEKB1GR8u6P47aIgyyMiTAJdQlQzswGBNGf7ykKRyOg969q0fxGt5arGHhM&#10;y5uLkMxea8Q523CrjLTDocDoOxNO0eW9ux1U67acJvTz/rodbcNcqRJeTo8swM0UmxWggP8AfCDC&#10;7iPlZCNozyvaprJrbWLvDW8NjHBavtOGeCAgswRA2WZZMkhuxcnPFVLGSC5SWWSFyLaUYdYvNt0d&#10;n35MjHCxtk72POT9TUGoyNfXFxdpZwwO0p3JEDb28Z2DEIAGFhYKNg4LY9uM3vy9zspycU6jT0a6&#10;+ho26KbWWKzTzZfMCTxMFTZICu6CRySpXG1t/b1+7VSGJ3lWbycxCxaOUROsBC7gWUO+dkg2jazZ&#10;ZsNgc06ORraOKCG8uYlu7MWzxx2/ySsGEht5mH/LTcxZCoJ5AJGaIbmAQwtcfaVRZI45ioJ1Btoc&#10;tLtOFMykL8vTBPpir5m9H/Whm7uKSVtb/jovwM2CNr23lht3kF3KHd7m5fEdwofowY5Vxu65y2Bx&#10;62RC8N1byxy+ak8TiIvIRLKqYBikHG11OcAfMw574FlT5itIRIkM9wSrpOC1wqEqrgkYEw4JbGBu&#10;YcjqsFrYlklvWE0CLxbQDybm53bsyqxzsaLcGbqWII4JLiL2s7bWLkkoe+9tNtkU5rkFDeQxTzrB&#10;+5juGVo3v1A3eVMScK6ZYqozwSTVaO6gmQtIzSSTsYLGO4LvFJxk29wQuCRvG3PyjA59LTlIzPAf&#10;MvV84y26CMRRsqZMlyhPIk5wyn5m5xjODNP9jmhM8sFvJdT7o4Vs1dLe5cKkYdWBYRyRkDMeRnGc&#10;dhKelmTVXvKC0X4PYztMkltZ45ZZoDOjK0DXLGRYijDNrNkksMbgpPygkdhUtzNHDJComl2QoXQx&#10;OZXspAwGCr5LoRuyxPGR6VWgum+0B547O5nVN032uIqkyKm1kljU4RwTlcYz1qrNP5sMEkccMzsF&#10;tY96FLlWckCCVjwQeAgzgYGT2Fp+6pdC52UvZLz/AEt+BYiJDxyxzm2jjHmhowStnKQSGLnJ8tyD&#10;luv4DmwsdwqIz/uo4s3UrYP+htuBV48EHy5D5fynJ5NT6OqXs32aJI0kkaOMNcSIsJBZg0EjMVAG&#10;MYdsDnjvnTFvb+RPcWl/FFGhdLWBmTfERuV7aVQPmBDALK2AT06YFJTirrZEctOUVPa5kSyLM95a&#10;yxtAWIuryC1bzACdyxTRgEkKCQSgJPz9RnIqENGfOlBnuZIyfLE3NyF4jniI43Dav7segz7a8kMk&#10;Kw4UxT25McUssJ32m4H93IepjfP+tJOBjg54zomkt5HimiiggtJDIMSea2md2dSQG8ptoJ4ye9T1&#10;QuZx/c73/Dv+JmhZl3qIhdK0G/h2VLuPkhTyPnQkc57dj1t2z28t5ZTySRNLLGLeznnUkWrJ/wAs&#10;ZhjJBI2gdDnrxirsjRbJjcuJLbUmdbu3tlaIKY/uXcaqMHd2UZIyAfea4ghuxFiF5by2geSRLaJf&#10;s2p2wIVXVsDMqgAMcfwjnOSJaXNb0v8AqaKLvLX3lf8AT9C5ZabZC3uWfUS13JqGfKtoWgbRJWyw&#10;lZj/AKwZIIEYO0dzjFVdShikAe4SV3mXMlpG26DUGAI89ZOf3nzHcOApbp1rStZI7eG1vDKCwJfR&#10;rlTujnZefKukPKpgxAO3Lc/L2rPliQQhywgWG8d5IXh8ptNlzlckjb5JKLkY+YjFEVzNk0ZJO09r&#10;afn+n5mMNskksdoqNIwaMLK+2K7RRgoS3AZdxy3Xg1Sn3S2/mRwFEjkaW1kcZktkiLM1ucE5XnqT&#10;8wXPetS6kRRPm1EcKEG9CsJRC+f+PiAqQOMfcBK8jHTjznU/FF2i3Gl6W0vm3aqmqSxz7I74I+9C&#10;4AAyOMjkA9M1HR/1/ViqlTlSclv0+Za1LX44UNnAXluJJlmtCQALdWyXViR0yRgdBWHa6XJckSy7&#10;nmu0kdomB2jB3E9wAAMc8nPfFXbW0xbpNKjPFlJlSQmRlJYc5HQZHf8AwrorMqYYYALY7b+S3cBA&#10;JBvUnls8qNvXOPzrRQkkmv62OanOc7xfUxyIysktvE1tGsMUwVn2rOy8OAeAOcnHYVYicuLmZBJb&#10;iO6Kuo3DKyggj1GCVP4VOqxywxQFALrM1qSzExRn+EA7eTjb+f408h4Im8plaRrWO6kj3B/OKsFY&#10;5zxt2njHTBPXkWkUn1HG6nzx2X9f5jGxcJbRSDy5I4Xt2VDtiBjO4d+vbn8+1Rxhr2ZpldwjXEDh&#10;wNoXcPLHJPqoGOmSKnGL64zEzBYrwKJHO0ZmXBO0nocAetSOjoptoZY0YW7xTEDlHjYsuWPf7w+X&#10;PQZxmkl7130KhFSaXToJNcJK6wZlaUh7GdpucqrFotvPIGckep7cUy4KgogKKskiSsoLOAGTaACD&#10;3xVkRr5okjnHnSXcZiAGCfMXacHkAcjn6VR8pHhBuHMbiLIBBG0RuMZ7j5cjHbipdotoLSqc0N7W&#10;/r7iizyrGI40WMyLIksijPmKH3cZyeuR9OKhSKJg4SUpICwbCszOCCQcVqBIVnMCQeYwnkhiIJzh&#10;13DAx0BOefXiol32gt5YQqZhjmdjh1J3AfNkcdRx70rRdl0Li3T9690tjFkSVeUAMeVJ5GQSpBwT&#10;6461GA82M7FRRtVtuVYZYHPHv1raZFKM0ZWUiMtIN4Qgbs55PXlj06elZzq7KojCvIWdy2/O0KwJ&#10;HYfxdPYkZxSlouVFRjzNzg3cyJoio3LnywpLbj904/xr1v4EfEK8+F/xM8L+L7Wfyls9TSK+Qkqg&#10;t5SEnVgOCCrE8/3R0ODXl7RyIokkLuWdgMkHoeCf8MYyR6VEqkSQvnaQwIZV3nGcnPYcUtW7dOpL&#10;UZws91+emqP679BmsPEugaZq9gVuLTVNNhuYnMciyKksYbnDbcgEjBGQUOMDObcdsI2fcobOQ4ad&#10;1lwSPzOCcg9mOfSvjf8A4J3fFe2+InwetPDF6Xm1rwJnSbx2nfc6HLW0q+mYyykkkbi2OcCv0Ck0&#10;yTah3MVlHmEh2dnJywG/hhwSDzzt+lfn2Y0J4bFTpv4b6ej/AOAfdZfiVi8DCsn720vVafmcVd6b&#10;a38TRSs8iL+8EguSSDgBVOR6AdBjkAdABz62QjmVQ7bVIhZ5wq7WyDwTjPBb0POfXPpRs5WdXiYJ&#10;5L+YgMkcHI53ZbAAwM8kHKio7ywtbyNEnAkPlKx3XAiRWJBUFR14wCB/f6Hbk+VK8m7HpwcqEbVV&#10;2+6+xx8NlGivNFE7JvKgodylSSBnHyljg/8A181tQFTIVZWMQKlkZGDDaQdg5P3tuD+nfCGE2vmI&#10;yxpGrqkCTNGG3EcAMVAbnPbjHGcVoRpCUdFUcBAIyqjBACfeDA53cknqAOuaUuWMk7lU4Xbgla/9&#10;fmXI4B8ieUZI3jBeQTFAgCFl/hOMkg59SAeoNbVpGRD5avkwDcWDqSNwyuODk9jn34PAFS2tzlVm&#10;jQZUxuRKHEYOTxtPcKvsOlb9qh3BkWbaqBioBQOCcjcSOnbAqU0otrYpwi/dj/W2xbs1UyrmJ2co&#10;CuIlSMkDGWOMk4Axnjg9sZ6i2jjw8qpCu8hUiDffAGflUA85XAUDuMDjnOtFlBkluHmQGPn7S8s1&#10;w5+VTk4JJOfmLH9a6WyScOixPMmACUijkVpRlScgZHBXOT3Qd8Zl1I25e356MPccfc/rYuxSKJfL&#10;jCiZfmaXzYyYwztkqA3zNuTg9DgYOOuvDN5hDRuG8tgwjil2wphXIj3FxjrzkEfKcnkE0kRY42Ko&#10;0bJh3/eOVfar5yCemCMj2Jz1q7HZsyhFluAdh3LCzI7Ho2TyTtY4OcdB6kU9dZN7EyUuXkvdrX5m&#10;slySqM/lrtj2kMHURMdp2lg3BAXqNw+cnORwkc8KzeZP5eQxXDIQpUkEMrfL0OCckHDEA46JJp6u&#10;EZ1MPloruwTcUT5eTkYwCcHHBGOhOKt+QRbhVI8hGMuSMsAEKj7vQ7tjHpwq8VrZqSJjyw92n/Wx&#10;PawQzs42IxEgRASwJAOCNmeOQccgcHHcVMLRY1SOOLO+VZMyOJFYAnIJPzDoeSOOMDpUMSAK6tIW&#10;aSRkaJi7MSG28rjbnPBxkk571oWk8ykmRopAVxsgGQhJyoA6kEjGAuFx1wwrSDte62InKUna+pqr&#10;Nop8P6nYyRx2+qzSwtaPBY+UqRo2wIcYH3mRsgHmNc8Di3paRQZ3DbtxtUoY2UEliD0IAO/cdvB6&#10;nkVvvFobeFbyKSaM6tLf2xt4VjBnWJUYSk8dnKP1HAIxkjFO20ueELM20ROojWV3wSODjaOWA5yM&#10;HqO9bRte819xi9Jc03rpueveAPLh1GyabMUYkVAAwVoyHfoCcAj5Oo9CMc1/Rl8BrmC9+E+iLBGB&#10;FDamN4FJIKtE/wC7x34C9R/DX83vg1Cl5BNvaRPOO4yPtIIIwMevy54HYjI6n+hT9k2/a7+Gh3YK&#10;28qNG2eZAQ0uN3oSx47ZNevl84zjNW1aPEzXndONWK0T/VHkV/pyiJAIzxGFCk5dQMgbiB94EAEc&#10;AndgKMZ4XUbL5WEgVCEZOSAvGQcnt0PPTg9ia9llt2kt5I9uQshQhh5ZVd3zKc55zxyDnbkY61xW&#10;qaaPm+RSem5Yw2MZwRnJ5I7EZ3EdyK8KS0R9tRkra7nk80MYMjNCApcs0bkox+UAkDIPQYZeo2H3&#10;rGvbQOCViUIoz0A/DPOQQB16fXr3V7a5diAIlJI4OXRl5RuR/Dle3IB/DGezyJBGPM8p1faq+YIt&#10;pAByB0JKD24/HiqRc5WWx6cZ2jFvyPOr+yRw4MZBJPybs7+OpPXJBIyev41yOoWKyBmCM23czkHY&#10;UO4LjLY/vevfPavW7i0VWQsm5QQxSTALnOSDyDkgAA98/gOYvbLYWYIEniCsGCYLMGc5AKjJDDkH&#10;g5AyMjHLKD0bep0xmlZNdjyKW0dHd1QsilSWPGz5RgtnA45IP/16tWNxLZvG/mDO8MuQVaIDPJ6D&#10;HJBB9RXQ31ifmykLNGzAgSZhTaWwFfnPTHPqemK5uaB4Zskt8z+YV2H5QMkYXP3QF5zjnIx6zGap&#10;35f62O2UYVFdnvHgjxO8UkaEpuSRQBtyACyg8cdh36AH3ru/GDwXtqt4qp5vkorB8MrNtXdtU9e/&#10;5qOCefmrQtU+yTeWQhXzASN+9WBYqVLEYPJzjrlRyOc+5f2hHeaMsUkbF41+Vovk3tj+EA8cccYx&#10;gYA5r1qFdzopN6njYrBSjW9olpsUYtDF5ZxOspkjDC5hkE5kXILOAGOeAWBGDjnac4FJF4TaI7BG&#10;N2770vYBlx8/YAZxgADA5HajDrklnthhjaZWk3X0KoXGAxUOo74ypGPU9K7+21YSRqXRCXQ/PuCn&#10;n5mPA9znrgcdq2jGMlf7R41dThJ9mYFtpi20iFNoY4UMq7Q2VJ57c7iPRuO9ddpaXKsGUBWVQcMp&#10;f5cnLZH8OWxnqD2OQDWe9gWVf3kagsDhsOM5G4/lu4xnqQM4zJFqUTOp3oXB+WRpNiuehbpn05HP&#10;A+XudopwS1ONqU213PUNLvSNpZgjABwgGWX5uR15JDNyDgr9Mnu7W5VwoVwDjCgAqXJVdvHcgKx9&#10;T+JI8i07UYzG3kow2sXf5/LLcEYJHfBK9cHnJHWuus55EyHVoxhkB5K8KMjsc5IyCTnjpyD3U6ia&#10;jFmE4XXuI9HhYgkF8+UuVBO7dkqcLjOMAt+tI/ylEUbcKIhEiHpgEEY46ED6DPJyTnWd7vjG7AIj&#10;wwDCQscl1IPYkkA/jmtUmJxnep2qVVw4YgZJ59MnHHBOemMVrHltzLoZODbtYoyEsoX5M45wc5YB&#10;fugfVunYVTSWJNysgU7WDHazdCvJxzx7ZyDgDjBuyqQCwyTvKoSMnIxjjpyP5jng1XdlcodyKEQ7&#10;UACHgjcMEcgZU5GTyvoMHM3o9gst+hVMalidkQVJfuuVdMjJOBz0OSMZ5UY7Cq7oJSQu52baCQ7E&#10;udoTADdPvAA+iYOcZNzb8sZXqFHygFlz06dDjIxnvmnNiXzPmbDPwqnLHKjj3/jA5z8o9am91ZIT&#10;SsRWDNGySR/My7Scx4A3E8MueNo4K+xPJrmP2qPh1bfE/wCDsOvx2avrXgWUX3k2ytJK9qu0TKAA&#10;TgKIpsdvKPpXYooTaQcDPTIQEb8jB+oxg8HPHYV6H4XuopZZdKvYVubTU42sJ1L7oXDqS3XHBBcc&#10;DJ4Bz1qK2Gp5hg6mX1/hqRa9JdH8jbB4/E5LmWHzvBu1ShJS9V9qPzV0fhRrC+HLSGGOzs3sJkkE&#10;UyKf3pIUB+T3JBPGOCMAdK9Cg1G1ns7GOytTDaWUUcZkhTKoxBXcx7t8qDcT0AA9a7z9of4XP4V+&#10;Ieu6bZaZHFYW9z9q06TcAZIXjEsZx1OPnBPqh44rw/U9fHhixjjnMjXEkitbWqgkzEMWIUY4+Xbx&#10;wMmvwGvSxGDxlXDV9ORtP5H95ZHVwOf5XhsxwDbVSKkrvpJJ/gevx3ssYBWARxEfK2CpAABAJ6H7&#10;x7dD1wAK9J8NeIdTtrKe2hvfKtnZXkTJ2tkAZI49uvHB4rzbwzr1x4k0OH7RaDTTtCrFGiPdOQgU&#10;F5CuVznOFzyOo79xBoVpFEkvlTyXFyAxaeQyuzHBJIPJJbJHofwrbDVFZToyb09NznzRYarSeGxt&#10;NJ38pbWd9bfqdpZeIGileGDyZLi4jMA8pxK+CcMckkDGG5z0b89xrqCKA2UCrHcXJ3312Ilml+Ul&#10;iqEgkZ6HGD74FcZo+kWtsTuVRIwO1zuVhncSQc545OO/pjit5JYLKRczGfTAyxy3EuHuMnG45HUc&#10;kevAP176MpxglWel9PLv/wAOfG43DYX27WHTdrPb4mtu97PaPVnH694nH9o2VooiluQPL2RyEG3h&#10;Q8ll7biq898LzSXlqmq2Cs4KXDzidsKdxXPPX+EFcD1yeanutE086vdaykaJFMDHGCcsV524Hqv6&#10;GrS3cEdlLJvj+0zZHlgFiqlznPqcE9P73tWFeCqN6+7t+WvzPbUqFKjR+oRakrXfm916LqZmjn7F&#10;cmIqcMn7ohSWf5gMA9AABnHA4brkV6noTWuoM12z5uDIbZFOCAFyGYn0Pb6GvMbiUxzW9hAoN1KF&#10;eMgqoQOP4j0AUnJ9sGvRNKhjso7aO0dXkcDzjkHPzZ3A9cnj/OaMI1Cp7yvY8nPUqtFVb2nJaPy6&#10;t+T/ABL+q3HzlSM+WcRlflAHUj8sVgyyC8hFxKPKCbkMJBVuP4f0xjjv6V1epyRwrbIyobgMJGLE&#10;5/i4bueo9ufy8216+MVysSBzLePljnhT/E2e2SB6da7sR+5vWnq9NPy+48rKaTxCjCnGz7+S3+/c&#10;ymSItNLKwSJjuAAZVOwN05z3P5n61y0sNpcPNqAYzq0f7sqNyKR046Y+nc1sX9yxLwGFZEhbcVcb&#10;1HTPB455BHueD25WOSQR3KnMaTcKGwiqCMlsfQqB6GuKrPVQlsfd4bDydKU29dPuPNPEWmpP8gjL&#10;Wpkd3iVFO/ccZbnpgAEeg4z380utOtHgu5mxHaxyhLeFCIyEDOSnoCCQAWHp6Yr3zVZYTbzb9kig&#10;HzDIxVmLAkEevJOcep9a8F8S28gLzWjbUXarwyMDnIznB6HJ6HGPSuetCNL95F3uv8v8z0cJUlJq&#10;lJWtpc8o8UT2c1myqjqbdF7Aoo5LMxOBkce3A5rwDVTHcSzZAO6TaXJMhYZG38iCM8cGvoDxFPCm&#10;mXNuV/eSod0mNrsB0BX3OO3UemTXz15dw6TBy6gMxKRgKCOeOwPf3xXFJuDvJXufQ5dTXsZSXR2R&#10;wd3o1mk8rSMH3fu0Uj5QwypA5HIweD7duK9x/ZA+BUvxP+Mmnz3Gnu+gaHOt/eTfdizCyui4772w&#10;OSOhPTg+M3VvPdazDBpatdbnGwZAUbm64zkD5g3TPByOuP6DP2MPgxb/AA++HdhfXdsia74ghj1K&#10;/kEYVk3opWMDqACzHH+0PSvWyDLVmeYwc18Lu/l/mfLeIHFP+reQVakJfvKicYrze7+SPtDw9psW&#10;n2NtbW0IjhgjWOJY0OyNVwqLnttzgdO3rXSuCBkDGxeG3Y4zjOQcDj8uPwdBCsUeFAzkjsSo2gD8&#10;wSfyqG5uBEDjBDLwAQeQWHPoeo+bt9c1+5QpRo00+lj+HK1eeKxEp7ts5/Vrny48AnJJABBGT8oJ&#10;PfgAdf61wNwkxiZiVZyxYkFt0Y2nAHHQcLn3H1rsboR3MhDbSyx5HQKvTIx+B9+PpVJ9PUq+5kBC&#10;kli4AAwDjP4dPUV5uIjKrNuOx9JgalPDUlF79T5s8RabcQXUksO/IOSfvK25zgKQfvZPHU4T2zWp&#10;p0tzLYEyqysEVeGLKo+QDvk8EAd+AOCOPSNS01Lq5aFowEQZBA+Z+uAD6Z7+31rGm0ohS2FUMP8A&#10;VnCfdAyDg5xknn07V5tLDOnUdS+nb9T3MRjqdelGhb+ux5jNYrFCCqspePeQ7lgjE7sZ/Eeo4GO1&#10;cxOgjBUqV2LsDZJYAGP8wSgJJ4znA5wPUtRtBFuBUbMB1cAZUMpJ3EDkhVX5ckAvjOc1wmoQAO/y&#10;qgBG9g21flHQ+x+TnOMde9VUUY/FsY0J88lF7HElAjknAUP+6LZTG08A4zwOAe3J6VB8qxNGSDhd&#10;vAy45U9ckchB6dTWhNEdzGTdmR9z7BmTCkjkduq8njk9aoTRFxkg7lUmN8fICAMgevOM89OR2B5a&#10;cIpuR7FaahBIVJQI1G5GCsXIy25229Tx/CD+v1rp9HuUmuI1DRxoQFwpIWMliCW5JwPlOcd/WvOp&#10;ZERwhBVHGS0b7tnyoSc44I+bjgDd1IrrPD0uHUMCpkf5n6LJ0U89vl44H8XbpXVCVo26f5nmWder&#10;zy2SPob4e+KpNL1S1kQFJ45hu3jayBxtdWzx0LevJNfVHiyOLU7DTNWtRBM2oD7HdTIw8okI0kee&#10;/UOPbIr4BhvZbPVRscgLIAQmMYxw35k5+n5fZul63HH8Idc1a5YeX4V0x9fmmjHms6WatcSgrg7j&#10;sikUL3wuepr6HLJrEUpYSWul16o/P+JqH1acM1hvGVn6PT8zk/EGp6R4D0y41jXdRi0/T9OtGvL7&#10;UL3altawxjc7uxYKEA3HLYHy845r+Gv/AILZ/wDBbWL493uufsrfs561NafDHT9Uey8feOdMnaP/&#10;AITmW3uEItLWX5T9kEkJ3ZX5woBGMk+Wf8FpP+Cv3xj+O3jzXfgX8KtX1bwP8E9PgOmX8ME/2bVf&#10;G028+bNPIh3JbkKm2Lgtlt3QV/MheXMiXJZ3UqJCzHHckk4PqSSc19Ll+CpYWOus2vu/4J8DisZV&#10;zSrzVfdoxtZfzf8AA8vvPf7C++1JEqul7cGVGe1LYt1ydxeVvU8A/wC72wK1rS6njnLtcKscaYlv&#10;M+XFCykZWDA527TjH5civLvDmqQSRLHiTy2kBa2jJ82/kK/KHI6ABSwHPJb8PUdInjHmMIo57uK2&#10;aSMy4Fpp6+pHILfNycZ5HXivXg247bfiNWi+fZLVf8MdZbNZQTWjSSXbwOI3lkJH27VJmAyVOPuc&#10;4AIzjGea7K3uohPIkcfleYm2BmZjDpo5IABzljnAJ6YJ6155HexTLHLK5MxnCTX90jb3HKqsI9Ml&#10;fm5Hy4+neadGtvBbvf2YitvKNzZ2eQt3c7ghEs56hQBgA9ct7A6uyaUtHc5ZRhNN9P6/4Ysx28Nv&#10;A8V0JnVkaUITsudRYENtBJG1ckAHpz2ArNupoJ0nRXihkDmASKCsFuuBtVAeS21lHqeDjtUjTJcX&#10;lxcXF9LOtxEFnkRgfLBwpRPcgduOvvTrhILsrJBGiRiA/Y7YnKW4ycSzYHJAbPP92lyx2j8zVpON&#10;qT2/4DOfv7ZYIbQBnWJ4fmuJDm6vzgnah6gAcDH64rCuYbjzLe2gghlaG2byrT5Vt4R13zNxk5Lc&#10;HnIHGNtdPcNPDIzMY7tLYMH1OVzHEoIJKwA4BPYY6kKAOawLy8hkheFInt7aU+ZHaQnbe3Z/ieRs&#10;ZUcvgcjCjOeobTcVdaB7NSdoaNvReZjTXIjMJAF7NaMALqYgWlqWJX5IuQSCeoPY9c1We5SCLc6y&#10;w7sNFtVjcX55XdjnCY24PHXpxV24jlxFEGhkmSMssAJXT9PUgHLZPzMQOvsvpxAjSpbTXDIqRt+6&#10;+2SKTcT4JIESkjALccetRGNwtUb5Ho1r92hNYzhikVyqGRMGKzjJ8rcSD+9b1yc856Hjmugg1Ka/&#10;DypIIltX2vMGEcaKp5Ea4yWLEnoclvQADjp7UvbQo6jzZJNy2kbfM3p5jD365+mO1bFjK1rKXitx&#10;LHCwVw7MLK2JKlmUZw2ABj8M9Ku6Sgm9jRRclr10sdRZ+RBOrPFJHbzg/ZIRkCTBOC/GMbwCfUKc&#10;Y4NLJeRi7kVJ1jMymOaRTvJ3EqUT2AC8+/rUD3duggkDu8PKwylQ9zMQCxCqew4HHHPHSq4VGI3w&#10;CK9X5yGyY7YMB8pz1b5s+nIpK1mmtzKWvux2Wz+aua+lLHbuEG5dpaSVj8yRfKc5x1LAHH1U4GcU&#10;6a9j1S5WyaLP2Ry0MEnzRZwAGYHI4255457ms6aM3DQNsmhhdsL5m5WmKuCZTn7oU9h6+/O1HaWl&#10;stzdsZVIXN1LH800ifKrbBgkkjI5Hp6Vort2S2X/AA4RSlLml8++mn/BOAurW3hnu3a7SUGcTXL/&#10;ADJLdMDt8qMg9F2gc9lH0qhLdxO8cc0YgMfyW1hGAiRjoC+RheB05x2Iq9rFvIt9HJGsaKVzbwhO&#10;IEJIZ2bPXvjHXvWFqqKY2mildIYgPPlfm6u5DuIC8YwdvPPGaTap2VvN/eYyqTcLvZaW9eptLY28&#10;8UhV9oZgk0+0F2PQrHzu7rxnBO31rn7myaIeTDCsZkclUQ/Nu55bIJIHpkdR1xWpas0tmkKRGa4j&#10;iY4Y/u7UYyS+emMduvpyCM+OZmKqZCsCSEeeBve5LHC7RnOPf37VF7OyOmUb8slov6/MxIIrgT7D&#10;IiRqQjyq+UlyQcBemRjqPauhYJBFEWeOJ3UkZUMCBnjeex25+oP4teJI8SSxK0pYzbScrbZKqQTn&#10;GfmODgdCcYBFRzbHiQOm8OFjQlN25sAg5z3LdevDU25bdDOnPm0it3r6DbdobnzwX3RRL5iQpwM5&#10;ByTnOORwOeTnvVNpJccExQJEY41fkP0UAH/Cp5rWeN1SFGVnjG8o22GFSe2OO2AeKgmV2j3xqJPL&#10;f5lOBI4OcEDGSOB06YA7g1XJbT+nsKUakkqT6fnda/mbNsywxq/lgyLP5WXBGMBSEHrjCcdOlUlu&#10;AZGVwNxVdpRiWHqB6ZAH061Sha6kkkecmEBd8aKg2rhQu4jseBnHrV2yjie3kywM4iWJFUfNIepy&#10;O3UsOtEVeN2uxn7qkpz+JdO//DmZM5iVShCiNiU3ZBwD94Zx1xkHv9aEna4EVuWQxuGaaPlFK5Jw&#10;Bz0U4HU4Ge9SX9tLHEzy4i8hTIAAFYgnODjj27c/hUMccriGaFQrSBzgOoY42AqFHTORjHHPvmnJ&#10;qDuxRu588tHv93/BJZo5JZVkjYpGH2lkXDEfeI9xt59qzgFW5884MgbaDszyeg/QH2x7VblmlSUR&#10;uySqrFogVyVIU8gHvhmGf9qqE8ckIhcMXUJkiPAC5yCCfTjPP9RSvzxjbccYtr2kFpf/AC2K0kkz&#10;IxQbgjGSaREO/hj/AAgc9gf/AK9OS4Kwk7C8TTbWODjkAKM9OQOQfz4qS5VJIJRE+ZTF5gBXAfA5&#10;wfrjqO+c8DOdbRTHc7E/ujscTMwDcZGD07j34P1p3ipXqK/Yd6kZuN7qyZYAwEYIytFGH2NlUPIO&#10;Mntz1FMkuW8yORgFUuVGRndlQemOcc8+49zToDJcEeccIq/M8bbVY7gRx7cUkxcvI+5mMsnlRDaN&#10;qgADJyeOv45P4nMkuVf0v6Y6lWXsXVStfT+vmOjcSfKVfeF3RBScMMkZP16Y/wBn3NI0qRZLYckl&#10;SFQ465yB69D+Paqw2EKhnYNKoDsBlMKxYjOcgbQCM47+mamV0mm8oDiKU8u33uCCQf8AD0qVblbY&#10;m4zak3ZvW/z/AK+8Se4dNrRttWVlIBBwQMYBP5/mK0XuVFvDbyQDcgZpGUncxZs8/wDfI4+tU5I0&#10;MiyTsPmwSQQdg6bgM+1QfZmmlk/en5sgIWCrjOB346Dj37VXJ7rbI9m4rlpu97/d0/EuzFDIdsNo&#10;wwAC+7ccACipE0pFRQZl4HVpeT+tFSp1Fpp/XyMnXhd3f5nzx5kLxnahBcZVyMRQpwQoI7mnjzvO&#10;jfydox5iIoHkwRgkZIPf05H6URFYkRUk+0hZWAHllhNIcAsMjOF56YGRVqT7IYXcg+WJPIkK5DXc&#10;pOFA/wBg4ySQf14ltqN1rciMUpxTWt/8hbZImR5llP2hmxAkkO2CFQPnlbnORjjg9faqzy5mRQij&#10;bKTBHtbDjjMjep46t05qS5jkEL7ZN0oVZJ1XgTNlcQR44IHGTgdaiDxzwvcXm6N0bFwynzIyuG2R&#10;Lnoc7SSOm4VPxu19hRcU71OzfzLrSRxCWSIK4DBkVQCZpARudvYH+VSz61calLPe3U0UrXLItyRb&#10;xh7pkCqkcYKkhAI1HGPu+nFNtmRZ1kNskZFqcRA5SzTaDjJ6kjmmSw4igllW2gWeIFSg3fZ4cnc8&#10;g/vZ6A//AF6GmpcpU3zrnvr181bcEkRmmluCBPH5olZUK72YAKinnPuABkcVVTzJJkeVWjRIkWQR&#10;42xKflRBz1O0nBx6VcaN1NtFA4ePJezjdeACwDSucdSTx3yPwqVQDcoih7l0JRB943DqDmTGN20E&#10;4H40lzc2u/8AkTy8sHy9hYHWR3t50jtpMobiYjcsC8ERRjux47+vFNRpFlG6SKNZczBMkfZFHGUw&#10;OGbAxkE1JLFCkwYb7gRMdkRBkjnlKkGYk8cHIHTr9aihtYbYNI1q08ULpGvmll+1SBgcIw7KcDg+&#10;nrWj1l5MSinBxjrK6f8AX3k8cIllYbY0l2+ZHGQS8KZ4dySOW6jHrVyCJ7qBXgXewYLYxkeYs0pO&#10;fNcHJIVd5/l0qlciOWSYzysha4D39yGy7krny0AGAAGweP8AGiCSGMyxkCHzItlzILkr5MO+MiON&#10;cj5mUdjnBPvUWaWpreUbc3n+djdv9Ks7KOwFpqlvq0NwkcksVvBJEwusOHikDqC2w9WX5DngnnOJ&#10;JGuIxOyFYTtlMWTJOxwViXH8K/MemBmrSlQVa3xBIIPPdAgY2tuMkFiBkuxAGCOMD1NUpg++K6jY&#10;LO0m2zgJwsBC585+wzkkY7A00mpXkRNRcY232fqiZrqEROr5EkK7J3VxKYwRlIIV6jJJJIIzz6Gm&#10;rKqSKN32e6MJilaEndbwMMbRnjLDcCB6/WrsiNsTMJmEMhjTyyR9pkOczEn+FfU47dxSTQyAKYo5&#10;JIJn2xnl2vHJ6RsTnYgJ3H3pJK9mact6SjF6L8tv1LGnPMVjSzgxcSxvDZo0ZZLeJc5nbB6n07el&#10;SWKS2phMX7yI3DfYrebAF2yqPnPqFJBxx09yKfKlsYZjvfyZQsF3KzEvHnIWGEADqMEkgdOc4yG2&#10;avE3BXzrhfss8rwlk0+M4YIrY++20r6jnnGcWpJSuEnZKE9U3cs3eZnur395LaPcIJ4VjVBeTlTu&#10;WILgFVyuAexGQKWJHZ5trPHHFHv1KTZhWVgFFsgOT93A5yPy5W3kaO4EjRfZ1iDCJGbcIoycCQkj&#10;ucHnIJqSGdLS4guIYp5YppXm0yKUhJbh9znzyccAPnqSAFAz6EI6J9H/AF+I5SceamtXs/kVTDPJ&#10;cMYi8TxK81+0cJP9lxBgI1JJ+V2BGcZHI6HIV1q+Y3gQsbyaRhBKcKLG3UEu/l+rAn5uPp0xceeB&#10;ENobiRy0wmuri3jVo72fa3lopOcxhmGSMDA6U+2nKfadsyorKJbqSBFE87gYW3gIGR94htnA7g9K&#10;mN27dCOZtp20/pAI4gtuYk2hCkelwNHvhm5IaeQE8lmyx7DceABipbhbe0WcNcpc29pcrB1EiavO&#10;wJfy8feiXpleG69SAFCErJHPdSQzI6rqI8tgmmRx7EEKcY8wgMDtzjgbSeii2ka7gNjbzzXM64sb&#10;a4G0WkKj5p5HcgFs7SD1OcjOQAON3eHY2klB8vRfP+rXIClzKZpYZXM5RI9QfGxV3Aj7PAD0OI84&#10;Hqc9zVt9OcNaC3l8u+e2Dw2zEFdHgGHeaViflYqC+WxjeCRzmo7WJJ3gECy3TITd6avkCf8AtSdS&#10;FaY4xkBuAV5x0BwTToX+1PLNKyOs7D+1r0SOsl0+7c0CkAnPCrlf7x7UWUUmzJtuUo20/JXQtpCs&#10;0cK2tpPcaXCXubeCdQtxcAF9s87bsLg4YEZGF52gYrKlu4IjbBiJbeGUTLGHaQ6pcHDYb5vuJgYH&#10;UDoT0O8Y5jFJL58ST3lg899tDGHRLUEhYt3ADNsOCMqQQDg8tiyaYYBA2xLGeeDzLGKVFLWFuT/r&#10;5OpXeBkHoRkjGVNNRSlzJ7FStBRinp5fItXu2Sb7TcSmK6uJzLq8wEcb26hVxBCAMlhtPDcjcBnA&#10;ADBBc3LxtaRzLcSQO9taKPl02L+J3J4LcnpzxVq5t9OngsnA/cQfJpKvgyarcdHk2nGF4GB8w4wC&#10;PmqsovtOju7a41Bre3eZX1N43S5S9k6i3jUZBCtztH3WGewwQfLNJMm7k3JdtfTqVYIYrie3htIX&#10;NwwxZ3EwBRXX/XTSHsueQe3HWoJ7eMkNC/222iuBGEaEQ3OpTklmKKpyEBB5B6AcAnImuSy3cUL3&#10;Js2lTzpo4V/eQQArhAPV/wC6QCQc+tTzzuZBfSeTb314oXT4rI+TDYQINplfqVd/vn5s/MeM8CeZ&#10;uztZFSlGL5I6x09Ltf5anPKJHWdShfADXrlFPkLk/u4yeFz6LjoOK53UrOO5O4wFZvILx2yjctnD&#10;/ebHfjOTwfyrsoncCCeO3inSKfyreKTEk2ovvx5sgK4I6n/gIz3JrXLC5a5kbyopd5kvbu3UNFIz&#10;qNsKIoCgD/ZHAboOMjXNdMdowkopbnjuoaYixI8URMbSFYgTuZjjO714/L3rjLyzKknaSFzyR988&#10;DA9Ote6XFg7q8dyEg5DTSbVH2VSPueucAjHXtXDXejNK2YI1IKlo4gcyRjkl2B9cD8jWMrc10RaU&#10;oRdrX6fqeWyROpb5enXGAAT/AJFQYBBLZDEcEjoOa6u90t0R5FJZd5QEA7ie+Ppj+Vc9LAUBDZDK&#10;AuQQOmM5FGkoXe5zuLhJqRRGNzEk8fwjr60KuMlRg9cDg9TmnOuM4JyTwFGSOf8A9VAIGCQFxkbR&#10;+QzVKTaTZk+Xf+tyaCN52McandjKkHAGK6/TNd1XQ5YQ2cRI0XIGXRsA8/Q/rXFLKY3JX92QcKR1&#10;IPb9aVrqRzGSSTyCxY57E/nVrVJ3HGKS1Wtj6X8NeNInRrLyoxInLtLKTHcxHaQkww2dgDFcAZJ5&#10;PQj0iC4N9O0ls0l5HOALKL5YjfwqVzvQA7pVAwoz90AelfFtjqUtncpcQybXUk5JJOMYIP4fzr0z&#10;w341kRxBIZUlSY3FhceYY57RiPm2fXOKuKjOSc3Zl06rinGfwv8A4B9GssDb5jcNLCZXuII1H+lk&#10;xu0ZILEAXCYwc+/bJGikzBYl+yLIt3G9zJEijahIAS4iPVAQu11U5Y9RwMefab4itdTvnuorjyY5&#10;mXy1mb9xp86EHDfKfk4J98gc128F1bPcW0T3kZ0yKRXtDbXCvLptwI8uSAwYJMxK7CCFGQOgp8ri&#10;7Pc6qNSMG0npda/kT+aHjWO5SCLycC4a2QyTEM7eVcJHuKjlSuxTgbCSM5LV54Lo3F7JLNF5lvKk&#10;k86TpunEgRleNc4cgOGdVPy4fIADYvpbuSYMxWrR3qpKz4jXS5w7jzYiASbdw8nmSdNxYjNUprCZ&#10;ZH/dJA9ikMl2JId1qvm7BGybQCYJQAV6bt/QVmrae0NJyqKT5Vf/AIf/AILGROv7x/J8oKEuHe3J&#10;kgtyXJM8JIGVY53HrwPlyMGmIEWQxGO88poXv5BbgSDLE/6Rbk9QWVw3U/uzg+lu0cQxXDxwxwqt&#10;+CPly2nM6kR5AwXhJ4Cds59zYeaxuHjjkhubSOaYfaQIDJJAMELc2qfxbtx3dUGDnDAkNqM1aP8A&#10;Wg6UJLSWl3r95lT2wzI7TJePqFl5szKipBOhwwKufuSnPOcHI9yAj2Stsjit7RrZ3VUugXaWbacr&#10;bzDJCvyxTgEkn5sYKrZiOVpYwtvIpRjJdCUS2uoISVVY2IASQBwCwwSVHTFaVxZRomkSQwxOLqNp&#10;1WN2RduchHUsWWRezE5bt14NVoncr2SUeWb/AOHI7y3aMmCGW1aK4tRLNBKvm+YCu37NJjH76P5g&#10;Owxz2BrSWVs8BjguJY4WICXdxC0U2pRxgNKkirxvRt42dguc9duk+24nZ7hvMS4iaMIY/Jl+UFi+&#10;45CupY/KOWAPPNF2Yo+LaMm3lWNJh5iqbsBSzXSpgbMMuPLBLng88gDs0oxZkrte89tP83+ZmXlt&#10;fQ3VuYrqG4iiQtbSBsveptUtA2Rt3rk4BwAT3yCaSFkgGoQ5SCZpPsd6XErxMhUyQTAk4Q9NzDB6&#10;DocXLjMkUtxcwPLEoGJ3Q2olXHEiKgCiZAQSnXBBIIq1cwbbVsMsrSIHgE+1be9JUnZnHMyiMkqM&#10;47jPAmXwpvc2j7N1JRez7fJ/cZbBGRVmmVI1iEypEWY6Y7ttMbg/MEYupA6kNg8mtmyaOCaWUQTw&#10;xBvKeO2naZrRgCWngAIyHO0bfmUck5xVaC1jEwuSLW5ljLRW0848l7tY4yWhZQQFfaq/Nj2Fanh+&#10;CK2LJ9u+zXQiludLu5laNYmC/NauclsMCoB/iOM46A1vy7kVGnU5r3V/+AVUWRoD/orgSyNNct5i&#10;lNSjH3Gjj7OowODj5jxzzlzLPALacyCR7i287dMdsF9bchgQON64zuJH3eOxqXUbhEiCzmK2iacQ&#10;uo4bTpRIQHiAGQjAA7QSCG57AcNf6jcavdSRWk7JDIjvNIzF2nmUMW256AgMdo4HpknM67omc3B+&#10;yaT5bWfk9P1H3ep3Woi60/SpmiitEMTSQEhkhJUFOfvKMZLEelUNOsLe1jUgPNdG8a3jkMf7tiQp&#10;Uv8AXcRj1xUNihtYZJoVAc2glGz94kpWQBlUDuQCSDnjPHNa0k+Euy5PmLdQ3g8oYDgghlOOOuBh&#10;eOBxVuF9VqQmnJcz1ILeJzZyK8oU3Vs0Ls4DbzEdxVV68FQRwB0564eSxMixCONfJguQG/dSM0ZK&#10;ZBHOTuyc+uSBirZiNtcXc0uXeO+kRCsgct5kbhR1PAYq30OBjNNtrV2BknkWL/RZoAGbfIGj5II3&#10;E/3cH6dcGiF00uqKlBQqSSelnYfbIUkaSYKIYtZ81oHAdiJly2MgkjHfk1dCW7Rw5id5Wa5sZTCA&#10;XUsN8TE7TuB9+m3twTSmlN60koEiq1lDMmHBUeWAm7rnsCfoavKx2oEjSNf7UVZMsquHZGw5OeOg&#10;6etF3tby/QKahCSu+n5blNydkbRJEzSafBI7CJWkBQIrdFHOVb5jg80sZhld1giYsbx4yZc7gsqf&#10;KxIHJDDHPpS28ZKKCQim2ubVDFIFCtHtZRk+uTjtz1yafNtiijuLdHKmG2urnDK3m/KFBJ9uevf0&#10;pLlS0WguSU5qS2K8MzCJPIuI1aG2gcuMh4dj4Kg44zt6dT7Vf8qOK0CRkXF6bqeFQIgsSxugYNng&#10;nnnHGO/tEqQ2zXMLrHcyE3EMkqMrKjIrMpwP7pI/Lr3qXDzzQy2/kKiNEHYSfOS6SLnOcBWIX0+6&#10;aJ3tp8/wNIrlnZtX/pGZm3WO3mBk86RopVVFVzEoLIc4PUgDvxVJvs8K3MQDtxJCT94krKW45+g5&#10;PbrWnJGWZrgxKIGtFM/lNuRds2wleehOOT+fWopbZBMUVsCOedwJMkYYFjyB6KOT6DHXFJKKV3sQ&#10;6jk+SC95Pfba3/BKv2VE2osLyRsXYsQVZw6Ag5HAAwelUjCriNY0/eyH/V4yD5gK4HH69/xFX3LO&#10;kaFjJG5hZ7hgwRMB0Izj0PbnpmqryJBJLFbMQtuQIZI2IaYxNkZPXsPTAqJLmk22abJRhtp+Oxmk&#10;qysF/escbpGA8leMNx9QPyquyA5kQ7SSHGTtyMDg/wD6q1JUCRRoUQ7UMWGJLEq44J+n8utMjQu6&#10;wbfMiVCzMQSylT1/X+VEk5K7IXJBezf9f8MfeH/BOX4wxfDz432/hvUpRDo/xBhTw7IZH8qGC7aa&#10;JrSRj0wWypJwAGNf0wyaXIfkmI3IAST5m9cOQTlgRnLxoAQB79c/xeaNfX2iatZ6zp7zWl5pt9Fe&#10;2tzDKYpraWOQSo4YdMFQfw9K/s1/Zz8XW3x2/Z9+G3xY0zmXVdAitPEMCNgW2oWkQS8RyBwN/wC8&#10;I7jtXzPE2DlVoRx1PeL5X6bp/ofRcO4iNGtLL5y0nqr91uvu1IJbDy1jw0jEMZE3rtMmMHOME9QQ&#10;COpwTjkLlXdp50qti33oCSGmIBxkE52npk8cZz9TXrFzpuE3BiqGTlS8u0soYqxwhzjfweg5zjNc&#10;5PYEFwXVPmLclzI3RQwYgrkFQBnOccHvXxV+ZarY+0cNXz7L9Dk2tYrmLy7gK+xiynKqG+U4yABw&#10;cAk+46YzWMIHstjSPCYpLjYSFUKgIXBLEHGOeD3Ldep7cWC20ku1/MdWDRrJKI/LPmAKBwOm0NuP&#10;T5sDgCrKW6T7wzF12KHBmyke7Hfbk5Ibjg47jFDbSs9/+AgpK0ttdfuObs4o5HiAljZg5MkQaJZH&#10;BxjaoxkYGAcdh1NdHbWpQriJYyXCgEKdzMFQgnd94iNcdcZ47iq40+8tLm3jiSJrcMCcSCQKCflz&#10;GRwT6tydo7V1GmwRMA6skmQFDOPm45GMLkkdwOQCR7UU5u12JRUdYbrv8v1JrbT1WQszRmNgd+51&#10;DrIcrx8wIAxu+XILDBxmtuG0iRsFRhBvyGDbsnO0Y6EccdiOnGK0LbT5LdYTGArljmcRSs7ckEAn&#10;HcMOADxn0zNdmUKsXysoLJJN5hiDAuQpI34JAAOVx0OahtJpP5MLSlHngte3n/kU3f8AdOAkSKzc&#10;EhGDDDctwcYztx6nHBqGTWLeyCzTyBVjiaDb90kNsYhQRgHcgG73OOuayJ5GcGEFxtRkDRldi5GV&#10;IwxIBwvfPtwa5G+gkZLmKWZ2m2FoA7sY2wME8dD8g9h+lKU3CVoL0Lp03JJy6/l/wT1PR/E9nfbY&#10;1tZIz5nlbyWnQDax3HJx1jI/7aHnoK7tgt1GIYnDsXEhIwSTlWZfxGRz359DXzZ4cku9HtpCUElx&#10;M/nHzW5Cn5gqhc5IOAQTnPBxXfaV4imtZsyOjEZQ5Ukb8kFgQMcjbgHJ564xiYYlVanLLdGKw9nK&#10;1+u/boeyJpDyFXwAFcGNEZS0eMKo6L05IJAzkVch097URLcecVlyh3HfGu4YwAwb5cE9DgHbg81D&#10;oniWz1F4IHcRyEYmZQVKBsFcngEDC4wOfLJOOAfU7Kztr1mbypFj2rFAGjR2BGN3BHBzkZyOVJ44&#10;Nd6UZ2cdvzONu8+WT2/Q5y70Gys/Ddld/a421SXU2tJIpVzctC0L4YqFwADgbgRhlGAMc6mmbAy2&#10;jeWyOsbSO8bNMrKuGXLfKFY8ZUZO0Vsa14VgsdO0vULSUXF3fSTCUkLMQsZQRqFwSPvsdxAzuXAG&#10;DVSwe1JJuGmjLDyBMrkFiUAJBz8oIKnIAGMnnBFdFJezdpLT/hiZLnso7d/+AegeH/DxhubV4miA&#10;DjcFYtES2DuYMcZx6AAbRnvn91f2RGCfD5oXk37WR3J2hZNzBWBTjBz1+uBxivxE8L7rSWFC+I/4&#10;3kkHm9VzuB7YIJwPT1r9s/2SJFm8J3MK4V1gifDNkjLDqOxxH7CvSwEYtvl7foePmicaDU/JlKc/&#10;ZNZ1eyZ+LHV7uyh3g4KR3DquQDj7oXA67eOCTVXULMSQnKAYXAG8lye3UnrzwPwArmtR12OTxn4o&#10;ME7SRf8ACT3kqfNmP/XPzx2AA9u/07W2ZJ4lGEGF+Y/60E54Oe+CwBPPsTmvPVpR06H2FCLVKHN8&#10;TSf5HkeqWZhZnCKSc7cZLId5X0/uqSO3IPeuaa2VGDlAGIIBjGQw2gAZ44J4Pu3GcV7Dq1gELMVC&#10;+WwiID7QAMKoz9AeenI+tea6jbNAWQMF2E5Gzey8qCccd0XOT/CDg4rjlBrZHoUp8yUGczNC7guU&#10;2vjCqQdpI3Z5Bx0AO4Z4B5BrLntI5WEmw72CfdRd427SMdMMOeBgYX0Fb/OMAYVDs5Y8E7nAyT3P&#10;OTnGT74qmDKFo0IL4Gdu3dsAAVOByvQ+oI9q5Zwadl/Vzq501zS3/wCGPObzT1zJKyB8kSfcwrNt&#10;dAQSeB+7/Q+9cZe2O0zGMBGAx8gKdQSTgHPAxjB7dDkmvX5raSRYtxHkO4O4gY+YYkZT2OE5HQ4H&#10;XBA4y902SRfNJWPYQHOTtDFgCpIBJBCtyBk4OM458+rSUFynfQndarU87itTBOJedw+ZQ3Qngnp2&#10;6V6Po+oBrU28jH5IyhBTO5iGGDjnow9uM1yz6ebeVf3iN5gGW3EAscA5APTCEY9R373LRhE2YSQR&#10;hpCf4VDchTjPTPJyM9q2oVI05a7GlWHtopI6GGU2d2syu8gXglAN7AnOFHOew9eOKvi9eQGe3AiE&#10;2WXYcBCTlQrHPDcAYzkNtOQcHAMhUOQoZGIX5nUFuckA4ypDHBJzgDuDmu78PnS3tI2nmhM8jmN4&#10;mUCVCBzkAcZ9PevSoTv7iZ87mFF05Xkina+Y5KsVlZ8NskIMZYsBgnAGSehB4NdHYpdoBuaNiMsq&#10;+WcDKq2Sd3XLHIxyO4Ibd1tjoNpebXjcFfLDkhtuT0yAeCCxA4znB6VrQeGwuGZ3yrBQQR+7B45J&#10;5+XBPUEFuuFGelc8WlI8ibS+HUraRFPmMsUQdDHvyi7T0Cjk5/u5B7A129pEPKjKchogvnE4UEHk&#10;Edc5KZH3hkELz82PFpm0LsUAEYYtukMgwR8y/wAR5bB4YZySTjG9axblRhxucvmQFYpsuH3EdWHA&#10;GBg/KDk8muuDUFbqZKKSfLubFnO6sCCwyN7qxBcHG4AnPvnHJzkHkc9TazBo9qEKoxmMjMYzx7d8&#10;8duMmuSjRAfkfykLbSN5cqASRzgZyTjOMHaOOmNSB3KsVfAGDujJJHBHv1HOeQCT26dMWvtGM1Gy&#10;tudZLCHXcgJwSQ4ySMLjDAepUfQr171izQyKWBysbOqkDBLHEhTv2+cZA9j76dreEy/ejUsUxGCE&#10;iGXPBBOOCcAEnq3XJzZntVbLBQ5SMgZyc8cjbz1x37elXJxMWpNq5x0hkiL/AL5zjlizhS2d3Toc&#10;AAj3zzkY3CShwjbmKrkS+WCyptA37h6qd3HXg4yCM6lzZI+MoqEISc9RkupbPqQxGO4Bz1NY72yx&#10;scgDA3tsUyHhSCR65G4/8Cx71F+g3FRd07otpdp5hUgsw4yVyEAXv9Tnn2Pfmuh0++dZkZdygHho&#10;iVZQvUZwD0BU46c44rjpbb5FJkwhygBYGJhxuUjB+XBGRjPccHm5ZzeTJ5hG8bguOQG27XG5vfC4&#10;bgY+8wGWpqclYc4uzXQ4L9sDwFN4p8L+FvHukNJbala3MOhardSbSixSFzHO6gksyyEqOcfvhkjG&#10;a/PqD4catNJBqCXS6szTi3Oo3BRr/ePm4X+FPkGCAOqnjOa/ZKx0+Dxf4R8Q+E7wecmo6eYYA5/d&#10;RyhC4yT91twU5HGF4r8473SrfRriWKOJ9PuVkBltZHwitnawUDgYxgg8ZA6V+b8c5XSjjo5jFe7V&#10;Wtn9pWTP6H8E+KMQskrcPt/vcPO8NL/u56pb3spJpdEjhtA0i+0O+NlepJsRtnlMBuGw5JDDsefx&#10;PHbHtOnX+hSarZpJCFtIsSuG4LYGQrc8g8E49OO1chFYzOPt8tzLcxJETFC8aedEccHAAP3j3bsO&#10;BzU0ekC3vYb37Qr+d+6+zOCA2SMNkdMdM46Y9a+Roe0pKMYJNXvrbZH6fmM6OYXdebjPla926963&#10;4P8AI6/VpZNR1GNbFEgsSGxklVUDnjAwegHPXJrKl05YzJCkzSIqeYcfNEuDuOGzjoD9SQOc4rqn&#10;sVmdY5BBC0SkRmMEeXkAnknggAH19/WCa3iuAlhbJGlpFLueYReWz/MSD90ccEg/qRiu+tS55+0q&#10;7+X5eh81h8ZGlCFOnpFJX+/Rt9X2t5nNxW6stwsqymFSsplI3RhNpCqOwyQTgegPU4rk44Gklvbg&#10;qRCWLRLt+QIp7c/Ue2fpXo+uWsKz2UMLBFjsDPcrnbGCZAEycYzjJGT0JrKuVt7a0iNuB57TklAS&#10;rjlTkYzjrx/uiuWrTSlbtv8AM9TBY9uCnBNudl6Jdfnb7jA8N6cLm41LUppFJSRBEWwNsBYFQPfn&#10;JI68ds16XpSWto81yWBQqTCSpAd8r29AC344/Hk4LBhYzwQDbJJhnQfKEx90D26fmfSuit7V0tZY&#10;pWQvaDyiDg7jyTj6cinhbwrv3dle/nqcObVlipybn7raVvJKK/F/mZ+rajFdyMsUpMoYhhuHmAk5&#10;6ntkj/PNYE8tpeyP52BPAEjDKNq/dy3+elWru1jklieB0QkAuzEAsRgAHj07jHT2rlbu7g/tKS1c&#10;sm8h2dW6nHP8z+dae2lFONRXTfyPQy/C05QUKDd0r36rVX+QmqZ2ho4gFZvKOAMnb0IOOhFchqwC&#10;WUS2zBSynznHWNuN2B0GORmtOXWT/aLW0o8yFZfKEqnBORgLntgH9fxrO1ctFbsYCjGZ/kRyTu3+&#10;+QMfMvPrx2rkVaFSEn6/ofRU41MPCEZevr/wx4zqt7fQ3OoGeSVLaCDEL7htLKCWGD0wAfXOR6V4&#10;xr/iC4u5GttOAdy4QSHd5QOfmHOCfTAx2PTIPsXjGe9mS6WWJYrd4CkUaDBkY5Dnp34/KvBDafZb&#10;OOaPEkkaBg0YDCRmbJL9h8xJHrmuJU5VE09V/wAMfQ4WNJwVaXxP7rnB6+dSntmW4uVDQKbcBIhH&#10;GykKeeh7sOeuK8a1S71GxXHnLLHuc7FOzeNpySAcYwc559eCK9x8RSyXenM8awxoqZkicgPIdwyc&#10;fjnt92vEL7RJNQurWKKE+TNOsQkMnylgRwpJySdw/M1y+1debpx6bHrYP2fs5Sraf1c+gf2Pvhpc&#10;/FT4rWAubWSHSdGaHXNVm4GPKdSsA6j5yfmI5CkjuK/pD8P6bFZWVtDHGqpbxIqBVAAAG1Bjoeg9&#10;q+J/2Nfg3ZfD7wHZ372Yj1rX1W6v53j2zCPJMUbegCspxz8zMeOg+9Y4iiRKrFiECfexzkkrn/gT&#10;e3J7V+w8JZY8HglVqx9+Wr+ex/IXi3xP/bWevC0HalS91eb6v9BWlKg5Zm28t85aRyc5GSck8kn6&#10;GsDXr0QW8gSQNcuuQuCwTBPI6f7Q7HB61tTr5RCrjzZB0DbsAEZ6fXqOeTXK6hZySbs/Mx6Etgdj&#10;1/If5FfU4iUlHlTPzHL6dGVaM6j0X4/8A5SzvJ41O8MTvZD1LZG07uR34AJxwMdMV0NqZ3YCQbVQ&#10;EsWJQRryWOe+MZ/Dmks9NcsSI28tCcnb0GeG6fj9WFakwWZ1EYCLtIZjyFAJyv55rlpUXbnkz2sX&#10;XpzqctP5vt/wTnbqLMgZPm5KSALt4HPJP+0px3I+uKw7/KxuMNHuj2ABN5UlWYjbz04/Fjwa66aM&#10;KGxhjjkkjqQC3HGfuoOBjOenAPOX6rGGZcEFCQVGxmJaTkdOCwP1EfXBzVuGmq1ZzQq80eSL/wCC&#10;cBqSbmlJiIKs42MB8rEkDAz0HGOTwBmvLtW3god2xWAXAQnO8ZwQc9l6c8LntXqeqhkjYKR8oJY4&#10;3BRkAY6Hd3PP8R+teZ6qFUSMDkeZvUPjei/N1AAwRgDt16YOK83Ewb0tqe3gG4WlI49lztEZLcDH&#10;dSSTuIzzzjvjqPfOZesgjcMy/Mm0vHHyTjqBnjt06Y46VrYBOCTFnCglhsXjaeATnnDZAOcH6Vg3&#10;hjPKEhQQxBynJyTu4IbsD9SQTmslTknZI6q9VSd2czM5iBQhzIDhlkBAYFiSW9yyAD6HjgEdT4XO&#10;+4UtlEO1OcqZFyp45xgbccdx9cctNKI2IYkdBIGwFUZYDIGOcfzb1NbGhytG5MZETjLAvld2CX3H&#10;APX5cceg7Vo7LQihUi6ba31PUDYySSrLHwAwAeNtpOOSM9Ou/j0U19H6HFHf/B34u6eHknkuPh7q&#10;8CabEzKLpX02f5kbOAdzbOx78gg18+aTdx3SGCZyx2uikkllxlccH+7kcHGMDpX0d8OroReEviDG&#10;XWCJPB9/K8+AWtiLOQs2OCcBVzg9R24J9rKFGOLhbqj47ile0ymvfp+jR/lu/t2+BkstbGvRIEkj&#10;EdrcyY4kZVILhscgkMR25461+YtwZEZzkuUOWzysh6EAfnX7sftu+GF1Sz1NkRY0e3LJgklBjcoI&#10;xjPIz+PNfhlqNqUmnj2KrJIyDJOSwwMfUZH1zmvrMDNOnKPVH55iadSLhWtaLireqSNzwvqcdvG8&#10;cihUklVWnjAecFgcInB4IBHrgmvZIVlSV42iEBWNWTTlBfACgl7hvUlSQp6gjnpn5+0aTyr2NjIs&#10;csY/ds3AXpnb78D6V7hoe2bEcskuySB7h4otoubzjc2Scgg9gB69xXpRk2jjjK7u3ZK+jOzsE+0m&#10;JrS4W7khkAuLtv3dra/Oq7EUdcYY5713xDzXDQvJNLHHbrANx2vfuSAoj4yEUFjkjALcc8Hy20e8&#10;iv4kRI0kBIWDzQllbqpzufnGR6eoFd5bXbSShnKzxny4pNRBELJw2Rbx8HJ+Y5z1257VrG1/mEEk&#10;ry1s/wBDrrXTLdtMuyZS12qIttbqoMNuoYF2Z88kEFdvPU8jGKw5d0EY09YpyrAI2wASzsNygrnn&#10;HJ9uR+NvYEhWWJ2VGIkisI5GcnIUs0hOcj5j1yDu46ct8wGRGWZld4zK90VCKiHIIiH8WeRnNaq8&#10;ZNr5/qNOzXN8K2Xz6k13aS3kyFV817QvIbWJ9umWAxuLyHq5AI6jjaO4Fc5Hax273MqHKStvkuJM&#10;SXM20K2IV7KdxAAAzu9K7AA6VY2wkUyR3RMkNqjhp7ospUPKOwJHfqFauYuI3unnljaKO6UeXNPu&#10;xFZDKHy41zjJB2ZPrkYIBrNS5Yqa/rUSlKU3J77rpvuZerWMl06RsYLVpkLxWVvg+Sozl5nzjIG3&#10;A5OFPpmuR1aCeyZMPI4VPL89k+UFuojTpx7eua27uGVJCCsy/vGcqZD9quBk9eTwctwB3I9MSuk1&#10;5fRJKI47q2CtKJlMtpp4QsCh7McleDjoRjvRz82tzRQlKLjb3m/+D+RzE8c9nawxtHLbfawHUOmb&#10;y4YgYOQMgf4Y+mzot2//AB7zR7vKXMcR+WOBVxvkkbjPyg9fX2pbxIZ5WMU7xWyx4mup8tPcHAXE&#10;QwBg47Z5bjpiqkWn/ZYTIWV90eYdPEg+0S7iOZn7EHBPvQ0qceV7nO41HJwg9VZv56/mdvEoeUy2&#10;s8fkxqYpL52VQhI3bYwcDOMEDPJ4zkYrNt40iuFR0IjRBN5bMysAQGEkmezDBXoD2rn9Pv8AbNie&#10;VWWFsYbJt4+OCvHLcH8+vFdE32WeJZFtpJnmkLFgxief+6D6Ku0fXPGDzTTjt6IdKUoRUn0TZpRm&#10;e7ubW5RgUdwocYTzsFmIX2GB06kda2dQM7W+yUEG3cxnaNgXAAPGcYAUAEdeazrK4le5+1TMkdtp&#10;6bFgA8uPKlmVAo4LZOM454yeBjeuFm1WMkbVtmCk28B3yAs52pnHcgD8cdG5pxklzyfujlDlpWpv&#10;3nv6f8A891HTZJYjfGWR42ysbM37+fYqnGMYwCcemOg4rh9QkLCJZ38+cK2xYoh5Nqp+UM2Dksc9&#10;+mePQej63Z6tbSeWzqsEUBJBBMdsCynOO5OAD34/CuOuFs2iYBPLis5MMjrmS/cEqwXq23OeecgH&#10;1pc6k+ZdRcs5tRkrNa6bWKdrcTRWL+S+y3UjzAxzLOWH3fXbuXpnoDVqWRyFCqj3qlHABIgtUABL&#10;EjuMpwevc1il0ubl/KAtpkQ+a7DEMOQPlUHuAxPPcVLmaOOSFXkWN0GWbKtdcgHd32/Iv4Dk+tKS&#10;tyS26g5WrXjt5miSyRrKh83zSXYy/vBeOQAxORgg4H1465IqxYsr+argF4YTJPOqny4hjhQeO5Az&#10;79axHvZJ2gjSVEUDM8kZPkwKv3QuOpbkfX1zWnBcxzRpA8DRqsmbWDcDLKy5YSS9OgHoB8pqLtru&#10;0VCVpOUd4tad7pGvbxE24keNnMxylvGNrSgKF3nvjBGR0zWekLvcS4SFNqlWkDAQKoGcrk8knB/H&#10;j0q3DfzQzStG6y5UK04jBSNSMNGo9RyCRwDU0DL5azyOgRSzJb95jnA3AZPGAaqmlzJLy/A1koyh&#10;J7Wvb16mFc25eF5I/OMQYOCSVctkknA6ZJJ57E81Rt5DFKggBMrSZLOAgTaAME5xjJx9M11SQiRL&#10;ou+WCZmlK74RkZIC4znGB7ZHaqZ07yImmZDtUt9jjUbnlbbwZD2Hyjr2ocPe5p7oyhKlFOUu2pkv&#10;bTTyM8kgaV15jycAlsANk47554A/Ks+S6jsywcFBkqkYQNgEDJGeO3Xsa6aVYIoAY5hJcOPMnlzm&#10;M9WKgDkdF6965i7srqeYXNzHkEeeFVcI+OD9OV+g9+aHF8t5KzJqr3eaD1Xzu/6Yyzj8y4iEibWc&#10;mRFK5YnaBnBPGQMcnsae5S2t5WBWQyKvzKB5cas4XHqevJP1z1p0Rup3Es0flIpVUMYwSMH+e1vw&#10;U8VXSKGeB1yVAiyCRndzkcdcYwfwqXzWXL0sDqRtqtfx8zNkYv5qrIRyIQUIXA5+97cjoexqNkZJ&#10;BHGzSFWAIJOZQBgcDvnPXripxasxXaysnnFpA64c4X+QAJquJmSbcXBU8EBcYAwSB3H3h+dC1dls&#10;ZrlhDm6pr1tuPguFitiSih5iUKkbtmWHI9SVPpjr9ajvrwtOoMaMGmTYsaDgbd2SRkZ9utRSxBQH&#10;z9xXkQbSc9OwyPUn8evAqS4IijjWUbppnG0qQRgrgYHoMdq0irLQcq3PFvVK60IXineKR1kMMjRn&#10;bvVWI+Y8c9cnt9OaUWp3BUcrhyGVnC7MoRgn3U9u9Vpr0DMMgZ3aEhCF8v8AjbBKnp1Ax7ZxSO0p&#10;cRmNPlYO/wApDKRnBHp9459sVEbRp8xhOMrNLRf1c00iVYQ8ke5RGI0WMZUcngc9+RzjrTJQu5pW&#10;IHlSM64ztcnnkjtx7c1nsJJYWgGFCklG537TjJB69/X05p4iWPaHeFlDbxudju45U/l196t+6k2+&#10;33DclUV106L8PlcR7997bpDnPOG2j8BmipEkiKqQHI2gZGMHHGeTmimoy7mvJhW7uWv/AAx41ABu&#10;Ep2wxn5VSSMApGOCfq3vz2rRm8j7OjLbtHLIwisXlO21hiB/eOVzgnI4Oep+lZwcmJ4RGku24yki&#10;ud1yw43AEA7UBY9OOfWlt55HhSKMmYxSYiEnIuXLDbuA4VV+mCB0rF2UeRnLzK+q6vXsSLJE2yJY&#10;Nw8om2luPlkjUdZCM5ycE/h7VGskTW0ccMRSCJ2e3b/VzSyMctM4zwBjHQfdHvVdnuDMdzR3DO/l&#10;Ssg2+cwOdiHso57DiphH5TzrI8kiIwWeQLhUz92KP265yexp3SknFE8rcbvZfqTRgLLaqkc9xHMV&#10;X5vka7mI5Jx1C5UfT8aimTLSo8vmrG6xSqDkXkikZjUdhkfpV9Zpi6LG0iPayBS5GBZo24gIOzMR&#10;jOc89aqzqm+bZmMiPMR2b/s8LEqWJx95h3Pepjf4nuW522Wn6/1+JY3sDiRpYsbZbuSN9jD5sxwR&#10;Y9AFPHQ4p2yfzd4cW3mQOskSci1iVc7QefnYjp3J/KYoZFtYnh2o0ZktEaMyeSehnY7h2Ix9PcVO&#10;/khyEjLxzXDLCzfLJOVCI00oxnarAkZPfv2cb7IqouSXskuy1M6Yxq4BV7eQgKzyptSGMcKqjP3m&#10;46frWlIjTyJKybQYdvkLhFtISEKMWH8bYJOR+dQSBZ4lSOXzWjuRHbQMm97qTG1nB4wBjj647Gmp&#10;KXXJlCL5mEQEQy3czKoYjqdq4HU9vekozSStqU3y1IysvP8AAW8VJHH2EfZkChYo3l3PGDndNISP&#10;THzeoFIEIvBHCouhC+6BJGLRXUoODMQCPlGG6+lE8bAMmPtSt8s7D5Hu2IIESY7Anv71ZaS4Uy+W&#10;qgCHZcskoTCocCKLnuTj5eTk56007asylK0U5LTcfM7usAMMkyM5EjRoQdTm5JIbpsQY4B781VaL&#10;y/OLsfkk/wBKK8STyEDbEAMgAYIJPoK1ke4e1gK3S2s8qES70V30iADYi4Hy75BntuwM5wcVmRAC&#10;GIxP/pMRb7HbiMl4wNpaWQdTuAODk4welSt9Qm2tWv6tsXora+nMiZkheGFRftD86264GyID1buB&#10;nGc1NeNK1koLlbmGJ/njUImnwDawDY/ikIGdwB4wc5wHQSXJwtpNLLNMzokb/uRdAbt8zs2AQAM/&#10;N/Q0+R4VijhhWaaJZtrqZFebVJwBuwQM+Whb3GPTIpOK6M2pzjFXa1at8tLkUUVzLbx3K/JItvkK&#10;I/Oj05OF8+RB3JPTntx0q9bpPcJDGLWZWfZJZ2i5c6g5Yj7Q5PYc4xx8p4qskCRytcTw3TwEqt4n&#10;nFWvHGCYQBwAehIxgVrrNcxperbQQGfyQdW1HcPNtI94UW0JIIBOVyQMjJXOA2blCyun5/5jjeVT&#10;nb0/4P8ASMmMB5JWlkiuI3lUDyUWJtRkZspGq5yVBwSV9QfpeaAStcpdXVrbSqpN8YVCi1Vdu22h&#10;H98gN0288c8kqkRkuVkgkCSrFLJiWSNYtMgClPMLH5Q7FX4GfmTjk8yQtA8xt0gQG4QJp8LyGKa4&#10;ZvlFzOT91Op7glccChq8VbcHCUa994oYsJEhaKK2t2lsQkdsrqq6XGcjLAdHcHjuOuehosrUm9tW&#10;hnNlcNMotDMjrb20e7L3bkA52bcj36cgGo7SGNUmF1FJPaxXQRY4VWQ6hcjAUEj5tihSCRlfu5G7&#10;ApLl7hndkkkupDGDfSqSEYj7lvEckBflwVXjgnnBzCXvK+hapwdNxqSX9f8ADF0D7FI2oSh9SsWu&#10;ZBYQFTGutyqDi5lVssF3FX2nDEAqGBywkeVpJZTf3DT2u1Z9a1KNfmuH+bFpErHGF5XHTnA4AyxL&#10;dZX2S3cdvcSRjcQCsWk24JBAOOWYemcEnkmo7i8jRoURXtZ4Qg0u0VNiREKW+0zKQcg4HXIyQQKt&#10;NX1/qxm3JSbb0t19Sa0W8dp3EqWrJaeZcIIQEsochljXphyOvIPzADJOKdAv2+SBbGyWCI2zS6dp&#10;88zyOgCsHuZnyCT8pYB+hXjNICXto1zFcWbSyRREFBPq11lNzNnDiJQCoLAZ5A7gPt7RUs50vr5b&#10;iOQb9WntlBMa/vGWztwWAOTsypwuDgcALS+JPmRUWlad97/o7MoQ27wOkNpZTarG90rwSQqzvrFz&#10;kFUyPmK52njnAA44q41obiR7a7t57hQW+2zoyb7mcKfLtUJJ+VMEn6dKI7jUpL4JDNDp0ktqDEke&#10;0ppdspx82CdsjBTyDv569yfa1kmjjtYVS9hjZLD5DbsgQKj3DNub5ifmBOOTz0pxjfRPpf8Ar0J5&#10;IqouZWX4aajXWaKRbLUbmNZoLBoRsVJLTQrfdkQxMuVDsTkhT/EeQelCZLlTp/kQRzgITZRXGNwX&#10;cFaeZOQBnGAePTAq0bZxai5MCyWdjc+TFcoMvqt0MyZJHGwZGSPUfLyTVp/7Ql8y7vpJLOG3SNNX&#10;vYjsBdzmOzjKDClsHIA2nBGFCmobbei1XUqm1Gla+j+/0OSu1f7Qux4r/bdGNbiUlDeynAZnLHIj&#10;XIwp/IYxVsKg+1J9oiaNZALjyTkX8zMALaBjwQrcfj1NSXOyS7ga58qyWWQoqRjYtvaquSW3H78n&#10;JHYk9gcitay6fFJdwzpJIgjZdKtUm8mSzZin+kuACOQeB0OewFJa2T7A7c6cWuW608u5oLG0R3Tz&#10;Brogi58uIfYdHhaRQqKxOS5XcCPccnnFBWZZXuBBLH863NnDdKD5IIZvPmDHBPy9DjqPU5WR44Yj&#10;/wAfF1pizJcIEIWTUZlUKoIznaCz9flwB34CpmSzlELiaZmW41W8c5DZZgsEakcABRnOQSD6HFta&#10;t9TOpJQjHl/p/wBMzWxcQNErCRDOt08Zj/0nUXyQGBxgIpB6kcA9cmqy2dpdRBEd4FSRvt12sbBp&#10;G5228R7jOCSOcMPUVsrKI3kSVm2S2hae4SMI9lbj5QFGSMkbuo5/E063a582xkgnhtbiSPbZ26Oo&#10;OnxBzmWUjOGx82WOc4PXBpOKau9v8mCk0rvotu97HAalpQ80qtusE67gqscx2+7AYvnocDvg1yF9&#10;oiBirRq5B2R+Wc/aDzlx7DP6V66i2rebJIZWjYj92wbzNQY9Dyc7cknnPB684qGTTn83aYlW4W2J&#10;u5EiDxQxgnaiEcbjuH5j61Dj7t49x2vLmf8AS+Z873ViybyUbH3QSOHJ44H+etY7xsMghiFOGz8u&#10;O1e13WhRsshJMchdmRHXEVomc7m9+n41xd1o7KEcJKAzFYgykGXHJOOw5zzU8rv2M/ZOTcuiuzgN&#10;pHUj5TgkkE5+v6U0rxzkAjPJBxW/daZJG7EjBGGkIQkDIO0H3PFZEsLDjb26YwTn2qla9mZOL5bt&#10;alQNnG5SxLYLZxnHSp0n2lZdpWRWBGG+Ydqbt9MjdnjGc+9MxkElhnbjGM56mizsk35mbeivqdXo&#10;fiC5sZnQSMsVwg8zaTkYIw2O5BFevaH4phvI0kuWW5Ns6m/h5QX8AJDB9o645J6187qSoBGQVB+6&#10;cnNaenalLaM5jyGkBUsDjjPI+hBrTm5tGK8lLTZn1/p9+9zKluL9JitoG0dZE8yOe3Lti2fGeBuf&#10;CE9Qeehret9cunvokEi3KyQtbww3ESsZAqMvkMAcFo8/IQ2FCDIPSvl3w14tubCaNWmljdJBNbXM&#10;cm2a3dTkbTn26+9ey6T4htb62uLgzIDPdK7hSU+xThQBKqcYXdhsdCc5oceZprY66VZObhU76fge&#10;hj7REul+bMLp5rpTBKkoto54yDvsppGO1SSdvmMRkpwfXmNTCuU2zXKabbjyYWVPPv8ARMu5EIkw&#10;CIck9DyMk5rak1XT5LdImgk+0mURakgkWf7VCCGW8hAxuYEZ29Bu4PUnHlcyItvayRmYQZtp8mWH&#10;Wocsdk+eBIFAHOevTJ5b0bUFo/yNOdSXMn8v1/roPhW2CrH9sGYmJubZGcR3CgMI51XGQwHKjkHH&#10;ua6e1WRNQiiSXcZI3u4Lm2PlNKYdwedHUcvGVG6TOMDJPU157ZSJKbdbaX7KiXRBlkHmLasSN6bv&#10;vYOP4ux+pPoWizS2c0apAiCKb7ZFGmALKZFbIJZeI5CMbMDcdrHOARG6Um7alubaaktn+PQs+Y6/&#10;bIYrOCKK5jMlwtqFSREQqrXFruyQx3neQc4ZgF2nbVuaz+z2sd7HsvnSzW7NtZSCRogXCm6gUYPy&#10;nhtwyCr8cU64vmvJ7+fUIJY7i7LyC2SKO1XSb5mEilkwcxtuAES4TkZAHBi8j7EBFfpHZm2SSwuo&#10;AP8AiZaXcn5MToAMRueibickqR03Sovlu2ro2moRk7Xsm99b3dxkdglwtxNIqRwadtvmMV2JMoJA&#10;VurYn/lkzbQ/ykNv44Jzg3a3ey5hjEM8b5u544GAU7CwRof7si+a2Y8ZPfIHFqSOUXD3EStBAjC3&#10;u4lYPcWUoBPt8kgUnkYXfg9c1dWWSxs5LoWy2qRSN5EEDuZrKSRSzTh5MkRPgZY9M4XAxhyjdc3f&#10;oD5aL9nNJ+n6/LYyYFd5hNMAVmiQAwjdLOZWXE0YHWRPmDDJC855q3d3jW5uLi8Ij8uQwz3KsRa3&#10;8B2rlCfvSAjByONvfnCDU5bINLeW6ad9kQXQMUotlguFiDRMsew5il+RsqRu3N0AyfNr/UrnWreV&#10;XRodPhvRLIUXek+cBhHxhVJIPuT7UlrK99exzRlyXjDe1/8AgfgVdd1GbUHit7SZDbIoYXYULNcK&#10;OMPwCTjILn0OO1WIl+zmJEMccSahFJKpJWJMpsDHnjiRh2JDYzg5pIbMlIWkjJtRfPa7Co3ncikB&#10;iMHjOcDnkY9RbuGZIYzPHmP7B9nIjGwblkyCRux8uOD1PHJ5FaU3BuwTUk1zO91+REsYU21uHDNa&#10;311Azs6keXtVlAw2Bu3MRjOdtSf2bcLY2xVJD9r06S8VlO5ZWjmdAANuSQUfJUjoOBzVgpGrySyK&#10;oEeoQyJDK4BaOSM7juB5xlSencd6ktpxFJa2TOwNvPNbv/GgVhvjAYg4BIYYHGTyTmp97lTjsTyq&#10;+rtt8r6/doT3MSPJf3W5FdZbe6yCR9qWRRuIPQBWZcg7fu8d6tsltY/aDND523UmtUaSXaivKrld&#10;w/jGRlSOMIOCKzxHc3NlDuABksJFBG0h1jm4DgKOcqPX9KvziMtMokiGEtJxKAzeYzbUZEATA2jq&#10;B79eARqyuE4QTak9XYgltBDFbxRiWNmt7qBxIy8PGcq33jkEMhJO0AE9+rIyn2ZpZNkk5it5o1Jx&#10;E5jkRGbr+o6hT1qyRm4S1EoH/E0mgAkXCzb404d8jg7s+nzehrN8qSaGFJXk8ttKdYEQCUEI5Hzt&#10;nI5LcHup9QSot8tnqDj7SSlF67a+pKlvcTXgWJ3dRqsqmHbujUSKMsBkAL0+Uc4B4BrSuFAtY1jj&#10;C+bpjJPJsDSSC3mdVCqGJxhTgHnkgtUY3G7e6kLGx8+1WOIyBS2UBdI1DbhnawBIHrz3FR4o7e1i&#10;CNLN9tTzmkLEAkMATnqMtgAY4pK8ny/1sdFNqEnUe19l6kd3HDbsZLFiEXUGj/egI+2WEnfjOOQx&#10;GD3Xr3qO3gWW1EiyuqzRQeYgGXbbKyKqjdn+IsWI7nJ61rwiGa7gN5+88+5s2kBUeWokXYSQMgkZ&#10;Axx169cQSae0iwoPP89UnlcqQIVWFtwK9+AQD16+gNEdk3+ZF4+0VNbLW5nzpcSI9rbwuqtDPb4E&#10;n72VUbe2T1JX73c9eOuGkwW+MhpEeaKdTHJsUedAqOGznncnQcZHXJObJeFUfbvjCX/mHaoEjfaY&#10;VD4OOOVYccd+poitGnjS8EWFWC3APkgKGWVEbGCMDcwPQDtg9k1pyl03eo5Lr/wxhebPJ5fKrFHb&#10;GLZtCxxgSctjIy3T6fhSXlv5TCEJjLuIrgHO9XVDuOOgH8zWhJaQxSPaSRyPKs06oy4YqoJYKXyQ&#10;c84OM1XSBpWZmEgiSWGRiwAWMOmDjgdWB9enPai1lqZe9fXRdEUjahlPltGTIFKyZ3LuZOcY5wDx&#10;n/IqXKRocwL82QBnKnJAzxk9wMevsa1WhZI9sUYHlqCGT5i48zoTnqPpSNZqVDN5nlEb22r8ww2C&#10;T2zyal3e6Nox5pJPff8AzMUSy71cs+wOBKN/yvj0GefvEfQj0Nfvj/wRP/aBOn+IPGH7Pmu3rf2X&#10;4kx4j8MWMjnat2oMV6IgCc4j8tiuANpkIOa/BkwSAnKk2+8BGKne+Bgtt688fr617r+zL8YL74Af&#10;HD4efFXTQ4Pg7xJBqd1CAFa7tw2y7h9w0bOOfQA8GpdKFeMsPPaSt8+n3MSmsPVhioJ80He3krfm&#10;j+2T4geCNQ0WQ6lp8c01hNIDODG4ZGYnLBQTnOeeMcZBGK8qkto540kVvNjRgcKzx+XnlTjGcttI&#10;x165HPP3b4D1vw98XvAXh3xf4fuIL3R/E2gwatp0wYMGhuIg4Unj5lyFbA6huc8D5X+JXgDWPAuo&#10;3WsafHJd6DdsHniBdntWdgFdW3Z2As+Tk+oIFfmONwtTDVnTl0evk/PyP0/CV1i6Ea1J6tXX95nl&#10;k1kOG2kln8xVZyQpPykgEE/dAGDjJ/WCO0WGZmUIz8Rh1cknGSTyMnl2OeOwxxg9RbeRfwRvDMLm&#10;F4d2YA4I2sybQcgHGE4PqBnPR0OnTAHCscAfdDuuCDuPJIPQ8Hn5T6ivNipuMlUe1/wRrKNON5bN&#10;GXaWSlXQqWy+zypJG7ZPzeuOB6E+mcG/Hotx56PbxRyRxDywiwvuY4A3Fgc5544/wPSWenbTFH8y&#10;vlTIMSNIqld3LdQfmyPY+hFdlZ6XjBdmCJwyGJyj7ugzwOnPPXBwBgUopzi+l9iJLXlfS36HN2Vq&#10;8W2e4hMTq29piqTqzZ3ZV2Zsc78qTwWIIGKzL2zMjyTCJSm4hWErNMMKctwgAI3H7pPDfXHcatY2&#10;0kUscbPCFBZI0nVFwxBB2Ku7PJHXnaxI5FZVvo1vBaSySS3B8qMRqJLSa4Q42ouZ967cKM/Ny23g&#10;g1souTs+lgpuytuebz2Hlzlm27YmO9ykgSQfNjOR8o3Mp57KOtYmpCxguBOjg5G11Ygv0DYbnphs&#10;g/j1Fe1DRo7i3by9qsqNuDxhACwxnLSE4G45DcgKefS74K+COr/EnV0trWFotLtSDfXUZErxttU7&#10;QAMAsc7cgkbxknis60Zykowje5dF027zdo2/I84+H2l2Ws3M1reWlwbeZzOLiJc7WCEK4ABAxvA5&#10;HrwcYPUat8LnV/8AQpmljkjVGjZTm2cu24g888qQBkdR7V9+6V8FvDHgbSIDq9xYaLaRLseS4kUu&#10;RkneASCdoJ4B54PcmueuNM+H+qySWui+JtGv77CoYFkWKU8ZCDfjJIDnpgAfeJIpRyvFShzx0l5d&#10;jKeZUYNU4PTfv+J8BDw1reh3BnzI67vla3fchXDEDrkBsoM87gO2efbfBOtJNClhcm4Qk7W3TZAj&#10;VgzIiGJt33gM7gRuI6Hn3zVPhrNDE8c8KLEXJQHBj+8oMinPBC7x83XcccgY8h1LwpLpV0s8OYvL&#10;y8nmDbJAu3cW3YH91Tgn3BrGEsTgqvs6t3Eqbo4uClBJP8z0W+8L6dptvod5p15JeXGpacb3Uomc&#10;GGKTzJIyqjbkfKivgtkACr9n4YtrlY5Hfy5CqiMb0KYyNoZW3bQAE7jGG96w5NMk0620VrW4nkW7&#10;tFmkWScXPlS+YwcdPkU7xhSSQCvToOn0+cFBiXDGEyMQxZQw3lQADgnBXFe7CSq09dr/APDnntOn&#10;NOVv6/r8Ta0jSLvTrhbZYZXjchTLmMxlT8ueOnQ4GOMdK/Yz9jzjQtSUAR7IVkkiKhcsXKZHyjgY&#10;cZGeQRnivym0O6ldonfayIPLT7QpiLHeo2qOAFU7znHOcnJPP6xfskxpFot0V3KiWqKAzMjSNkHJ&#10;UcEKM9ehkHevSwKftGraWPJzRp4WTtq/yPmrWdR/sbxv4ptFdhHaeKb6OKVSqkhLyTYevb5ffBBr&#10;13wzrDTxrlyFCBVKsMAblYLj/PIBx1A+fPHs72/j3xoFCsv/AAlOoCORAGhYiVgBu6E/dJ5749q6&#10;fwvrRhZFbBVHx90oHxwGPPvxgdyeMCvCpVuWfs2up+iRw3tMLCpFXdl+R9NS26TozKSWDl4/LfeY&#10;/mZmVcc8Y+vy9eefOtb08RhhuIwAql2DZ5XDZxnPQdfr0Oex0bUEuYEDsRvQjk9Mkgd+pwePr71N&#10;qdktxGyqnDfwhyWfgnAzz2HQDp6mumUL+8mcUdJJNanhE0JV5Y96nJzvOSXUDjPHAyW4PI3HrVUO&#10;UIZUj35VSWOQ2GPVvUBhjnvz2z02s6YyBuApZtys0XmIMdivTHygZ9/XFcxudDcIqboMqQmWIAwC&#10;R1zwyht3rgdxXJK6XLI7Ia2Vth08CSLmJCdwG1UO1mOCegPB5OeRnce3NYd9ZvgISCFkMrzBd77V&#10;DBuT0IB3Y9BXSwICSrswR/mILna3PAEeSFYfLluAdo9KhvkLKWiiaVXbcHX95ngNk85HGRj/APWO&#10;apSUkrbvqbUq0oPR3/pHlV5ZxRvuLM247n68lgCM89MnAx/e5xxWDMpRmki2lDgLIxwFOAflz2OD&#10;16A/l6Re2rlGJRipfy2cRkxnnIAOcZG0sQOmPbNcbdWgBZ8Nljwo+4Mlgeex4x6Yzz3rz5L2Z61G&#10;UZLXcyoZJJAhAU7nAwkh2jcXz25OFU55GGHUgmrtuk8t/A0MiExIWdWJzKoyxUZ6nrgqCeoPrWaq&#10;SQlAQTtw20jbwc5AI6hvlx6ZpXeZWR4lQPlWicqzM+c5Ix/EexHByenfopVUpJN3MsdhVOlzOx6/&#10;pviO10+GNXmbAC71d9zqQQASBycZHIOVHXBBx3+meNtOuC6+cGZiNqOyrgHO0rzkghX+bGBkZxkZ&#10;+U7cTaqvmu0glMrGQxjy4WJLAbVJ+98gO3OCEJFdZpdrPYQoIzuEyEx+VmVju6AHB+bjBVu4r16W&#10;JmmlayPk6uEjF2vqz6rtfEFlcqqqR5h4b5Twwyyk9Ou0EEZGSAe9bltc28w3pLE4dSVaNgysepZT&#10;kBs5znJBzkZzmvnHTtW8uaBYwpjPyrtZiWYnJ8sfdUnB+TGOBjsK9A0fXJFEauSxfGAMqpCbsgIe&#10;vJOQOcfhnshOMryPOdOUZJM9gDllDh2AYHJ8zngEcdsgP6dz2zWnDIcFXILEcDPKjOSAT+OevbtX&#10;I6ffiaPeGKEpndE5DKxYNyenI9DztFdJbsQwUANnvgvtxyQR1GOevHauqCXR6EOFr3N612oQxDFx&#10;8gAGcgg9+vGc/hn1rordw2xWKvxkbmYKSCuPqAAQe/z9iM1y8RPABZlbnLgrnoATg8YweB1zWzbs&#10;2VUgja5Kg5OM8jr7EdeeB9RvFNboxlaK5tySSzR1zvcgRAbSobLAEYOfU7cnPAz3rIu7RQAcbirZ&#10;IwC2cFchsBv4zkZwfqa6vbuBVScJwXcbAcHAJ9/lGevLe1U7i23cruwi4baWO3IGCOfQMMH++fSl&#10;KDu2iFo9ehxxgIGSSFXoRkE8HkD0GScc4IxkjGVjMcUuVGDgRxqxCuSzZ4P0BGDgHzO2ONSWB43O&#10;EG0AkZYqnBIHJI9SAfb05WnLHtyy+UzeXtUMTI/Q8lc4H8OFxyVNZyVn7xfNf5nWeFb99PvoXKyp&#10;+9EWzJhkO4lSBuGDhRJlTg8HHTB8l+N3gdZvE0UllYLJba7A+sCVbUb4ljWFJE9cl2LnjGJOhxXa&#10;wjyZvMBcDd5ZkUFFkHCfK2AWUAg9mGRkYA3d74m0t/FngiVrVpjqmiIb6zkVjmeNYiGhRyM4ZR91&#10;gf4fXI5s0wizHK6lJq7j7yXXS10vVHq8O5vVyDiChmNOVoz9yT6e98Lf+GVn5K58d2HhBdSmXTrG&#10;6VZGZYyQu1c4XanPXHT8KztR8H3kUklgLp47neYF2qEjByfm3k4wCB6A/nXTW1jdrcNcC4lsopwH&#10;hmVRc7xnglTgDOMnI7jg9avXktxYxiWJ5bsIu1Z7pFVpcDkhAxGMryD09PX8rnRw0k6jg1rvfp6f&#10;qfvqzPHwxKVKspJrRNfa63laz9N9Dz3w5aXVxdm11OVk0+znYOJt6SXjoSAz/wCwMDp976Voa7eM&#10;L2UWY8y3R8gqpZXw3pgDngY46DpVN9Ul1HULqKMsbuVELYLBxwVG3B4429OmBjHArQgEgJtjARb7&#10;Qk9yybymfvqjZ5crnJ/hyehGRnUfuKlTvr1f6nq1vafWVisRFJ8q9zZK9m35t/j9yOVjW7vrhrpm&#10;lSMuQgYnMqRgs7A9xuBGe+B681raOS6uwZd67CW8k5AcJxnPfnjgdx3ro7m6S0uXijUJ5MIjgZVK&#10;rCgHp0ycE5wen1zyxubifW4o7ZQI0gZpSowc4znp6gnn6VyWhok93r+B6+HnUrRlKMVGPLdPskv1&#10;0+ZvI7tcyLhY5HKsWVSWC5G0eh+9jg96uvcA3l9tbMkQIkRhgAFdo49R2HtVfU4jHH59s6F1kAbc&#10;wAYhc59MdB6k9utRWMc6ytcyqJNzCSY7cbgOSM/Qd+5z7VdNTjU5bf8ADHDanOl7fbS1ut9P0KjO&#10;3ymQtggBEC5YdRyevcfkea5280SCdri4kctMiYGwDdg54znIIzkfyrspmtZpZblDGqq4LR5Cjpja&#10;O57nrWNqcRgjM0Q3xyymXAYFm4zjJ5x/8VSrVISp8jW3/DHoYLE1IVEqXuyf9WOTvdFCaet7DGBc&#10;RR+YA3Mr45xjOMkEEcdRj2rgtREt5bLFDEBcxOQuwfMDknYpHXHGcdcHrivU5rt58DhHZdoJj+Rc&#10;D6/QV5Dqcl/FPNHbyxorkyO5JVZCxOQOMgAhcdiPoBXHOlGUfd2Pew9Wo4P6w9b/ANL0OA8QzRX0&#10;US3Mm2QOIZEjbCW+3OckHAJbOc9dw7A48c8RQraTsbRpPs0xy8Of3YLDG4cgZXP+ep7zxBDLZ382&#10;oXsky6Y5CzLESXdz8u6PJOOM84PXoe3D69fw3lubO0YWqTKYIC0xMknBOWfdwDyPlABGMjPNVUpc&#10;kG/T9PwPYpSV1DeP4HnviSHTgYQqrcLJCszQREKS2FDdO2TjuOVrvf2evhQ/xQ+I2mq1qj6Ho1xF&#10;f6iwG2Pah3KnHclcAHjmvI77w9qBMds00lxf7hErR5PnklSdo/2hkYHXd1r9mf2SPhIvgfwNZXtx&#10;A0er69sv799gLKm0GNM9T1JwcdR1rbIMrnjsxinG0Vq/layPB4z4ihw/w/OtTn+9l7sde/X7j678&#10;N6TBYWtta2yJEIbdY1AAREBGFBzwMEYznseetdJ9pXcY7eRQ5Kq8gYb+oY8nGD8vUZ44zzzkXcy2&#10;1slvEwErpskKrwgBHf1HP4evIC6VAzqQhYjbnK5AAJA5HXq3b0r9op8lOMaUOh/HuJUq7njMRLd6&#10;X6+b/Q34kCH51dmIBbdjKkjHU9cYUYGfvfhUclj5rKQ2yJfmKHC5OQv4nJxx+Nai2ohUyzZJIHlo&#10;FO59zYBPbgc+nyn2qyInkbe6OuCCCAUkAzjG0dTkDtjpnpkd8KF0o1NzxHiuSXNB/wBeRzdzbjZH&#10;HHGsQAC7FX5FChRnv1Genv0GBWe9suA4Q7MnOF3FeDwRj/aQEjH3j3FdbJCA67kWTIHycqJAWHDA&#10;44OOvHypnuM5MilEABLMyqRLIuXf5R83sfvufcgDGKmpSbV7anTQxTceSJyd4jLtDEHBWMDKtgnJ&#10;JzyMlvMYnPQegNcpqA+VnCkjAjXChVUKgRVBwOTk595DwOQO3vY8FosDuiqeMngg/qB7Fm6gGuO1&#10;KJmJBO9skEK2GAbcOWHHrgHn94vBGa5pqyb8j1sO0tYf1sed6nGd0mGVu4cEYbBxnB5PJ79s/j5z&#10;qiKoZUJikjYEqo8zbtIYAZ+nPpxXrV9A8vmvuRnLNuXJxnJyemACd2Pb0yK4DU7M5lBQFSAVwpYr&#10;gksOfYH1wT9BXm1qfQ9qjVlaPKzy7ZsJIDMgHlgvwjgBSBn6Rk8dd2e1Yl4qKBkM7hd7c5VSWHQE&#10;4HJbkf3hXa3dg43nBdw5Us5wQfnxgemBF9NmACDlecvLWRm43fM4ClsY/i4PBPHqOuM+9ZxjdPmN&#10;6lWNSait/wDhjhrpNzEoTuaToFJzuPI+nLce57DlYJ3skMigsFTKrGCXOcKST6YCg+2ea0pbUIcx&#10;kuyYGXJAbGBnGTj0xzgdzgVEulPeqyqflBDiUIGRSowWIHbBbJ9cdQK5pOUnZHXDljF8ytf+vxOo&#10;8N6mklxEFlBaSXBUKXbJCsoA69DgHk4I5zk19N6Fq0emfBv446+yNItj8M9bvok2BxcJFp12Wxx1&#10;BVQRzkAV8pabpc9jdooMgUyKNpUlWw68A8c+hPevYv2h/EDfCD9h/wCNPiC6kWCXxB4cj8K6LcRO&#10;kdxO+syw6fLErdQSjzN04GT82Dn3snTeKi7aJfkj5Di2VOGT1EnrNpLzu0fwc/tWTrqd5qLny2hk&#10;AxGRtJAXB6nOcKcgDrn1IH4QfEDTfsGu3w2lYzIziMHPOSDj1GCo/Cv3L/aQuA51JYU2qxfEQBSM&#10;DAAxx2JGACTwOCK/Fv4n26pqs8u1SHZ2fjywM54HAAzmvoMDVvUbejZ8hjqPJQVN3fLb5PRHiMTh&#10;JV3RFwsy7hnKt14P5nNew+FrpHtrgNdPDhN9xJG/mTy9NypyMDHGCQDyOM5ryMwsXfvsbdlFxz1G&#10;On0Ndn4YuZLdnZI49zECRnHES5BO0ev+Ne9TfMrs+djTcrrroe3xhWto4vJa3V7dXtbbBjku8shL&#10;MxAIGF7ddvpyNwPf+VCB5PmicRgx4+x6Yv38DBwWB5GM9COuMcvps0kcflusqfaEWISbzHeyM+9l&#10;jTHK4GSDnqc8V00Es9glpDJHGzb2NtpkZMhLEqWlnJ74IOD6HjgmtIvZRNneEG0t+p2kMhWyuhah&#10;MNL5DyTOBf3gO85GB90qgGCRgHvVfWI2jitkLKZ4ky8qSbYbRAuduB1OMDbkfXjlNLligS6dWkN5&#10;KPKl1CX/AFcJYjdHEq87uCFPGAT68X7kxuUhnEsaIxeziY8xliB5szH0wOD61T0ldbP9TCEfe/eN&#10;9Pxu/wACw8hk0hS7tajeI2uC5N7eoAAABgcDGMDjEnoK51bnbcIixhplmEnlbARa7wAJJTjGQc9e&#10;5A64B07dvLtJ3lYBYeZLibPmyk4IEKfnjINYU80bJDG0bxRBzcMgG66vC23aZWPzKpPGBgDnir5o&#10;yjqtO33Di5KcXUXu/wDALN3FZeY5W5KssJe4v1fc1wVyTHCuMnOF4GO/4VZf9Dto0SHe2PPS2jG6&#10;aQuTsaVs9iTke9WIovMuoyirK/lkL5qlbOxDY53AjJPC/N69zyEuXEUUyyB5IbiQtJOI909zuB53&#10;feAJY8DjB6VkrKOuyLlVk5OTfLpb9TDVZLg3Mjz25OxUect+6tsk5WFPu5XB5Azxn3qsiRSQ7Y/O&#10;W2LLGyNITf3RIPQ/3Qc/QY9qsLBc2pUpEpkjXzzEwzb2asTtZvUkqyjnnD+nMCXNvCl01tNIjSKJ&#10;DfzRlzKCpUmLA5wEXlcDkYHPGn7ySTZjzKk+ZPR7eenUdp1tbLdJB5YmmjLFrVmItbEAnYZG45yD&#10;1yMDk4resr20+0mS58xlVS5nVQGc8fJGOCASAOOeD178/aTQwwDzmKG4iZUhj4vLosMEvwMcse/Z&#10;vxfY3Udxcm2nkZJd5djtBhslCklVTnnjGc56A0cso621a/I35oc9r+X6f8ObVxPcz3rRRRhYU5G1&#10;vkjXHJbnrkk4Pr7CuksI5lAihdreGOPzjIXISALyHYnp1BHbvx3597OXMMUMJR1AkjjzucpGA7zS&#10;Nw2FAVsngANyMc7Nqtx/Z5gMe97mWTdKzkyv5YG0L/sfLnnjpjGTmrvkSb1JrynH4I/d8tCW+vZF&#10;spprhoZnAeGxidSDM/zgM/qMLn0wK85uUie2N0lykLySOjXTlCF8zDFYh0/iHPTj61311aMkC7gA&#10;sab5p0kw249I1Xv0HP8A+uuLaxiW5mMsbyO0JksrIqWS3U4AdgCMnBJH4Uo2T95bkuCqPlUuX8lo&#10;cSY1g3ku0zgmVFHSMEcGRumT6H0qZbvaspky8jwhWnbkQIeSFU9cAgnHPUVPOhSF03hEa4DTCIFp&#10;bg/wqOenI9uOtV54kkbe6D7RINqxIP3FjFt+Zm5xk4HHXJFJxnFXe2wotfAulv8AgvzK0V9FDI1v&#10;bAqjSfuIRwivgHzWJAHQNgerDuMnpRDaxxF3aUqrbLq4GWuLkkjckQGcdflIx1/LjDBaiaVlaRA0&#10;rGNmQq1wcEADvgkg9sd+Mg61okrGNUlDOiElnfZDaDgALz8x5wfTIppRuT7zquz3tv8Akaa4EiIg&#10;UgsDBajHlQjJP7z1bkc+54+XJu6fLHaHzZwZ381S8pPzMOeFHbIBwcY/Ks+KeWCGVJUMMcjmQZBF&#10;zfEhfyXscjs2OKmVJp3ferPcsTK6nItreJVIBGO4IPX3PeqhF8ym12FBRvKMV/X/AAxtvfKQzEH7&#10;MWke3tQuxpCWyGfkk4wO/f8AAVfO+0vHE84RtoindXwFB/hTHPfnPGKijhknt2UOQnm5MxI3DGBk&#10;DrjjHHp06UR2yxzD5Q6uo8mOQg/Ln70pyVBPXnjiipFp2kyYyTbi1v3+RnMIvLuoo8RKgCwICWYE&#10;A5Zs9vfqPfk1oacsr2lwS37xAoklccvnqigcemPyrPgthGss8kmVZS00ko3tkjonQ919+Me5TzJF&#10;ZY5EZIYgW2IuCvYF+fXH4ZpuStpv/wAMVBxpU13ei8v6RNcxMIjI6HHmqkUC482RlLAs/fGGPHf5&#10;ePl4xpbTcJWZV2KQAsZxuYHJHtgjH/Aq0SrlWkWYLAH3M5UM75K8Jnjrgcc8npnNaFrbsjB5nCCM&#10;GaK3kwRjOFz7k54/SiekrRViYyump6Lq/S34nES282+MR7kHmEMrHcx+UE8enH6CoJIIFmiKeYsc&#10;VsJHbdsjDMecDoAcduyiu/utPS8eS9iBENqw3rtKAttYBRkn8iegPJrhNUR4C8U2YW+UsFxu2kjG&#10;CO3A596nv2/4YyqU1GDkl1/C3+ZQjumd/KQiWOMOrkDBxn/6xyPenTqFdXjZnZWj2KFAKDgnGemM&#10;nj61HaoqwTGJWJkZ1JYkdQcnrjknPWo4rgAyMGyWCIoPXAB3Z5479PUVSbtyvbqaUedpQ5v6sVrt&#10;Y5JR8xhmRSORtwAx7d+3+ealMyxSOFkf9yQQWccBR2GfQcj1Wo/vAfca4YOS7n5gM8Dpn3qpMQzi&#10;RQDCjBZHxhcEZPyg8/hWad2kldjUIyvOez3RZeXzzEyMCiRFWCnBIJA2+3Q/TNWYW86VQyKkSSbV&#10;IAXPsR6duPzFY8ZCqAke4eXk/LhN2SQc8cdyParcU6OjS+YWdyDGoBL7jt4xn0JOfUAe9VLl93qT&#10;CUIR511X3l1rRnO7eV3AHBDDt6Z79aKZDNePEjKUUHOFcncMEjB4opOrWTtocvsYPU8iDxXUcpKC&#10;2ETeVIUJ2RREFii7ieWY4xnPPvVpYYIo48mKL93unkJZhaRjkKO29hnoeg7diDbdGNI2wvm7y5+f&#10;z5imSWJwNq5PJwOvNMQrGoPF3H9pEfk/dF7IpO0Nt52Lk8+/UYrOSTCKlODl/VhtvGWaB1kjgSNW&#10;IlQF/sMfQhh2Zs4HbkVcjt5VXzA1sqvu+wRMwIQA4MsoABzjOCRn8qp5AQBVaVGlZHG8lbyRRxGq&#10;5K4VsZx6DFRZmQ3AYOVjHmTzohJd84SGI9x0zjPT2NXdONpPRBKKbio6t2NW3RwAFRpyJljthGD/&#10;AKQ4yzyHsccnnpxVeBWN7KY44Hd5GjMcrZ8+TnAOeq55OPTFILwESmZUiKwbWZE2RxHjKLzncwyC&#10;een5SwLEXknSGaJFXzi7Nv8AscRb5QWGPmcDAOOSelLTlujW3NKLWi/4JKY3KPLcTBZI2VJ/L3b5&#10;pc4EMZHO1Vx9OOaYEidZSyNFGssTXrksxjXB/cxgcbjtzyONtSbTLhhHFbOu8wI77jaRYYtI/Qbz&#10;g4B7j1NRSJC00HlnyYQgNuxdWIYcSTSc5wfnI744561CSTSTG1eTqX1/4P8ATETdB+6uEKyBiHCt&#10;kW8Ry5iViSdxO1eD359a0IbaQTw28RtoJJ41juCVLxadGx4UkDcG45AHbr0NWGRZHs7aCKKRY5mE&#10;ckpAa53fM08inLbcKAMjBz161TVrePZGkElyXuGWABgz38iHJLZP3F46dlH0q24PffX9BNzpxd15&#10;3/G39dR6x+UoeO1ZJRCdjvzBaxjI37cE72OCAOR78URiS28jygqyzsXt4J+DCq43SzA5LEkcDphu&#10;vGC6KTzvtC+YNrP9okO7c19cA/KEx/CmW45HH4VJtMjszObxohm/lQ7FCA5EEJAxgEBcjH3fpUtt&#10;K0Xr+hpGnKV27cu6Xnp/wTT0+21XWJjptn9h+XzdSjaW6isvtzxIzSHzGIHAb5Y1IZjwAccZ42O1&#10;3NIPtOydUlkiTLXc+7G1SV3FAcA+oOcgZp83nM2WV7a4MCPIIfnjtYgMgYHOWBxxn6UkcF1Db+Qt&#10;m0O9fPtjsMj20ZUB7iTOApI5HUcj6Uf3uv8AX6EqooR53/T6fIsTx+ddTw3shiKQCO8FnGwMILgf&#10;Z4ductyQSMg7W693rbTRF9PuUNvcKRNezrIZBp8LAlFAzgSMpHy8HJ55JqFWa1t9La2MuwoRZsY/&#10;Nd7g7d80vb5AOPYLk9qsIqI0x+a7RJ2L3Usf+ka9OXB4YkMIwo43Z4TnAbi/iXM9f+AZ/DG+3n+Z&#10;YtoLlYrR/OdZ3Pl6b5/EsEajL3Dktw2AQueD26KQ2IxWuLiNZZpC+NOsJXRfNUtiSckOQfug5Ukc&#10;cE4y123Wd7dy0SXCwwH7ZcMB5rqJDsghDe20EqSfnc4xwGTSpLDNbJCsN3KfM1R47OKFYIU2eXbx&#10;OzDLZQKcbTliDnnCl8PMi4wtrLotfvRC6RvFcTKS0CeU0ySTL5+qSyHACuoA2KGHTkgde9WbqKO4&#10;sXuGmuJ7ryFOoNBFgROoOy2hkXnoFU9DwewqKCzaeOJSTbXMysLW1ZmMenRqokNzIe42ru/4FkZ4&#10;q/bKkT2FnbQQTASObGIwsz6lJu2m4kBIBUEnCnnnIJ52kU3eUTSjOcXJaW7/AHKxVhS9SOAwqLaf&#10;7NJG8coMa6ZAoZXyT0kJLdeefYYpxQJM1v5DRxNO5bToCNxIzt813OME4zztGGPBAq7cosANtcQy&#10;XUIuPNncortqM6OdsSg4BiBY54wQeDxWdDBJHNc2l8t7asJRJqIVxHlVIKwKpHYsflHQt6Cp5otr&#10;qTKFTm5Y2sv+CdFbMYLBbiaFZtMaXYYVOyXW7qPILkjpGGz8y8gr3PFZstlDd3Us32mdbKSYWl/c&#10;bA0glKvstbYA79qkEfJ6fNz11bHTptTS6jmuPsd0LOKONpgVsdDRyu1G6DcVAIBO795nknmvG8hX&#10;T4oIo52y9tocCBQ0bfKst7MM5Y4DAE4OSp5C4ZNx3e+ljWHNG1WSv0t91jKuYPsc8oRJ7ZkKw3Fz&#10;C5WG2jyTHGg5+Zs5b/fA5q7ZJKkdo0VssN1EmbPT7a2JsmQK2+7uHLHLgKOo24UnjBzJZpHOVmgM&#10;OpwJfSJDZ3MrJHrtyysAzMvzFI8qSQRweeCcXJBqEM2oWiXUM8GVfWb60JEaOGCm2t3ON21uD5fH&#10;HJxzTV2rX0/MmUoyu4R23/r7jCzaT26XEkSToZsyzxzpDe6rM29VwpHCKRzgEdOelWJ4o/LnN5H5&#10;U3lhNXngZvKtlLo0dtFuyTllBPzZ4A55rYmYTNFcXE8VprCwLZ2KF1FnpVvn5SAc7GyxctkgkknJ&#10;yazYnha58mMLefI1rpbNGQ00pDbpz0wA2PvHBAXkDIKi2nymUqUotVr6aFG1xaQSol+0MykSwQrE&#10;Ws9Gj3ZJLAZMmcY5JwT8uSMFoGhW3Noi3m1i8Flcx4laXbIHuH2j7qE5A6euea1J7PfpMqbpYrKy&#10;mCyuzbW1q+dWKRJtJ3Ko3sQwwNpOcmsy6sVRltbi4ke78oS6heownlt1X/l3QA8scHK8EHA+jUuX&#10;V7fobQSv78b+f3f8ApXUVt9mYxL9s3ShruWTdELuYbfKjgP3Sig5LDjGAQARl7wXFzNM8kkR8lUa&#10;4vkJtlCBMJbQjGM5AU4z064yS+9WI6ejXCC1lv7vzIdgkiuNOskAXzDg7MS5BB27h5ZO45pbq3iE&#10;kNtotvcT/aps6TpIdpkhiH/LxK+QGIDt06fNxg4MaxSJjGOk5LZX8/60GT6fMkuy7sjBftZ4tLRW&#10;zDpts0TYldT/ABsrBhj69CBUNhv8rz/KRPKdjpVgCr7mJSNric8nGFyDyML06054kSK7EN95sImS&#10;KBL6QR3Gqz7tpbIO5kU8Yzx0PPSyiRWsOsbrmNIo4/Jv7hyrSXUxAC2lp6cqQTkcZycVomlK5nOU&#10;YwSn1/r/ACKkgs3mJuAbsW43OwL3MmrXDNwoVc/KMsBweV6ZNMAhuRNGzeThzPqNwishmyquLWIc&#10;Hvg465I6UkUdzHcW9ud8F5szJaqNqacgBwikn7x75wece9Mgs7o6hbGGVEnZjJZ2l2VW3t0B3NLI&#10;TxyAThuw544K5Uo6jnzQSlZe9b+vwLlxBGxhcpFBPdyEpFLKfJ0i1Cx4Z++WzkckcNngioJFt2ms&#10;xp9v9slWfyLOyulMp1WTeT5rjsgyuF56ce84tlDSxyoWWZ5AlzECZ9XMY3lUUkDk7VGMADGRSxrd&#10;xNe3VysNs6QgXU2DMlsijb5MYycPgAYU889s4ajZKXT+tRP2lS8pPsv6+4zpIISLh2gXypbgtqVw&#10;AW8+UsW8pD0wDx0zgGsa80mGWWWNDtkOUk8wEQ6eihTtB7nkdOldNdfZrgskttJHPCxnt7GTMEMM&#10;SICJJMMQCSGGzbncQd2AMxL5Qgku44fPTz2eCOVyG1eVsHL4O/ywCfnOOO/PEpO3vb/8MaOVOcm6&#10;T8kv69Tzi98OKJCII3uLaZ/KtndcPcMACZDgdOePpzzmuKvPDrxxySCPdbxcyXA4Vj2C9zj/ABr3&#10;Yte3dwkMssdtPJGVuZ7Ub7DTYtqgRxoMFmYsFGccn73U1k3ukuF2TRyMrOxtLQkJsAKhZbk4wo5P&#10;Bxkc9MZlxSW+/wChMWl7/Lou/m/6+R86XWnmNsIhyFPyjkgYzyP6VjMhU8LwWC9Mg969u1bRYydi&#10;CN1LsZXjORcEZ4T/AGR0yK4S+0SRXO5ArKobbGwKxA4wCfXH8qi7V0zndHnnyxVnucKAxzyM5446&#10;mkBIHTvjIPf2rYnsWgyShyvzfNwVrP2ZYMSxCnBAwQxz6/iauMnvY53BRklLy/MjSTIyWOM7gc8q&#10;DnNdJo+tTWE5k3jay7ZFcFvMB4H865soM7QnOBnA5bPFHzAjGQdoJJw2BWilZpoORuTTPonw94vg&#10;uha2MzP59ijNbzGP55VJGYCxP3e478n1rozqkcsEkyW0U1hJO0jRBzA2mSEYQAjkKvy8d+OO1fMV&#10;vqN1bFfJmdAW3t5cmPMweM/Su1sfFc0cbRvKzrMoE6bwGfGTkj2PP5U1aT1fQtVJU/dket2Vww+1&#10;NcKsNwkaR3kDp5zXicMJQvZgNrcY7Zr0Lw7qBjuCLWQ3VybNorh2J87UbPb++KtyI3APL4428dOP&#10;ArLWom8qS3Yme3fyY2DDFzDjDJIufQcdfSu+0+54g8u6UW97ATZsfka2lJDNHgexIGDgEilFqHvS&#10;R0e0jUbUJe7p+Fv1PZA8dylkyFbqcwbbPyZWU6nE4J+zu7Mdkqfc3yAdU5HWq52W99BHBDbBIoTa&#10;wwzqqfalDNujlDZHmLnCyMASANvIWuZ0y/MqN9ou5Y5ZW+1SICZ47C8jZBEzx8eYo+Y5DAAgc8mu&#10;90+30u6ubZ79J1kumS3vZ55Y18mdZIyuoIQPnVmQYXICCRixLLtZysklFasI1Zz/AHbdktxLiSdJ&#10;7BpYbaAala/Zg3mPI15boWY2srsx+YkMwIKliWweorndR1KLS7ecyTMtvpbkRRXJj+03VvKmGili&#10;GQJVJfYqnaMsTnAZbfivVLLSbibzNQZ9UWSW2e1WHz0Z8B4J7Rs5Q53ndtG0FQp5ryppr/X9Xkub&#10;tglrJbPKsUpWIFUGSy5IBJ2k8dcY9BWa5nHTY1nUXNaFua+/4f5kL6hP4gmJmMosLmTy0SbJmJVT&#10;sVmJ6AFeBwAvarcQuWtxbxoVjfTTGFTc7BomBZht6thc4GOB6EVagtws7CKLMAv4p5Du2sA6ICxG&#10;egxj8Mgc1LYq6fY1d/LjxdwqpGFiaTAJ9BuJbOR0J/AVlNSX9bBNOD/ePr/l+hPNHHbSMVVZWU2s&#10;6TrHuBaREyDkYO4so64DZBzk1oWyPH5HmRRq0c8ulAsxRZGnWTyyc/McgnGeSRnjtmB3e3CRtBG8&#10;ulYZceaFe3c/M52jDE45HbB9av3URi80pFKyme2v4mddnlpt2lx8uCMkgsDgEn6Vpa90i1J+71lt&#10;+VzNuFmli8uMLCn2EsWEuVbyZuXJHQDcPlPTFPjtwod7qePMV5BOsiyr5jl1U7mGc5GG4POQBx31&#10;LI28BVGilmEk93ZTOsphI8+FlAJGC3lvj5Rwcjr0qk6RPYLc/Z5lRreK4aSPBLvDK0ZwM9DtPJ9+&#10;KGo3vB/1oDtG0Y673/L8CWFYv9HQuWEd1d2se90mjdGRioYEk4zIDgdCBnrVm3sxcSS5aOMJoscj&#10;TfZxIryQOzgYCnBONvrzngYqd9NVtQujA8VvJFraIlrGxI/0hFwBucscbCT169gRT4Gkmjj826W3&#10;t7DQruMRmfe0srv9wK0gB3AnjIGeMc1nJp82m3+RChNrnj6/jsMuYRc31xMxK3FtqFpKfKTdHcFk&#10;BcgIm0ADOQDn6cgRpZTWtozLFCxuPttkXKOHLKoOBxwc4PAzwODVmSaS2ScQG2CyvpVxIxKgPuiW&#10;MlzyQQZHPQkbm/FbI2ttd293cH7XnVbuJFTaygEFmJ/3snAHcAtkHJdrpX0J1Ts92rv7tCtKoSeO&#10;9WeGIxWdpfqjW5YPslCkAY9gfcdTUcvkSXMssK+cIL51JZfmkEgyvUZxyRgcccdqZhZ7aaM2LW5v&#10;dIZvkdS0XlzxySEtjG3Z5mQBxkde+zfKbXUmurKJhbxCxvZBKInlzKiIXVSMBdwOD1JJx6U4x+29&#10;u3zLhzJ+/tpt5W/zMzT0RlmTas8v9ix3lu8bKpaS3lTaX3DG0/NkLzgkDAzWldXe2SMLDvdtSmuZ&#10;beUbESCaMsqqAQ3zHcCM5wM5GRnOnt4rSbZamEJLa3tgjxgB0VUbcML0HGQf8DVmO4gUNOSXtbeK&#10;wmMm5Ydxz5O2NM4YZZyxzzt9TzPMrtpkt81SVN6pf8Bf15FBZUOy6eMLFFFBenb1jKyfOoOeV2nG&#10;fT1NaYL7fsUbBIo4blPtJBJ3Ll1QDHJG0Yb1PtURtZvImeNmeKe2u7cwqyl1WIiYmSQZ+fa6knr9&#10;7gcgSJMJHJgDFBIqqZoMLGZIfLfYCPlU7R0PJY5JxRF3jp2KjGbajHVb/kZ04tthQ5NzNqEE8Lsh&#10;XcsiNGVxtBb5uev8OO4NYszG7jBkzEtvEY3KKUklEUzrlh+BI9iO3NdGLVWiSKPZI0dhHcfNb+Y2&#10;2KbaQvPyZDDk/wB/pVWNYVKeXCbgSNc2YKxM43feUgjLEnB5x37ZpddClH3e61T79NPS5QyEWWBy&#10;3ls8kEaOGLAM24AKDnOBn15NU5cKzpmRonDDcwIKkqG247cgce1dBFbNPJC5YyoqwyykAOFDxYBI&#10;zgc7Rzz7E5qFI7i3iEDrFcRXS+eJXBL/ACMFxyOMbzjpnB9BStJpt+Rc6ThDfRLpvv8A0jHgRXt1&#10;OY13c5bIdy65B6/7Lfmaa4Ai2MB+7CyFgDjBIYY7HOR/nitF42UmEBpvKBhDodsfUsRt9VDHn0PQ&#10;c1OttFbxL5iGVycbOCVG5VABzx94f0rNq0+aJMKrnBQe3Vvrsf1/f8EOf2gv+Fm/AO++EmuXML+J&#10;fhNfrDYwtEqzSaTeFjZydORG6yRFuW+7u/hJ/bPxH4Rt9cszFcQpJFdQtEfMBKsh5GAeR2UA+nHN&#10;fw3/APBLX42az8Ff2uPhwqa3LoPh74h6rD8PvEUhuEt7OSG/lVYHmZmVE2TbW8xiAoZ2PTNf326X&#10;pqSWcULW8qTxuVzcEvco4KjDEDA64HyjODg8HHz2f4ONSrHFJe7Pf1Wj+/f5n0mQYmSh9Ve8WuX0&#10;eq+7Y/G74yfDfxN8ItXm8R+HLebUPC1zcM+tadHlpLFSWYyW6jOQCTx3C9TgA0/CPiXSPFOn219p&#10;13bzgho5EU7pIipORJGOV5LfKfQ1+uPjDwBBr9hOlxaRXMV1EVljaJgjDBzvXPOcqCDjOAcf3vyS&#10;+Mf7OPiD4aeILnxj8N4/s0U8rXN/oih1sbgO/wA+1ecNjPIGeOp4r4SrTlhnaWsPy/zR9vSlRxsY&#10;vRVEreTt+p39jYjYpAYsc/vPKLJzyQB25K89RyK6qOMJBvV7cNGqqI2Me6ItIBuO4k9JenAxGuK8&#10;O8A/EjTNfLWN6i6Rr0Q+z3mmXyrDdI6jaQC33urEEcfMOvGfcI1lVd6sXJBQhSZFGNhwMAcj8Ad/&#10;0rGEY3UVoulvxIqxUZuElZ9n26fkTlZJDJsleGJy0jRpJKsRARsgADBwEI5Oec55JGtbaOZyweAS&#10;+VAzPGloWlULKd24scKD19MuQf4gC1tEcx/aFEse05SSNypBBAHXg5wePf1zXZ6Vp0aMPMFttclV&#10;YCAEbXIU7mJ242dM8qxwTk11xlFysu3X5HO4yjafV/gZiaFBaJcSRWcUp2HyJI7tbTcRuUEFQc5A&#10;OB/tDB6V+hHheDw14B+EWjT2Hl/2ncW5u9TuThzDNKqYjRyS55VhknnA9gfj6Gzjht0MfkgyRt5a&#10;m7i80bicKVAzkfJwBkjB75B4I8b3fiKx8UeFbx43uNKvjKiPKCzocDOT0G5wSTgAnPrXdh5Qip/z&#10;WuvlucmKderyNaQvZ/ocf47+Jth4n8VGx12znmiAYafG6sbG2RcgMy8FjyvJUn5cY658Yu71Tqkl&#10;1pduunxLKFC26G2fG8YYIpAVuMnHtxnmvpK+8B6Pqr2s0oWC93srO0W8AFt2fbqDkjI2duK6q0+A&#10;sVzAJ5isEJU4nkJjCBdzdMHou5s455GSennqOMqp33TvobRjSoySpdbXv/XYpfCfx5LAkWheLZ47&#10;zRr5tkF45zcaXI/3N0nJK5eUEdgRg8kL6J4+8EwR+dPCqSxsWMLRpsaRcjBUd+ufwPvXh2v+EB4f&#10;luYrO5TUYEX52iEgikEYywO8DK8A52gDnJI6e6+DfE48WeCZ9OvZo21Xw1qE+mBURmd4N7vbtIe7&#10;BDhskchse3RGcMdh5xqfxIW+a0MWp4SvCpH4JX+//Kx4xYabe24tTLM7Wy3DiCPOPKZlYqQc4GCF&#10;Jz2A64Ge4fw3FcxI0QILqoCOjc4X5SMps2kNwNw5xwQK0Z7BvLnicKIDP52cZYtxkc8EnBH0I69t&#10;bSDGwjKskioSymKNItp7YIIBwRuB4JPJajCN8vIzTEqKnzJaafIy9Cgv9LukRUOwSjLxhElXnG8H&#10;cMnAH3jnGADX64/sjlm0a9LhATbgq0b5UEFCzbevPmqBwB8h5yefzi0mC2uDEZY8hnwHYiIqF24P&#10;3ieg4yD988Y4H6Yfsv8AlQ6VeW0QBKRBpZAATyyqIxzgElScgZ4jy3Az7eXqaq8ku3+R4+aRSwsu&#10;/wDX/BPmD4n+DNR0fxFrVzdQyuJ9RubpJTGWSXzJ2YZAIxj922QRznjHXzfT557KQbQeHzGSfl5x&#10;jgjod5J46rjFfqD4s8J6Z4msruzv7eIyvLIomMamePnaxDcnqCdxPYenPwR4++G2peFtRuEkgE8Q&#10;RntZjEGR+VODkE4+6GI5GenNfOYzCVMDW55ax6P7j77JM1oY2gqTdppK677ao63wrrnmLF5jZzJs&#10;Qr8nm4OAce+eR79OgHstlOlwq4YFgFZBlm8sqdwIz7jPJPWvlHSrz7JMRwEjlMMe8gbl2g4bkHAy&#10;F5wPk4HGK9w8NawJEC7l3GL7xOQCVZuM9ScZAPOVGM5FbYfERk0pGuKw8ox50bHiDS1dSyYY7DtU&#10;Hb0BHJPXAx93jGB7V5BqNtJC26IESqSGUqGVSedwyD+Pse+MH6KkCXMB/iXYCTje2Sx5z04x6dWA&#10;55rzbX9JXEjKo3MGUlR5c2epxgjgCTg/7R54wLqQa1T0OajKSV5LY86thb+YySHa+0D5gxLfKGwW&#10;3En0DZ+pzydJk89fKhKOS4Cs7KFOCDznGDnPJPfk+uO0EtvcCVtrBjsYkH91l+cqB05PTgAZ+mrb&#10;t5ybDlDIwUb2ADuMYBPvuwCf7xzWEkpxTT2OiUXFXMq6tSbeQ7I9zqrMxXBbPy/QMPnPY/XjHHX9&#10;rnCmORkH75Aw3KGO0NjjHJQEqe2OMA16XPb72UYXd5fyKcM4OOQxXgY4wSTweTwKwbmzUFiVUbG3&#10;EOdzuCxIwc/eALDk8569j59ak+e3Sx14aaUTyOS037n5UI+3OQu48kDA5wR/PnHWqZVpIzHKpCSE&#10;Kx3FmUZyvuPu5Bzxge5rvrywDqVYiONuWK7fnUswYgdedpwMemegrm54WEqqzBWSQFABv44HB/iJ&#10;ZwAMdB+FccU4TVtj14zVSPJPYxIbu206CIFjJc+ZmWJoisTjDsGVlII24GCMYz14w1ifX2kj2tEf&#10;KbakY2bDIoBykgPXLYw3cAdc8UtT06aSSNLUxKAGJZsgOg7DgggjKkA8e+eK1xBthPmExuIsFY5N&#10;ykgclSR074xx6969OnOTgodb/hofMYmlCFV825bGuO6bBI0CqHB3rt3CQEMsnBzw5AfqQfxrrNJ8&#10;QTLJGsjbpCyKQxaOZdpKqrMcYwcYPTD9eoryW4kmMshhBZQDEpZznBbj1Pf6ZNbmj211K+5hgDdK&#10;Y1X5yDucn3XHJPbB9K1o1uVJrc5Z4aL2PqXQNcjcZDCQswGZVFu6E4PKrwuCoHA29geOPVNN1GJ9&#10;xBBMYGQU8t2+YncfqpwfqMZr5c0Gd1hWIysEQHc5271B5ZueGAwTjsFPXmvX9E1OLbG4I3FRlV4j&#10;XB+6hySVAJxnB5H4+nRqvRHBWocqWun/AAx7XbyCQLj7jMCqGMscZzwQcEYyvc/yGzbT5CkBhhRt&#10;UDd24x14PPHPO7qc1wmm6ijDCsRglWBCyFcABicE5wAcYyTyRziuptLksdyhGViFRldQWHAIHB44&#10;HP04JFekpNR5TglDTlkjsraTKBigCYG1wDhfvkDcBjqpAAA6kk46SuIzhQTgKCG2sM7sEfo2QenA&#10;rLgdHIG453YBKgZPfJxnk8+3HJxWhHHtBbIAYArGR8hI2Yzj2BAB9a0TvE55dYrdlKa1VyQFLSMw&#10;TnLkk7VGD/wEYwfzqiY1VcojJujKApFuBX5RggnaSNw+XHTkZyFroCm9HUugY7vMIwPKYFcE9upU&#10;4HYYzyBVSa0UkusWVw4OWLKR8r45Pv8AoOaiSav3CKd+VHNsjPkLHCArbi6liJCCQCMscgADBHOO&#10;vXJ9A8HakttN5MonWHYDJ5Yw8i/MC0ijO5csxyOSVBwCSK5Fo2SVVMQAEgw8T5cEsQQGGQSCvG3q&#10;TjmrNj5FuwdWLusgfCTiNlxnJXHIByRuXg4IxgjJRlKlUUntcmvSVei6clozjPHmlxaFrV1pb6Zb&#10;/ZWU3GmSwIbceU7fLuHQmMBlGBgY+leVajp5WKdry7uFjMZdNlv5wBOQI0UEADnJ5UY9elfVXjzS&#10;X8ReFrbVbEvHqWiRmaSe4AnklgKsC27nd93dkjPB6ZyfmqeTUNSEVnClr5MK/aJ7m5JhgjI+YFyF&#10;JYYH3MZ3FQB6/BZ3l8MLmE6TWk9YdrPp8tj9V4NzaeMyynNySnTfLUu9U1tJXTXvKz06tnhkF40f&#10;ib7LFZ3L2kVuPNmkG0XUhIYqQOx78GutvbmRUM5OJkVQoJ3lXbaq4/PggdM84xWjf2OnLdRyh4pJ&#10;1y0rq5AuZPm+Yjg4AcgDjp65NYt/JCLmNYmWQhjKgVsmIsWQBmzyVAVsDPXHBzXydKhXjCUJyum3&#10;by8j9ceIpY6dKdOm1aKTv1tvv3/rawy5WE6cbqSRnvc7JE2kxhdpxz255wT26cGqOjxxWsE1yI2M&#10;042RlgAIwSWY89MFh6AeoqVnaY3C8EQxjepbBbO7OSPbP41qNqMNlax28kSCd49kaqMrFzuIXsOF&#10;J/vdRwCa0oxhGfNJ2S/4Y0lKpCj9XgnJyd2r7Kyf3Io20dzdIS6AEuUBKlhgEcYH++Dk/wB4dqs6&#10;zZ3SWEr28iJdxhQEAIEgJbt2+6B1z8wrPs9UnfUNNs4CWlmEkhhC7xF1PPHtmuiMguJgkrqszQia&#10;T5sLncflGCcn7pP+c2qcakW4dNDKtKth8RCckkl71t9L227OzOKMM0csF1IrBREq7GTGWyzDj6E8&#10;nufYU65kkuVRJV2xr88nlK3HY4H93r+laOtOZWkSHIYssKHBwxUrjn04HOfWuZGryWC+RcosrouJ&#10;CV3PtyMg/wAjj2rjVBRk3N6X/wAj2MPGpiYxqxj7/RdUvIptAD5ybleIjMIyA8jEgbcdcfpz715/&#10;rcNlfQm0SRvOOQzlSphyQQcDjOMdcjDHo3I6y6vWNvJcxB4xM4jjiLE7fu7GH1IBz15zXJyXltYT&#10;RQ3MQVhIGbcwWQBgRtPXPysM8YrN8vLyLRs9xUaluZ/F2/O/9eZ4l4q8qC4kgluGnhit2htw4BZG&#10;UEYIwcjAAC8cjrgjHzx4ukitbc30byssEybokyM4LFNo65wrj2GemRX0J4300jV5wylbYkyRsuQr&#10;7lLBiODg5XGO/HSvCpdJuPEWt2fhyzLyvqGoR2UDKdyoXby94IPYEnK5PGQcdeKfO7U29e36HrYO&#10;VNWrReyu/K259E/sseAH+KXiW28RXZebTNCl33cksJaK5cbSsfOe7J/3ye1ftHpsEWnWKW1vGFlZ&#10;AkewARxKmzt2wBj049q+ff2f/hZpnwn8C6X4cSEtqEsSXWoSEBJGkdQX8zHoWI6dce2Pp/TLGOQo&#10;saFy7rkk4dw2TjPUduDnjp7/AK1w3liwWEV/4ktWfy74j8TRzjNJcjf1em2odnbd/N997GV9glnd&#10;ETc7sVCALwM7c4GOp24/P612dnpCaYA8ylpwABFjcqEgjkH2PcenvV6202LTt5di91gEyNxHACPm&#10;GcnPXGemDVoQsQ7GXzHLY3H+HOR09R+eWGcV9bRwij+8nv8AkfkWLzOVdezg/wB3+e34fmVGUvhp&#10;dpdmLlcZ/iBHP48f0zUyxKC+1HZdrhlUgSPjIKZGOSflBGDuZzxg09o9+9kKqQ4BkkbKkdXZeP4R&#10;vYD1RB/FmniMNwgchACI8ncoB8sbiecrkAlujFyTwCOqy1bPNdRvQovF5mQ/zs/yNjIznO4YGeDg&#10;9B93PY1k3ALKXYkhy0gMhbDneXJIHceYHI64CjOSK2nVmlkdfm3R8sAQoyDgAdsYHOAcDHGcGnJC&#10;M+WNpEZAU8EYAIUHnPzcE5we/HFZyUuU66E0mr+XyOVuIiqnfyVck5GwZO5RnPHyjcM9cs5GOlYE&#10;1nvDkKu5kK8lhuB3DBAHGASOe393Fdy9rlwJApCOMKSMEsFPJxxkFSG4wAT34p/2UzrgqoHYthfL&#10;wOCwxgdeg6Y+grgqUnOWmx7lHFUoRtJnld1pXDOQzME4jKgOSMhs/RSBjnG4jsBXL3uiuwDlMrG/&#10;mbQpIcq3AGPVgBn8eeo93k0QSiNiGXfnCsQAP4zn8GXj2+mcyfQlkUKiH58quRk/MMDHrksQB36D&#10;JOByzoTi25HfTzGi1ufNl7oDRblSNnywCtuIYHJDEnGCMHPr0x3Fchf6KwBBjPzpgkDB53KQO3IO&#10;T046CvqC78NpIp8vaQ7llIbc7KASCSOxGee+O/Fcle+FpVf97GTEp81nAPmbBIUUINrfMzKUBIxk&#10;Hj0xnRt7h1rFQl799T5fv9OUCZZTIFRcOc7yD0wT1XsM/wCwfYG1oOnkXCZUKwYuXJychjgnHTrk&#10;EenTmvZ7vwwIYpZdheZpGDb0wCRkYUYxtHTnPXIPNVNJ8Gs6z3cmVEJ8xAT80eSIsjPvIoPf950x&#10;0UcMlNJnRUxjlScb6WVvwOYt/D0d5q1paRQPM006yjYDMqDkDYoyMr5e7AHzepyMfJv/AAWL+IVj&#10;pfw28AfArQZXBsr5fG3im12nyYv9GmtdNilJOC4866nI/hxEepBr9Ufhr4TsLSC/8S6mI2GmXjRR&#10;71JDiGABR2PLPkYzk4xwa/HT9v34f6n4ti1rxRqaST6lqKFppWHnCNjxtQdVCBgq8Y+Vcc4Nexha&#10;csLQnPl1lZL06/efFZvinjMbSwsJ3jRalLzl0Xysfx7fH6V2lvUWMBWXywyEhyCD+GOc1+QHxMTd&#10;dStgKqykHcflOcdD+NfsP+0xbT2dxeudqtFLJ5Z3DdyHXBzzjLfe4UZj3Ybbn8d/iOwa5lZiH3Se&#10;YMDBAUux6Z4xgde30rrwTVtOnT8DDMJRS5e61+9HiMrKJlSMkFiTkEtu9Py/pWhpF21teRCUhmUl&#10;wWOUOTwWH5VkyD5nkKtv3ZxnII5HH4dxS282yWNiTllAdcYX/dyR24/KvpY3srHybi1Ukk9W/wAN&#10;D6D0+9imggumYqruDcanMpcq2SSI8e2OoJ9K6yJLJkgluUaCO4hMmnWOSl9ecnfJOScgEKuATzyO&#10;ma808MSvcw2tujL9pQqY94/0ezUKcuw/DvwS34H1C50yzsY7dzqKzpIFEmpBS9zfM2GMEC/w7Qj5&#10;J7gEEcZ3Vk1bvqKPPKNk7df8/wA0dJbzPcXCW++K4uIEJhGwR2FmW7krgMVz3PH6V11xaPfpExI/&#10;ephmcYub5tvOzjOCUPb069Tx2liG2uIo5IWKAqEsIwQ8iL8zPNJ1wwHJznjHTr18N4zXc6m5SWdI&#10;doaP5YbNFH+rRAePlycADI5+uyvdXWxvGalaCW3f1/yJL60S4uHCGCBxbxRSAruSzUABj0xnjJ6d&#10;T3FcmNNtikSoHt5JJWVpHw15ekszF1HYEt+vcg4620tQ8guLpAhlQzW9rkjzNpwHkOOPulhwe3eq&#10;d1C9xNJcC4dijBbrUN4KoFGwRwjOM9R77aiSSvf+tv0IV7OK8/u0KaWfnWxgzsRH/wBHs4WHnyMG&#10;GRKwGQCCxz0rPunDI9rJgXFqoeRwCkCoQQUB4JYBccf3vWtO2AtAIXjlRJkadISxN9OX3NgsT8pJ&#10;JGOg98YrNlgWOcXBkBkMSxixjdjDAVyMysercgcn+HBqebW0dgdNOnefX80jMiszcSW8sMThLrDN&#10;ZuCbi4kbABYDkEZ5HH3ccZrJ1OymOoGMpGJxAVcIy/YdPDAh1DBQHwNwyOobuCK67eLVG8ucQtEC&#10;0t3nfLcvziOEDnHT16enTDv5rm8u4w8ctuZB5MFpG21UKqB5krd+Dnnrz05xo7Siqi2MHG1RU2rt&#10;6P0Zi25NvbyEhSGUR78/6XMDjGCB8oIJ7DgfnC080lxawNDHbPHJmK3RlaKEyMoMjtxyVGf+AY+k&#10;+obYla0tJj9pdvKvL1wBydylYsHGBuCnoTj060Z4Da+RbvC7wgBgHYb5QFGWkGTgZzjjoB3NTGTl&#10;ZzTCVFxn72sE+n6/gdlays0sggBn8uVYJZXk8w3TAEsoOenzHOR2rYS7uZWnLHZGiMJc53SBsDZG&#10;B1zk89uvXFcnol6toLmfJlZg4XY/lxWgO7g+pYtj164HWumLS7bbUJZRI7jHkRvtitEwhVmH944U&#10;g8Z3hu+ad4qV4rR/oaOcJwcmrpf8BfiFwl1HGrvGjiMBhAFbbbDAyznuwAJxx1rGuVsgk6yNKiSL&#10;tUoSJZw3DAD05I/DHeummkjmRbFJD5ZU3DqpHmzkDOH54288Z9foOSlS4Z7gMYm8tNglZx9ntQcA&#10;AcYzg55we+KtQTUlvYmc5KLs7LovQ5MItu9ySyDy18xWIP7lcMACdoHdScc8duDVC3v4Q6RscwCQ&#10;vJjLzXspO1OemAyrn2B5yONl1he5WGWOa5RcsCoGXkAPzsPQDgdPx7c9cQwosiRlDes2GbdmC2Qb&#10;iwX/AGunf25zUJv4t9NRzUWlb4lr+O34hcQpdXTygRxhV3ysp+S0Xdn5eeT9aSW4WJrBfKWOGAu0&#10;KRqzS3DHB8yQ88Eqfb5O9QXUtr/yyEih0Bt1GWErYIDMP7v8+PWp4kQ2joiqsijFzfzfI3TAjj55&#10;656flmlvrJ6PoQm+W173ejfqKJhJcStNvuGyGublCHjQkDMaDgcZPA7sR1q8NTE22JEZ9x/cQBfm&#10;cgYLTHjjBYYP69KxYNtrKq3HywQp5trAXBXnBLvzn5SM49h0rTtpooZrgPcKIUUzXF0pZyzBC3lR&#10;YB4zhTjgEE85zVSlK6ttp/TElyr2Lej7FxrqWaMC32mZE2ncCUjJxyPcYI+taCj7LZIbjzF835ZW&#10;JLy3RzjavOccjp/e9TWVC4aW3VLVwgfzYrKIjeVY5Xzcc/j7/QVrmcXEUu9VeWPAlvZCPJtsZ/do&#10;Bwx6c8YKg8ZxQuVv3vMjnjFc3Xv6WC6lkMEbSRqGZcW9tGCY7UdVd+cY4HTHJ/Gs6KSbYfNHlxOu&#10;Zsj95eEFDtX06k85xxmrEjFAJEDxq0qiJWJWS7VW5bdzgHnpnrVDUGk+0HzpkCkmN/LX92i5OAg9&#10;8Z4J4POCKUOT7KsawqSqyalpK35r/hxq3Fu0bec5luY8yCKM4jthnK9OSAMkVN5vnD9448tmKh9+&#10;Z7gk55PPp39854xS/syVEMirtikbIjC5EpJJ3P7YOT+PFSyqIniuJJN53qJQmFWPPIUevHcenQVq&#10;pSnaPSxMabSfNrZnQ2QQRwr5hkyFYqGKxhgQcn15HT0B7ZrL1rTRqkUrohYt0uDkRsqA4X3B7n1P&#10;GOlJHfGKZioOWZjDCrDzGXBBZ856jn169+a2Yrj7Y6oWjdljASIMVQ5bhj2PH8z61NveVNPa1yZO&#10;VaXMleLPKZke3eOFkCKfNKyIrCMjZnnjPUYH1561m3FnNBIJHZUUhWzjAwwJyf0HPTHPSvWtd0OK&#10;4tHukwkkMckkZAKKPlPQdzjsOuK8pklLs0EqFZhGscYlA3RsODk/iPyPPFKesrR2E3Gm7u/Ne9/0&#10;/wAyHYJVJYhW8l+cEN3AIxzxlTUGArRwp8sQdWkcrkyHuOfrj8jU9xI9tIAY1wysDt4+Xo2D+H6d&#10;KjXCyGNVLIyJn5hwc5bP4Y79etQlKOqexLurX26+n/BHOVA2SbDuQ5A5XO4gD9fx5zTIgUkQxooM&#10;UgAkwQUIwc89ATs5/wDr4hkCmRpQw8tAT8pBUNke+c8nFSLC3nqSSFYpNneQQTnt24B49fqKScpO&#10;zEoxel9Fa/5jX8ssT5kozyRxge3Sipg6nJZRncQcx7CeT2FFXab1uR7StfRI8liVhc3HmKiQSRAy&#10;iNSfs6nJEWfVsAYHqKtO6IXh2iK4f5XjC+YtpE38IIP3yMqTz15zT08kI/m+a4EpiSFST9pm243l&#10;uQEU8dzg9+ohiDxfbGgaN4VnEW4gLLcykkPtHOVB/iHqD3rKKaumZuST/vaN/hbyNKI3VsIFhiit&#10;J9nm2sboJfscC72aRuCwY8k+7D2xSdbm3lgjhDMPKZrbgkxgDJmY9C3XGc449qLidpIZkmeWSXdm&#10;4uUk82WR+QsPPOOg4weRzU6WzW720d6PkmgIvrkZZUBwREhGSMgAZ5z6dq0XZ7iXI7OGqSd+jIrY&#10;I6oyxp5UkxFrDK5LTsoJaeTIwwznr1wKsJKkU8BR477JxbxvESl3OSwLtnshO4Y7r9adJGULsUMT&#10;gB5JBiUWFttXAPPDHcCc9xUjWl0BbzFY9M83Tj9kQME8qAA/MMkqGZievJPTNZybjc25Ekk3r/wR&#10;ihouZmkuv3uJRlYmvJ23fKONxVQM+nT1xUMiySfaVkhZFZfPui03+vO75YlI9CBxjnFa3mzR/Zma&#10;SLzQGWwhSExixTCmS5f/AGzs9ed34VnhkDx3cDSEGRjaRFiRM68tJLxkgEggHj371T1+RlGKjDme&#10;sjUd4YICsgheeQCe5KOd1rEHOLdSQSC2FJwc4x7rVNHdnlDtbRPPCzl2XYNNh3DODx8zLgHd6dsn&#10;JD9ouh5ghSWOVxIRcHC31wRkyjnJVSScA9gOvW5EphTdAYJreK7QSXP3JtRmJDGMAjdsX5QcDHzf&#10;k2owtPo/+GRo6c9IQ6aq/wB7/IniheAI9mVZ5ozFpaTnAtYwPLlnwMnLOGwwwQc455pI+bWR4VeG&#10;MRLbaZGCczucmWZ22k4UKThu+0dsm3fStJNOuoz2QeNFF81rEiqinLpbxmPCbjgZ6HPHHOc/y0vG&#10;ljnd4GCM8ixgxx6bBxiIAncCy46nqaLOcVcUZOMeST+X3IlWezMMJJufs8Tl3k4SXUJiAqfIc4UF&#10;B0Pc+orTuZN0QtZIVndMX2s6lb3LSS3JZFMNrnmMbFCLhFBDMwbO3FMigub0w2unWkrytbOtuv2Y&#10;XAtYI1dnlIYFVJDli5GQEB4IqONM2KAW8wBf/RgQyy3b4IMj44CrtBAPUNjjFQ0upT5nJQatuQRA&#10;SGcNJ9mumhU3juCYdOt1G3ySw5DOcLhgCcgckkVp2sS3c0KYhiubpVtLG3ki2Q6fF8oe6Zi2RkFj&#10;wTgljtPArMSDdavtt55YEJN8xdlF7OzgIox125zxnofatOFjHDex35YtcoLjUNRWNZINPQrkQAgY&#10;3bQudoyOBgYrXWLu9yYtRpuEu6Xoh0YWztIdTNtCdNW9NjpBjbe2qTRnc9yc5R0UhDjj7w6jJqdI&#10;ljt/MNsl3aQuLdTNKySavdyq5ySTnaoQnBB4VuoJxWMMvmqiqbK9uwIC95Btt9OsGVQjuxzgujkn&#10;cucMOuTTzDIlrY3cZYNc7otLtZWQxadAFLG4kUZwS3l4zkd8/KM5x2NG6tGVvs/0/wBTQWGK1E1v&#10;dTQWxjUXWuX0TMXdpCAbKAZKk43HBAB2n5gMsbAtY57nc1vNb3M+nsxCgCHTLCON8KeN2WGPlP3g&#10;4/vDOdcG2kUBFeWC1kWC03K0MmqXbBS0nOQVj34xyDuXoc4kPn20F4D5ksVsI01SSUs4vWchhaKS&#10;cMOnygEYXIxTVuVlKEVo3rpp8v8Ahi5dKLgWLadJJArMbTSLSYKZLaIlTJM5ZSVBU4BztGM54BrP&#10;kAluQmmgsrTi206GchlWT+ORhgcYU5yQMKOlXroOVkvrjbBJeRmTVvJUI2nRO+Egiz0JXClRx9M8&#10;U7e4hk1FBBMunTXTCExR8rp9oCdzMW43MOPm6gnn0cG4vQutKn7P2cPtP/LT8y5qE4trW/hu9Xil&#10;sLO7Se6tpHZZfEl067ykKYPmrF84bd90dAc1JbQrO92sxjg3ora7JGsaLpdsZEi+zwq2PnICjZnI&#10;3YzndirMsd7PG1nFcySKn2PQ4nZURoQdpmZG+UcjdyTjLANhcsbIUWaJhLd6fZTs93cNGGh1O83f&#10;uxuwGePKxsEJ3DDsMZ4lO97owhTlCUd/6/4JK7WjTz/Y7N7UyyeRokhnMcWmWaMfMlkjHVnXGT1U&#10;k/NjC02eeK6tN92Vt7SyUWuhvaRbX1KYt89xJlsMwzuOO2BjjNOFrLCl5bXFxFLJLALjV5rSWWP7&#10;IjdbQAgAEjBIByAAMnBxNHa2rJbT289q1/f20sSaXKHa20CyBJM8rYON4VsMMsADkcgCYtqCt+Jc&#10;ly3u7K2vrZaGazLcTzSrFdXdjE0bahIs4SW/kJwYY8qcdX7kDuDxU0du/wDaCR+cdLlhWS4vgCkk&#10;miWoUCOFWQ7fMcSEYGc7QMjk0tnHPDZLPBPDBaRutpoNl9qQSzT5VpL2aMksEAyQ+NpZACT1ASxi&#10;ZJ70SWcd5II4xAY38QXZCtLiUYG1QehPI2465ApOMtHoaxXuav3r/K39IhvjJJaw+bdiJ1VG0mzg&#10;n3waTaHcZZ5lAH71gVIzhgDweVqtGb3yoI1jguVF2q2NrJukfUblgD5lxwGbYM8DocYbrV+MW8f2&#10;+C/gVrpLgX2tXY2KlokJVI7O3YHadxWNSrcArxxnLdTW6lZZZVSzvL6F447FYtkeg2UQ5DAgEGQH&#10;hWwTkeoFO8YpNarQxTfKr72f3opai101tfr5i31ys8cFzdgsUvpVYMtrE5XkRDLHnjauSVKVLa+V&#10;dm8bULowgJD9v1e0ZZzbsjMkVmgO1SXO3O05HPXBrP1K5vGisTIRY2SKYNNgjfE0qYYy3EpHPJHB&#10;bB5GBgU6wu44XW9t7eKb7Jdi2srS5zeLqJCZaRkPBG5jhXG4BQO5BcVFytLSLHGTdKMrar+rE/2e&#10;9aZoLddl8IjHDFGY3sdEtSuVLOB/rCAeCc7vUnipJJeLaWk/kwiE7oNKiaCMMSOZLm4AGc5BI83O&#10;MYBxwdWB7u9gvovs0tjZx3Ml3rUqyFjfXCsxFsi8KyhtyhT8y7iewAhsbm2XzrI2ix6nqDFL24nT&#10;zLHSLQAgRocElzg5DYAG0YJbIdrb9ipUoKEVLutvP/LqY8tzPiB0s47+x+1fLPdRhJ7+YqGZnc5b&#10;aAFVVyR8oIJzmobh2vbsvdM0SI2NQmSFQXZiFWCEdMAfKAAOnHHTchc74nisYoUgz9jtXgSFIU2k&#10;GZiRld4OcEhemMc0yGJLOdGuIjMsIlOi2luFX7RKE3GeQ8/Jkjh+4IxwTUt+9ZbLUcZfu1TW9tfy&#10;9CFo5UuIpEuDa3otAyhCVXSYHIUmTg4Zwfuse+OM1XaeZ4oUSJZYY7grD50Sm51Kds5kkHHCrx82&#10;eh6k1s74JLJhe3NzdWVjPv1N4Sn2zVbsLIyWsOWBVQVy4IwOSOlQwzXN7NMj3FtDdXMcwvmclYdK&#10;t8bWB4xuKKwIGeMgE5xTjF3duhF2uWclto/1/AhieFYr+C8uFaMkXV9cRBZrjUpGzsiQj59u8ruI&#10;bAAyQwFVWuPMnuknlVHZA11cRzuIdOh2NmCIYwMgDpzkHgktm+kMtxJEtjYQ29zeQfY9HgnVUhtU&#10;d1DTszrwTgnLcgscEDgV10qG1EgMX+h2155AZ5XkXVbkHazDOcojIRkc4bqeTTvF79tCIRScorZ/&#10;h/VhyXMW23urfT4be2jdI7LTJbkSz3DYG2acY6Dg54BAHBw1SyPFeC4W4vhEit5dxcSqZLnVXG3M&#10;MRxwuBwDgZPXkCo2021WG4iPk3VyJfO1LVmu3ZrGNRjyIwOMhmGTgnhe2c2dOii2l/IEl1uFvo9r&#10;DGtx9iiGM3MgycdGbOOmTjA5dlfTt+Og7uK9/V/5bmFNp8W2VbhJF1FXy8cw2rp9sVHlhQehIRuP&#10;YY7muZvtFjuFDWaMEunWK2tZPllunzguRjPBI49T7V2y/aEjneedtQsVuw0NorlrvW52DqJB0zHu&#10;I5z0IHU7hFdkIZlljtZL5/nvrssTDYI+CIY16CTOASMjghcDJMcrdnbXQdKcZJ6bJ/meMal4ewk0&#10;0nlSKrbWkjfd57ncRGmOv3ST7A8dzxF9o0sT/wCqYDbuYYwsO4ZH1OK9/NhHNCtxFaSbomNtbwSS&#10;ho02hA8z574PHPp9K5XULO3lQLDEZPKl2iQq2b6QcfL/ALK+3PNZyT15fL/gijHldpf1qeET27KS&#10;u1gSeGI7VVkUxk4xkkcLzjsfb3r1PVdDaPzASrsArzyKuVUnrGuT26fWuNu9NkjYkKFG3cQODDnr&#10;kHvyBUXaaTRz1KWrklocyQwyDgk8DPIA7GpkkKEhkXkbvM6Y5zwc1K8DqR8pAxtGQecZ5qtsbn+L&#10;JB3flWnM1ojns7XsdFp0xjSV4VJZIyW3PwVPBBA5PXNdf4c1CTeBcSkxKGa2AOAH7AAe4H5e1ec2&#10;twbdty4V3QqSTlcYOc1s6bdTIGaERl0+WI4G4lmGcfTH4VSlaRpFxiopL17HutnrDXjR36DEzomn&#10;6jDEvlhlChAxAwOQMehOc+/bf8JdFptja2E1pFeXdlLNb4jkMd00EhG3exBX5CT0HGR8x7eJ2tzq&#10;otxHaSoWmCwXVsqbnZicqenIPH07131gIFjvRqMdxc3dysckk0khDKNytH15P8PHoMnoMXzXsv66&#10;bG1OVXlbje29/wAv68i/d28j3s087l3S+R1Z28wBXBAG/B4OG5A5weuONK1V/sbXU+2SRbaWKOKS&#10;NkjjG5jwVwdqjJ6jr6CrX2i2WFjaqGEepQbTOhDfLvdeAvQMvf0PUZFSRwKsz7ZN5F/NFPFA7iNk&#10;kVfLZBgcNlxk9tuKiCdtv6sjpnSTmpaWdv1/yKfm+ZbyLC0aH7DFeifdsAkiDYDfPkgKfcc96XTR&#10;aC5jN15qRjULe4V4HEbBWJDEDPOMjBOOSabEgtYIZbdVEh0y4gufM/dvJIrEDblSWONuMcgsOBzU&#10;0ts9uwuFCMYdKhu1hKSR+aFlIIdnYZKnGcYHPQYpq6ei06mU3LkcftP/AIC/zJYbdYp7OWJllin1&#10;C7gjDxiMxDLIqkljvz8jYOdu7NSXjm506HfLtJ0dnSKMghxBMH28DP4kfw9O9aZCXL290rKVXV7d&#10;GgEDGOMSw5xuyOUC4x3+XGeDTIILcWdmywxyB7a+guJZJGxN5as5C/NkjHOO5wOlEVe6lsVCcpWk&#10;nq1r9+pm+XI1789uzxxatFO1vHJ9nnAuIhhCAhUFyQd/uPSplxHaJGkUxklsbtjGql1kA3b9o2j5&#10;gC2GPIIGMHmkjunmaaVEUqNPtbySWZkyjo4AOc9AMKMeo/DWgto3u4Ira0nmt21O4sVEexXkjMPn&#10;D5dpwWBZjg4J685xT928X/WxUqbaV/8Ah+tx1lDCI5LjY0s0kmm6nBbqHEjK3ykFhnaQrdcryMAd&#10;qjfTtkdvc3KyiA3l/pshDOZBKgaZlyMsAM5G7BO04BxTre1sotNMxF2ksmkQyQxpJHDAixzGGQ7t&#10;m5jvJYZ6eX0w3F+PEtzDaS20gmGuFnhdvLi3XFtKqBF2dNxX5vpnOcGFdLTb/hhyknS5IrXTX8yh&#10;eiW+stSuPIwbTRrNo3HmRuEjlSOM7ASuNnr07DgClhsnh1BLZkSRINaW4WV4SzTGSHDLhWOFyWG4&#10;9dgwMEEyTxPLD9nupzk6JPYXLb0QK+nyNLk5TBJ3fKcjn8RRIh3yLEsaWy6tppSUuoLRyJiQyOsR&#10;43HIIG4Akc8AJNrWL0uv6/ArlqRXvx1a/BJGT9ogtv7PeTdIUt9Q0+SGeN5BhgE2YDggMGbnIPyg&#10;jjipJ/tMNqZ7iJna50yyeJJpGkIhSTCquXLDGwHJGBjjocSJao97FbSJHHsvL2CRiuJkztBAIX58&#10;cLk+9WYZ4p9NvPt1w06L4cNrapORI4eCQIrD5S5woI25IwgAxmhqXNzLUFKM24vZ2X4oqeTPNdTi&#10;0gjZI7/cjb2j2tPEE8sc8k7uh6HPA6VPZSJb2l95pcteaT5UQKiMq0VwgTkKccFjwSTk9M5DbyNL&#10;eW6WSKRZru5sLuK2RAkaiW3Rn3KUyASQxOc/MT0PDhEjvbhY0tI/MureXcykRgqGXBwOQy5x/eU5&#10;7ZObW0thck43qJWa/wA1+ZtI009zNiOZLG21NYooJbdYwwuYGUKflCEZxnJBO3OSSaysyR20U8sI&#10;2pYWt26pF5yhYrjyiwIXhjnJBJzjt1q1ukWHLXqE32o2N2ymVJ5gyBoGc9WxGVJBI6dAcipri3W1&#10;udRgSSSSFbfULCCQyDbFsd3jGQ5wQWU5BGecdqSdlzJFwclVXLt/Wn4P7zM8qJLlFVmktngu4hEj&#10;CVlI/feX0G35Vzx+eaq22+3ZZrZJYYVvIXilT/XbWXYcAngAjJPoPwrpV06OXzriOee6Zb2BkMcG&#10;dpuYGBKqMKQoJBY4xuGOc4xo0Szj1GKYuhjtliBbOGaOdt38J52nJYjGAM4xmhr3kl/XUVKSpptv&#10;W/5pFBYyYY7dRKxW3aOR7cBQrpLweQeisRyRyeRxU89tKJ5reUvHDbCdQ8zeTIGCFsAjHXqOOtT3&#10;VuITdQxxrEIWnSFl2ziUqxdowR1bCkFvRjz2qWaJ2MNs0rHz7qK8dfN8zyy8IX5+w3cDB7KeKbk5&#10;Sd9i5LmSilq3e/pb+vuMq30+SWYx2yeYwUMCrbwC8YZh1PoQTk8qa05tPiSPz3LCSWf524MZYjIB&#10;wQSMgdOuSeMVZMbIY5Y2jEotBCsaM0BkeNmV2b5cDII9STzx3bMu54/PSdLeCIyeWyiIIqOTgBfR&#10;TnOCemeMAQ0m0pE05c0m6WyW/wDXqS6Zqc2mapYX9jJcRXGnaot9BdLKwcSRMJEkDfe4ZBjByMjB&#10;r/Q3/wCCaXxyT9oz9lH4WePJLqTUPEi2UfhnxOjhGlh1K0dbRkkw+8eaYW8pwG4UZbkGv88IwLGQ&#10;rMiwhQVPOX5wM5wflI5HPT3r+nL/AIN6f2lZNH8c+MP2Zdfv7SDSvGCHxb4L+2SyQpJfxx+Xd2hX&#10;JybiN8rgceWemCazrUliMJOg9/iXy3+9fkdOGrPDYyFV7fC/JO1vxe5/XdHoCzKZSDcOuYpMkM2F&#10;dgSR065HT+LcvBBrzj4gfC+08RWEyPaDfJFvVUUosJGOSMHqMDrg578V9CaZaFp1SJ2ckJbsk6Zv&#10;VClFMcqlFKyKFAjGdpU87id1dtFocE8JmZFK5LLwVUhVUIR35O5cHuADkYr4qvglU0tofX0MTKKv&#10;F/8AB2P50/jx+y8puri9tIbjS9YtHM1tqdhK9rcgg8AlPvdcYzggjAzXzxofxK1/wHqUfhr4hQzi&#10;EyG3s/EEdu7WkhLBFD4PBJIJJwB9ATX9LnxD+Dem+JdMniazPmtlRMIwSzbfmDHAHJC4wD97qa/J&#10;b43fs/rZ3F/o2q6bHJE5OJpE+aQZbBUnIbIGSByc8Y5z81Xw9bDVbWvD8Olz6LDYmjiaap1t116r&#10;/M4bw9qlhrMC3NjdRz27KNhiZZFlJAPzHJIbrwexOQa9DsUjTy4gixq8pZxHJGjqcIB8uD2K46AE&#10;H8Pgd/DHjn4L6nNeeH47vUdAM+ZtFNxuWIEspNv2DZIx2PA9K+s/hl8VvDnjmLdYXbWmpWiRtdab&#10;cuUntGc8q6YBwdrHptx3642pck7OGnk/61MK1H2T01h3Pd7RdzbF2gOEUlp4lViFCnooBGV+vTnk&#10;CuXi0X/hF/iZpfioCQaFrAGm6yu8XLRHcBHI20ADG1sbuNzc45rsdIUOFy6uAVQiWXzXcABQeVGS&#10;c49cluvSvQrfTUureSzlWFopwCIWSBwVERPAADbjn+H5skc5JJ6ackpqUVqtfXuvmcbUatNxe39a&#10;/ej0jWPhtcvYvd6fGJYZ7Qz2skb7o5FYbvlbncME4I4OOKz/AAx/wmtrJDp01l/adlPKPMWSMyyw&#10;oSWbOTgpwgxgjk8V6B8L/Htx4Jsk8Pa5bNrvhe3IWwu3kUX1jGGclSC+SMsG6MRtGDgnd9OeHfF3&#10;wtmsxe21xpDXTAyGJbpElX58geVkHgg8Y42jOOc9P1LnkqmGqJLs9zklip0Kfs8TC8ujVz438ZeH&#10;bfwb4e1rxdrNkiwRqFs4LkATXMzs21EUdB+7IyuMA9fX40+D9x4gm8S6mZIpFgv5jdXSqCEUneqt&#10;huAF2ADH3sk9ck/od8adX0bxtd2tnZIL2K3DJaW8IEtshYgM+xTgkblw/wDF+FeKWOkW/hmWKCeF&#10;Yo7zExYEGKUsp7qcAjeykZ4bG4AjFROisO3a2v4/1odNNLEQUqqe+i7GlcW9nLYW6W9pLHcIsn22&#10;Rw2HJJ4wBwMDkkdSSfug1lxWghQIzCMCQAghmYkAZAwMDGep9DXXWwXVIcIVkG9oi1q6NyoBxkgg&#10;YyOhxx2ySYp9Bv23MkaEsN/Eluw27mX5cPkA7h9eDjrWdOnyNTju/wAiJc0ryl/T2Mmyild0+58q&#10;bkkOfMC5bI+4eSRHyT6YBOTX6NfssEst4oj24i3SFDmJT8qKAwABAYZ59enp8AWOlXyTKqwyuFc5&#10;RAHI2NhhhHLdfp+pr9Gf2aLOSGxvZZA7SEJGpZd4k5fBLewbr355xXpYD+Ku+xwZkv8AZ5Puj6Oc&#10;gvIAyhtzEnLYwCSFOQOcKCVPc8H1wNe8O2OvWjWt5CrjyzsLqGEZJJwPpk/ke9axncPMon3IisUD&#10;w/aJ7Ubycui/ehbK4cKD+7wSTzUiNt2qwO8KrMqjci5AwTyDtJyQwHQYI9PRqU4VYOnPVM8+jVqU&#10;JqdNtSX9f1/kfBHxG8AXXhbVDPHC32S5k3wzJ8y8AHGOg+63tjHFc1o2pSWkvO8cZY78HPIGT+XU&#10;Ac4yOtfobrWi2Gv2UtnfQQyK427zAC8TYOMdMHBz/XvXxj45+HV74OnMkQaewed0hmjRUyQz5Bye&#10;CNp9uDjpgfJY7AVcC/aUleD69vJn6HlGc0cxp+wxGlVdOj81/kdlomrLcRBAyNujzECvmElWO3ac&#10;HK5Ye3B9q1tRtUuItwj3Enase5Sp3MxHzDHqDnuSeleL6NqTwko+VZGMjnG1ZNxYljzzyPrwPpXs&#10;enXq3ERU4LIAoIYEEAhchhkDBxyOOcg1pSmqtO19Wdlem4Xl2/4B5hrOjLFIAFOSMscB2Izux7nG&#10;Dg9/TrXLG0SJ1ZA0q+WCqsSMDcRxg8qcDn344zXuWpWSSR7j8+0hoxzl3+Zskc9PLXJ4zke+PMdQ&#10;06aLzCN7FlJ3ooA38hS2Mc4AIB6g4OeMZyhGO3UmjLmja+xShkeeMPgnywrqWyxVWUHHvwBtx0Bp&#10;t5apIGV23OreUwLdDkgJySCegDADOanhaaRl3wopTbhwg80ABQGx3HHIJOC3XgEXwBJFIWRC+AMR&#10;jG3bt+YD0OFyM5BJ7cDOdKL+N6/8MVGpyu6/q5wl9aviRxHvClhggY5wScHgHdnP41yd3p80bvJ5&#10;e1QAMuACufvDkkZ4PTOAMnvXrMiPJ80jqrFdjZUPgDGBjk4HYjkDjOBXP3Fk+MDezDBG7qmexAzj&#10;0B//AFV59Wg43lLdnpUK2t3ueQXYnhDmCNRJAwmWRzhssQQVOPXP/fLcEVzEP2jVi7XJUzRy7WCY&#10;jSUqcAqOgPueMY9OfWr/AE2RPOVlBD5HmK+w88Egc9QWx9O9cl9lSzEgCtvWY+XFKAbbDEnAAyBy&#10;eSfQcDHKpKSfvPd/5HPjop/vUvX9DMs/DxHztHmPeI0KY3OW4ODnqOevBzkdDXW2ujK0ZmVfL/0g&#10;CKNd2ctuCFc8ggrn5u+OnStq2ljl+UoEZ9xBJbyTuJY7u/I3AN0yRnua2p5IUjbEmWliES+aoSNd&#10;qP8AMxHORvGGXnOCfU9sYQhF8p4rlK9kc0LULKNyhlUmUbF2qxDpjAwOTuOAOfl9evR6fdLBsaOQ&#10;udyISxCZ4ZSwJzh/nxyMZJwehGY7DbK8y5jQF5EI3Bw2QfMAXk8rhxnOcYJxhrXKuwERYq5y6SNn&#10;BXg+YepwQSGGc4Jzkit4tx0juNJTdnues6RqpARgksSOdomcSAn5QSpY8EZOSAdw3DtjPoljdCRF&#10;ZSrAoCApBIJ6jPA7Hv3GM8V4NplxNnMjmNi42I8wYkk9DgbV/hx/eGK9E0e9lYKxcMNxKZjEiY6l&#10;/m6HJBOAT8xbII59GlXjbU4cRRi3c9lsLiRwQNu7Geyqw5J57cgc9fmPPSujgJ2HcwJLBs7SAOuM&#10;8E9CRnvjpXm2nXZIDo7EhDsVTtblRkZ4znPByAeOeld7Zy/NwXZEkO8KvDheTxjqFHUgjJ5rui1N&#10;aM82UJJOy2NFQNxC5copwT8rkA5z077SfrjmmtHKrHq2CMgtuIwVUYxyRkKO+SRnkirEUhKb87sk&#10;KqnkDgkLjOeCRwOxNBBJwY9w3tuJkyV4RQoxgY/d59yzcnNatJqyML6q6MmdSQQU3H5mQRzbRkKS&#10;uwAcY8wKCSDwQSRzVRlaFtyqGcMxZSjbRhm54HTIIBXr7dRtyRArgRkSAlQuWIOMEYIxyTnO3b0B&#10;HJOKMkW3fyzSZ3oWIJZ84ySB+PHc9OaycHa5VNtOzfunYeGbyLzf7OnDtb3cTxTQKQY33AJhkxgD&#10;AzlD0IGAcivl/wAc+HpvDfiC90q9lC2iytLancMzwyNujZj6gZB969utbr7MwaaYxxIRLI7ERRHD&#10;JjJGQO53Dg729BU3xZ0GPxJ4XsPEIhaO50+YR3YOCs8LjbuLHspYcnuT6V5Wf4N47K3Up6zparzj&#10;1X6nucJZn/Y+fwhUdqNf3H5T3g163cfmr7HyhqkFlbIIbCYzTXUKkvErSyIXwSqlh1zxx+XWuWtL&#10;O2jLCZd4MpmMhJYs3JA3dOuenp2ruLe0iV1j8hA0jYVlYIzLwCSeB3554xWFqSq0shjSOOOJiJIl&#10;BDjHOT3P/wBfrX5lLntztJeS2P6EwWJaTwyk3fVydr/h+BgWK/bNeWyhjU22Ddz4O1QE4yx9Dhfo&#10;DjnPOpqKBpRMnlm5kJecEriLcpP3ugxuPI9fY1IzRafbT3jgCe6dbQmMYVcn5gPccDA64PSuSnuZ&#10;Jrlra3BMNxI0spIADbmJfc3b73OfUVE5qnT87/8ADHqUoTxdb2lPSEVb1t8Tv933bm9orW9pPFfy&#10;pvWRtqTsCrLnGcHGRwM9P5ZMeu3lussM0S8LJsRP4du5gjEd/kVc46E/jWzcQxSW1vDZuPJi8sNL&#10;KPnLYA3L3wCT7dPQV57q8N2gmtnlaYM5KMqhUhKk/qMAZ7jPTNFWcoYa1ut/nuXgYUsbjFWm7Paz&#10;vt+m+x0VxcWskWkkM32maUNIdww6qcEgjt69v5UzxDZabHNctGqyq0OWLczszEZyB1OD79/SuSsL&#10;eIwfaoZ3juowm7zTuZT0I9O3GBWbq+pXFqZAVeUlVRp03MW+YHLDoOy8dB6DoVasPY8z0vb+vmev&#10;Ry1rFRjQqNct7rbdp/clt+Rnanftp9uqshZYGMhlRdwDH+EHP+1nJzjH1rwnxRrjXVxFcLclmEpi&#10;lONgREJyxGMADB5HH5Yr1HxDq2nWWnXLXEnmXkTB47SOPzNgLL945zxj+LHP44+W9d8XWba4rmVr&#10;ZjshK+WIghy+0ADGOFRgf9kj3HDXk42jG3TQ+wy2gpxnVUbtX17/ANXOp8TeIJtQsIp1L4QfYJo0&#10;4lRlG1c88A/Ttivdf2T/AIUw6t4hk+I+s6Y/9m6BPs0i2uMj7VdFXQyZI+bYrHBAIzg4yK8J8L6V&#10;L4p8T2Hh3SwLgakVje4jHmW9sCxzM3fIIPHUg8Cv188CeDU0HSNI0SyRWWxiWCKFY/8Aj7bILEgD&#10;+I889vevZyHLfrmYfWpq6j5ddD8448z6lk+WTwFF8s6qa6pqHX0b2v0vc6zQrW5vb3yo0Yyz/Oqq&#10;BIR7cHIA7Z6475r2e0s49PBtItkt3tzLKJC3l4zkAZyTweOTx3NUNK0eHSIooEX/AImaxASyAb44&#10;VfK7VHTPQ8+n0NbtnDvxIGyrE5PVmbqMHp/CevUnPY1+v4DCPD07z+J/h/wT+Ss7zSONqOVLSktv&#10;N9H6dl19C5DCA65G5V4OTlvy/E5YerAE/KKlaMBQM5CyGQurneC3zNgj338dix6fKC8Bkj+fH+sJ&#10;2htuCPlO30wTjqQCTzxipGUEBQyqI2G5SmAdg27f0Hb8RXpxiox0PlnUblcr7W3SqVCqqgLtBjIJ&#10;wM7eOR1446ehqN13DCqqpu2MFPyqq43heOeSAOnB7ZarO3ZkElz/ABED5m4HboCOD+HvTVSMFlfz&#10;IyI9ofBjXbwxIJ6AhmG7t68U1Fu1gU7K/wDXQq+SwAYg4UgnDlj0xt4/kOwHvSrZyfdK9ZCRhgRw&#10;DkH6Z+mMc9hpRxJKVcCMxlCxILF8sAVVRjldrfe6knA6mrh8p9qsTw+VR24bGShHBGcqx6j7pboB&#10;WsKEmzKWLcNEZQsgrMMMdmPnBJ2nOSBx2G09e/TPFPFqjKPLjGUUDBJDKfRs+vXnpnJ7A2gYWIYM&#10;kQILG5ZQo8uNC2Sc8AlmbPZHzlWcEpvAY4nkTYm8q0LCaVv3ZJ2YGSuY+FHLssYxtZG0WFSehk8V&#10;N9SrNZxku0jInmKQm5tgYlWc+42rk5zxjPXGK7aejBSFduSpwu0HCnOVAJHDOOc7Qe5bbWxHFMdx&#10;kikUQqRCcF5C+NzbQeDtO3593zuGOAFU0/ypGBjSMxoSIxK8m7Z2KIQSxIO4Mc7mYkAjkq3hItIl&#10;Y6cftaHKzaPGVkbyVxlQyIpU3BzwgA6fMFyOQNvfaaoS6NA25woafehjzyu8JmLCZJ+TmQY5wUx9&#10;416F9nAhDpFEEX5FUgsoBUqqqRzn7vIzkcLnINU5rRpIzMqSM7v0QA/UlT1+6BkZH3cbtoasqmXq&#10;3NY6aOcTb5eb+tDyG78NeaT5KeWGUKfNYERKQ+7kA5IUHJztO0cgDNWdO8JG6tzb3SpCyRm5lto5&#10;VeNGX54klIXDModWIP8AfB5xg+jRW8xOxyIAEaZlZVkefaD+62gnIH7stz6KCeSGWFuoMcUbPiOA&#10;rcXG0eZfSSkTTEMcnBZgMk+oya5o4JOXvI9Kpndd0+WDXrv/AF/wxmvpUS20lpHGBaRbcQqT5Ujq&#10;qhmK525zuxkcbeua+GP2r/Ao1LwZrG23EhNnIVHXO0Kwwx67fLUj6/TH6JPCGQqBtGNqgZIx2GPb&#10;pgZ6cda+fvjXoi3vh7Ulcg/6M7ArkFsAjIPryv59wcV01qKpw5UcOHxLqN8z13P88P8Abl8Of2D4&#10;o1q38h40jkm2Fh8iFWKj6Ajt6Cvwr+I7L510VUKjzbUUKVZQSeB6Zxj8fTNf0l/8FQ/Do0jxrroi&#10;Rivz5DyYVOVUEd/lYOvzYPOehFfzgePYcyTLt2t5pUjheQSGAHbucj1rjpyUJ2gvI9mretTThvo/&#10;v/pnz04w7KoxvkICkkDnn/OaVoGPltlgpYAhfm2HI4H15z9anvIwjTSAlXjk8vnocHOfYY/pyajD&#10;AgJ5khDqA23gls844+vT2r36E5WPm8TRcZpy8v6f4ne+GnuZZFtoN3mTTk7FJDt8pUO7HoBn/HNe&#10;tWt1NbCLY6tJZoEa55NtphbOdg4yzH/0EYrwvQZTHdIwkZi2EYo5BcHjCnr27+9ey2F2ohWaeNJ/&#10;KdWs9MVtiRkdZJWA5J4AySePpnqg5X0epyqcab5uu1/6+47qDUG+xvG5ngSRw0820peX4JOyNTjK&#10;qN5bg/xZ966HTVEl1vNsi3F2HSwsVkDLaru2eZMc5HG5vwBPUiub02/ija5MT7SkbzXup3S9XLcJ&#10;bKegUYUDnp7CtLS3SzZJbmGeCByZITO3mXl6QQ54HIXgnjIyB14rZSl7O8v62GmlUs37un3ndwxF&#10;TDFqaZgnkW182PBnv2fkInTan3eTxyRmlkgktLy4RQkQhkLWWnZ8yx0/YdoeRiSCwAXOQc7eepqx&#10;JLPqqC7gkaUpAshlRyI7MKqsI04znbt6E5LcHhqd/YkpawhINnG0QFpp8sgkvL1jhjJMc5AJ3BTx&#10;8uD9NOdqKTj2/Icvfajp/wACyuYd1OYmkvEkbacwzajcDzJ5DtBxArDAGO6jvwa5u4ij2pNcblkj&#10;IjtbQLkTjkl5iP8AP3R9d/EjX9xIjJdvGqq8zRCO2gYrkLAo4JGD0yDtHANclqokE2GzBa3Uhh2k&#10;4upymCVB5ONvc+3BqbXs5dSYxvTerte/oaglkvFiuleFbi1QqjXEafYrMDcqkL0JPLAt3zVB/wB5&#10;MjQztJa+SPMnZQJrtxhsRp1UNyMk4IODwat6fZLcRCOUwqkMh+x25PlwRL9/dM3CMRgDn9B1nt5b&#10;a2W6mmZJVhZrOC/kJMTgbFKwKeeMrggZIbnrxD25VvY0SpxbSbslf8Dnr+1ikMrBALkIkoUtiKwz&#10;nkju2FA4/LisS6BlVGM0irKApaMAS3XRcAgfd9h/9euuuQqRC3aORPtM/nwwBh51wSq5LDH3cbT2&#10;4Hsaw73fKZTutUuEixnaRFAMPvCe/KDceODx0q7N297V/kKbdrJLXUrWSM8gtF3CSN/PWwQg20a5&#10;GDMTkscFhjIB3dOK7SIomnQQJC9zcvKz24VgjTEkAvJj+EEg5789Oo4u3M9pE0iRkG7nwkf3bm6G&#10;cBmxg4OMkdM/QV0GnXgRJlE33VELMhYshYlvKjzjOdm7jIPHPHDp2St8jGM1GpLTR/dtr+JctblX&#10;uJFUSK2DDNPG/wA8+7OVQ8gZBx65BqbU5YphJYrET5ZLW9uv3VwrDdK3XghCQc7sHJzg1JABDLLc&#10;QxBJHXa8rtiC2Rl2s3PAOCcdwxHWq813DHcsYneW2lfc9xKcy3UmQGJySSpJJz1b0ycURi1K0SpS&#10;k7Rlq3axxQSWKRpPtDthfIlYIGLAhjtX2PPI9T7Csy70iGOSKeYZJVmjtN2HZ8nlwecdOfeuy1aE&#10;xus0Ij5bMcaALHbqc8lsY3c+mOenFc9JHBd3aQB3VPuz3Jf97IQAWCgknHTpzx9aUlFXs9A92V/N&#10;2f4NnONC5muWZwoX5LmQJujRd2VjX8R145H402e4dPI2REeWoW2t3YJFCByzuASN2QBnngfSrt0s&#10;0LtC6xxyREtFbK25QAGw8rc8ryRg44Hpk4tzNHKIo9hXdHzPIxMtwcgkLnGBlVJ/wwKUbJ3f9bGc&#10;uRRvF3Sf9MvSwpPC86BY0K7rm6yPtE/Ztvt26Z4GKSG4FskckcKYCkQo+AsOwcO5znnPHtnkYqXS&#10;dSgjjmt3CNO6mOJ5G/0ezUtycfxHGDj1qlcpEqxKkczW6sIlSMM09xt2gDGSAq4HoML+Z9ptq+33&#10;XOhyi2qkPn/XqacEslsftz7o1Zm86dh+9mZgpEaDHI6cj29a047i1uGtIBERwCLdSfmbBO+U57Aj&#10;1xg9TWPamS7ijZmUm3kxEzEC3t8DBwd33vujgHjNaN5FZo1smnxT+Ujky3DqVlv5ASTjPIHKgDsA&#10;e2DTtFxSn/w5lKEfarl7rT1u2Ov+SwJLggrK6kKGJflI8cY6dsdewFVb5vNjh85Sgt4QYYmK5tz1&#10;Mjn+8cLx3x7VryxSfatssQN5FFloY8CK1VcgZ64Zs5x159eKxLmHz2jTdmKVg7OzF5ZmxnBz2PH0&#10;9aOZN+/2NIqDi5Rd+3Sy/pslTW1FkYVWT5lKswTM8w5BC8dO2Pf3qO4dmMEbKoDKXWE5Kw5GVJPQ&#10;5GB1qrJGd8kv7qIQxrHNKE2LEuA2RxgtneD1OV+hpku6b7u1IlbZBbcmSYbc7jzwM46+3rWkW1q/&#10;mQopTU4at2uu39alwTPGgChUVgsTylvnYdeB26npxV+BfKkjBlCzOglMUY3A9gWOO5G705b8cCNZ&#10;2EkibjcKwAkwRFb8ElQM9eTxyOasWJMk6Kp8tckMNuJZiM7gPXnknpz71M5KFRSS2sFN8qtD+rW/&#10;zPSdi3Gm3UTy5uBCXZUCqMAE4zu/2epHWvn25DJcXLs2xYpwirkE7QTkg/h+vPWverKJIwizShkn&#10;DxCMZDhmG07/AG5xwOhJz0rxXxAn2LUr63HlyRJMAFJ+Qk56n2OfzHFOSjYirVlO19vLuZcl4kqo&#10;XVnM0zyYKYZFGRwefQe3WqOA8od22RybSEDYJxkf0IFTRpMXbARQqSAkHOBnJ56jPHtzS3kMawJD&#10;H802Ed26D5vx4+8KhcruzmfNy826WhAsaDeiqQWZpNxJwORznHsB9fWrUYRHI5MjhVdicKcuT+B4&#10;/T3qhG80DbG2ARFgXDE5Iz1I/GrSbEnE0vzr5I2IOGJJPIHqT/OqT95JLW5rzJWj1f47WQyfek0i&#10;hS4DZBC8YPIH4dPwoq/JIC7Hei5P3REGC/jRWT3NI4iEUovp5eh5bOBHLD5a+U06GONZMtJbJ8vz&#10;beCC3I6fjU8Nq5eAq8CTTRslmudv2SNSC0khzjc+HOW6bgaarKks0l1KgmjkMt2SjMJX27lgXncB&#10;6gHjHtV547G3gidjcie5dprySI7BDHwqQg53EnnORjHckGhKKTvvuc9SVOTvbXS/6/oY8ELypcNC&#10;VkVpfsthE5BubyQhm83aCRtBUEnryPfGw/2iOGNSrTWavts4nt1knvJSwBkbcQVA2nGCTx0FUl+1&#10;JKz+YlneSxCNQGAWygwPMLHGAzBsdQcmmsGEcZhQh7iBfsayxhfJhXJMpJOTkg8j179aVtbPWxnF&#10;RUZNO6fTyQ5xHHdSb2luH+WS8YHelxKY1cp0yFUnZjnOD9KWVXfely0siwgNP5TCPe4YBIY/Xacc&#10;nHFXIJIvKhFtDGrzf6PagyFkTaVaa55wwwP4mOBiq6bbaGCe3UpALiRtOlnhz9tdTh5mJJBXg4JH&#10;Gaq0b26bBNTb5ouzsvuLcNs8rtBflo5YImm1CSb7scaqWjhU+pIVcD1qRYyJjCyQ2ouMXDK8nNhb&#10;7iAuB86sQDwRyfXmo7GWN8tMTeRPJIIYW2v/AGrcMDy27OEUkHt04x1qG53N/o7yTSlHJn2Sk+dM&#10;xyUjOASq5AyCfumiUXy8yfcqHLqk9P6sTJG0ZgSR4Ue4geKGNYA7WduSAZCTlcvtx2xir4MduLS6&#10;sxCi+Y8NlAD5bJGhUvcMOCu4nggnkHjjNU7SO7W3u0SFykcka6lOuQxCyFktl/EZbI6KfQmprl5f&#10;s1wHtkLkq99MHGyKMbmWCAHjOSpJB5APoctuNl3QXmk/lr/XqaSDa0MmnRmSMMIrf7QvnLdXDA7n&#10;bPDBcdG5yOOuabJHNboxyLm1gfzb7eTK2oShsBFbGVwTnapI5Y981BFNcLbRM7uWYARqGDDTYXJd&#10;nIJ+8d3VgecnvzBFOUk8q1WEXUscjaekjCSCxSNx++bBOXOD0IyG9TRNOGiN1OLtK17W+ZueeY9M&#10;uLcW4jur6IyapdYaNYoY/mFsDgKQS4Jz3QDsaiWa/CDcQLu7t9mnusvlw6fbhFG48Aq3yYAcYO49&#10;2xVZITHbRvcSQSDzVW1gac7tUnfLbnB/uncckBeByOTV64SGNms3MEsdncM2tamtwXbUp/l/cR4H&#10;Eanco2EggHAFL3VOV3/XcxUlOdrO3fzKyK4RJ1kJmG6PSLQKEQkAIbphgcsSzBl/iQdlxV+2Nsba&#10;Pfc/abW3umU2cm2Z9cuCoDAnGGCDdkqwIUnrk4rW0sPmRQpd24mZGkvrwt8mm26qf9HRCo+YgnOz&#10;B6KOCQXJsuZVQNGJjN52mKFVI9OtwwUzMGQZdhhgSAcHOTgUuX7TNZunCHLZf13/ACJo3uLp9Tae&#10;BChlCatfCHO6X5vLtIZM4DMAP3bZ5D4OFzVxbc3lzdTXZktW8r7RfBkVYNKs1CbI0IO1WdVIwflI&#10;YYPU1li2gsJUuJJYJreSX/iWWtxCXOpTMSDPMDlcKwJw+Q2B1GRUl6sqWNwxuoZNOgMc11Ls8qHV&#10;r19wMYzyIlLEfxKNoIHQUrybjb+noQpSXMlu107XNRkS6Z302yRbsyTxaJpqqwi0qECN/tLcthny&#10;+5xlcqxOM8W2muXsdKQQIbO1vPsmiWqQmMahqEhQvcs23LhCy/OCV+VB2xWXeWqrLd291exw3aH7&#10;drN5YXayQW1vgFbaJ4nC4Ylh8mV4IIwGNWYLbfFZNBdWtrNdoRab7o3I0C1RiQ7Lyqkh3cFOPlZi&#10;BkMzcrwimSqtRO7X9f1Ym+02S2tzbCFLqHSp/tOo3BYs2qXrBfLiUHnYudxGSGGSSCcmvHb3jTX1&#10;pcQkLpzR3WsMkaQyO+9IltIyxLISzKCqnksM7dpqS5ikNvELd3+zw3DpotnA3lXRWQASXUo24xjG&#10;H5G4ZwMDKk2dzY20tlaXMWn6Nex2tr9puAbnWbt8PPcSHCjavyBQAwCEdCzOSN1K0l0/yNn/ABLX&#10;969/x2/MJZbuLUBE7waPeXVsqq0MZa20KyKDEKjJZmYctySwbrlquXE1tdXEV3Y6fcJGV+y+G7G8&#10;tRHG8ag776UKfmwF3lWydzdcJtfLu0tLm3uGl1A3U9qhutauS4DzzSuUhtoW+7tUbTkZxuXaFCjL&#10;5rj7VZ3YuURb2+VRPeWZaCDw3a4CmCOJQAxdQe/G7jOTUxlZc1gitoqXVfhv/mQ3M9hFLdQQ3zSW&#10;iXEctxKYjGdWvSMuQWG4orMRuPPcjnI0bhoUstTjjuE3ztH/AG5qkbYL7iskFjCAArY2YZgf4fTk&#10;0bS4kh82TT9kEosJbbSPtbJcC1jdAlzfSK/AkwoEY6guOuBVvR3tZpbeO0gnuba1jRdE0WSIT3mp&#10;zuxAuJowvKhu5Odu1RwNwEpXdtmK6Taku1yOaQbFTyg2q3ump9p+SN4fDlqmwLISXysrocknIxjP&#10;JDCvf2zyHR5NMjnijVnsNNtI4oxIIlwZr1wDlDnJLcqccFduW0khuGt79J57SS1tWF1q+pXKq1zr&#10;N0rqY7WFgcsvmBQSvykDJyACMaF2mvJDcbLdhbGTVnhf7HFBH8ri0txk4LAfdJIySQT1KcJcyVtx&#10;ycEk1rbT1NaLUrdLG3syk89tYqUeYwGD+17ouzYnzkMiEbVJycLkYOTVe/uNL8xWvbttTuPNE/iO&#10;9jckgl9yWkDsBk5GxgQNpUYBApwvVs7xJ4Yru0v2hZLKGOZo4dEtCo2P1+Z2UE5b5snIOWGKN7bm&#10;V7a6t7KeO0nAbT4J2R5tUkA2SXbYIGAexwQTjkDLUklJysN0kpe89P8AghdQI0Uk1tbpLfXifaJr&#10;d2QJpdoC2yInoW4AIJDDjgkmnedNf3Mb3LQpLPbJFbfa1z/ZFrESpYqmOo+Xf97De+KqTQDyLmRL&#10;mRraNt1/dm088X17IHkjiQk4KAoAWAzwxOcYqZDLNHdS3khlsrgR3Gv6pPaKlw0ivtW1gdSOHzGv&#10;yYPHTgtUR/nlt2KhGzdK/wAyaXUBZgyxBp7RC1volrARGt9K775Z5QSS6qCDjAI45xkGKGVBbgzR&#10;oltbTFry8WVUu9ZmLYMcbg5aIAABcHBZjnBGKEMC3c08aiO3LwtEZpjJNHo1qPkZtgGGkZT1HzZ7&#10;ZKinWMtta+XLFZG+miYp4dhJZEQEqTdSq331JBOPlb5OoHFWlqpX10MJ80HLzb/I1bsxW0dzFc31&#10;zJNcww3uqyx28lwlvFtwtmrbSqlQeQT97AHTnOsdMaedTGUsJtShkumkeMwx2FlEBlIy4zvcg/Ic&#10;ZJxkZpsp+02UEcUMzi9u1gtrGO5aV9cm3EyMUCglAzjA5O4HGc/LVtJVIeW7RpmhVEuLaOQ+ZqE2&#10;diWy9GKIXJPAICnDZpp20iKfNJ/u1r1t8tC/Z2MUMcl3KkruZ/smj2SqTJePIxDXT8AqFBQ4PB2j&#10;BIwDHPbWtnLIcyXUNpcG31W9Yq7arcbmHkxgsTtD8Fjn5fmzyFCxkC7KXUk0MrSrFqWpI5ex0eJl&#10;IMSoCSWwc44OCQuTkl8rwXBjj0y1kkVP9D0i2f8Aeyyx5ybmRCMH5QWCvn7w5ODUaqXuf1sV7Rwb&#10;jLrf8f6sIWubq5uZbrVUaSeyEl/cJcC4WFcKY7ZDyVKqETaAOw6CtAT2167SnzY9Su5PL0mSO6MM&#10;WlW29hJJsC/MSCrD7pAB4bI24DRFZUuRFNNYwTfY0trpY2kv7hRjdtU7igbpkcjo2cirb3DGRma6&#10;jTzYBca4YlClFlKkWceRycKwIz1jOCQM0/dbVhU+am2nHs7l+aGyksruaCYrpu9IbMY2z+JrsFyh&#10;UcHywCvLfd3Du2KrRW8kchSOeeUZEWs3+0xRxsyn/RYWGPmLIQcYyF6YGK0keFY5GuH26n5Ih0PT&#10;IyRBpELxkPcTO3Ak2qhG4A53MSPlBzbVoYZLaSGGS7tRIrabYNmT+0CMq88uWyVbpjGfnxkU+Zxa&#10;SHKWklHWKfz6E12DDteW0gtLq6tltrB5lBXTbaMktOrA4LsS5LYPQ4BOKpac+kTxPHdXV0IbHMtp&#10;B5BlfXbpj8uQpyBuxkjgAc84zdmW4kub1bl4Z4iiXevXUMQDW43ApaRORkNuY7scEryCBmnafEHn&#10;v5UsoLaRrLzdPMjCOPSY8EmRiMgyEbsMcctyDzlprZjUkk1HrrYwH8xZbvT5rhpnlwNVuGHmQqSS&#10;WiQ89+MYxwAOK0FEip5ZW3jlurUQW6KqXS6Tbs+ZHYjO18IQAfmBk7HimQtHIEk8ySY27MunWwjX&#10;/iYTYYFpDgZHcDjoBUcSTwyNFLLNMsBjOtXlsv7q4dw3l2wAxnlX7EHaSM4otFxt0ZLnKpK0VZr8&#10;77Gdc6bYvZpcTW84EoaDRYUiTNyyMGkmm+YfL8xPc9BzjJ4O60q0bzDPHJtRts84jwbiUYIjQd8E&#10;jketejzR35v7pZoWs51Je6Rv3DaXETu2KCPlYoAQp9RyKivFudQuVeOzjszfyqdLsSN0Nsm1QZJC&#10;eu4Bm59epwDWbV1Z9bGsm+blg9b/AC6fhseB6norRvIAiLJkM6jDCBSOFPv7+9clLZlWKlSoPCjI&#10;29OtfQ17pMaw3bIoNmrGNZtoMmqy5yWQHDYH0BAx64rz280dGkYS5LBN0kzLsRDjKqOOvY96y15n&#10;bUirThJ3ja+2h5SyhS2wsQrFS/Y89var2mQy3E0cSMyqOcFd2MemPXj9K1JtKZrpYY49zOw2qByQ&#10;TgHp1r0vw74X+yvG0kQ4do5ZHUttypx27ED8q0TcrW2Of2U+fl/qx1fgqym0+aO5t2RbvcrC5AaG&#10;dFKFSokU52kE5xjOea6ttJS4trl7h4xMdPZ2KtvSV7eTc+1i3JO2Rdg5BIz0wZ9A0+W6k+yweTZu&#10;bSILd6jKtjZRskojDSSYJRQWXcSOACSeOeklgu1I0+R451trm6R7eJD9mt90ZKSKRHu2sSgXceNv&#10;3QTzTptK636HVScYw5EtL6+f/DHnlwwaW9gkkMKz28F3ujVcyGNThRg9cOT65GK1Li1a5a5vo1Kg&#10;3dorWqBTJueFWjkyTuKnAJIPUg8AitfUNNlureRPKlS4h0dbiFjCSHjikCMQwAOBggke/rThoN+8&#10;Go3yW90mmQpbss6RyLBJklAu7PJyjDOMY78ZI24qyM5OU1ypaPT8EY9wpcwTbYvJiuZop2DpLJGs&#10;iEr5Yxkcg8juRk1TgW5UGYBTC+hyRLiAb5jG2HQ4UnLA7s45PPvWxcwxvqMkvyxNN4gRDwywW3mH&#10;5xliMlc85HbjgZMbWz2BVrdpL2R7a7jDqwUFUIAAIb5QSSe5+Tv/ABNSdvd/rQI09H/M/wAXc1Gk&#10;W1mMjOk4spdOu57eMy3EMJKLE5dtozt6FQQM7RuPBqTT4WF0smJJILi81DlVyIzJHKcJ8uFJXGG4&#10;GQSBWVI4gt9RNukckj2GnKZItjRgShWAzkggNlT3BHY1uwxRi9tjcTR2ytryWuo3Fu8OIt6BHICg&#10;YG0ScL1wcnHFDc00o/1ccIQjBxlvZ27Xsv8AMrCN/s0O5bgzJoJmeOKB5AixyLtfllDZ2Bd2D3zj&#10;BNaLarPcXv2m2P2O3m1yyleCCRykbyWzR+eYzId0hDHBOMB2AxuIOPG8ltDJcRvb7F0C9hYXDxuJ&#10;IxIQgJwBuTzA6gHIK9T0Os3lWjRwRzIssVzpWrFXuoTOrCERsD8mdwMi9wSdx4zmiG/3fIqUnFpP&#10;pf5pIylj85La2nknRv7NvInLIGSN45DKiLhyq+Z8q7ScqxOc81LcSz3kVxcTlYLmRbG9W4J2yyHK&#10;RE438Bhhtx4AXPHWtXUokiupYkubbEOs6rp803lRXf2dijzAD5drk9EK52k564qsjySvcXVyY7lb&#10;DwpbvFEzmKFjbSxphiYxuOCDyFJKDOCApSScdGN2Um0vd2X3pFvTzbg29u7SGdtTvYJLj5GzvWM4&#10;GHySysMnA6nHfGYLh47WG0t45LeA6bFPPbq5Z5GgkRnLEEHlkyFPTGOa2zN9nnjktLaBrqLWbO5i&#10;iZA08q3MIwFTaMZDtyeCG9cVRcwSW+nWiG1At9J1FZUR1S8yk8gHmEQkF97BuSRgduzaaV1/Wn/B&#10;CMKsknfR7a+ewXECLeybpXcy63DNLJlgIo5UOSrFsBX3KcjOccZzWXaXMKNEiW8heHTbxUmYKqRM&#10;srMShLDqck4xwBk9KvkW8czTiNbZ/N0qeZb1VMkACneVG35l3Mj8jlQvTNaOyBbS3t47sSTHUtTs&#10;41WMFJo3VS74CZAkyTj0B781MYttOO3/AAxaSUEpPfXT8vyZR1C4sp2vZbVgj/ZtMuvPY7EiwI4p&#10;SPn7nJz0wDxnoRRIbsNel5BN4iuLdUnkDlQsLFuQcnkoAMHgf7NRNFNfRTfZ4y32TR7XzSwcwRsJ&#10;1JBJXBJxjknqMdK27FITeyXlyy3IHiSKCGCSCVpFaRJVEfAABG1gf4fkGO5Iknpf+tCaqlyqcnd/&#10;8DsYO6OWCS7ktpIwmmeWhSdgqmO5ffjkk/dK/ieeBXX6beG6uYrC4tbq4DazPc2peRpIo1vbYRti&#10;IjazEBU7gbR6Vg3Tzm3t4WHySw3lnFLKheOQCZl3LleNuEHAIGytC3ms/tRv5GvFhju7Y2zrtijX&#10;dHk+X8g5DKQCTznODRa61en9Mvma0ittV67f5kxutNu/strBLcKqrbeQwka4mbyWEZMjMilFEbc8&#10;5ycDpk0NQ0RYo4kgvba785Lq3fysCK3Ksp56ZOH27c4POeoFVhbWi2VlJZRzpJNpV1NPJKwM0rRX&#10;S87QRgsCMr0BA5PBO9YwyLHcCdNTtiNQSOBbWJsP9ut8BOp/55nBBxkMACc4mUmpJoqjKD+JaGTL&#10;ZHUZ3UqtkBqJNxcQuBEBPAXwg3HAwGz1J4GKpxvGYrt7SCR7iKzt45ZmkCxB0lcM+CpLcMB1zgdq&#10;vSeXb2tnLdySTSiO2vI4bhALdTbT+WylmUkkZz83OFPHpPeWUsdmDYCJkla+tvMlcJ5q28kUqYHB&#10;+ferDqR74xU3XNZ9zRVEtOXW33bafkUogt3cNazxQW9xBNdnySUgMuWWYu5JVsbiQoXoMg8lSXXE&#10;N1Bc7gEmJf8AfLbq0MaqUDfKrOxUDpyTwM5PNXY4bRbedg4S/k1QKixxmRWjmgQ5D5JwcMD25xip&#10;r23uP7ONxL5O9La1unG8GaVUla1YuSMkYMR+U9B+FU02lcym48ijB62u/vM2ER3TGbyV8gwxLEsa&#10;hY7cmMhwgwMglWO7qCRj2+mf2Y/jTqfwJ+OHw4+KOmuceCfElpf3FuSFF1ZrIYryH5Qc74GmUYH3&#10;ivzdDXzam7OY50driARxwIWFuY4ywYBc4PMnU+pyela9gVeYXKQDZDg7s4jCqNj7hjBOVI44yD+N&#10;QfJJSVtNRVKN6LS6r5q9rI/1XPgx4w0jx54J8JeMdBVptC8TaLZ6lYDXj9kubi2ureO4Syu2UxqL&#10;lUwYbg5ACqMY3In0bpkcM0aossVyyJ+8ZbMtO5gVYCHh8ssJ0T91IgJLYJyWyK/nu/4IL/tGah8a&#10;v2UIfAXiS+utf8W/CXWv+EFmvNWvGkm8V6ZJCbqytpXMiMl3blJUtnOWYwuOThW/oX0JSHS4jFxd&#10;/abHzVlSOOzur/y1WPKIVxHqMA2xNEZNsqRM2WyjDxMwwyw+IlBfDun5WTR7WAxTr4SFSWkra+q0&#10;f46nRw6TBOPKeGHHlhsJIXJyR8yYwCv06gDkda8d+J/wQ0nxrpsyPDEL3y2a2nkgJZWIIRcjHVht&#10;45PU8Hn6EsptPWMXMr2sVuY2upGgmit7RozhZZ4zuGIwyhGQYKSAkcZC9StshUbrcBVBBQy42bMB&#10;k4bpnAOOTz715WIwcK8HGaPSo46dCSkj+eX4qfA6+0W+u7PUdMdVjlPlzPBsEmGjkUqCM8FV4zwR&#10;0Br4J8d/B/VfDmsp4u8ISSaXrFm5dI4yVt7wEFtrqflK4C/eBAIByPlx/Vp8T/g7pHjjTbhZ7N47&#10;2NCsDRx5CBQwZS2MgE4574J6dPyw+JXwQu9Hnu7C5t2ZiSocxHYcDAA7kkhiB6Hn1PyeLwlfCzcW&#10;n5P+v6sfV4LH0MTRbhqnuj8/vg18arHXr4+GPEKzaV4mtB+8gnje2hvduELQyldrA8cKTjoSK+0t&#10;Pmt5AvzyGN0DSGPyxEq/IPulD8x+c8Z6DoAc/FXxQ+AnnO1/p8EmnarbATWt9Zs1tLG6sSp3qecE&#10;Y2nIIYcHNa3wp+Nmp+HtVh8E/FKF7S4GINK1v7RLFaXKrtwXbGFODjkHBZeuRnajXUnHD1fdl36P&#10;a3zMq+DVOTlh9YPp1jt96/LU+6rCFHYyO/AyufN3JgnnH7rkZbaTkcMc+3Si3FyRHLA7oAjNHFCT&#10;5YBxkBVCnA78dCe+az9Fgtbq0jurKRLlZI/N+0Wss80ZGCxYnO3oAeBgcEAYzXoNnpRA8q4s3Mqo&#10;SJXglynAXLfv48gMMcjqDXWr/C1qcd3LfVdjjSv2CHy7a1jzJkBUtigUMCuCzFcHMRHsSuCDwMFv&#10;DWo+IJ7V7qRppYJyx08IjSFiQyBQCBktwCue5r1uTRVZZFEe5XZdxAhjcBcqfnbftXDszKrEHAwT&#10;jnktQ0qXTXguIbpbL5iGlt7yL7UrALu/doF55/iI5xjOTUygnGwU6mt09Rlp4bi0HUGt47fDOfOd&#10;UdklgZlBaHjIIDBefr34rqUjkcNuF2XcsRCbOaSXe211U7o85O8n/wCsaTR2stQsUkeT7YQ7/wCk&#10;ywPJcNzwxAlVSWIbJI6gdTV02aIymCN1MbDYUt1UlsZxy47kn5iBkg5rakuRezlqctSTd+b+mPtr&#10;G0d42Fs8ako2JbbyETe24YBjGOATgZ+6K++PgjYLb+HZppFUJKNm9o+CvzlPQHadwwf75Br4g0S1&#10;k+1xh7XcoZY3cgiWMEseAZDjGEXoBzzyPm+/vAET6f4CmkigkaQWcl0AhOZmER53ZIyQM5JHK4wM&#10;c+hhVZup2R5uOcnFK+9l+KHxak6yRJG4AMskn2S3RorhdrsrNawsGIOAxe3dASN2Om1tizvEnigE&#10;AWSOQgW0dvHi2uc7TugXGUKL9+Ar90EjGPl8gm1NljLA/aXAVWCymFrkoquhkyNiS7gu2Xax+cAn&#10;GcdLp+pNdeUt55az3k32aMyORFqE6vtRJY1OIroEhlYqqvtGSTt3dFCpzRN8RhYw16/1/X9aenxS&#10;ocMW3LHI/wB11MLKhAPlIoztBbZ5ZBZW3dc5ZuraRZ63Yz2Oowq8c8RRmTA8vsWDnB4G7DDnK8Hv&#10;WLaXkb+WXe7jeQCPeZo7RJZh/wAs2BIMdwhZ8kpiTHIJyo3ba580qDGm2TaIjE7I0u5pDgqSm2UI&#10;xaSJgcbvl567eyhWi4VFdPQ81udGanTbTXX+v6/G3xx45+H2qeFtQllit0fTZXVra6j5JG0tsI7M&#10;MlWBODxg54GToepNG6oSvCeWW3btoYA9D2yowfc88Yr7g1HTLLWdPmsdTt0ntpTkAgBUOCcoT12k&#10;456Ffrj5O8d+A9Q8L6gLqAPLp80u62lVCUtyduFY56ncvfoPz+YxuBngJ+1hrTf4f8A+/wAmz2lm&#10;NL6ribKuvulp08+6OghmFwgICkONoDdtuOAPXDDJxyfXJJyb+xDozJhnGNmeDlRhTu6kY7+hHHSs&#10;XRtQ+WKJ8LgnqvzDoMcZx9T7V2mBcR7WHzuB0OwfNjH6MB7bRU35oJtXPTnF05NI8uvbGeGV5Y/n&#10;jPXnMikZJwOMnkY9do45zVq2hWUAkpINhKBk+zHCsADHtGM53ZU4zg884PW6hp7XCMQCg2mSQI2A&#10;Msoxxxxuzg/7XAxXK+VNBOIpS6bnWNd74Ul8AbiDkfePzDtgE9MZuLWjW5ndumhJLBF/esvyhsRy&#10;+XzHlThwpDZwQAV4yZOoGcZl5pTFS8UUzK0ZfLxfKwXl8dcoCFY9x09TXZxKZoFKrOqglRM7GJo+&#10;nBPG1gcHduA5Bz3qM2ayKrvEAdrZBDKcqOcMMFXAxwDg4HfNZSpOTutSoVZQkeYXejOyM5QlmHA+&#10;YORljuz0wOMEdyQQMc8HrNm8abTbiQo/mYdSFA3LkYA4yNvHf19PoGTT0+Z5QyNJIWE6KZm25+ba&#10;oOM8t8uc8AjuDyep6NM0aSBBukj3EAfIRyMD1GVYEc4KkcgEDF4d/ElqdDxEalLke66nl6xFLcD9&#10;4hO35QAzR5UBuOoyzYycgYYcGs6WeVmkDNNswwWY/NtIPIwOCAB93tgDjHHZjSZ47i43sTEOQNpY&#10;wJngMAATjcMknJ3d8isTUdKKlhgodpPlhS2clSckDnJI9+PaplGbd0eYuWT1eq1OTlv4VwkshJfI&#10;XIKBG6ggHqP1PfGAauW96N7+UixgzldyKFEa7QxyDxt52kn396zryzukkICBQ7HJLYkU7nzkdNvy&#10;N6dQMHNZ0ayK5aQusgmBbKZRfmG4lQf984GMZ4GM4zVWzWmpuqavdaXO7s7wq8WQwLAKQpGF3gZB&#10;5+78zHr2GOteg6bdSSsGcvnIAVWyHJJCgkDO5tjAMc5AzXi9i0xMcsi4KoRIudoQkDOMMR3xgnHu&#10;a7jTr+OAIyyEuql1cudqjg9uwwvoRn1xXVQrJtXZNbD6OUT27TtR5K7y4QjAUCNj8u4ttye5XjJx&#10;jjPWvSbC7EiBgp3rHwRh3G7YyksDyCDnI5zxXg2m3wwhAGUY+WyHd8vJU/VSVI46oOT39H0bUeMq&#10;vy5wmMYDLlj7EkDkHjuB1z7VGpH4bb/8A8SrTl2PXbOfAjXzHG4k5BUhSXXkZHHyj3Ixjoa04RnP&#10;zqWUhuTyvIxx0yAX/wC+vauSsrtpQqhdpI2sGfcc5YY+hBHB9e1dHAzg4KEqHKJlsDB2gHg98t29&#10;MEg11qRw1IOOnUfMoUcJu2KVY4znp8pPoCxB/wB7HHanKrRBiQWyOFCgH7wO8L1B7dTgOc56VfaQ&#10;ksrKoYAHgYyCDk55PbGBkcnHSqkhIGcNlclUxndkgHJOAB9z8CT2Aoab0IUZJ7GZ+7RvLkjQgDIV&#10;iq7cKyrjjoCeo+UlcH5lIXvfDv2XU7G80S4heWzvoHt5EQxpFEjqyglP4SSOAvGegrhpUyWB6nKK&#10;JGKqCCCPXGTjgdzz61a0u6NtcRZV2xggpK0bqQcna4+ZWwG6e/HJNOjJKSjJXi9GvJmdej7Sg3CV&#10;prVPs1qn8j5j8Zafc+FNT1HTNjm4tJTbqzA/Mucowyedy8+/OMc1wu+e5tbnULhWA8seSvOyRt24&#10;44GR1HHdvUYr6k+Pfhl9RXRvFdhDmBl/svU1eMxztKCTAxHfgyg/VfSvm67t5W00u7ZiMggBYY8t&#10;R83GOOdx/SvyrNsB/Z+Y1MJJ+4tY9mnrH87eqP6L4Rzmjm+RYbG6e2k1GfdSTtJfNq6XZ+ZlSQyX&#10;elWbbsKoeV92Dhmwq5OOoVT/AN95z0ra0DR7eKI3l0qusoaKAOPlbkE4PTAIU9OCua5uOKRfLhR3&#10;a1hi+0yOQCm4nLkZOew6dMDsa2Lm/kubS2ji3JbQQrHBGDsDkjGcjHXBPr715cHCnL29SN7WsvPZ&#10;n1GJhWlD6vRlaMpNt9Unql6v8ELql7ErBbcfKWLKr8K2DgcD1wvArk9Um8tpWvYtuVCqIxyWJJGe&#10;nfk/TvVmWGSKaKOZZRdyx7kRV3hskYwMnPIXk4OT+eZdLG9v9r1FyzyOScJvVUUBmHXqSpHYcLnG&#10;ayrTnJN21vfyPSwNClRcGndd1u/T7tyjpFubyC7CboormMqgRx5isCAOPTqcY5/CoNdszY6ZKImb&#10;7RLIYYJnTfmTYPmYY5CgkkegArJ0W4uY7zUA7t9luICltCH2smVcsSw6dsY9OtYeueK9jRyGaIva&#10;wTC5hbBUk5UHkdWDAADptJyKMM1Kl+97nuVKGJ+uNUn7ujt8v+BZnl3iS7t9IF3O4d0aLLG4G4O3&#10;ALgY4wDxz0A4r5O8TO93etLJDHNA0glLZz5YLbQzLggH5wv0I65r27xFqB1O6vGdxHA/zLGz7ySe&#10;ny5yByOTXi1po8HivxNa6DaBw19fC0EhzlVdwOem4fdOe3PTGa46qclePofWYKUcI7yl7rjr5KyZ&#10;94/sa/DyJEufG14ss/2qT7NpEdy5kaGMMwZscAEknAAH68/rRounLpkUTSxL/aMke6JJv+XNSDli&#10;o+YtwcA4HAPevnr4JeBLfwl4Y0yGK2Is7CBYLOJYyWvJFwpbty20sT1yec5NfRVsrTTpK53zyN5j&#10;yE4ck84yewyfpjqMGv1fhnA/U8HFSXvf59f8j+P/ABLzx5znVbkn+6jdfd09O/3dzpLeCMFWkd2k&#10;kAEjyAAOTgszc5yeT2rXtwfLhxgMrAiNvmY5BbjGMHJXnBGDjHcZMSFEUbvlCjbjK7twDAZzxwV6&#10;ZzxWlC67WZmEbk/Pj5gOpb2xjA7duua+1hZJRaPxrFKUlvf+v8i3wAXPBjUbCTjLFAQ5OOu0Zyc9&#10;ecEYpBuI4xkAc7slRySSMcdOo/rVW4dCCrSsFEu0jd8ztjHTuPu+nTocYqSFV86JhuOWw6Fg2FUF&#10;iWPqOBgVb5ehy8lo8zJmYhlbewjIXyyIiPMJ2ldqnGRnnnHOM9xV6OJQvzmRVDrGVk2KzZwqKc4B&#10;xleB1IxycimwRbHLMfKdjuDsQxyzBQFznknC++8Dk5qdUdgBIijLnAjUu5RS24gjkjB2ZxkqxI5d&#10;VrrpUb+81ocdaskuWL/r+v6RGgaQAJbCZwgmiaSQI8m8MikkjI3DzckZIjXplttP2mNceSk9wd0f&#10;2p4cwBmwsrsOrE7VXYD12oDhXZE81WKlY5SWy1wsI+aErkgYzjdvVYsAZZlxysbAPhjd4IYmLuPJ&#10;MySRzP5Z3fKzGXvgOQrE7n+d+uHHXCCSR58ptt6j9k+6bZG5UzhQXkBZgoJIRM4POeWwGfcT8gG+&#10;FCZPLnebe5IntgikRKpby0yWxkkSOqk8sSz4ztRLDxiJ9qlFlkbzYreE7FmERRQXPUKqlBgAqpkG&#10;A7Fc2UKyll8piZJNkhKvH5eEXIUk44HdCQrHGSQxGjgraGKn71pf1sUWlLFgzuYyuUYEHpuJXf0y&#10;drg7eQqE5BK5Z5ifM6nNmCVaKS3aSViSFYKMZJx+72YI3OkeF2MjSObdXRt+0Bl2LbRgRdAsak8Z&#10;zjOePkQZIQNvZMxV5rqU2tt5RTF3NMViDOmCApAwEVjyTucsw+QMaUFy7s1m1UVki688Jti1vJE7&#10;W5YxTTg3Chl+SWRCPmcje4OPvMSoI5NVZ79LVVa9ne2FzAFijd1EsspG90RACSURRnaOP97JrKu9&#10;UaCbZpkPnIyLveYtHEuzcI444wvQfM7MOvAyQRtzYknmkRryeaeQO/Mh+6OTgKMDuB/vY7jjmrYm&#10;3uQV2deHy+Uo81TSP4/caEd1c3sbWaQfZbJZfKwz77idQ2f3jdt5yTyThjW5bW6qiKoK7QFAPXAB&#10;AOPw6fQ4qtaweWmCvzsqlhyuMZwM9AQS3Xrj8K10TGdwyOenPGCMAfj39TVUot2lLcVepCPuUtF+&#10;e33kbRZQMoZnPy7mGGTcR147c9uuK8q+Jlssmg6llfMb7MwTowBxg9u/J5I9u1esPiSN1baoJcHb&#10;IQOM85wCOmTjoe9edfEJFbQ9TVg2fsrgHoEJVgT1z/dP50V4NwvIeBnap95/B5/wV10OWz8caq0Z&#10;dHDszD/WJJlnAwMcffzj0C56Gv5g/G8LG6u1H3vNY4HCKQeMH8T/AF9/6wP+CxFgk/i/UGCJuDuQ&#10;Xx5eSrlSQBz9xFHuxPNfyv8AjS1Y3VyXDEeaWbjrnIIPtkknPHIrx3alVcun+Z9XhHN0VKC97T7j&#10;5p1W0MTSEqrMpHGAC/Jzx7fj1NYbHIO5WGwFiA3GAQe3GevX1r0XULFuWZQQBkjADkZOMd84z1rh&#10;rqIRPtkRjgEb2UruwSenvXrYSo3Gx42OpSpvnlv/AEh9hKFuIwHCI4KmZx93aCTx7V7J4duNPuLG&#10;JJZLoSecrR21uuJb3a2AWb0B5x3xxmvEHaTMbGIoFAcqV3qc5K+3bp7V6n4evpbVoZEuo7dNnk3N&#10;zsACL18qLvkjaN3YZHOOfShZz12PKm1yezirf0j2aynjlu7dJLGK7vUHmRWyKosNPUAuryyBtp4C&#10;s27b98DrzWkxRrhb2a7N60sbRXl28YKxn+5CnXHA6ccenFcja3kRtyipNbWqhpYNOjCm61MnJMty&#10;5BIUY6dBjgDLGtqwS4kaCAywtNblzFbrGJLPTlQgN5p6AgHktyOc85rZ2atH0/E0vGne/vN2+Wp6&#10;NpjTWEcCByZJ4RJa2cYyYlGDumOODjB9s1bvptRnje/jdikreVPekkzyMRt8uPr8nUcHkdhjjK0S&#10;RbqxQKskkO15HkZyJLyQtxtI+6vHr/AOnFbFsl7OIdkZkk8xokmmYQWGmKxDDLEks4Bxg+v3uMHR&#10;O8veegN3hFxV+m23mc/K62Uj2UcYivGXDFRtt7EEdZCP4sA4z6g4xwampQ21uWnjn3IigC+dWea6&#10;cL8yxLjo2cDpwa6OXS7i4B/cSMrq08HLvLeMQSZpWwSIxnduGVxg9OawrjTDcWUUrKWe3kMNzc4P&#10;2WBsZaKD1YbVJP8A+uoXK4uz9AdSajaKvfb5lK4lRdOszJZDyvt3mrZqyvjGQjTMOMck/wDfJOSM&#10;0x5/Plj2QRTmFvOL5xa2hKnG0dGIOeBnnJ78pNaCG5NslndfZ5LRZFs3ixcXucAMzHOM7hknucdq&#10;wLSSeEzSSOrukheCDPlW0A6Lv557D8Tk0oqE2tCYSqJKMt+t+xclRRehrxpTCjBWnT5ru9OMbY19&#10;MDAJxgA/QP1Frb7bbeTZosUcW2GyBAEJAAMsrYwO3U+3fkSM/wBpLILmTZIomkvWUlFxjiFc4Bwc&#10;A+5NF1Db3V19nsoZ95iaX7Pg7pADw0hboDgjj0B4BNOKTSv06kuMWkuvb9fPQpNY2s1qyzyyK2Sb&#10;i4PLMp4EMY/DAI5ye9TaXFbovCeTNbW/zNJho7dfuhiufmZg2DnuT9Khke4nknMEsKyRQHzBNGq2&#10;llgBWAPHzY7+tSaW4SwuWkiaRGc/MVHmXcrDvnnaOOOOuT6URXPK6f8AW5M4yik5uyt/wV/l8xbi&#10;/ItxumMcLSrIkZcKLzHK72PQAnp7+3E6JbrbSXbSpKyDfLc7V8m3jQlxGnbPXkHqBkV8w/EzVPFF&#10;nqT29nPcCxVQrlMsVPXZx2+bPH9416J4L1x7vQ7C1ncsIy0SxzOU82Rv4mPfBySO5IrRJSXKnsZU&#10;KklpNW2SZ61fXBuIoHhiSOyXa0MAxJNMFAAaQ8Ejuc9c4PfOIiRlzcZV7ofKs7AJDb5+UDHT+If4&#10;Vq2biQvbs0QhSErPdM+08L/q4x0wc4yOoFVdQsEYQzgRoxX9zGp3IgBGZHGcDhv0HHNTGN4q+2x1&#10;Np1Fy9L/AKanMXdmI53kuC0kE8nllzJta6OOi/7OAR+JqrMgnYyAJ5mDjDgQ2iAcIo/vEZ9eW9qb&#10;f+ZNNuknLjjfdoxNvGo+6qgc5+bt3bnvUCxR4WF96xKzPFGPlmkJH3nwcgcd+1ZNtuy1MffUey7e&#10;X/DkPkWUckLxQmUeX+6thkynaPmlk9st3xn1qQi4eOaX7Q0attV3jAbyMkZWMYyDzjoPXFUpTHBh&#10;lmxDKVE8oUAvgjKp9ec4rTF6YbNJ2t0lEUyLDE5+RBjAkc85OSD/AErSEY3cZlX5p88vw9V/w5ce&#10;OOWJP3JWKPH2GwDFfPIyxmmPqD1PoPWtKSKfEb28jSSLAqSXL5FtbAxnhOcZGfT6YxWWse+C6lmn&#10;MIdt8zryZcfdSLBJx2OMAn86kiW7liWCFMvE++GEsFZRlmUvj1BY9PbilBRXvXuNc/JdrV/1ctXM&#10;11AHZTJKJCdqs37+54BMjd8cn8+OhFYUk7MjTN5kjlhvkUHZETztQ464Djnsx9BVy7lMME8gaUXE&#10;kbJNesSI4lGAEjUY9Sp9d3r1yVldrUW5i3Yi85YUX54BgKxlPc8geuTj1oUk1yy1Ipw5aiir6/1Y&#10;uSXryQQK1ukisg2WwIYMBty8nT0HHP8APLPJdoJbqO4RYwEEtxI4y7P0WMdTgHnGcZNZMjxmAAs2&#10;2U7MYIkmyCQVA4AwG6Y4H4Vr2LPcwyqkaqse9TAoxb2gKkhgf9kd/QUe8rO+/QLwtKN+l/1f+RSS&#10;7lSbDoZdnyQwbt5ycAszcdl/CpbC5WO4XzJPLd8ebcMu7hSSURunc5I7/hVffbQqFzJGBMIyCu2S&#10;6JH8Ptg4/OtBWjFzC7QpJNAN6Q52RQkEfe+v9fam4tS97b/gi5k6fNHe9vPb/gHd2MQVQJS0cLje&#10;uw4klwFZc9wDjP4D1rzDx00aanKXiZHZhIgA2kjnIOPw57fz7i3ubxrghXEsSAyvfN80alAfujPT&#10;Kk+grn/G1jG6R3EsbKy8QuwwZMHJGSfUfmOlXa0G57sJQdSmpx0R5+EMkT3XzCEMwAxz1wMjtg5/&#10;yKYk6yQHeqxkbU+Uh3XGG+9z3ApzBoo445Zc7HdpUBZUdSQQx6Yxz0z0GDVKFIWGckoY0UDaOSuA&#10;Dn8Bzxz65rFXW3czpRUXd7Nf1+ZYe4i+aGJBKolPy7clvlwxJPXrjH1qonntcgsqBoYVZVZgyg5H&#10;XJ68E/U0BBDIIwhBw+8joeAc+39PeplDmZgMGQY8xQu5Ths7R6gZ6ir5XJaaFJ8srpXtb7wZpS7n&#10;fKnzkbUZigwSOOelFRyR3Ykk2oFHmMQCvPJPvRWtqfc5XCo3dbHASFZIUk3O4jJjRkYtNfXLsSxA&#10;znau7kr7eppFZj5DT20jwpcFEkR3jF3NjJDPgjC/QZFWpjISBHM8EUKsLBWCo0MIx5k7oBt3NkYw&#10;cnnrxUVzC5WxljD+YVd7YsCPs8CkhpJDwdzZJ47Yrmuo+89QVOTfK/X8ifyI3zGzoyugmv2nm+zt&#10;M+7iGOTpxkrjvkcdqWRER2h1C7hhicIb2SPFw8KrvKxRDucEcA/xe3C/KkYe0Vw8imKws5SJNzMv&#10;zXBbGQRk8VBPDNvUkR5LtbW7BtsdxKCpmlLHIbAA5PTcKpvV/wBf1qOEIyTa9PvCW6SNXdLhEMkG&#10;HaIMs9pbk7CnoCwzx6Ee9TMtnLDcKDN9plhG+MfMmm2qYLYKndvdggIPQk1KYoIHjkkhWeJJBvmI&#10;Hl6hcH5sBcAFEyAdvpTQqIs4Vdy2zC4mkJR1uZGbhAOp2n09Kl2vZM0jFXab1e35MktmjCp5MGJN&#10;phhEhL/2bATsZ5OPvMWUAkDOR64p9xPcxLaqpS32wM9lbNEJFgQOf35xkEk7mHIxweelPt41miuT&#10;cSm4hhuRLfzQzZaWQuHjhQgcEfN6gY/K1JbPI04lm8uaeLzL+Wd0XyYl/wBVAmBjJ2Djg/N+NJp6&#10;tImnKLk+ZdVbvv8AqRW8bzQWyi6Mkksvl6fEEzLesx+aWUZBxnGG5GBUMcaC2e5EDtDHL5VuxXf9&#10;tuM4MkhwQVXLfKRjC81rxwYiYR4jluoRPDcGAxPZWgGG2oDwDgruBzxnrS2sE7tarBLAZbuT7NZm&#10;6kWCz02IEh5pd37tQcHDyYHGc1XM+ZpmkILkV+m4kNov2OfdBMUtmaW+u2Z9l/Ox2pHHwQyjDE7O&#10;uM8jAqIW3lSugvIikVu82q3SOCAGUsbdXBxkYAweM59BVprgrDb+SyPHbSm1tYDKzNdzSPt85oid&#10;vAIO5cEYFSpaxIUuXR5bdZxbxRLIPM1C8cZHIyNgI5BByFAyNwalK6d/QOdO68391/0I7OEt5p2R&#10;yXt1D5rvNCrwaPahC5Gc5VjsUhgCCCc881PNPJLNYXNrYlYJYVi0rT5wHOCmx7pgoAZiQzEHBG7p&#10;wCbTWCWTXdjqUxtCCtzqsgiLoQpzFbho85ztAGMqSwJwAWomC3krkmG2lv3jPlsSv2K1QKquT0OU&#10;U8Dk4GRk0RTfvW0Mr8kbfiZ5gi8swRKRBCxhijY7ZtTnKuXklfONq5HDcjIGQeuh56jzYL1wFjeO&#10;51e4jYxzSPEojt7ZCd21CcZU5HHUfLSLHEkttFp8byXt3E8GmyyyMUso1bMs5BXK4USNhuMktnjB&#10;srFaSTOyEXEVjOLLTdm4zajdzI0YlKhSyxxlV+bBXp0zyouV1GxpT5JVOaT13flsUCbnVjGGu2Sd&#10;NygSozjSLSNnbyYc8h3aRzhe7erNVqKG5Mdii2D2c/2Yz2kszg2ukWg+V7mRFQncdvDDngDacitG&#10;fTtMh8q1u9WmRLTF5q94lm8v2q7Ysbe3JRTnquGHI3yZGBk3raaa9g1Nr67sIYZyfEfiWNGEk0ME&#10;TBbS0twQGbczRJtjII3rkHaKajJOy3KpyjCq628dfx6HMB3d7caZZxT2LzMtnaXMu1tSnEeGlZx1&#10;+eTKqf8AZGDgmn3EEFtcyQ3Ie5hjnNlqFzpzl21u4YbhHHkD5EbfnYBk5yH+StNDe/abaQxRwXl9&#10;EYY1lBC6VbEqDNu4XJXOFIyF3ctkAWUWC61azj0GYXEn2g6doUEymWQ4UCW7YkjJLZI7gngkdBK9&#10;lHYpc8XUmlu/luV4rWRYdQjdUiSNViv9SWR5Ps5x8llER8oJKtnYQ/ysMnBasd0uXmt829rG72bt&#10;axxx7YtIgCsG3ZY4kZYmxnLHIOORnpLQm5WWeCN9SjS5MWm2gt0kHiC9VdzyvGWy6qF3EHLDCjB3&#10;GsjTtMWG8klku2FpFai61K7VVmiuJTyqREAAgF87hyFy/I5EXble/wDX9IuSi4OS6v8AO36kscV5&#10;bSWv2O1FtFcIZtGt5EK7EOQ93PkYI/1h5AGR1GKlElj9jKQStcWNkEnDTITJ4n1EygOqqFG2FFdC&#10;QzdI2xguEFW5niWctc6hKby9uPM1u4BaGPTrcOpFsgzjLlmHH8KjIHUz20F1qFrC7wW8FzNCkOi2&#10;EjCRNOt1cvPO7A/IcJgbhtYO5yuAacUnF825nGMvbWeyV/lomWTqwBitNY1V9VtUbz9St2ctp0Bc&#10;qsWn2aH5g2VjaQg7tqKAx2mrUWo3b3OoylNCgnW387UtTjtyseh2uBGtpbgMV8xhJsJUb+MAfMwO&#10;PDDDdSrc2cJnhSVLXTUmUR/a7llCPcOjnovOASNpC9MYq60mlWhtVuIf7R06EojBJQ1x4hvYw8jM&#10;QOqKSiDABCpn7z5NKTaT6k2pydltb8tCisDvPDcRyW8l3dW5j0vT7ebNxaQqyNLeTx4OAVLMGHJI&#10;AbGBViO302OWFIbO8ks7aORbWNlEdzqNzvy89122KSRgZVuV6hsTm0kuBeygiygs5BqPiS7jjV5U&#10;A3Lb2cZbkchQQvQqdy4Wm3TNdXduLl5Yb3YEcXIS2t9GsIyTFAuG/wBYzEtgABicZJYgqLk7W3X5&#10;C5b3cZJL8yks8khnMU0z2O8HUpVsm+1apO4+W2DMfnUbWAXp97qAKjMwmnv5muxa3e3y9TljhKWl&#10;lEpI+zQFBkOQSpOAeOpOSdpre2kWSVJiuuOwfSbMpsstFt2UMbpjuJEj7d2MMp65XhRkWVvMY4Ps&#10;aLcxzTmHS7eSFJbi/mDAyTTIfmKINzKrEjgYyM5Um7q+n9I1nUc1aPXfy/pFKa8dFtmkNndXAgl+&#10;w6SigpbQhMm6n3Dl2G8gnDgKei4zJbpf3Gl6bvhgSATtbaRbRvCzb2yz3Lr96QKWPI+6dvToat+S&#10;xurO2u4HsrRlNxrEQLTX8qbt0QY4cplmOCN3yZ9AJlsrmO2E8d2QwhR9SmESpb2EJKpGkJ35d3zg&#10;hAGA9izCueLT8wV6da+lv0L0VnBFFLLc3Ut5A0txiS3uEkn1u6UEqJTJyYlJGf4/mOMsMCERtcve&#10;3mLexUgtqJgkXyLOMnP2aBWJLYHygA7+Bk8HMtiLh/MaytHguktJZAl9AZbXRrTawMhDFcuxfdub&#10;btOCOSKqJFaS2scbWc1xFM5j0qLzFU6ldBlVpplIJYAkDBwQcc8YMu/NoKorQ97rd/JW0/EbrEV7&#10;evY6hd+bDFNZI1kIMStpFmhKKkgQ/JIwBG18MQQcEEGn29ujyC4srRxI8ZOk2tzFueJVJEt05PH8&#10;J4IPU4JqK983yL6C2aeWOG+RNVnimDHU7wZWG3QD76wgEEgZHJzyMuWF7NZYdVkeCQEHU5YjvaCE&#10;HIs0UgcsMBskEcDByQG4x/rv/wAOTSnJx5n2v9xMILX7GZJonltILkQ20RDONautzeZnJzsAXBGQ&#10;wDDBydwkK29mqRRXcVtdrIY9VubRHhj0+FsL9nhPG5ipIZcnHABAzmKQ6juiSeJ47lrf/iVQhd1t&#10;plrN/wAtH3cbypy27kAnn0km0m5sbUCYS31tNIV023jmWOTUpVEe6ZgM4B8wEK/ZCFOQxpOSa1Wv&#10;+QU+ZQvT3Wr+YoAeUyw3UcYe0YWhlZZTp1ogkVmfHyiQ4yARuOR7CorDT7H7UYZUlu0lDRaMkjFB&#10;cO+F+1zDPKKeApPUegOc54xGdupLdRQpdL/bMsWzLszFY4EOeeCRtYjk5B9diV7qeRFgla3mnXy7&#10;0TDyLaytEVGjhAA5LHA2gDBCgZzgCatb+ugc3tZvm36fJ/5FVxbwT6hYyXrXFo9w8Ota5HAkxeFA&#10;ERbZGww3ENhH2lgAPlA50heXn2pLt5rdL28tYA93Fbq/9k2aDYI2VV4kZSMniTLE5JJqN7u/KadP&#10;fWmnmG4xpug6DBKJLiGOENIHlQAMAWMjESnJKt82AMMm+zTo1naSrLElyr6hd282BfzAE+Wi9doJ&#10;+70GeOME1aEVq7oXI5xc1v8Apt+ZHGrR+Y0UMzWd07XWm2cqFF1G4VECXEyH5jtMmQe+WHIDVFcr&#10;P9qvLyW8W4hlc3GsX+ngKs7jP7mAKFXOOMKBgnpxmtS/c3V8ft+p3UWoyMLGZY1zLpdpFGsSxKNx&#10;YNgBQvUBMZOcBdWYXVnpMsME32UQbdB0dUY/b9rsHnmYDk7t3PX5NvRSSrpJJCVNVeaUVrb8rGSg&#10;E00YBIvJbMy3LeQPsugQg9Og+YKvUc84Ock1my3N20FikD7ILcs+kxNCslzcNvBaWU4z1PfP3B2w&#10;Ku2Kqwuor6aO0tY5xcavcPC8j3smGCQqU55IwWXp1PSp7FnM1wiPGr3MX2jUZGBSLS7YMT5UYK4V&#10;22oNyMDzjB3ECkvcSW4pptxuve0v+hn3QgeC4kvJjNBBc7Znt5We51W8IDSEcZaNPu9wDnB5GH3S&#10;ww2L280cSzPAbnUtShm825JB8tLVCG+6BuBx1OfSmyXEqQl7cQea4xarIyq9rCw2mRuMgtwd3Pv2&#10;FYs/mJFZvGBKokkhsQ0YMt1KzcufXBYHJ4HA6Umo82+jG3yNTjt+dwkeN41DyRpexQpb6dYKyvFb&#10;RKQzyzMTgOOTgjJz6deLvhBI7wo0uxzlIpCWe9kHJbBGQBz1/pV6+vPKZbdSssgB+13AjKyyyNwU&#10;XB4A+6e34YqtY6Te3lzPfPJu8lo1jjf7uxjtK7f9k4yenNTZcrIi02otaX/r+vMh0LRpmd794nR5&#10;YWmjkcBUjVGAY89uvPtXpMCQWguUmjN08eoWl4sSskKTAxvvBIbOCzgZA3fL1GMmCxhWwtoHVPMl&#10;Zbi2uEjUiA7lBGPlIwOOeCe3rXSvaSRebdFPJ/4lNrqKxqkkxUpJsxtZccHkg/KN2WYdm1FpJbFQ&#10;vGalU1e/4pfmLYKiraIYRD8tzA8X7oAgmNkfI+YAEHg5HI4ya7PS7XQbzV9+v6g2i6ettZapb6ku&#10;jvrVy0rRbYrf7KrRsBNJ5cbOTxktnbmuYNsFvbz5SZLfWllE53iBFuYiQGYsPusHUA9QTir9sIr+&#10;1vJ5WAuV8ICS9cRx28DSWl5EkjK3mHuOn8PPUgg3Fx0jLd/5fmae9BqfX9b/AKlSeB0ka0k8lBbW&#10;+q6XH5kMbJAFXzQiLwDuwowOOvQms2WfULWKdbO6nt4W0zT5BDHMp2gOGyzKMLgu3vjiuu82LULq&#10;ecI82p3mvIrSl45AFvYJHLHfJnqn3jgEAE88nn42aezuWkn5t9CF0bVyrLK9teLGsRctjIIJxnHy&#10;Me1ZN8qUe5UE5y5mtG7W7NszZ2uINVEFxGBpsHiOGeSQqLgBijZBJT5htLe59DSw2m42tvHFcO8M&#10;uoxMn71QTgNl+AFwEcAZycEbcYre1O1bULyW+u0iitH1G3up4Y5AZIFlbYBGC2BncQGbkgLjisC2&#10;tLiw1CGFUgkTT76eW6AdE8tVTBUZcYf5iCMFiQ3TDVMW9Iy3X/AHyq10tNH8v63IHglisGliRoIn&#10;0mCUtNFI8ystwVXarDAyyjkH+IjsamRrx7z+zngX7PN4ot7c3BEzfY8gIVHIUr88hJYH/Z7AyXMU&#10;Vxp0bT3aKs3hlr3YzwrJvju5vLjSJXywz0PI5GT0p264v75Zr5ikdpqdhK6qkMEkkcwRN/zPsZsN&#10;wTxjqQADRFXa/L5mCso8vXp5afqaAiDTT2xCSJDHqdkl2Y54kikVYgw2AljsMg4bnkFRySIbzTTb&#10;wXUsBYhbHTnlmgN35UnmtsLZZVxvETtg4xgjtmjT7CC4i09H8pHmudQZnDRJdXCpHj5AMncQuZGI&#10;B+ckklqrxXccFnJFBHBK11pllJeRvDGfIeFysLb+A4wFBPU4PBquW8lrqzZcyfM9b/8AANS3eCTV&#10;pDeQ3rwy+LXSGKAyNfF3R1jwxypLA4ZznPltjJyGwpxqM9r9pMczQQaFJA7xs4ETRXjGRn+ch2I2&#10;Z74YZz1roIdPheaXWbZREIvFoit45PIaCBli80FU3E5+bA4zxyMEZzoNPK6XbRCVVtZtP1Ffs7GN&#10;Zf3RRnLJtwobjGMdCB6VSS0kt1v+An7StG8mrf5MtXpntruSWKFZpYbnTrgxLIqxl5Aht1UKckcR&#10;8LwO4ByKzohJLMzsUd5E1CzmUP5YDzozcMXAIAYrnpjBqMlJDIQ+YTe6bcPJJP5V55YGJANqk8tk&#10;euAhzjON2QQTXIeygHkTa5dRQxRzSZYSqymHcYh8ythiVzwMHqcKN/ilt0D2l2oUldW/S5jXdzE7&#10;z3nlAeXpmmRp5axeRCRhGMgySxfKMCeu1hzyRo6bai+1WJrSW3jE2tXAtUG2Mylk3YRC/HABAyfm&#10;3emagvrVhpKXDRSxJLpSkxPC5aZra5R3JbHP+sQjOTlTkjOBrWhu4vlMMsaWniezhilMzGZkuElH&#10;lycc5Gw5zwSBls5MpP4Irf8A4AWXsm27tW17GWtus2kFP9Ht5LjR5jOJbm3he3EBcxiNi4DszKyj&#10;GcEL3K1de4kjl86E2lwYNb0zUHYW0LSCZ43XaMjAB3SZGMHIOMCq+lh1vVs4WnmddPv7aCJ2IjYR&#10;pM2zAXOSxP3hyWOMdanlAigmS3IDaroen3kzxPNIFdXBZVXb1yxD55BbB24Ip2koqS3/AOCJT5L6&#10;aX/yHW0Ec95aWkYF7qb6hfwi1s5oY7SPfG0qbGK7MK28lfQc4JJplnLPqFqreZbysulQXEiSvFB5&#10;YgB+bA254DfM2c4wBnOem0zSrCDUwt150L2HitbeO1ZbqxlCT27SmR5CAyhvKIw44J+UEgVhJPfX&#10;cFgri6S0h0vU4LRTLLFaERsXlKq43bwG4LckKue2IlFS962li4Sck30vZ+lxIJriymkkd2vY1Mtp&#10;Kyxbo1S4hLI+znn5VOc8DBzxmr7wNEIbg7Zs6NZ6tMJLZAfNjlEDnds5bywrbu+XIPWqUb3FuI7m&#10;C0KlXsL9LjgBd5eFiikEkkyIc9MITjHTTlQtDJC6W26DT77T4nUibIWQzfKxw29mkcAjjaXGQOKe&#10;nNqtDT2ahBOD0st+7MqexsIBdRylFeNLuzhtzGssUDIWkDqRjLBQTjaMc89K0UguLua3e3CTPGWh&#10;eITvJlZbUnzCPmUfdxx09jzUR+zJJMyzhYZZreV7eOQiULNEFkCruOByI/73HOSSac00Wy1NtavB&#10;GttbnYkRYW7QyujDO0ucrMFJz/AOOuXJR1lbUXNKU1COmtn2aInjXRkt5FhlLxxQahLI4DqrRTyA&#10;yruGASQV5zjYD3pt1ECsYlaSIiG9lnjEzbo/s9wDEHXA5G2QnucjOc1bvIZWt3VXKLY2U0flPhjN&#10;/pLu6Yzj+JF3cfdFSXzx2988Jt4pAWuHt7FpvMgVZofMjDsGJY7RnB/xpKTk9NgcI1KqVrLv6aEU&#10;UKR3c9sZBFGbeRd7s2145kjlt3yMjcFy3yfMfQVLaxebO8KzoIbVC00iYjkdcqSq+4ycAkYyep5q&#10;zHaNc3FslzblFlFtLHDJl4vKeBl3kbcYAAweg3nOe0O5UhFtY+YUuGEc9wJMzTrteKQbflI3Evyf&#10;UDHGSuS/uo1UYRblPo9O1/M/af8A4Ik/tV+KvgD+1p4O8AeXfar8OvjrqUHgXxZ4Yi1VrIajPIzH&#10;TLiKQuipNFOuI5AynMg5yFWv9DLQLm3upYp7RZr1ROLkTzwGG91v7JExfEjJiHWbL5iw3bZ41PGC&#10;yj/Jf8IeJLnw1rehajpd21jqGialDf2F1ZyfYryxuYJlkilSZfm3Ruu4MMnCAZAwK/0sf+Cc/wAf&#10;7z9qD9lv4T/FrUo7C68Ua9okek+JrrSLoW82v6tYRhHLSBVaDWIRblgxcGYSEHLEbpx0Pb4WNZq7&#10;ho/R6r7tUGXP2eJlQk/dmrrtzK1/vTTP1A0+5ZVWdJ4gZo/7SV7GWORJULYk1G0i3tyrAJdWgGdw&#10;YgElCe5tVkHlxzKruwjQAuTDD8qvhXEeCo5ETgfOxVScgY8n0fUbmeGOOZRPbXgXVbCbTxua/jA2&#10;/wBpWUZV0Fym5VuLPhcO5BK/d7vT3UHDz2sc8MEayGMiDThvDMZVXcG+zyMDtGGMUqtnoQ3j0+Vy&#10;s+p6dSLimdsiqwZTkGQOUATgDjJ2lMkgEDBzgn1PPmnxB+G2n+KLCaeG2hS8W32LLgb5ODxuIyAC&#10;+OecfSu/trj5twDyFHaPcW/0yER7jIkgViXaM4ycnzMgjJGW24mEnlkSFwCEZ0bzFcggMuCSQDkn&#10;0wBnOOVVwdLEU3CVjCliq+DqqrS+fZn5V+NPg+kkk8U1uWkTIZZYsShvlHGfmH3s/wDAeemK+M/i&#10;n+zhZ61FIJdOiljZPmAj8tiANxwRjBwOWx1XnNfvP4o8J2OqrLcpbhZAvluAmCcDcAPb5gcjrxzx&#10;ivn7xJ8NLeczHyU4kJEYUBOWztCjsMkYHAAHpXyOLyyULxqLbr+p9xl+bRrwVSL16/qfgj4I8V+N&#10;v2ftaOleK4dR8QeBjOuy7kZr280IN82xmzueNVzkE5HPrmv098Cav4c8Y6Lba5oV3p2o2N7FlXia&#10;FoWXHzKTknp/Dg8kDI4Uu+IXwLstXjuEk0+Nw6eYHIyzYBUMDjjqfb5j0r4yi0Dxt+zzrkuqeF7a&#10;a+8KXV2s+q6EMtBFuYGSWA9EbAORkB6ywtaVKPssVstpdV018jfEYeOITr4R+/1Xf08/I/Q2PT4Q&#10;iv5cOcBSf3cascggEBNhLZ2jPzZ+gqhc6bayHYrlMBVCRX0EeGDDAYOBnlOhKDnJIHNS/DXxt4d+&#10;Iuiwa34fvhcL5KR3aPJPbyWjbAXjfK56hxtwfvACvRRp9xKVVJCYyVVnN1Fu5ZRj95z0BGADg16S&#10;o2fvbHkK93H7zyNfDwgJYETfu/LMjJbAPt4zvUgncSTl8E7yMkDFWJdEZpNghOHZZQohgZiqseFJ&#10;bdyM5IG0DHzcgV60ujOA+6BlfjBNtEmQ+8kqytuOcEnIyvmLj7wNSPpatuHlFsMQy/ZY0R8gAFDk&#10;rgMSOBhQT2AwvZJLm6hJqVn1OA0PTkjvLdFQqN52xEQCRSJCQVMeRhs5zk/eGcNlR906Rs0zwUTI&#10;jQwwaVM7EsEjULE6qq7scnAwAMfMPXn5f0bSVN/ArLGyRlflVU8xQW2svHPPJx/s8Dg19P39qq+B&#10;tUtZC5xoM5eWWYERskIMZ7kDJUkH/aIAyBXTh4uNGpLrY8vGWnVpxfWSPn2bITJ2ny4vKIVvL80H&#10;jB2jdtH3s5BBwRkcjLe5lgdtq4S5KqyqVignBYgEt8uOhKS7uCCD0YDRs5ku4gxLRl04yAxG75to&#10;B4zgEA4/xrNvrIAeWrhVGSX8obpThP4MgckgEcg/hmuSlKbileyPoJwWt0ejaLrMfmfZxPCgZkgV&#10;r8tMJSFRxDdhTggHOy4UEr5iZ+Vdw9FtbiYFlmknaOWWOKQ36oiOzNtEF04CcseYrpVyQgByQQ3z&#10;fZ3DWjRukiL5bqiwSKCVQquQqnaJIyVwQNxTBOOMN6RoGvb47dVe2hRvkka+xLbRrKGR0mOQrW7K&#10;3B2uULg8jgelRrczVjycThuZSkv66/oe0WspYsWEfmpJHEd7LHchmXAjlQBAjNn7wG1xt6Y+W1dW&#10;Frq+nmyvoTcW1zEyMkiNHkcg8MPlPBJGQQGPtjm7O5ZCTJK1qIYFhkNzJCJtOgfhFuQroJ7UjKxy&#10;oN6ZJPdq3beUFZTLviaB0W5jlVQqkqypmQBQ6YCLHOuQM4bJDAdvIpR9nON1Y8ZucJc8HZpq1una&#10;39fmj5f8bfD+/wDC+ovd2q79HnmMlvcxrkwMxQbXUDGOcAk8BhjuRU0y7YFAdoIAJ+U8c9Oc9/Xt&#10;zxjFfYEtva6hbG2uYRJHJuV4pI1l4ACFSOR04HXO7g4r518ZeBZPDUwvdOBfTGBQqCn+ig42ox/u&#10;jIAPUnI7189jcDUwb9pSd6b/AAPt8m4gWPisHi2lXWieyl/wdPmZaoJoUAXHAB3lUC4AOCMY7jHT&#10;O71POJe2atuZkyik/K+P3hwwYHnPGPbnaPWrdjd8HzGwCSCZCCSRkYIzzzgV0P2dZ0bO8/KT/DEV&#10;PI7dDxnAGc8DnAPM1pdHtSSg/e2OEtg1qZFYMnzbEk8wzeUFYgq+P9YvTleQVBHAIbUt4i8gEkcY&#10;jZwE+dV2ZCjDrxkZUsG6gSDrhatS6bIXj27n3OpXYRI6qcA43HLMcdDgEjr6PsLdooUkwuxFUOCx&#10;ZIshcleAWUAAH5cjPqKIpcyuROTT03Yjaf5kQcpsG9EILmPHOGjYFVwclNrhmyRjHGKzLnT/AN5t&#10;eJhIG3F4nMDRMoynAwVbCFgBncMDcMGuzihUrg+bE+AZNkhURRsBuXaFG6PkYLE7NgPIztabAkl1&#10;jaJkQ4Eh2LIHKcPtILrlVCEn5Ac8kkVM4WldGcZtXR5XqWkYZbtInZpGEBjADhsAICpJGNi7Mg9O&#10;2awZNES4VJtiurYYFk3qUKgMEI5ww25Az2PGAa9mnsZgk7W/lh13COCViMkDuMEAkBcOVIIzn2yv&#10;IRkLhBGBmVokIKnbyVUcYKqGIAPzcAc4zMqMZLmkjkqVJQlf1+Z4Pe+GmCMUjJwjqyeXlVyRjIx0&#10;AByPfj34y50KRZT5ULq6MJULAbTtZcgnjggFevVjX1PJo0bRqPLQrIhKBXBL7T9446EbcAHgqx6k&#10;CuWvdAUk7YgRtJdwPlGScEDtgBQe2c964q2GVrx3N6GITT5tT54XTmgBEijfsLnB4IAJ+X3IUgDn&#10;kEY4p8M00WNrNn5tpCkqAcMzIGOMnn5cjkZ4yCfTL/w+y/OE2/MP4PlbHJ3YA6Zxz0AxiuOudNMc&#10;oCR7WI2BicbfmI46EnkfMNoIx0PXlgnSfOlsenRmq1NrqbOm3TLiR/LZXjPJw0W05VgOBlSCwxnP&#10;J59PQNHugHDHALkI/BZkXA3bWIwQcnBGevPHXzKzlkhki8pmR1ZZFkHysrKyEOnr909QByDmuv09&#10;3hjB8yPy0K7CuIwxbuvTK8AYAG3jgDp6lGpZKUmcWJoK10ezafd5AxtZjgAb9nOcngHP4AY/Cu0t&#10;p3dRIY5FAfbgDLNlQSeOmA2PovfNeQaVesrAIXdgUB25YKSSQF6HGQNpwcheevPoumzoQoA5QDIZ&#10;gX6j5c8H0GD03cgZr1IS5rJs8erSlq+h1quQGY5yTt2KTx0JHXJP3fz/ADR/mZgqjdvJCoFwxB2g&#10;HLAYOcjjHyd+QYbd9kaMr7o40ySRsBCr1OSABx3woA9qtEBPlOVK5JJAwCDyPfoMkjgnB9Tur35j&#10;kcLO6ZTlCMisigbmeIMdgAKqgJGACAwYdeeSDgnFUw0aswCRsjEZ3MWjPD4TB4POflPJA4741XgO&#10;x4EYKu8qVCqGGNqkMeehVlwDx+Wc24hAXeoYIh3RKpG3DKylSAuSmMDA6AdKn3r3Kjbl/ryOvk09&#10;fFnhPWdAlmZnubE/YiQWit5l3lMNjK7WVM+5P0r4E1e6vLaW50W7ilCW9wyyypGSNyEqwI6jo3B6&#10;fhX3V4bvTZ3aSSyvGqAK0n+tXncGJHdcBhuUcAEE8gnwj41eGE07xik9jbMLPW4f7RR0TEBlY4lQ&#10;N0BJAc/9dPevmOLsC8VhKePp/FD3Zeaeq+53+8+78NM1p5dnFfJ8Qr06q9pDpacV71vNxs/keGSR&#10;W40bzYH8uMRLFuJDlhkA446kevsfroSWZh07T7naqxO2/hTmTOCOegH4ZqC+sT/ZtzDBCY5tpkIl&#10;/dxt5Y3HcCeDxjoD9KdpmpHUrCOFnY2dqn2eMM6FhIQrHavJI6df0r4K8b28lb7/API/bJSqOiq1&#10;KV4qbvfezWnrd7ehzmqTmad7lcRraRYd/vA+47H7pAx3X8B5nr3iBryyt7GBBAijypZCrM0p3Ddg&#10;gDGdyj2AzjmvX9Sgs47eeIpkTcMrHLPtGQTz24/L2rxi9j0+LX0OoXtnp+m7XczXEj+VEZdoXCIG&#10;YjCLyAcBc+uMquHqcyblvq16n0WV1cOqXPKD92zXolr67v8A4cy7a78ti6tu8mMt5IGMlgCSx/qe&#10;Dk9q8v8AEtyVkneR441vHKEuRsbZyjEZ9VJ7Yxyegr07WfEXgnRoLj7brEwgdjEslpYmSRmUN8pD&#10;MrYJIJGOAFzXyH401mLVGlm0fXklhiZwpmj8qQjPGT045PXPPbthUUYU1yb+p7+GqyxtR1IpxWln&#10;bRnK69r0mkXEswJkSSRo0i28DOWJIA9PbGe9fRX7G/gPUPG3ji68YahaFNK0uPdbyZGxnb5R16lQ&#10;GOT3ccV8eXVrd+JNWs/D9kHmnv7qKCaUMzOvmHYVXtyWA/AV+837Pnw40/4deANC8O2kamdbSKfU&#10;rhh+/klwzOuf95gT6lRjpx6GQ5d9ezG1Ve5HV9m9LI8Pj7Po5LkFqetequVPstLv/LzPozS7SOCC&#10;1hUv9ntozDAr/K6ruL7jxyXJPPocZrrYUMSszgjJxxuU9+mOTkBgMeprOtIhwDtZFfAyMl8ZO8Z9&#10;DwPQitIKREUYYxgkYwOSRgY56EHPp0ByDX7Jh6aprma2P41xtd1qju93r83+ZfjJZll3FQJCocAf&#10;KQc8Ef3RjHpx64q0sxfy1VVZnwy9DggDkDn7pGMnHSs53KDypM9GbfnaqllUMBjvlFGSce3q1ZVj&#10;CShjtk5jzwpbqCfz6Zz8w+ldrnynkulz6/caB3KwWKMuVcEkcH1OAOSfbp8oratYCEG9mj+U+Y5G&#10;WJJ6IOeTknp1KYHNYlhCqqu+Ni2MrtYooxtJ46emBwAW56V09sRtBIBmLDCuBG4LAEhcDOAq4PGQ&#10;I2PzYrehFyleR5uNm4LkX3/0yVAqqokij2JEQpVTKhJBG/d3ADOOOSJD0LhaklTyAdshduIEmba7&#10;MXcAKo5wScDONoKdAqKhjSWR3EVuszFmWaWSWIxNbxlc7CDjMjbTwPuh1JCgKDKsM6TzXH2gs80f&#10;yxMnmpaIq4TaBj5Qd2Sfmdm4ICgH1orojwpvW8mI4EfmM22QkDAhJG98hSoXIyBtVcZJI3AkAkEa&#10;WT5zE+4vlZAD5RLEqhYscgD5WGcYCxyMN2AKcLF5EQyTPEUHloRtYpuOPlA4DjHGd2GfAz1NdC4e&#10;VNySziQRzSRRnYhf5FXJBUk4QlcHYiKZCwADqPMpXktAnKm42i7v/hieFcr5jniIqfPA8jyFKlxu&#10;XqpCsQB1USj5izO4nmu4jbDz0Edu1szXIuCpgSNAygPn5DuJHC4DAHnHXIluGaaey062kvdhMKR2&#10;85gtbKTrLNc3JyfMLScKoeQbQ+ATkXV0pbiRbnVmivHgk8y2gwVsrPbnG2MnDsuSBI4zzwF6HRzb&#10;VonOqcFrP7upBb3sl0C2nQiaFpixv5Zfs1im44cwNsLTbQCQ33HZz8wAAWOaBYS0sk811cAbA85U&#10;iFfvFUVVAAJ2nJBJ454xW1cvsGeGxwecKo+bvj6fpWBMzXEhGSVGQXcYHHGemMDA6Vy1ZpaPc78L&#10;HmfNa0TP2eaxdgwIJCBsk87zwcdgScexrZtbXaVZlVerMNvGR1x+Iz+tJDHuYFRkKN2OFBB479fv&#10;Y/H0rXijJUlXKYYAt3GCDjnsRwfr7VlRpRvzSOjE4l25Y6D40CrnHzdTjPJH4erE496mCsMoCq/L&#10;jdkswzknqTzlgc/7VCADIIJUEAEsWzhcEk+/649cinAYVdxB+UZYrgZ9T6f0wK9CMbLU8iUnKV2M&#10;YZJYYPVd3BxyQefpjP49eK8/8eYOh3pchU8rG5vmUbht9TjG4enUdecd/u3JxjBAOC2ThsYBOevP&#10;9PeuA8dq8mh3KglmeAghQGJ+XLYXHfP19utY13ZNnZg0/apI/ik/4K+WwPiq/nwqiSaQ7gnru2ks&#10;ewAIORzxnvn+WXx5Ysl9cuQDy2I2+Qnc5IJPrlkI47dTkV/W9/wVu0pLjxBelhgxOVjIXLOHL7sY&#10;7HHH0PPFfyzfEbSEe/uQfm25VSTkYJOP4c5O4demOPbwasmp+/qn/wAA+2y+mnQ16ff8mfJOpWWz&#10;cDHsbJZQRjqG4yRjsD9Aa801e1fzkk4KqOGBIBPrnvwBxXuetWJaSaORNvlyEBXBw+TnHt93jnua&#10;8412wLQfKA67WdgvsQNoOOp5P4HnoD3YStFTUZbHDi6cq0Lx6dzzMhgRLux8h3PvLrx7A9xj866L&#10;Q57h2TasZdXHlCRQYosZyxzxnaAfwNYMihI1zjJOCu4puPfI/P8AOtHR182dI/mKNJsC78GXnGGz&#10;27V7kXZtnzGJpRla+j/RHumg3VobGSS8uXtoZGYXl8zM82ouCT5MJ52qx2j8T0A56CIXCpb2k9oL&#10;S3fLW9tAxLyZL/NO3UKSEJHqewNcxobA2wuXjS5MJMl7ezoqWWnqGzthyfvYBGcZ645OK6qWKe30&#10;1dbhtLuHSrrUjA13cMputWlALbIkHzbASM88bR0yM6NJWfR/8Ah8sElHtv8AdY73SL5bU+X9qSBx&#10;bCG6uVVfstohLxpHGem5VDnI6eb7mu3aOGfSFtQ9zGiXKjStHjRBNfgsP307kAleFOMcgjp1ryaw&#10;uYGa2jjtoRMty729or7rW0yMtPOT1JLEhT1IyRyc+kWM7G1nnnuZ7lZ5F82eNCs2oSLkCFAT0DHu&#10;PStqelk1ov6ZpCcVbk9Ldxl9ei3MxZ43kuWW2uLqA71lKny1igAHAySCRjjHoKo3ttdwtBZW7pKU&#10;hEsES7BbacNrEyTOer8jJbJJPTgmnzCUQsHSSGWCISoCWa308FVYHjguQEBP+znkg1Ss3SOydkee&#10;YNNssbZUDyahJvU75W7BMuQQTk8deiSjUi0l5kJezb5tEk/lslb5sc0EfmM00ksFpJGC9y/zXupH&#10;jcIh2XOQAP4R16GuTu1juLy5he1W2fBktbGNv9FizhlMznPOTn5j1z6Vu3FxPdSzT3LygpIY2vtu&#10;YLcDClLZScM2CPmPp16msF4JpGwXlMdwN8EEBAubnlkzMc5UkhuDztOeN2aceVxtf+rhB1ZTfNo7&#10;f5CtIrFHachUh+zG8ZSVHIBSNDjJxtA/D1zWHbTSpd3MgF2yXA2oEA+2zHBAU4I6qoHP5cVr30/k&#10;xyQyy26XrYSKSMjyNOiMY4Tk5kOQM9Rz3pvyTQtJBJNFGkKhXZP9LujnJCg9ASFHPqBjiopaKxu+&#10;XXld7ba+b6lDZeStNaRwx3cscW9xE5ggtyPmBlkC9AQM9/pVeJLmG1L+cu1iGvbxQPL3AjasK+nP&#10;bPfnmte3aRbIDCtNI7ILGNgSXPH749fQY9/zlmVN22f7P8sIkMkx/wBDhZcsixxj+LG08dyOwqkm&#10;3ZOy6f16HM4JNqX/AA3U5zV9N0a4vrVNWt2+xy2BNvHFsSefJOJDkHk7W68884xiuC8T2Ol6LY6P&#10;NpYkjie9zJEoIkfk5P8A3zuJ9hjvzo+PY9SSWHVLCeeUxI1xd3E2A8j7mbKp2HT0H5ViNrul+JfC&#10;9vZyyTpqVg0kqoVxv+7lmI4HC+/3ffjWDjTjdrVnM5Tu4dLr80/8z0m0iSWKC5XDbgJE3yhEtI1G&#10;SW4xu2gnPfHarM80MwMUk2yzOFnOCLm7ZSNygZPGScYz/SvIdF8RXMVuljqrF41UyxyKuEG1WCA5&#10;7c549Djpz2+i3y3UTAmOWSKMTvcZ8xLaPA+6PU4PB9KFypcyW51KpGnUav7zt/X3G6lvaiQvchYZ&#10;VIa108gkouFZTL0OW4GCeM8dcVjTR25WZ5rgeRJK5nvGIkmuHALbI+AcZYcc9Ogqe/ls4szKcTzY&#10;GW5nuBzghewO4cfT04zJbySQkRxRMsYCRqqhYbTJ2l2wB04/Be2KiXLfmtpp/wAEzqtt+5337/1c&#10;xby3aVgIygEaiZAfljt1OMEnPXgD8+lXoPJjBhMc0ls025VDDzLkqQQCTxjIUHOPX0qPEa/ZophJ&#10;I00W5U4JkO7Ikfnhen5jitZIo/s7mRlkneImRnBMdsMYCL0G7qOp6856iFFKV5PR/wDAJptzgoJ2&#10;/rcllkj2AkxLIFwH2Yt7Vc9AOhIBx6jOfSn6Lpeo63LPa6NbXd1DbwG6vXtoWlvp0T7/AMo5CjJJ&#10;9k6jBrIN0jWp3xOjcRQ2oBLscfekOPX15wD+HWeF/F2ueDbTWBoF/Ba3HiDTH0nVr9IUeSG2kB8x&#10;IXI3KeuSvUcGtK0ZKK9l8/kbSqRqzVO19Hp5/wBbmFcW80zs7LD5htgLO13IwsVYDMkp6F/mIxnv&#10;+NZkkaQ2z2b71kaVZGIYs13JgKoI4GOWxgfX30I3zCFRZAsm2NSzfvbzBJ3Z67eTn1xz0FVro+aB&#10;GoCT4AuJg5VIFCjIXgZOB9T6Z5Oel02ghVlrGWjS/UwjGsEYmnfzcko0mdyRhiMBMdeMdutayRxP&#10;ahVUxJKzmO2VRH5wAJ3yHnI+Xp168HgVQmsLgBCQrNHH5tvB/Gg5yz9skg844GPqbsCh/OSaR/LB&#10;P2m4LbTOB8uyHse3Ttj60RWzS6GTXvuy0f5GZAheV52kSTa4QSEZSJTxiMZ9R156CthE8xJYIosL&#10;KcRoRuubjBDDzOOmVJz/ALWO4NZM5uBd2vlI0EcZz5ZIxaqQCrP6nv0zwK6GwCtJNMt2yQuhSWZ2&#10;2y3GWVCkYxwCMnH90dslau8YxaluOLjGHNFO/XzNjTXEMiBkWfywY3DMFt4BgkbgeD0A/SqvjmXz&#10;dBicKWlM+WmUHaNuMKBxnvx71DDIwZLZoUULi5ltovmXLYbEh4/Hkdaua8guLFo5mid4omcxxDNt&#10;APmGWPttXHH4HOQactmrpENzcHBu3c8Ua4EqMmN8rMYVCHKsRgZB64/+tUcT8kg5SFow7AZDctgH&#10;nsVB/KkeTyJDgh2VnG9FwqEEgc/h+NMCyOJJInyp2lyCCQeCOOpwMZ785qV7ivMybVlT1sX2YXUk&#10;jGRERS3zZIbJxjH5HirNuhjtpGRR50SLGN4y+Wzggd8HHH58VSAB3ooLM7MyhCAqjrkbeMDHbHet&#10;W2DlJbyPPlwohkRn5diTjA7549Tz19Fa6Tb17GkZpU3btr/X3GZOZVmlBU8OcBiNyjsOR26fhRVg&#10;SGfMrAFnYlj5gUZyQeDRVOSTtf8AD/giilyrVnA3geea4R3tybmPzdSKDyyqK6MsSJwpHy5AGD0q&#10;n5txd2ksxlaNRCGvZGcZhhTCpFt5K7sA47nGai3SRzF1hiZcbrtcEl3ByFGT+eKkeFbeURTzv5gV&#10;Lm42YZdzfMkQHUdcE4IGDjPBrLlTlyxM29ebb/hlf8S4kF1evbwRubaeThpZYyIreEZAYSEggEZ6&#10;9qmmi2RhoQTNJG1tZBmWPy4idrykcqwcAjJxjPWoJnvbma5lvbhJMo0t9eyyYkijXKpApQjGRt4w&#10;eQPrU1xPKzytcIsH2mI3kgGA8FuiN5VtGxGPm37hnBOM5POW+ZpTXf7wp2kmntbf0/zHRy2M9sjr&#10;hWiC2Wn2+MI5kQ+bME64UhMkdS/BGKJlWCJIIIsW0Ykjtl4U38zDaZACNyhcZ68Y96SygijsVLEf&#10;2jcK0MaFSo061KgvKQRtLvuITByPLbgkrhYba8EkEUULTTujfZRMq4gtwrJJJjOc9wc8En2pu3O1&#10;FblTSdFRT1T/AFL13PEEtYYbOFodO/0GELIXk1O7KqTKzcNhOcDgdAQMk1NKLdYY/Muh5K3SpegW&#10;iRSXUpb/AFKSE7Sq4Gc9MEk1PNCwWCf7Tbsly2zTY4Yln+you0tLJg7gxwPmfOcn0xVVZfNCtBc3&#10;EkEE+NKJCxNJPIR51wqjhhlQQcDovQ0Oaj5f0iYPnkkt11/InnjWJES9+0rPIq3mqoEeP7Km8CO3&#10;QHhQRt4Qnlh06VWjlhuLi5gij+wRyb5bySUmNLaFUzHCuVPLYwqt1JUEgZYPd7G3kNu6G6+yFmg3&#10;sZzqFyOEDKGxhT1CH2HXIJJTAZPtBhbybpBd43MZppFyIgQf4R0XHGOe1E23LmNHPmg6beun3f0y&#10;SwiilEjPaS291dD7PpYm1DyYrKJTiSQoQAQF3HK7Tk5zjirLsblrdrRlUCMW2lxtMqEZxvmfPQkh&#10;mw3TJGe9XrMSTTzw3DW1veyWxvdRvLhreK0ggaMMI0jYbC+TkKh3ZAUKTwc5lt5xP9jIs7rbuuVY&#10;JHHZWikBTz84dtpJG0D5uozRZtW2M4xUVZ6xTY+6dFaIRStdWlvcLG3mKXS+uGxubH3tq/MMjPGO&#10;BkCtWUfuryO6AhSKVbjXNQbyi15I+GhtrdiOo3qSvB+VuchVqnaSzj7BJbRnbdhrPQrS9lUraqwc&#10;yXcmwBQcZwVYAHBIwMVpG6eF0g05FvLO11H7LYuG88azfELGZXU8yICwVQ393rkkUuZxi6ZsnGpN&#10;Ra0XT0K0lzJcQz3GyW2u75z9pe3QJHpdmXXMYxyNxVsg8EEKc7sVpQMJxbtb3SWl8UGkaRG4MUth&#10;aBGWe7ddpw7EykEEj5ZOD8u3Jkjjhu9SgnvJGjtoBNqU0HmqssyIClvGcZG5lVcNkZrUnkubgzMt&#10;rBZ3VxZjUNUa3MqLotkAESGIMWy0vmclRgZXjBKgvdXemiJnCKTk/wAPyJJb6O0ayaytFfT7HUml&#10;061vIN0uuzbiryyBRzHkABl+XHGM7mMaC2SUy38QlW0uxc3TQxxu2qXjZMVtuwPkQkszLtb90xx0&#10;JuSXNzcT2hs44reW8txHbxtM4fQbNeDcOIlLBjuL+ZEC3yk4ZiuKlxC3/EqWCFLxHWS30IwI5Ory&#10;bmee+lcDJKk4DHGAFGDhiWnGN769uho+SEXeO9uv9ehuGBpfPsH1iQfbQ994m1JY4714okwUtfNV&#10;cuTuC4yCCgB6VlaVC8x1FNOSWwtLnT5Z3e4DTy6RpkZVpWdgflO3OZABJgE5zyK73ltJbrDHFdS6&#10;c9zvckxwT6xdLHgqWH+sVQV2sDvxzwW3VqafPFbWuqxSl2d4PtPimR5IjA0YUrBYqwBMjBmizGo3&#10;hoUBAAYGYxb9Qcoyso6flbujOsrqGF45LAJJcXEUtv4faUuUsIVj/e3UhIILFA+GyCu7J6c1z/Z6&#10;W8IS1cwxTEaXpqQkS6tdPIoMzYwSkahvnHO7aMDcWXSZrm9nvIptumz3FosmpymIyw6La/IqxKAR&#10;liNvI+c7STyWNZrTNDdW8lpIftUiZ01neVJNHtUxI0zccM/UNxkbiQMrlNRUkn6A5zin2TV/W6JL&#10;g2EK3Mf9mXE8NpGt3qOJsfbLxUYKqA5wBnscEyHhQOZ7y21K3me2vbyTTZmt/P164mt2tv7MV2bN&#10;m3GVLBfLZMFQJMcfMKpySi8nhNvObGZWFrpiS3Kw28rt8zXBLbQijMmXYlfujIPW/dtY3em2lyWl&#10;gs9NgNnO8dyW/wCElvNxbADkKu1WRFUcHy1bgviqceZ3fQTSbcH577/1+pCHWeeCOJpbO9a2ItUJ&#10;ZIbKIlTLJ5YUbSyAZHORg88iksFu726059Lgjv7i6Y2nhy1IWRbJI08uS7lXcM/MHfeSAvOeFAou&#10;hDNe6iqytqsiiManqFsZZneR4yRaIT82UVdrAZ+7xxioLa3kBuIFvnsRNbqmr3UO7GnQO27yosbS&#10;GYEAkYPBBHUBqnKOi7Ewg+ZTaukvu0Na5iMFtCt3HcrpFtGZ7J7axZ4vFN6ZCrSuwIPlglh5i5Uq&#10;21lYkg5XkxzRtdNEZLa0uVbVJmkFq99cOpWG3hZicBdpzgEEbs9BieOKYRW32KJZ5YYiui2kyGaP&#10;Tosb2ujg5yQHYP0JYk9zTLdLi0S2mgZLl7a6D6LEitNa6jdO/M0qkhii4bI6fdwOuIWqlb/gkySc&#10;kl13/wCB5Fi7aGewurK5QJLBE2peKLq2VFkiAXEVkki5+ZgQpjyRyBggEVLZ2RnkjZbk6dqN9ZGN&#10;I44t0eh6eEzJKWLDDNGG+U87ScckAZcEcTWt2dQYXEVpqYaBYnxc69fSmPMeOQyIz7j3AUgAhsFl&#10;zdrJFcrPDNNPNcLLrWprHgykpv8AsgUdQdm0Nwcg5wASBrmf3GsbxXMnZr5/1bQUWVl5IuUjE0Bu&#10;5bfSbBkM17L63UmW5BADZGdrE+hqpaajZra2dhJpKvY2N+93FDcWpP8Aat0xXat0oxujDd0O4qx5&#10;zzWpI969veSgWovLkML63trfypNCt4CiICB8oLgqAyA5y2cE1RgjvoLywjglsp9TuLKN44ju36TF&#10;tU/aZAR8jFGLhxkHk570oxa0t6GlWXtG3Fa/dv0Lz3+omDWrbxBJci0uLxZtV1O0RdQk1EJkw2cZ&#10;IVWRWZAVVg67QSRgmsVTPfme4SGK0vLqNhPtgPlaJbjbhQxIyWAxkDceOBuwdNpIQbeW2S3u7e1m&#10;26dpEpac3twWBe4kVMMA2GO9eDkDILFqikudMt447a8d1s7WRbnWLmAqLvVruTc0cCkDAWJMqG2l&#10;V3PkEnBcW78rMeVRacpar+mSTXc8mlWYigWAhmj0GKGAW9zdHzAHupmBy6rkEN97IHJ2nEbCaeNZ&#10;45Yb6FZVFpa3B8869Pu3ySSf8tDGu5vmByN3NRyz3F0Lq/EpmSK2T+1mOIjokBdI4YlDNgOzFVyh&#10;9Ae9EEshmWNEPmyfLBdNKyDTbZRte4Lc7edw3jhuO/Jdrvle9xqzScdktfy/T8QC3MlvdWc7wqYy&#10;LnX7kvuLLl/Ls4jtwy5IwmAx25PStB2kigtGdVt77U4PssCjf9k0ezbAYkN1G1nwGO4bs5FMt5dP&#10;uHiWUGfSbOSS0067hhZ7jXb0Bf3sp2kuq74ySvzAY6ZqvrNvHZmG2lu0MYK3OrXMkv2h7ksiOINw&#10;yG2syZxyCcHpiqk7JqW5NJQiuZvRaPv3KunJdebBdwJ9ria/W10S3a3DQ3MzOFkdstglVIbBztLD&#10;BBGaUXkZs5fthUQ2kixykTCG4vbok4CA5LRx/Ocdgx+YblqG0fT/AN/BcyNDcTg+WsYZLSwQupDs&#10;D1XaWPHIwOavqqW4VNPY3E093JZ6PGkcd0L1WG2W4w3YiMdt3p03VLmk7Jb2/IuLpOtKUW938l3+&#10;Zaso7Np7mOC6+2X9zbtPqetrNAbeziwMxxzdd+0bWWQbgWKjnIWvHcMstsbfTmdZVY+Ho7iSO3WC&#10;IBv9JuAqrkkjcNwA7ggUtxNDZWJtfskUeh2rqJLhZI7iXWbnGGQzKASucHy25XAHXox47i1+2W8s&#10;kVje3W2PxBco217aJ2WT7KoxkEEKpUYPy4zxSUW2mzF1FyJQWjTvf5Dp4LJrVdkMjafp9zFHfaqI&#10;zHNqE7ozNGGLZCYjbarA55OeCKdOJIo7YR3btqN5ZG6mmgnBh0K1w4VA3GJCoxtHzYCgHccixqcV&#10;2o0+eURRyyxrb6RpKxt5KxKpUT3JOCHPLAP1LMQMYzReGGHTkuHiD6TbTkXd8Xic6neHzGjt1LHB&#10;QKpyp6gk9s00+Xz1NJRqRUVF6WRXdVnuoRbW8VwDKZdLsJW8+bCrzNKuQM4QE5KgDuBzWhJJYQ2D&#10;75bUW9jMbicRqoudfumCggMPmMS7hyD8vljqTg5SzPFPdw3RtY57q2Vb7UFjLy2cJG0W4XGDlcLj&#10;I9AcZxi3UkAISG2jaTyjNp9rtMZtYNzKpdSR12sfm55qVZ6BKpyVGvl3/rUZqM081zfyTCMBohc3&#10;rbAsmwODHbRgAY44KjoOo4IrA1S9mCgwnFxK0nlwEljaRuf7x43Hr/Mdqhk1JXL7YjPJ5eyGJR5g&#10;MrDCu5/uqcDAwTjr1pNM0q+mlL3xa7mYypJGzEJEY1Lnk5HRenf0PFNxTtD0M7yacqfX9Rmk6OUm&#10;tZ7qOeRTKY5HRWkjj3ABRgY6nk4ruY7GGSSe1tX8+NrRcnyNquVchyQGB285APpyTnFaek2cZ8qV&#10;Q6W8V9bx3MiRkGLzFYLg7SMYUn2754BLYPDMtube4j8myvI5Z7MiKWZQ8hQq20/IGKrkj5gBjsaE&#10;rSXzNEk4p3vqrr+vQQLHFMs0rxS+Tqr2t2pjCq++EYk2hs4PoefXGa0Y3jFoJI4JJRF4cIn85kKp&#10;suAQoADfKFAxkZ+Y47VMtoZTFMm3beXlqZiYnUsrxLIHZhGBnGUPYlepHRZUGIGUzwRNpuoW8sQk&#10;ldgYTHKMxg/IATgnqf8AgOQ3aMXJbr/IbfvxcXo7fn1/rsb8NrG1zfBIoYLc3mjXiNqFzFbylDmT&#10;91uj3HIC8D5iCFOc1VbbPftaiS5KS6nqunxCNTNbeVIhk3O2MAFlGAo+UYx1zWSszSpM03lSLaaP&#10;YTkMQzh1mQM0fzbQoycHnpnnHHYxiCLWo2uNPihitfHgmmspJYC6LPFmQybZN6grKSxQkOxwNoUZ&#10;SSvddV+Ohqpe0hzNJv8A4H9Mr6fqQnlXU9Ot7yGWDTdNv1Mas6yPazCAv02g9DgfKCy7jwKCs1w0&#10;MFpZ/aZJNUvlSExefGXmV7hVJZT5g8w5CkbcsoCfNxnzQS2VvcFreSK2Njf2LR20VvbTyrayq8cO&#10;CwOMSblUnGWOTk87qi3l1q61W3a0tbG08SaXbTSloUnIuLVIJB5YYAqx8s7hzk4J5q4wU3a4Kqqb&#10;dl/Vv+CclaOdSe+N5LMBLZafeyyeQo85opBEpKlCQNsQCgc/KQcYOd+9ghF9Hptlm5sv+EplZrqJ&#10;3dmR4X3biIxuwdnXpzxTi0dtaCW2ghja0sLqzAmm8kNJp9yL1F2QTBtwSUhUyAfPXc2eaSK6e5vY&#10;TaNcQW0/iu3D6gfMaWxFxbMrEgNtO4RkgjHLHA71k/iuv62Is4XjFaevlr+ZzsEkMNgm7E00XhjV&#10;NLto+J4I1DyLuCmMkN852sMAHDADGar6gPtct0y3NufIt9KWQxAyTxsqLGGA8sBiCoGDypHXqa6h&#10;LWa3hsbTRfKnvoPD+oz3crQyw3qhncylmeQKB5bLgLhuBzzisSzSQ2+pybIZ9OsNLsLiUrK4jhie&#10;6t0Qv8wDvudE9Mtye9OMXJJ097/8ETTilOpprZ/gRGW5JgNtPdQWEeralZWpld3vJcxxmZXATCks&#10;oJQH5d3fPOQ0czabaS2zyI994fZryNIXfyniugFi8xhgtgZYg5+bpwcdBdWUlt4jv5Lfy4bey8V3&#10;FmkLBBBtaGRz5Q35dgu3cTznPPANZOnv9nSRntLaR7jQJpbKTKymNIrr55T8xUMRvUjpgnnjNK7l&#10;Fcq1/wCAN80WlJ9Vt2urP8EXtLeCZxPetLK8euQkCNSspJiVV+QAAJzj5SCT68UsdwkYsLhrGWdL&#10;6x1Ym0xNPHFvBVXEm4E8sSTzgseOKo7vLmuLhGN2YodMvZGWKNlgZnjQDByHLbskkcZLEAAmtqyk&#10;mg32FjPp0Ykk1OzLNZ2ct4yyodsPnlGZkbcxYRkbdrlWViCC2l2EU/aRiul/0Zhy2IjCyyMyONEs&#10;p4Nsgl85ElMcuQ0g+ZihPtkZHWpQtk2oRIkckqt4tYJL8tq4ikJUFsNtXeANvP8AH1GcVoXM3kaZ&#10;GE8k/a/CiRJPbIkkwlNwzFyrKwXADrkEHIGDyDWXeCW3vY4WUzH7RpuozWiWrLJb+fHE4ZmKYJ/e&#10;EjHGJMkkEGtIzs32/wCCKtVjFKCunb9LFx4rUWtpIIJpP9D1GAhNpeZV+eBYlLlcL8u/gcEHPaq7&#10;XVlJZxrLPc23nrYaiJIhHdLN5YkRpiewIL4IyOeAeSNPTb+xjNjaTTzwL9u1k/aGhLvCJrRYlTas&#10;XzIWAQntknB5JzTZvLAz3GoC1+zeFk2vL9pllQxzkJAEWJmJRV3AqD97BwQcZtu3MWuXfy1+9fpc&#10;1YYfPkit4pPKhm8Q3VuzoYFmUyRPMFY5GC5Tdt7bz+BZ2cSWsjXIWXzfD9xCpRbeNYpLd0ZiWYgM&#10;VwgJB4D8AkDKTTB5rqG0nkkF1r9nPc3aSSwzyCYIzllUZXqu4KdoOBkkZpFsbsxvG8puLf7ddWED&#10;hHhUHyt7qMoWYH92OPlyy04NyTctyOeSnfdP9diP7Xbw3M0qyTXd/qB0+7t2lihmiLDglpHb++Ao&#10;JB+8V2gVas1ij1O2sLxo/IFzqWmtA6KggLxO24zO+CQdzY4xxndnAkto3Fpcva+bdyDw7bJLcMk0&#10;J09o7p5EzMD8p2qvrkZyPS7bxPa6jLc3mpl5G1VfNW/imeeRL6ArcSMcYKoeM8El85PY95NfNfoa&#10;U6inDnWrfTz7oxJruSSJUWNZrMaRAXkDLG2+2kAmk3JtwpCKcnPA6HODLcmESfZtPS4up4NafYl0&#10;g/dCa3j3EMHJLEk9OODjIxiaaTzktfs6qkcfhy8a5Bje4MzRv5alYtnIzk5AP3shQMkaX2S8t4mE&#10;4Rr+41XTbhZWiYSputFYS7uF4LBSWJ+ZfrSnduNx1Kr9i49Y/wCSMzTXk1RL1p9tnBAlgsCCAPIr&#10;JcCOWRML97agODnnng4NXXWGO+urKK3nfyZbyxtQ0BKRGN1mUM+0DJbj0BPU9ay5obRLW2a2SVBD&#10;bzmExIC7Sx3HnJ5yt/BjAxn/AJZjHU537FtS1i52zxSW0P8AaBaeFYkWSV54T8xC/eZih64+57Va&#10;Ub3l/WxnzNcsIrTRp9f+HuRWjzRXUjRqEkl1OSCRhMVh2XMEbtlVYZ53D1J6AdpYoXhdbmRpWkEF&#10;hND9ptS6uXBhdcfMMAjGD1y2cClSWS3gtTBHHB9ihhv5DNOxMbWsjxZfbkMTujBDcZY7uM01rURR&#10;RTXG5oXW7WBQrPJH5Z+0IAcYA+YAEYGMd+TPa3Qrlk4tra1/P+np9xrXk8MTCPULeH7XbWUtkpjk&#10;S2v4Ps04WNp4h1wshyOfvgZ4Wobh0X7JFaRrCk/2iOG7ZD9p+RvtPzITt+ZpjjcDnYQMYxTJb2OO&#10;6a8VbYvqM22eKabyZJTPbh3kkVWD53KXHqSO3R1pNBemSCSdy808KQKYluDcPPCse8u2PLUOGGen&#10;AJxT5Yy+IpSgqXI+rfy0JLazEd5JDKXiQ3DTu4J2wh3D8nj+/k9ic9c1/Ur/AMG+H7VbeGPE/jv9&#10;m/W/E98ml+MWh8W+F/D8ZzZ3V7YnM8tmSQEukUpJESy7sMvPJr+Xe3jjmEkVxcy2sqwRyXc8vmtb&#10;FfLCjc+AwDsijBxkso44r6k/Yp+N0nwN+Pnws+Jpnmit9E8Wafcag9mojuksbiSKG7w4AKlY5Cfv&#10;Z3Qc46nShCMubDS+Gat9+z+TCpUacaj0lH3vudn+B/qBaFqUNzJazi6lmZ5hqwurVXvrrU/IjZf7&#10;b09Musd3Cg2XlkXAJBO1vmWvWtN1SzbyQk1pbXFvCtzbTQQqunst0T/pNtGX3Gwu96rLFtBhmHBA&#10;CMPiP4T+PtJ8U+HtG1vw9rh17S9QtLfxTbXunz295LOjJG0Or6fLEXPmxrLGl3bAqSUII4U19N+H&#10;9ftRbRK3lx+VH9tS/sLkXGn2rTwyM1/bxsxL2V2qotxAEPkyzOSqc7fmX7rcZbp6nvyj7aK5HeL2&#10;t6fl/Xke92ks0smYhcrMpVJLed0LRN8jm1ZjHkvEu57eTcFffjJHToLS8JCy75JImYtLL5kaMuCV&#10;cuONm0owlUcq5z0zjzrSrjY3kCAh4TFZvZahIr3VqgkBXTZzsU7owVks7lj85BBbJO7qLK5mdGYk&#10;RPAxaNvNM7zNGApnZEkB8xC225hH3jgpnIz1U2oq3Q8+rTevN/X9f15dooYh1IXYjBFG0SBlIUfM&#10;OMchjxxwp45FYGoaUjdYsxyja/lpkqWyfTOOgJ9xxnFXoXKbSYFUSMbO3KI7nb1XMgdgQ+WdZeAo&#10;facHrpDy2jZ90bqyq5cfNGVCgk8ngcZzz1Xk4qq1CNeNpbnPTrToT5oPQ8h1nwlBdRyHyUIVSV24&#10;LNjgnGMA8546AfTPz744+E8Gq2d1BLYh45bcqQ8ZddxAAyMcjO3gHnAHBwa+z5rdQxDKPII4YfKY&#10;wVG1WP3u5Ppjv1rG1HR4Z0c4G04UbgFU5DY9s9856c5FeDicsTTUdj6LBZzZpT37/wBdT8VNX8N+&#10;IP2fvGL+LfDQu5fD11OYNY0V4zJDOhLBSo3EBl3Z3ZAyM9q+5fAPi3RPHujWGuaHMJo5gI5oLi5i&#10;M1mwUoySJIuBtG05weBwe9elfEn4V6b4i0y9tpLVSsgIw0KkxgjKnqCfvZGOOSc9q/Oi0j8Qfs7+&#10;O7m9tftcnhjU5ja6rpxZliVDIBvALbd8eNwwSCcdRivPoVJYaawtf4Hs+3l6an0Famswp/WsK/3i&#10;tp/N/wAE/QtLAFCqKuMA5aFARg/MBtA5yDgDg9MZxUT6eR+8EbiMygbksgXbg52yswGcFvl3AHAz&#10;jFaXhXXNJ8YaLZ65pU63NhfxiVHOHMTSAsytno67yOzYIP133sUd3dxEhdQCwMaSkD5tzKpJUKDz&#10;nj5xgHBA65Qkm31R5TlGUeZI5vTbZhPEFZnBYNJtYMsoOBwuMA4UN298da9t8R276h4D1u3E3lPJ&#10;oNxI8sUCfvNqFigTkYbbgkjgN3rzuzswtwoZlkxgbphuOBkemMgEjP8As9u3ceNdZ/sH4deINSkC&#10;zSWmkywojsQp88CAFipBAzJk4I9u1aw/hVIy6o8/FXdai4rXmX9fefL+hX6XCxhWUKRuRQAVxgMO&#10;foV/IfSuxkDOgJXOACwJ3Fic9QOD9PpXj/hq8KLGrsCVGwEHgsI8d+uSByTnH6+sWdyGURHaY5AX&#10;VZcbW5Ix16/LyCPT1riormV0fT1lKM2raFC4tMGYO+TIVYuq5MjAZDDcRyTGuGwdwJB5PzV4rj7P&#10;JG8bvDtQ7pI0ZUDHKv8AKCuQQxV4mP8AGcE8E9FLCjARtGq4l3mSFi27IDYY9OMKAQMHJJznnEvL&#10;cAycxkkBhGZSjnG4bsDGMEY3gnazEMBkbtvehZrY52pS2Wh6b4e1aX9zIpeJYXaaKVbcyNZQAMhO&#10;AF86BiUUoSSvlnAAyT6LbzLA0bOUsjDaNPBD5fniKMBt0sHI8215R2iJ3IQCOgYfNukySaXPlTcE&#10;OGGyG5WCSFuMMMDbypbchLBwTg5r1DQtXt/szGKVVgDJdnTrR/srRO20vd6aUAO88+bbFsAt0GWW&#10;u7D1dU2ePi8K17yW/wDX5/1vf2C2kAYbA0YiXfHtTzLXy8KQ6Nj50wBhskoz45AwdloYriEwzwrJ&#10;DKqBonVXXnGAexxnORkfLx2rgbK9hMhjtmt9sjS3UKWcTSRX5Xa32q0ZcKHJ3CW33ZYAkGunsbtH&#10;WMRyoMxNcKyhjbshdsPGzA/ISGZk35iyvYjPo0+SUWn1PBrU6ifOtGv6v39P8zxnxf4JuNHuV1LT&#10;4pptPuJd0zRru+ygkAFgrAt6dCMkdxmubsZt5Cbm2Kdj4UhhkKpGM5OBk59/UcfT8ckNzGsckYZJ&#10;FC7WImB3ICA5UsvKhTuPByO558e8U+DW0yYX+nxI9g5Dzw4ZpbVuAR34ILHIGQwJwcmvBx2XSwj9&#10;vQ1p7tdv+AfY5Nn0cSlg8f8AxPsy7+T8+3f135d4fNUbcFgOD0Cgndwfrk+vSs6azKsj7CRA6yxb&#10;VP7lm2oxHUc5wePmHBB61sWUqTxo6SLJvXdGpVjtz06+uM/8CGe4q3JAWjB29jnjbuG5z393Gcdk&#10;HfOfPUVZSX9bH0M6lnyso2EisiBg0LkvKsUS5lQFwzSRLxuX94odCCAZMehrUEQ2oVEcTCPzisZS&#10;C3AVSztGCFyvUFME5BJB5zQijZXQK8wwwl3wuSMgglww+UNwpyc71Ug9DW7abCsSmYyKcyRPAWhk&#10;kKhiWQPgiVAGzGwO7HHqeiEVO0X3OGvL2Scl/X9f11M/7LksFZjsLIUxlCDz6YKk8Dqy+nAJadGz&#10;IzbkWKV1jXLBQgGflf2+bhuMHnnFdKqqY/3fMTHzStuu/cX2HzIlJUZH8aAEk7iAeQboswwFxFg+&#10;WrNME3EtGFLEKc8qeuwr1QHNaKgtWjz62M013OKnsdkeMOSwVXChcMMY/wCBez+5POc1jXenh4yq&#10;g72GF2KpZhtOBgc7s8ZPXI74x6k9hE0KtEA6lEkhaNd6iPaCBt7oACSOMHv1Bw7rTOHLiMHLAMo+&#10;/kNt3EdcHODnjgVlWoySVkKji6cnZM8Z1HS45EKhl2nYpyoZwCWwQByB8xJBxuCdzgHgdS0qIMXE&#10;IGQCFKkKFJBwWAB/EEe1fQN5p6kOUVQFGcufvnO3GBxkYOM/3fwrg9Y00BABGrjnKuOGAKkqBnle&#10;GyDxyePmBrz8TStHQ9jB4h8+nl+R4kYnRgGyo2k/KMSOQCAOwDZAPHJHvmtCEMu0xiQnaWLYWQsw&#10;ByRwR+B4yeccMOhuNNyXWSNEdgA8sjfM5OMEn15GPYVnR22yTkvKudhAOCMA4P16ZHGdprmjFqdj&#10;uunFtf1sa9lI4XKGMxR7o3Uf6lU4j4B6oS+MYOBt4x19B0u8bCqRuCkAqwyygggknnByFI9eeARz&#10;wVq0atvKqsh+Y+WgYAAnLIMDIOeVHdRntnpdNkjXlRI21SPMlOCBkDAPBK5Ld+pxk9vRo1JXscVa&#10;laOqPSLaeR41bPAUAAKpwST8pBHYKQMdec9sa8E29QWDAM/O9SCygjlc/Vj35JzjrWBZyBtsrBQ6&#10;jexKP0ZgWGcY5O0nnvn6X7YsfLCbMAgnahIVR949gOAPTJJ6EZrvU2oo8ycJWZqq7K58sNgqeAQF&#10;HoF69CcA/XnFMuFDq7MpA3BVcMdrkDcA2Bx94k4zjd781y0yqGKCUqRIyxvsDkFWwCTgYAIGTz0z&#10;0FODblAkJk+YblQmLzMsoG0ckZPHscDkHilLSz3MtVa6JITHFJuTdvgbeItwRXJ3k/MBgHPOfuk5&#10;5HOWfFSwvNd8ArqWnRi81Pw7eJqCRxJ5c7wHCXG4DAyqEy4xj90OAeao5Cnc8qKAu5hwWbkBvlBH&#10;pnaMZyMYrvfDE8M6yafKiPBfW5gYbtw2uGHynGGU7SvTjZjJwTTnQji8NUwVT/l5G3z6P7zJYipl&#10;+Jo5rTV50ZKVu6XxJ+TV0z887jWFuZ5LcvvJJ3MWyHcjJGT9Rn69+K8ok8Xz+FPGjQavEI9FupUt&#10;be62t5dpJIGYmf8AhH8OG7YwT90D1Hxl4Yk8HeJtXtfNmlfRdRNkfNCrJdqQTDIqjB5Qoc9P3gHJ&#10;BNcv4xt9F1nQru3urUXN3MjyTuxR0kJyyqgx0UEc56jHIr8Wq+0ouUZaVISenpof2FlcsDicPSqY&#10;WLnQrwWq0tdJ39LP8Ta1zVbFI3kt5Y32ZO88xqwOMDjp7e9fLXi7V7Jby+mSSaSZ0RF83aJPkUko&#10;uOAN7OR7HPaluddn8IeHl0/V7p7y0S9e3ivtwZrP5yEjkx8pABwh6kMOc4Neb61d21/cWkdqFM1w&#10;TMrK5YShVOQX5yDwM+3scZOopxTfWz81foe/gsup4VpczajfXv5nHeLoW1HTftNxNJamaItEpK4T&#10;JI+uchh1wcDJ6mvHrbSp5bY26NJLFGHTIAG4uzMuTz0Yt067a9Z8Uazpem2/2PU/9Nu/I8mK2jOy&#10;O2V2YHzX4wWKqdozgcEjNeaW8l7cbbiZwLQylNK0iJHsY7yXgY+XokYOWP8AtAdwK5KsIur7i6W+&#10;6x7lOrWhh7R0je6v18kfTf7KHwrh1/xhZ6zcxMtl4el+0JG8X7t3jG5Vxx2x343gnPyiv2p8P6ct&#10;tBGQuwFQpOB8uQeg+mK+N/2UfAl3ovguDUdThC3+rv8AbSBGY9kP3YgQe5Uox/QY4r7t0uGLy8ZW&#10;PA2RMAJNnzAcjBJH3ug6AV+l8LZf7DDRlNavX8j+ZvE7PZY3MpUISvCGmm1+v9eRtx7AgjCSZWPD&#10;ErlvnHUDHHGT+vpVtSApAQM7kHaDkE4Bx6de/oPaqAdht3IC2CWzyHYMcjrknpzjoR9S9nJiKgLt&#10;dWi8wjcmSDh/wJbr3iPbr9rC6V09T8XlByZM8wClgC0anaXEfJB5Jx7kLj8yemSxZrp5JZQqtA7I&#10;AqLDFtXI5JOOcN8w65B9TVWCHzpPvqsABLttOwlmbPyjkn+Lj++OpyK6i1s449u1fMBGWcqd4Awe&#10;Pw7eufpWsIucrmOJqU8PBxXxfkaEMG0p5SgLHhSIk3SSYw7EZ75IPOOCPUZtWzGaOBfLWAYE7ojD&#10;emG+WMsD/DhN+DgkBfmG6udvbuW3tglvLEjDfJJGgB2lyNgyCCSgXrgjcBnOCKvaXNMyCOTyxtUt&#10;l5MIy4yQSQRgqDuOM4wRggV3U6kebkW3/DHi1sPN0XWk9L/P+upvWvMCLH5zJIpdrgMZFkBUAMJM&#10;7mLYUAg7jgkHBUl0cLbAJ4fs4aFd6MgdSXUoRlDwUXhjwAAFBALO1U3o2XLxlFdYgfPaVIoLMvhl&#10;UljsLgZlfHQbchsJl32OW+S1lsLmGKwaMQyXsga5uri3wG/cEEIgkPzGU5ztHynC49CLsrR6niVE&#10;5SvJ2VyeS8kTlmLTTsXg08lfP25CxAKB0YgszsTsAx6kRwabeXJb+0JfstsQ4GnadO2GLMCZJLgB&#10;HLHptQKACQS2a07Wxgsw6QIxkmJkmuZmaWaZuh3uTuJHAHYAADAAxdyT368qRxnjIxz/AJxVxg/t&#10;GTqJaU/v/r/hytFawQFVihihSI4jSGFY40ViGIGBjllBOP7q8A053CI2FOCcsACSxJ6H6+np9KeX&#10;UY5TICsdpB4PA/A4P61mTTMTjHz7RwzbT0BOe2cgj0oqSjBWHSg6ktSK5kZm8tSxJOcrycrgE59M&#10;+vGSKpxIpDIuQpjyXwu0DaVzycYycAEfiOalwSzlQT8pJbkccZH69/YYq3BEuGKKhkB2ltpY5Qjd&#10;k56g59+lcqTnNM9DmVKFiaKEbQoTaCQDhBt4LYwQegG0D/dFW9rAEDkKzFYxhS2Mjbzxyf0xQVAV&#10;f9WxHTAwoOeD39B9KdjCqowQeflyGOBkn88dTjnrXVGL07HnVKjkx2MnOOCAcDGRjnt7kfrSbs4Y&#10;bSBzuYYUjhhg98dsen1wuBuCg4xgHJIYZ5Oee4P14qPOHzhVG0k5PzEnGMn6IM/h2HOi02M1uIdz&#10;R5B+aQ5BCDK8kgjjtxzjtXC+Mo3k0y7SP5g0WX3thR0GfQAED16DjtXcs6ttU53FCwJwBJx6dcjr&#10;+VcZ4rTfptzGCEMkbKvAZs5IGO/Vh6joa5aq5otM78FpUP5Nv+CpelG8vr+QxGTaWDEqMEZIyOue&#10;OmPYd6/lf+J+hfZtSuHjIKspAGQPL5JOTnnGCB64r+vv/gpXoC3L6g+HxHHnaoIAHfcc+6/mM1/K&#10;v8ZtDEV/eSeUB+8KDnoxfdtHYY3d+ea8PE+7Vv0/4Y+3y5y9hGXmfAGv2WLgmKIHY2XLDAOc7eQO&#10;v3sE9Ac4rzjWbNYyQF3ZBJZgQDnv7c5I4zgda908QWJZ51wFZ2zvbkjAORnHYZ/A+gryTVodyhSd&#10;7EYbJw/uTjseMZ/TnLozSt1X/DDxVCUqL5euvn0PnfU7dUbpsaN2PAOxjyAKoQ3D28kLptQh8E43&#10;Hb/sr3yB+ldR4gSQSswKtltzhT1HU/l7Y6Vy7wgSI/AEeG8zPfnofUfgOa+lou8YtnxGJp2lOMde&#10;1/keveHb5ZUwYprh412WtkGWOzhZmOZJc8ED5fqAea9AsryITttvxqMhtBLfalJnyrEnIEFuCcFg&#10;Cc7RxyR0yPNdGlt9tsCpNnPCscVusZee5b+IsQMEfMeB+VegCyYupW1jM8ERlmjhcC105cLu8w9C&#10;5x3wfmOOTg7X5Ypf10BR15Vry/n6f5nXaUtmlqsiJLIZrjfBpoGdS1I9d0knQIDjgnuOuCa9J00+&#10;bNFHOYYbiKEKQJAtnpeMFmZiduSDx0PGc+vkOntMLQyB2iWW5FtfaqWUyuSMtBAoXILBVz9CQRkV&#10;2kFzNNaxQ/Zp4vtK5srQ83MyZ2iSf2OM887QMYFdEbNWTJlVdlNq235J/rY7SFBrHlQJp/lLMSbD&#10;cQZroKGZ551IxhVD/JgcLyOCazkg0qCObT0nfyoHG69jx5l0yKV8uNmG4Al8H1KA9qvaVI9sXuGv&#10;JbiKOJ4rueGN1Mkjxn/RYMY4+cKxHA568ZzJLRZ7xriaW2t5mYzcyf8AHigGSgUdXbJ64zkY5zhS&#10;5Yt9loa1JwTi4Lff8PyKQed7eMyTqyQMYEsy4W3tAwLM7jGGbKlSe2V9KwJsRvM0ktwLct5sbQRK&#10;ZL6QbhtUdQMkL0A+bvzjT1S7e+tI9ORCFMzrbW+0i7uccbnPZc8gdevHeudm1G5itn80mWeICCWT&#10;aZY7Rd7PhP8AaJLkkeg96lRbgte1zLnab6t7fMiuJHlu7Vbm1tYvKAlhtg2BBuODJMwwTjKtjnG4&#10;e9Paa0RXEModkLST3xj3EEZyIQex4x7c4HWoZzFe2clyyOkYYExyPtN7IVYIXP8AdyGJIGFBPXvk&#10;2swtrq5DNbshURyOciGzHBIVc8kc+3FauyVkrv8A4YG5wfPBfF0RrzQSCKJoYQkEkm8RRyLLfXrg&#10;lgzd1GCO2MYwfSrcbp7gXM8e66t0RRECv2OyVcKGcL989j6k9RmrLRy2UHm2wliheQrPfS/vL26U&#10;qcKg5wG65xngdCc1Pc2kkaRhIlVp0EqWmWJXA3b3bqc5BOelRTklBSYlKbqXktX189/+GMW8Vr+S&#10;5WeMz2n3EunQIh3YDCNe/QnIHWsTSfD+j6ZNqEElm/2K5hKguPMuFLNk7R2ydozxjcewIrr5gwaJ&#10;vPhnlQhJpYwy21jnBGzByWIbnAPCnGTiho5vPkl8psyyeclki+ZdumMLnjhTw/OR9Kvml8T3Ks0n&#10;bq/wseU3vhqbLXOntDIgmcywMA7wqv3dnvz9K5uGS60iK7hsXktrhlhglgnBbO8q2AcYGMjoe/ev&#10;b5dOihZQkgFwjtcXUcaDCBfuo7565D5B6devNc/df2VdzSjUIkWR7pLlrmOLKsqfdH+0cbRzj7gH&#10;atE/dT6pf1+JjKnQ5VKLert+P6o4iLxHZ3EpbUrdor53ELMF+WEDA+Uduh59BXUyMW0u0ngVJNNl&#10;k8qDbIGVpAuWdiOv3fxK8Vyt3ootbB57eWO5Jge5nt2AaRg3ygZJ49OuDz65rjJ4L+zjYWN88At1&#10;82PTXLbIjLg7Uz7HqeeBmog4X5XfX/gGClONJxWqVvlZ/wBXPTLoCKVLvzN6LGrXEyn5QSvMSDpx&#10;yCc9u/FUoNXa4lNqUEYtI2lhgA3x4I+QswPJJK+x+lcWPFN9ZWzW97ZkOI1VZgPkQjPzAjgHjr7f&#10;UVMvizw4ltdS26vHdvEsXlKCEfaVyM+uAQAOKIwjZKGpMK0tOVa6/czqJr+5igkJhmdryXzDcBQH&#10;lCjG0Hsvb8TWpBeWdxbxyT25jJixHaA/utvUluc7icfpXGX3xT0i3VrY2cS7YY0RiNzoe/5AN+Y9&#10;60dG8c+FtWifTmSNJL6+jYSFwnlou4kgDBGcgY6fpi5Uue0oNX1HDE01VnTjovP1/wCCzoUukaKc&#10;W77GVs3F2x2KgOAEj57gYJ9ulRFV2xSwSFXdiyWpbdnaoHmMT2IAx1zj811WxFkzXaxCWwu3dbeR&#10;o/8AR4Uz8oC9WOOnB/Wsk3lu5V4p5AJo1864LZlnODlVUDOOV5/2uwrnmuVxt/Xc0cqcLtu/S3c1&#10;bi7nW0Fz90R/uWk3AzztnsPTHf2FVjO8ywhSryA+YTsU2tgBg5YYxkkAdxj24qOJ4XglR3cTAAQr&#10;yI4F7jOcbm6Hjr9OZGu44reS2iSKOC4lCrHtzPcODndjsOCevQ1VmpWvpv8A195pecdJK6/yd2WH&#10;lVbeIyKZIGKujSIEnvWGVOMdsY54HtTLOVzNcHdFJIsQYlhtgtiVBxk9Txnj1xUVzGGCF597iIJK&#10;yki2sgTwkY9eT3/Gnw6e80UbopCSPmK1WTc77QAHfB4BPIH0HBBFKcm7K39aCunKSctX/wAE2bW5&#10;EliWmV4ZHJKnaBNdHAAH4Feo5561oRWrzaNcrNGS3lsYbdSGmZmUfM3sMf5PFUxFHAEMUubxYikk&#10;gUmO3jI6IO55HbvVzS75Le0mgidmkuVYNM6eZNKchSFBzgkkcjGOSKfK3C7ewqsotyjHfRetrHjE&#10;8LI7o6uHKsNgUENhiAR+P4e9IG8i2YMEwQiE5xIuQBge5z9K0NZie3vJzsKy7XQofuxgnOD/ADrM&#10;W3JkXzTGImdVkJJGeAdo9uPT+QqHJLZf1/wxnByerspafhp+mo1LyOKTIVSoDEBU+UZAzu4571Yt&#10;5CP3Qd9mVRmA+/8ANnIA5PPOABiq2EZEMcHmSNvkbBwRjGDk8euAPT6VJFJ8u6WA+YXVgvQkEAjH&#10;GSP0o7m9P2dv3ibf3GzHabV27UXDN8si/OPmPXiiqCSSRoqLKgVRgB8FlHp+HSip5anQ5pSp8z0Z&#10;w08VsHRI553jN1LieOPe11JjAO0fLznPB4xVWO33BoszXRsJAVjEmZL2diVJI6hRknHO3pmr4vXx&#10;ZLZWyW0mXls4IbUzKiqpAlcMchjnkrgcHjpUSMv7gQSxxXAlaK1MjNuzuzJOzHkHcWIyx6Chxad1&#10;/Wwc6k9Fa7vrsvIR/s9qjIsMku2HZcebIJ1up2kPyqyn5FULjvkqegwatxzi0uIpkCyfZXS6vSIB&#10;J50jAOsI6BuuDnAPPXnI7yiNZLe1aSOMtFpkip5ZuJWJLzSseu0EkemKSVpNPtI55o50jAYWedjj&#10;UbkrgOwBIKKf7wBHp60lLmImpWVLb09fyRZly8UNtdjZchDqevhPlaEFjst+hUEAj7vdunQU0wKi&#10;RxMskTXG28vpPME0VpbsEEUY53AsxBOR0YdeKx4prKGISi2eYWzqJ+WIvrhmLZbOdoXcoAGOnYkk&#10;6aHzorma+me4kEqldhZ5rqaT7sfXJ2s3PXn1pWeq2bHdSWnb+vuJrGSC2laNXQ3N1u8+55DWdpsI&#10;ZFbgZdSfvdMdR0rTtnIBazeSK6uotmnxTMuNOtshZHLjKZYEgdDzx1IrLhk+028yTxmGG2kC6peJ&#10;CAXduI7cyAjDDawC47t1xU9yZGDrJJstrqNrvUVhxGYLeEqYrfepwwOT8u7JI4PcPRy5XsEeaEvd&#10;2vcPJgla1SC3a1W3tRFprwIYjKcYkmdSeMckkcD2pbcW0d5bm3uUu7qIvHpr5MYvJyFE1w0j4x5Y&#10;KYyvTrjvJb3EyiSO5T7Pdaja7oykjGPT4Fdnf9wW+QMDgBTgZ6EnbUcErzIYbXTyspj+x2E0svlS&#10;20DEGSQkryzAFSX4x3HFLd3ZrOOkr/1s/wAC0Fgtxi5Ex0/7ULm4ltSktxqUm7eUG/5XXkAEEcD2&#10;GZWW5uDMbyCNI7fbqd7IcJMikIkNshA4++M8cc+gqKS7ZriN7CSNYoSLWw0+5CzTyCPDF9gOwqxY&#10;/MABwfQ1ekDJfwNK0N8yzie4SLzFS/uWPEYUHIUAAYXIwB60aJa7jnCTTj1WvqWxpl0t1BZXNzCH&#10;u7DzrtYZ0a10yANkLvUlQdoLEKQQAB1JAtxTecdJey8q23TPpuhwyqY4bGJpHD3bSgYBbDtkjghs&#10;E4GMuQn7PeQDyykSm98QzpGIPtEk2xIrUFshymDyMH73XAAmxAtvtEtqkt/EbOMohupdBgAJdpVw&#10;cFwzEA8ALn5eKLtR5uopTjy8kVq3q/uJovLsrcX9usMuki5lg02381o7nUp0XAnliwWxkqSASMAq&#10;PUJcRnT7iRL8x3cYH9o6xDYxuslxcsha3gLAY8tcx7ihPUgg8GrsZtZ1iFvJNZ3j2w0zRLSRUigt&#10;oGKie7mBTIBjLnepIJJOMFc1I47SOFptP8+ZIrl4rbIKXOrTAKC5XBJQEAnbkAPzkkZbcVaF9B8v&#10;tIrlVvLuza+wwiC7kvr52uo4/wC2dbeyhMbKHcLDZpjh8GRM+WQRu+7hBUVwthcXBEMzxXF2htXk&#10;EMzx6HYQr5kxRSPMJZUK5IDBc7gSQKzxJH9nuYv9IuVt5d1zMLdEGrXqqHijVVJDKsjgkAKSOgHB&#10;qaDdILqC7uw0zxG+8VXskkitKwZnezVsA7i21TyG3c54zTtFPT+vMOdOK5k0tvyJIDeytpCWRtY5&#10;Z0Nh4VFs5aO3ikdh9snfnJAViWOG79iaeRZ2UbvCbPWLbTdXNpYxXc/2h/EV9D8slyAcFo0IDY4I&#10;yB3LG7FEsuJvt1np97rEsf8AaNwUk+y+F7BFJ27gPnZgi4VR5mBxknaVZNQuFtV063aYz2klt4U0&#10;6RVeU2itPLc6hKARhgFkkWQ4IyxB4BWbz5bJ6r/hwlFTfu9LIrxq88Ltcuz29tfCXVU+1oItfv8A&#10;5ikAjUFj5WcF4+VO8EfNxQ1ASpc3UWpBkkFzJLrVxbSiWIhWR4bON1+Q4YHLAkE7cAbdzaWkECKz&#10;Flaz30qONP0G3ijhd9SvmU77lvm3FV3MwkXHzCMMCCVNEkFY5Us3lS0vwjQF8/2xqEjlmIC4yibi&#10;A47sd23eAFKDSSfkUk1GSkt7u/y/zKMtwzm5SRZh8pkmLRC4Oj2rFVQgkZ3FeBggHzCOpAGxa3Yi&#10;0601eJLUX25bXwxpb20clhotsB+9vJFlUqW++FjkBJMjNzgbmTefbW17YXsro6Tm41ye5EckVxJH&#10;5gjgTYxKhRtyv3CJDyMYNyFrG+Se2upFtL26jN54h1R7cR2+nWkUbFLKzg2EZdwuVbBJKrgDJLce&#10;V2k77CgnGUeW9+v6mAscLXEP2K1NxYm5lt9LmUb5dcnBDyTbTghFLH73KhB0xgW7eeyCBJoHn02y&#10;uw8i2jsLjxDdschC2R8gcsu5cABvfmaaUHT4FlZG1C/tnjs33bk0GxJTc52kMCQzE5w4B6c7SttH&#10;LbfYLvSLm3jmv5JRoNjcOGmsIoGEZu5+MRliqsJMjOWbAABNJyestgmm5tJ6ta+vl/W4klm0TyWE&#10;2pGymayK6xdvjzbRRhxZRlc7Xb/VnHByc45qKxtbhkSKwubNXgsHW2srm4Vz4dsVcuWn6ASOCGEe&#10;MguNpLEASW0dtKJ5pzcXsPn7NMtYpxDLrd7IqKsrvt6LI/C87uBtBPEcttLCt59t+W2tnV9Wmj2v&#10;PqdwRmKzwBv2gjo3UxMRuC4M8soS5YvUdO3MnNeXy2GQanFDIslhpEouhEItCtZLlpJGlCIZL2cl&#10;WKgEsRgAqMfe2lmy4kuFEUbSs8cNyx0+I3WyLVrogK7hVXsAB5m7AVcEHjHT30NxK72FxPHbyLAt&#10;xrOphzdNaQso22yOPmDgRlSByp78cYty1ib1pltrtbgxhbCMTI0Gk2W0B3depaRG+9wPUHNJKUdX&#10;uJpS929o6fK/6Ml22Ye+m1C+vSm4y6rfxSMwvZ+qW64cEnOMk5Vhuz2zz7vpD/Z7ZL+9gZbcPqt7&#10;/aDM7HaoS2hOG2Eq2BG25TxnPGLkjx+VZ3E1ltVbp10i1aTawYKN9xL/AA7SpOMghio6YLDOt5rc&#10;wwyyWcbWaTSCNDLGlxf3TLgMuBuZVKodjDACnaQWOGleeonJNpQ11fTf+rG9HcKL6SWzR9MvrmJo&#10;7BVi2W+i2WwHzfMPKsADtU8ZLHIJzVVmsLW5hntIzNaabsGhK4EhurknJnkjIAxuRTg5GNoPfN23&#10;smabUZtU1KOTT2u45ddvLfY9xePtK/2fA7EqT8mAg+TMe4fdDDME0y3DhLSO2e7t8xmVPLh0K25L&#10;KqZ++wC/Ieo6EHip5rNXQRUOV3a/4exUu4VS9eO5nt9REbrPNJDH5aXNxJwMDsELsOm3ggHFX0ik&#10;R7i1vAqI0yvrk9qiBrWJCTHbqxO1Q/JwDglsgHmqBn23LSWFu08Iaaz0dHBeSMB1H2uWEknkZcK/&#10;y54HyjFXrCxTUEhuLOCW6jM4trG1ZHBv7rLLmTI2sFPG05DZ49QJqNpMtrmg4R3Vte/l/XYW1S7g&#10;fCx3MXmu82m2MVs0ltp8LA/6RKAW2blUESAANw2cEGr7W2myWS3LsVs7O7WzsLJHWObX7yQSF72U&#10;dTGnlgb+q5UYUvzRuTqFqNRs53aUmZU8RX1uVEYRyXitLXjKYKsMAlW246KGqK8hmMqvJp/2a9Ng&#10;BaaeENvbaJaiMP8AaHOcBiGLBjwepA6l35lrt+gqUZQlZxur+qfQufYYbSG4vdUZruygkR72U3Mk&#10;VxrUgcMY1kK7WUYKlgQVDfdPFVlV3Jhl2aa19IJrm9k8y6j0i15lWNV2lySNmGX5yOMHJzReICyj&#10;AEpeSdodKtZJlCR4AMty/ByCDgDjk9MAbmW0VwIXvJiby3i1FZJLU7zNrVxyVwmN+xduGcYxvAPJ&#10;GW2m/RGcZzu5JbGxIk6PYJfQBbi6tEj0C2R/Js4YmbYt5cRrlCwO5v3m1jt+mad08SWwgdTqOnrJ&#10;5TTxAK2sXSn5ZCGbO0ZJwecEYIzmprU/a/7SAEljDLIbjX9RmiKx2hUlvItwSdwUOqjBBPf+9ToL&#10;CRnM1pKVuobJktrdkWaPTrRYyHupM8+b3B+8u8nJODS0WjCzm76J9vn/AMMRm4uYmRLoNqThke+v&#10;sSTPZARBFtY1JAwCDlGGcqoDAZBcbkwRWpjgVJrdpJdLtJeBYHcGeaSNjznauN3PycZwSKEVxCbZ&#10;4IrnbpMEpltrWWNUvfEMy7drEgHao6Fc5wcVmalqZWKVyYkvJlb7fOFHkxxk70tIsDoBhQDz0Hak&#10;2m7X/qxVpLlclZL7v+BuOF4qOtwD9ttrNvPlM0jgatMXysQUjlMnHpjODyDXL6tqtxd3UvkQql7f&#10;vuu5ImCQxjJKxIAAAqnouP4h+LbrULi42/YY3ZoIRHbRJxHarlQXweS5+UknpgHNb+gaAq3MDymV&#10;4Y9QjjupHTaUMqEna/B+YE9ATjPBxSldq99WRUjJuM2v8t7/AI6GZ4d0yF7eeR44zMtojSb5CruT&#10;IoxjHX6kDI68jPpFtpsSXdoYpZTaNqZV/LZwmXtGaRXHynKBSGI5bAAOMEZ1vb20NpdwmCQ/Z9Od&#10;xiWOKNNtwzM2SS3KhgDkgZ45GR1Gnf6Rc/2ezmCa48RCY3kEMVp5vmQgBWdvuDaD2IwOcA4AnfVb&#10;lap+zj8Kvr9xJNBo6yaYNPS4MsWl6fPOJ2SQSOl1Mk8jjcFXcFRVTLYYHlt425cpRzeWIaZWvLy8&#10;tbeYOiGMEFl/dbsYyxXGc981ajjnisPIinjklGi3E64IfctrcgHhYQfvSZDZ+bJAx1C3KQLewxKx&#10;t7N9RiuJPOiZ3VpoR5jPhdwUFSxBBxuJJ5Io3XMv61NLOMpc/T9OoyC6gZLh2jTMS2DiJI1EsLqw&#10;RZUXfgkkFQW3feOAOotyWYa8exc26SvreoQXE0qx2BI8tVVZFC/KS+/KABVJIPT5cC7hvp7a1vYv&#10;MtkFmtqr+RIrIY3IMYUgYb5ZGAIz69xXRy3q6jeS+V5hjg1KG5iijMhQpNF9nYSOQct5hXJOQpDE&#10;DJNWnzK6epk1UnJro/6/yRnCNtP0/ULZorS5N7ocYlmlTzrtFhmZlhiYqFjDMT8zKxIBC4ywroFk&#10;k8y/MyoiR3unXl5dRTFLiLeEkZsKhO0gud24blx2Irmo7y4NpZ2ZintJBY3kDXAlmuDMFYeYVQ/N&#10;lcEE9MTYAUYxqwebp9rexzzXMN/Lb6ZOsdxa3FqyPFIrNHJhhlsKyFWXAJHOSBTi0mlcIc0W1HRf&#10;8Nr+B1djK0ps0S7eOGa/13T4IwZbR7YOEclY/LUxqqsqgOo4f7pPNYMdzdLFFZ+VL/pNhpl75EzN&#10;YwFrO4dFcgx/ONjr+9HLeZjcBzWgJJhrN5BDPfR/avEd1dWSRRTRtcNcQN57OHlYkkIQSSRhWCnF&#10;RwWX2y0nmSGS5uZfB0n2cC3eaQfZ7xpflTzM7mKqo2/3ADnkiVJObb7foXNcq99Xjdfp+jLt3cRm&#10;SUywS2lldapq9tdSoZHjMhj3BgTACEYDldzk9eSec94vIsrZYbGeEOmlajLKY42gGyR4kldWT/lo&#10;X6sSSGHQmtOezur/AFG3stQ82xtZtVtruSONjLIi31mk3msRMVZyytnjjJwMlcZ0cj3ljqMcEFxa&#10;pYeD2ntVUsZ5ms7yNcTMzk4YyxrjsCOM8GVyrXqHuzpXg9f83ZfkR2k9jHNbIlxJbC7v9VtLm/ki&#10;hCNlAFSIgMSSHIwCMBlyRnNc3EZBp/2SNLq183wzbtIrlHVhBPndI20gDbGTj6cAAGuhEV1LeAS+&#10;bHfSanJFaQRKUCNdWh+XrwCuF3ckk9e4xbyBtN0+xKyJdX934cmNzaSGfNm0M1wuxpPN5+VSdvGQ&#10;TuBGdzTUWpU2FSXPKLls9/W//ANm5n2apdXEmn3I0q18RQzRwq0rJskhx5JkRQxJwuR3465xWHeK&#10;6Wdkzvex2EQurCIqWVdoYSBVcptZlMr4UgkA5xjNOvrTV3uIS7GOSB9M1JbNx5cUiSMrRy5ZtuPu&#10;4LDHsK2bO3ttRuILaZpl086xf2zwyvEk0W4K6g5JUMjKcgEj5ufUtpLVPX/hi6Xs7e8+nyvb9DnG&#10;OIdcmtbOWSO+tbKa3E3mlY0ZhGXwCASWXKjpnGeprdtLi9jup51t54WPia1kmlxsSDz4ZIWVwrkn&#10;zA23H3SGYYOaxktJLjT7GS7UJE/h9hHdfaIiz+Q/AZQRucEbuMLhuM8YsPJPHb3bMqxwvc6feR25&#10;VIpFEkcpEhk6kHauw4OdwwBzlx5PhXX/ADQqfLKbbTvr5dNSdUiWEwSmPH9lX9g0yibY7JJGUUHJ&#10;OXUh+vUnoM4JVUSXyrPFeONK0oWs7AbXAeJH3/vhygHOCQMcDiqjiJ5/KgtpkEmqzWNs3E0xeaJM&#10;AAIFBZtzduAoG7PDI7i1W3SCO0gt55PDQdXBjWS2mtJcCQEIW5CHdjGSy4J3UkrWRjVTcfO36m4p&#10;Rb14HsYJYT4lmCJEGjmkWdQrKQG+SMY4BwQc4zwBn21vdaoNM3W9rb6fa2F/p8NwsbWqSiNJZdjt&#10;5mC5O7aqgZAwcZLGdZLKB7y2vLdy9yum6haqkqLdF2jAUnEecndghuTj72AMQGJ7G5t9tlcy+VqF&#10;8lvFI0caT7kIj+TZ94FmJbgEY64bImoJJ7/8A6Yyu/aK+y0ttfX/ACIbpGGmuYbWx8k6NYagzrGo&#10;lCx3Cp5gKvnc5cZ4O3ZnnOa27G6WbUbWKeOya1g8RO8SI0VuPLu4AHBZ2O3AQDkcknJ9OfRrz7Hp&#10;jRWrRouh3F3IsxLm5jEpkDYaMAqu1QFGfuDgcV3WsPDam41DTtMS3sNWu9Iv7C3kErATxRRJdhQS&#10;PkzITtGfmIyw3MaV3dSMeW7Tk9dEvwX6/cctFa2ot7QRy2y+dpeoBbuVYZiGtZHIj+9ywV4hyR97&#10;nAArcuZY/t1yLJIrmS6bSbwtMqT28bqFjXeQdvKxLuUDHPTlTWYsczSrZTae5+zXGrLIDv2bnVQB&#10;GiALiPbljnA285HI27/S5k06xkg2y2uoaNYatM2nmRr22EM6wMk8Yf5MkCTBB+Ugk8YBa0Ffc0kr&#10;NTp9L76df8rFZtJdBF5g0uS5ntdWsS8N5AYozbiG4LHL9AHUAkjlmB6CpXngM09xZ/ZriK3s9Nul&#10;ikt4Ukv5UCoDCMZVSzyYY/whuDjBuQSyxTwyJa3l5JP4g1CDyXklh2Bkt3XdJtLM7YHycZMY5wNx&#10;zJ7O+RJr28guori/0a31KHzRNDFtS7ES8vksFyR8voAfWk7NJP8AruW5c8nPTo7/AD2GwsB5cHlQ&#10;R3Et9qdqqlEhjTcrfNguSTHlgMngA8jAwsE97ti1CG5uJIzb2d69nDc+XJcxWsjQhmKkgKPlTGQC&#10;GHOBVwI0OoHU7l4Z408RRfvreKRYwlxbsskCM6nJBwnznGVPL5BGXfTRLpGlRWSPb79E1CC8jgmD&#10;u6QXIdUlY264ClHJwSCAncHAu7foTNxlC6jrr+n5G1dyJK80MllLNJqV9cxxTNETaK80bTggBei/&#10;OcAFcKflJWs62heSa3mWxuIopHszcfbVaOJfOhdJAQQCA7BnycAL7EEFsLpolu7m5ggs21Ay7HGL&#10;hnexjVZcbehKPHxn5kOSD97X8j7Hptpbwy3T2ltotlrElv8Aa23KftUkb+YhAUP1HJJwpwBnkSsr&#10;+hMJe7zSV5JWa7+f5FHTbZWSK/mja4vFit5o7dgqyRZLrtLswVdoKAnIxkD6mnsiIk44lgcPOily&#10;++C6bzEVQpXcFY8sQAo65OGsJPai3ug08tsAJttk6LMsUZmVkVR5mGfrkZzhD2AxcmsJhe+UYZY4&#10;71/LsxDGizXX2y3jZQNy45YYx03RuOScUoxs7/I2upy95WSb0f4/qStfOGuZYpXj+1SPGQqeQ9yi&#10;XMb5kfIBXYH/ABVevOL1oVjuLgwYNjG4Q3EkwikkU54XnIP3eFyfmB7Vm2cdxfNbuR5ls88eor5c&#10;WWPnW7IhcFlIBaYdTgkr16mKKO/vvLR5zDC0guSjlVSBnjAKA+/l4AbrTS5oJJ6/1/kOm5ThK710&#10;Xy2a/ruf3C/8EQf2lLH4s/s62fgHVnu5PF/wozY3ltE5N6unOGaz1Wyfc7faYiuyWHaUaONs5Gcf&#10;vjpOpXdlPZyQNFHdoiXl+0NqzWWmvKWCalZoZGVrO6KKlzEYSEduAGBNf5/n/BI39pjRv2dv2o/C&#10;k/i/U9R0zwN43VdA1m/0uSSO80e5kZDp17GSdrCKTerRsCHW5bPav7wfD3ieW7ms1trmC5WVTqML&#10;iExWjwXACtf2W1hutJwyrc2pX90SW4+Up5ma0VCrHErRT/NbnrZRU9yeFlry7ej2t6ao+s9G1Vze&#10;Q2MlnBpQ+2HSobD7QfszF8P/AGWZAEjCSqfPsJ4yF/dRqpAKY9K0+/aWNX+23F0XtRJ9oWFku7kW&#10;3yebsdn2XttnE0ZH74LkDGVX540S9meG2hOnWjC8uW06O0lkFssyyAzjSrmeTYFDx+bLZ3QJZXYp&#10;nBYL61pGqi4KzQW+o3zIqR75bYHWLhbUmN/uJIBf6ftKMpwZ4xnBI55aNRmmIgubb+tP6/q69Ltp&#10;YELFljV4lxdMtuiwJFLvYMrsm420jFmfBJik4zhWrooZ9rkl2kxhJI3dTLAyiPO8DgH597c8DaQO&#10;54rT7weXbShrZIDEku+MGOyG8YFzCny77WfzQsiEDy5OwwGHQ2xkAKsXhaErEbWS4MrWxCrJ5UmJ&#10;Ms8eN6t0kj+XnII6qc9bdDzK0Lq1v6/r+ur6Tb5hO5RtdAGIfduzjt7nOcdkHsKpMvlvyco3PmD5&#10;eqgduRwAccdD+K20xQYHnOpC7cIzLP5gkbehZyAjN91T9zGD8uMXTGJIysqqVMWJGI8vPXdkHnHO&#10;evsfe3FN8xxqTpu0tjFudOSdXO3cePl4ccAgDJPHb6BT68fNnxa+Edj4v0u9iazWSaWImMlAmC2Q&#10;uBj/AG+OPw64+o/nRiWQEFjgk8889fy69yRnmq9zZQzx7WRXJBC4Gc569c9dw/ADHbPlY/L44mnd&#10;L3j2ctzWtgKqle8T8g/BvivXPgN4qbTNUt7i58GaldqLi32MHsxnYZ4xkAnDfdOSdyjoFr9ENA1f&#10;R/Fej2mt6DfR6ppl5GBFd2+5QhcFvLZWwysu3lWAwRjtXN/Fj4L6Z4qsrmRYFWdE8zzo0HzNyccj&#10;B6kgf418W6D/AMLE+B2vyS6Dv/s+WQw3WkXcLNp2prkLggYIO0nkEHp6Yrw6OJeHn9Txyt2l28n5&#10;H2MqFLMqTx2XNc27j3f6P8z9G7K1CzROeYzMGCFAACeOODg/Nzj0zxjjhfjpqwg8OWugQS5l1aXz&#10;LiBZVIWCFklbeeo5IJ7fux0GBWZ4D+MDeL7ZXXwDq+m6jGNsm3WLSXRmcsVT96x89Ec/xMh27cHA&#10;G4V/E+lX2s395f30Lrc3DmRVWLy1tdgJMcRdVbciId2WIZCp4ycdGInFUXCm736rseVh8PVqY2M8&#10;RFxUejtv0/4c+ftMgltnUrEVjUgyhslt2DhCVyMkgFTnBBGcHNejadcLIuI5MHaCwEi/KpD4YqGP&#10;vwc4wOOayrzRWhaVvLL+WikjBniClmYPjnKHkHHK4HKkkGOzYxOqkSb2QnEbByCueAAzhiwO7A6j&#10;3PPLTfIrdEe3Ubldvb9T0aO4RlCOSoB4IyCgIBAxg9MYzge/ABpZcHegbcHkZsr8yIcrhivQZ5BU&#10;jAxgjB45yzuOEhTehdWSIFzAo+8xKYI9GCrkgnCkHIrcIjV5GKg4l2hkjDQzrk4cMWOeTxkAkdcH&#10;gdTatdbHI4tXSKlzbxsyyMZUZYz5jeXsjjJYOBkgcjAOckpkjOCRVu2up7SYLmW6gYhttpL5bs2x&#10;2yOMeYuFx8wVsHPXKysCU3wyS7zlXSJPKKKM7gGGGH3mG8AleARjlKckZDETqwYfNHh8ZUqGU4xn&#10;HLcDsuQeoDTUFzmcryir62O9sdaVZzGqF0uGG6KBjaSamSUeJowmGhukUkkhwGye+M99purm5Te4&#10;aY/amMDeWLe5lkRCGeA4YLcjbIrRswEik4JyVHitpdxlQCm9YhscnKeYuA22QtjJ3FSGyBxg4ztH&#10;V6VrIe4MU++8WRgskDKDdyyJt8oM4BCSquzbICCRtyehPXSqtNRbPPxOEhVi0lr/AMN/X9ae2W96&#10;skTyoVuUaAtIsMMk/m8YcxxfNj5/lkgByuAe/wA2zGRLCUfY4YM8oDLIjqS3zKASCrEHGecdea87&#10;s9StroCW2ke4fgKzExXFy67tySHBCXSDzNpyBJyMcNXWWd5JgsAJWuC88RtYJIYrlVUZARtwjmVd&#10;o2MVDncwHXb69KcakOV7aHzOIw8qbvb+v6/re3BeJ/Cj6XOdS0yGeW2kYedbxtGosiCxMiZGMYyD&#10;uJ4A4PfDt5VcEMY2IUbjkA4wyZGDz8yybc9OR2wPdo3gmiK7d0Mq/OGiI2/NtIYduTgrj5dpzivO&#10;PEnhuWyla/sYzJZuwaSJAWkt2aRiWx3TLc8/KBn1NeNi8BLD/vcOrw6rt/wD6LKs7de2Cxr99aKX&#10;fyfn27nIz2aSF8jeM7mbkYIbg568EBgR0OCOQKZbIYHYhFKs+6Mb1CtxyjAH5X4ZgwUZAGc4rQhI&#10;yMDaO4YZKg5xgjrgHt1z7UhtYSxkKoxWPH7zJjwcF1YHIIPfIJ4OCa4IUnK1RHvuo7ckzZtpYZVL&#10;RZZWVA0YjWGd2ADhXUn5JsFADzkYHPONWyyTguWUtsVZF2LIQvAaM/ckAXBXADbicnPOHYhpCyOx&#10;VI9gd2mzEMFTtlTGGRyVIcDOWIyCATtWoZQFAlE0ajzfMlV/LByyLKqAhoiSNkoQMNozjkV6NOPM&#10;r2t/X9f1c8HFpQbit/8Ahv6/pGjDGhBhgAhAHli3j2rGMBfmiByY/v4C4I9scVFPZqUzuGSPLcgE&#10;btu4njnj5hkc4JJHUVqrDJIwkhKbxH5bbsssvyg7HXnuuVY54/CrElt5nTfG6uJBGpZDwQASwwTj&#10;GBztIGCD32VFzV7HkfWeSas/68/69Th77TyzOJN5Z32PmQSEkLt2knoQWUK2en4VyGp6SrxyhY9x&#10;PyqowMsCHI2nqw+XIzg5HGeT689mJDj5VQDKqnQL82cDPPCgH04/HKuNM34BQBpCQCQR04XJ79fv&#10;D8W6VwV8FzJ33PWweacjSkz5xv8ARjHu2xvjaxJjBfKfMcqo7EgcY/irmJ9N3u6OWdjjKM48wgcD&#10;5gcDAHB/2celfQ2p6HvVyqlto5yArKcknavrgfMACCG6g/d4a80YR7tyFdx3OBg4wGGcc53bipPp&#10;jjivHqUZwl7yPq8NjKNePPB6nln2QRKfvlQpOIlz5Q6lgenHUqfU8mtu0Z1ztJRAGdCrnC5YliR/&#10;dxn5T3OfXOtPpiK7ebGAQv7whAHbIYAk4BJw+ff1HAMX2R1ZZAm7JZiUHAJ+8yjPUnqvHQVMU11O&#10;ybjKPc6LTpfMRiynaAW2oxblizYTnpjpnjGc9BW0kSg4BBjZSVRx+7IAXLE9hmR8AcqK5mzncNFl&#10;ERCFVzv/AHaggfPt9MsSQeR6cYPWRlmUbN56o2wfNIwyFPpkgdD94Hn39OFpR3PLqRtexKpLYPzq&#10;AMJ5ihnOQM5A65wQccDPHNDoUzs2jy2BPG8MOWPyjrnGMEYIJzVkkgk7hsbCq7MI/MO4KAMjnJBx&#10;1+bHBPREiGwMEJYHMgVdpbIOQfY7gcEHB4z1Y2otq5zSdtd/+CZ4VAASwcLGI41VykYOWXG7qO2G&#10;H3SDxwCdXS51tp4ZEJYi4DEsPKILE8gn7rY2ngbTjr1rOdGJU8l41OG6lTl88Z+8ckYP3lAx2zGG&#10;lSZDGMqwzmMM6BNwJ4xwNxDEdiTj2cW4SUuxFWmpwcdzzL9pTw8LdrLxrbxMF1awTS9STaPMLxeY&#10;w3dQdyMw2448s5zn5fz2vvEsguNTtbh1iktGYxfNglc4XIweh6/j7Cv1t8baNceKfhxrun2dvLd6&#10;naQLqelxT4LMyElhEx+QnYZkVSf4lztzx+Q3ifSrc3jJKDFJqReKLjE2CF25XOeSQAMdcn0Ffm/G&#10;uBnh81jicPpCqub/ALe6/O/5n9D+Cmc0cXw9UyvEv97h58q78j1jp2S935HBzxLr/h/xLYsLe7ln&#10;iF6I7tgIY1TauQzZAIG0k9QFGAeK8Nk1qHw650CKVbjV4Y9g1XO+OOGaNDshBUuCu5lL9T2GOT03&#10;iHxK2haiLCyknk0iKGX7bsQRy6nO/BV8HG1JACFGAFAHB4HzL4uu7qHVLfVmMgUytLO27Hlo7Hdx&#10;6YORzj618RCai4x+1azfb+u5+5QwM5qc5y9x+9Fd/J/Lp5nUXcFvql2Tc3TApGWcCXkEZ4OfTJPT&#10;Ht0FenfBfwXqPj7xvpNvFHI+m29/HbwkJ50dhbK4MmCe5G4k9DjPtXg0up27x3F1aSedbXMChd3M&#10;jtIAvCqTgHBHIHY5FfqT+wv4Ylm8LSeJJrJE82VrK3eQbWmZHKyvnlsfLjI6g+xLelluEdfGww6d&#10;+r+R4/FOPlk+R1MZJ7KyT01aP0S8K6Z9gtLa1ihjjW3jEaRxqCg2ZO3IGMHaOe4z1zXpsBXaC5wP&#10;NB8w9EUg4zjqfr12n1rC0eBoUDvHgkAFgmw44PTr26d66E+WqD5Cx3kMVZmLEAn3wAB6AHFfs2Eo&#10;OnSiovZH8Y5tinicVKUtbvfzFG35lXe3yGb/AFYJIOUGWHTlz/477VHAjvKqblfBPyjacnawU5HG&#10;Bnr/AEqBQbiUkjaTIMqFCpGC2QQO5I5Hufat6ztIYwrLBII0QqJHj3AAhiVxkgAkjrzjGOmK7aVp&#10;SueRWnGhB33ZbtLWTAkZZDEAMfKXXGScEjnBwPy45wK2IYpZ4mIlaEYOyAgSSklgqlmyQSvzDaBj&#10;d14617Qq5U+aEiUeY5yW5YOuB27k56Z+lasN3apcfYrfZdXG0rLHGVWK2jAyN4ydpYMeCMkL6YJ9&#10;GjTi7N7HzWLq1OZpLXf0XW99PmY0mkSCWCNpM+WQgYSby24gAknncxA7+v46dq8UDeXHBMDJIz2N&#10;nEcXV2lvhWkYEqqox2qqscYwTy21X2cDsLpISjamGD3F3tDQ2ErxsqogHBMcbDgEZ35P3sDZs9Ng&#10;08EwRlpJiqT3EsjTXUoVWxudjnAPRRwNxwBzXXh8O4vnS3ODE42Tj7OT2+V+v/Dd/LcqR2EMslpd&#10;6hEHvERXNuqB7GKbagZ1OAC+RsRmOccAferbG4KMfMcEHdjPHrx9enHP0poyzMvOAchhjac5GBz2&#10;wM9uR+EhyWyGI4xjGVI6+npn8/pXfGKSPJnOUtG9Bo3AENlyGIU4AIHOP04yPrjrhoKjdyWOfNHI&#10;IUEYH4cH9aNypnBBVVBHPQ5JwT/3yPzqnLKoTHKqByCuB6cg/QflSnJLQunByYyec5IxzuC4APvw&#10;fyPXA9OtUCC45fLZw6qcFTjcM5/z8w9M1MAZD90lRkshXCsOOf0PHvViMLGWGQict90KuM4HoOzf&#10;pXL/ABN9juXLTWm42KPaVyoLAjcCwxgZUHHYnaSKuqCT82No5cFhtAwQwPt0z/KkVAr/ADDgECME&#10;+YwPIz/P8jTvlwE6hiUDscHP3do9yAfyzitoQSaSOWpU5ndgucGRxkbQQSnzKAC7bh1zu7DHYY4y&#10;ZRgk7mXJJGQMDAOCD3OAcduR2zURGGBKKdw2lSgyBjJAP4+/XH0eV+ZdwwzYLYXG4Z4H57jWy2MH&#10;+YgwqxLhY8Y+T5cxkjoAD3JI470HJBBBXedxIY7eANxz7AADj+ZowMbwRtLYwcL5pAyB2GTxz7dq&#10;ZtZ0IO4MSchFGWGeD3APTr0x0qZXtuUt7sUACP1x1+bnHI574wDXJ+JPmsbjAV3CjylYB1Vsg5PG&#10;MDavHv8AhXU4Cqy5KhV24+84GAM565+YnJrndcVhbT7lIVY9xYrlFyOcn67ueM59BXPV+B2O3CK9&#10;VWZ/Pr/wUN0dZ7K9QwO21HZpHXbI5BJXHp15z1+lfyffHrTFiu7qLy9pSdxH5e4Fl3AkDnBIAA57&#10;EnvX9l/7c+hQ3uk6g7w/IqvHEzAAkYkCAYz02fy9RX8nH7Qnh9ILzUk+UbZWZXKbXQg8L1+n1x1r&#10;xMQ43u92fa5e26ajbTTf7j8nPEdlGJp0OZFjO1uegBIYY7HnGMjp+XhGrgFpjtJSIFWUnLbd524/&#10;z3xX1V4xsUt7qcfJs2kRspXLcswzwOjZAySexJxx8y+JYQk0khwWdWZsLjHp09tp79D+ONLR2ex2&#10;1oxjJRbseBeI4djGZEVw0hVigBUDk5x23DjA9O2a4cqWZvMJZSQEDEgknONx79TyfQV6T4jhZYSE&#10;wck4C5JiDABSc/h9cV5xJFKQoBcAsMkrtVQPX3/pX0ODanTv5nxeZQnTrvkV1b8zY0W6KT28Us00&#10;UcTENOB80ak8JGPUj/Ir2LR9RiTyrKA3cFpcs032KNg1zdJHg7p2YHqcY75PtivENNMrTgecqlCW&#10;iMuAUOeOMds9z2r07R52jkSX7RsSRzbzXaZkknkA/wBXFjpwp4HXoe+fRha3vLY86Lv5JvXv0PS7&#10;Bnhh8w2ttJKiM9xJcxg6fpSsMNIGPAkPABwfvDkcGuq027V7d5/tjxsRm5uIlLXd6QDmGMHoCAFO&#10;OBnr0rnNKvZXsNssbTQRS/aLewVAvnOVBMlxwcj5ckHnGRxyRv6NbJc3N3DLJA88cH2me8RQlrp2&#10;85ZB23H7uPXoK3goyk7a6FunNWU9Ev8AgHcaZe/ay/kRRpNbgjyfPV1sY8Y8yYnA3emeep9M1Ggj&#10;s2WW8s5Jo55C9lHLj/SHBYNI2M5XcHOBzyc88ViWiXWkwvDDCq2092s5hdB9q1ZhkgN32DbzggY6&#10;ng43NTurq9E9xNLHKyiO0e4w0EEW0/LDCPVtjDr2OcZyCS3t6flc0U3NJrS9vTb9TD1lkgv/ALSW&#10;lSFxIJbiPBaeQbGIiPTblwoxn7pPTmudmLtPDEIljYjdLadYLbORmQjqV+YkH+90wRXSahbXV5cW&#10;busVtEuMtMrbLCIg4ZjgNubg5PHJ74Bw7kNpPkwJF5xuZmWACEG5unDZDuScbApOAAMbT2qIz91W&#10;67mfs2qnNFLf/hv8yQ2On2SOgm8yTLtPqEkmScZykBJwSSNq7fb2rHWOxjne4WxMSRArbxSpt65A&#10;eQfrx6fWn6m3nxLNJKHucEQqFCwWBOCCcYDEEMB/geYEVlWITRz+TJGJWH3Jbsc/Ju7ZIbn35pLf&#10;QFUtLkl8Xlsrkuu3lrIIvsty00kZCXF7Opjtwc4AROTwPT+7n2qUTXLWyeZLIxlAMEM24y3fIyR2&#10;C9sZ7cdhWWyoJ2hiSGSRZt1tap8sFmmBvkkPcjIGBjlhx63LnUvLtY545EVB+6Nwy+ZcXD4YGOJe&#10;3U5IHPHNa8jcrNWsZy1SSem4zUBKzWyx3EK3LSIhgVNsGnoQuGkwMN94njP3TnFWLO5EHnzefJ5T&#10;TeVLdFdtxegfLmMHkAbf0HqKzUikcxS3qmGNsGK3icmRmIGPNx05Gew7elacG3yp4VjG0uBd6sFz&#10;FFgYEcS+uV/L9VFKUku5pV92PNB21d167fgTS3fnTQQwQmeO6lVUs4mZd/XBcgZzjHXofTFZNzBA&#10;Xku5prd5FkYTspAhgC4AVFHDE4A479+TV0IlusYIliXP2a3t48G7uzzhnbIIzycE56fWqWpQFpIZ&#10;X+zq4jwkWzzYbQABfnzlWbPODgE9sAgvmSjp6f19xUqKXK+q/wCBqZM9us0bSRghZ2VZRsEcssac&#10;hQBkgcDPPbvWFPp1rqU0lvdWQQTXUe+WIBUgjXk/XCg8dgBxxXTrbmwT7UZ5TFcM1vNOT5kkoGA6&#10;xg5xkHPfANObTrWdCbWQr5mDFYI+1ouV3yTHJ4xtHoC4yKte9D3f601OZUoNSgpdH8+x5rqXhoSR&#10;2VtY3S3k97fkPCw3zD5TtUY7fKefUDGa4zVdC+zx77m0XT5WnZbSFkzIwXq3r2Feu3NuLYC6t/NE&#10;24bZRt8uLGOFBOCSCOnoeeRnB8QTzaqw+1wN51vatFACvzu77vmJz0w3YcYFJOMqab0a/qxEcPUS&#10;bg3d7HyB4r1CSDUbiIW5Kxt5PmY2q+Mj/D8xXLabe3SXcT2zNHMJNy7GIOQcgY74r6Tv/CVnqxlt&#10;NQRQLC0F3JdqACWbPDN3wfXn2rznT/AElrfrcyODY7jJGEBLFQc9MDgjvwKy5ain7q0MPZKLU5a6&#10;6/18mfSHwt8SXfifRJNM1MGY2kDsst03yWvygfKOwwo9cke9YTqLTUri2LNKYZSJb7OE29flB7k/&#10;nU3h+e08O2sjWELPHcFWuZGyDEG3YYL9cetUri9a+vJbxwxWSYrHEFwzgDgsAeg5JraXs40o83xI&#10;0hrUjTirxXX7tLnSwXMLsixeaIifMhjB+d8clpDnOOnX1qOJHMk75zawkCa5jJHPUrG358j3qvpg&#10;gUyvMSvybtiKA07DnaPYEAfh75rUtohAQxBJJeQQYzDFgYDuR1PIPb73SsJWXzR1Jxs6q1diveSW&#10;8cYMYWIyJuEJBdbcDo8mTjPHvkGrNsN20wTzKiRAl33CeZl+cqiDJxhZMDuFOe9Ugm1/LiD3ULsG&#10;ldVLzXjlQqqDgkqPlwB+nNT2qP8AaDuDR3EbFVlCbordOGyR0znIweyj1q43cXGbEoTqVk7e76eW&#10;hsCSRZo3ZJZmnUpHZKxHkDHylx05PQe1bumIY0eSJY5pQ4d7gLvis1Ocxp/tDrg/3uuQRWHuiaSI&#10;qZFso2YTKykXN4x5Axnhc7SBjp+t+2e4VvJSMqEnEqadHgquenmPnsAMg8d/ajdWX9epEVOztH3v&#10;+GOA8SuW1K7K5ZFhMrlsqzFmJ5BHGcjg1ztwZYVjmcEq7gmMN0PBJP4Vr67PG2p3iIeJPmkk27ox&#10;82cehweMdKzZFMgCOzGIXBHmJySqoAp7DsOPY1Lm30tb8bIiCpypJSfvfk7hDPGYYsRlMBguTzIC&#10;cbc4PHf/AOtVxljKyzCJQ0SxoFXIDNkk988YXHXkHp0qhAxkikiLJH5dsxRm4BJORz69auGa1tbb&#10;J3kmaNC2cYAAJJI4rRa6S3/4JXtW6ac10+f9dSYfaMAGPJHGW6n9aKx2uNzMyS4UsSAx+Ye3Wio5&#10;K19IsSpxeql+HoYCxxq7wGQSTpErXahiVtLcZ2oAxJyGIHynqfrVQJFKs6ErGsjbkkaIq1tAhHyq&#10;3Vd+B1HQ9BTbiFolPmNE1ukr3F3dlsrMwWMeWpJzwSM7Qep7UWa28vzYuCDLmYhPNQA7vLiGTkA4&#10;J+bFZ9Lr+tjmcGo3m/60LMmoOEWLdcrApMdkuQiWMRGHfcOCWUAHccnHYHAnkiUwxy26tD50ZhtY&#10;nTHlQRk753/hJb8+vTbUN2WlURzpD5kMcR1WWNyTGG2t5SHO3cRgAe/tTz5lxblTGI0+zmSVmQgW&#10;Fqp+VQcld8jMoPTv6mk7tNsvmfOpQRTtlS5nWK3QzQxs0FtEoaNLp3GTLsYA+vHb9auvbyW8jpC1&#10;wWtpDFp0jRMI5JifnlZz+8TYAp6Zwe2KpWqOwSHeqvOPMtYWYeTYRtkFmHUN1+nHpU0sWIVRt/mX&#10;EZgtcSES2qIxEjOfvAt83Xtg0JX2e34lRhZNy38v6+Zbt5I7WeQxPaXkX2tlidJpXjvZyGO9m/iA&#10;JJywyfxzT7omHzTDdPcLHOZrwLEHh1O5Ycpn7jAbjnOfw5qhBgeVFaWmZpoytvJcDcLSNeXk3Lz6&#10;9R6elaUE0SRSRR2MjZjQ6SJmZMOA/mzysAQdzNnkdAPSmtNSPsqMVpp97/4cq2cyut2b8yy/MJrm&#10;PJ3SENnyYwcjAPB256njpWkDJm5uL2Qb2R5Z49xY2tuhVY4Fwdw6j1HB+lVbS6yi2kE8LQQZhgaS&#10;2CzXk7tl2O1WBKkk5JHCgZ6ZltvOa3ZSs180c6pJHIHAv5FAJwQQdi5J44+U0m0t9yqbpzSUr6fi&#10;y4guppftcX2O1m1G28lvLZPI0yyPBXHKglSVOfmIPucrIwt7iyk0lzJCkzf2eZfkZBtCyXL4JONz&#10;bgVJI28dKpxRmKGaeV9lu0nlXrI+830zcrEgAJ2rxwR/DyeBWs0U6Rol8IrB209JLn7JEEW3hwNk&#10;SgADc+AM9Tkk8miV1a3l+JS0m41dbq34kjSW+xvtGRYJMPsMIfZLrE4V0SdwF2sF3OSGAxuG3qSF&#10;hCvZ/ZZ5Da6ZaFn1eZ1klku50P7u3jCruRckDAJG4kngCpUjgijX94Dq1wnzx3bBbbSLNQJEZJN3&#10;33GTtYHr3J4uNLFPJbS2VtGLGOV4NF017lVklkkYg3ckZbLlOTvX5QTyoHB0jeceb0/QcuWk7W11&#10;v+RbS+nS8nhvrp21HVrRJfEs7ESjSLciOcWkJ5VWAjiUmMj7xXHLExW1pdq9tH9qg06fULUiyMjM&#10;Y9ItgN7TCTgBnGcMDuC7jxkGnT2llFZXEcRSfTtPcym9Wc+Z4gvCu52U5JaOMyAY4yFPy5bJjuWV&#10;YZLeS4S6lngS/wBcuQ5kYsFk22QYcEgkBsd19stNle7RS1SlB6r/AIGpNptxBpii4tWM0jt9m8L2&#10;/wBs8oE73/051b5SQf3gDYbJDFhtqUJFGJrpCGgs7ny9KneRL6XXNU3B3nkRsMYlXy22yLkEYI+b&#10;5aVuJ7tp7W3tkh1C9RLjULsGRbHRbRVlUW0QYbPMdXBBJDbiAMAlq0pLK6v7a1d7K5txegz6KhdY&#10;W0WxQssks6KoYtllGSAwwTk8U5N8qv8A0hScrcsdrp+jJWaJI0kngu9Q0a11JLvVrx4kZ9euym02&#10;aNkAxqzRElSHXbkY4JW6TybjUIZJ0tL+VftuvrHGJotGtzgR2UBJxhU2LwQ+chgMEHHtnWwFhLZw&#10;PGlw5Tw9o+oL52JSNr3s/QA8gjGCoPBOOdO+ubaKCS1eyk1CCW/W4vNRdWjHiS9VXkkEoyGdUMij&#10;cNpC8kDdg3Kzu6f/AAfQqdnUaXqMtrjUlvLdYljjgNs7x5hRG0a2VX/eknDB2HmHKfMQQCvU1WvZ&#10;bd3tHt18qCQNBokGTGQgO2S8dgSRv6gg4wewC1WLRy2+ou87Iv2k32r3Oxx9suQ6hLWED5QF3HLK&#10;Bt6EdBWlez/a4bqZ3aSd7WO7vzb426VbxyKkVojMCd7BUJKcEDBx827OUZNK+ysTr7Rer/r7jOKW&#10;tpFFLGHnjtJxDpEKQmJ72fG2aZmU8ICF2rkg7eCKs25eLTvtM1vDqml2V+IXt5o38rxHduI08vO3&#10;mONS77TghT2LAVFHfXZlw0VrG0enNDEjKiDS7cRiMMWGG8w8nAGDv9cYi01oQLr7PG4le0S30ayl&#10;EixWjtjzr2TngBQxXdjDMMAgEVU3FRvF67lJJTjJP1+ZLcXOm3FjfOsLWd1JqT3WtpAjRwtHIT5d&#10;pGwOQE2jGOSNwPAzUUt2RLeQxn7PPewCS8uhINulWCqGitEKjh3EYVuNp3BeOazyY7BYV/19uoP2&#10;CGI7pr6dFbdLISgJCEnDHptGepq/GqbbeaZo2tbKTzJ4TcxyPq94xLRQfeBZY1L5/h5GTllFRzJp&#10;L8BSUJRXM7O+j9bMfpepXYu4rnTbWaPUowBo8FtFEr6VBlVE8iY8vvHnfwSxI4IU2Gm1CO1s5pIZ&#10;ZraC8aLSLa5iVxqF26ky3DueXEBKMCx+UugwQWFV53m/02G5uWia4jebxNd22DHBCgP2axGONzEn&#10;5M5ygx3qU+RKIA19JD9tjZb2OPKjSrCMBCMnPzTKpUnAx3zu+WpuXTsTRUlP39Xt89yqLuCayWZ3&#10;hENrN/pDS24t/wC3L58cADdlEAKhifmySRzgR3DXthBqOlxyWsounRtbvCgmlmYkMlurnJTkgEDh&#10;j/ep9sgJSCASWk5QtpdvdTAnTYM/8fTyBcEthtpC4O3GBlQZmjjt57Gaxl85baZl0eK5tNsmrsGx&#10;LJOGJAG4rgMGBxgMQM1EXzPXf/hipc8bK120m0Q3On6jMJluYba61K4gM99d2kKjTtGtsMogUkAR&#10;khVGw4HKgE8gc5pB1QywiwysxhkjhkdYUSzgYsrHJIB6NwDnk4zxXReaBbXUNpdiSwuWW11BZJSb&#10;jX7olT5SHj90D82xuu0HPIFc5Zq6+Wl1YXhtzM012YYi80vzOUt4mzhVGRluSAucHGDSt1YVL8sW&#10;l1/TT5WNvTp7KwvPtVpZvcrbyltGs5YfPs7ubCZuLiBm3Mi7s7DyTxxnIjaC2uEluXkk8pJ/Pvv3&#10;LXNxqEw6Qxjb8yKcZXcCAe+KsyPdiWSG6hFrNNClmbmN90WkWjq0zxlh/wAtdrNk7sqeCCchakEa&#10;XLW8dnaR/uFeXSbS4lMxTIYPeTPsLErsBDHGAAeRQnyvla2M/fcXSWl2nf1t+RLJ51w93cQyQ6fd&#10;mKb7U0MRiOn2u1yII2xuJYOV2Ng5YL1yKm0u7YiWCxSNJJbFo7a9mDo+l2qFmkmVCRgyBTwRnBOO&#10;prGikj+ynzA/2eC5dVmRmNxr82flVnwN0aEAg4B+bkVJdaq2FZrxdTDoLaa5DLFdXDxpsjhUIigh&#10;AD90DhVyO1TFxle7KgpxXMla1v0RoLdEpYC1S2+xwobfQbWWUtJqNydoNwy79/PZGypKKBnkCFb3&#10;fZ3cUphIhmM99ciJ4pb6bLEQxEENg5xsBKnjGeCaX2q6ZnuJIRb6q0Oya6dgItMtI0MYiVQANzIS&#10;CD83bkmqstxPHJZXUcaxW4RjpFrJKspkcuyLduoyRjAIBwfQ4OaPeu+b+mZwny6r1Xy7m5LIRHcC&#10;aw8u4mfy765ghAtNOj3Jtjh3AlZABh/UHjqSaUySRTxy2Fzci6ecwaZAMQJZoinNw7MNyMzE7ccH&#10;5vQZaJxHbKz3j3Nqt0ZUjkbZ/a9ychhnJYopAJDcEDgjINZVxE1mJUvLt42ibdd3SMfNyRtW1jJ6&#10;fwjaeDwBUXS16/8ADFqSi3y7f0ydLqSG2jEmZLa1+S309naaTV7stmSaQYyADkblyDgeuafeSW0s&#10;TxSTt58wSfWZbb7tuSfkto8AZxwCQcgjvtzWdJPcqIZfKDXywLJIwfFvolvkbQ7BPkds5xgj5hWZ&#10;d6iY4opormP7N5x8iGWUO1zPjDXDDAyOTj64x6W3eGv4EVWoSTSs3uaE2qXNviNjJuugJfJA+TTo&#10;l4RgM4Jwceo565rmmnvdU8uFWZbSOcMJGiVJn8xgN5PUnqeegPapbe0vr545HDpDcTSI88isks+2&#10;PeTj+6uR+Yruk07y7UvEiG2bTrZTJ8zb8zFGZBgHGUUMRxz/ALuavF2V/IUYynZP1+RQttFkghYY&#10;KIUnM9yyZiIQgkFsc4GOpPsOprsbKNnuP3TTLcR62qp+6hFvdI0D4wp53Ax9B7k986oNvAPsjRvC&#10;0lzfQSGOaRN6mzEiOwBPy72YAnDHPGABVuFJmjhnM4gWFbC8JiDSiNgPs2zgkA7W4OdvHckUrNXt&#10;8P8AX6HRNtqPJv0+8y44mihV2mhkF1pd8txHcQfa4CQzSqVCoSHX5EUj+LJ4+9W+lxFcXM2pQ3d3&#10;HHp2oafcLbXAllW4mu4FguWGeSA2Pu8AOO+CaCiOKGztJpp5Et7XUo0gjjlmeR4J2KElyuFk85Mv&#10;nJCDPGMU5JJWiv766Nul1aWWmtClw0ZIKzQRAxHcSeBkkDoBgA9IT5XdeRVVKEuaKVno/vRNPNcz&#10;2kFsqsyzWeoQ24SKd2R4ygHmMxGXJCkKOPm555NW9SNrlvsMks1vHb6fqZ823CTSJLGiuQ+8gJnj&#10;LHLBRgZO068ypZXEmm3Edst1FrF5p10qzRTQrHJGHLZUjcS57MeEzjvU0ZsF0SJruKOOa68HySLJ&#10;9otZZruWzuxJvji4I2bsBsBeSF5zVWSs3/XUFNc9pXs27+l0l+pQittRumktdPt4CsD32mqfssMU&#10;iF0LlCxbIJCMRt+cnPJBAFCaPzonkswuyLT9Nlup5bdLYRubnMQRBJ8yts2l2AGbhjjJBrZ1KS1u&#10;ryWC2hzph8TZvJraZYLhfOtTGyIcFGyQOWXIxluBtbH8przTUdEMN0vhkKRJOrpLJb3ZDGMKg2hf&#10;Nx83OACMcZE3ZPqZcqTsutret0XjC0siNPbWwvJLvUbU2s1qjLdGe3RuhYAAMCdv97jjBFQ+Taz2&#10;1x9na0kntvD0MmoOqwpFG0UgKCIhtrkqiryT0OAT1r2NkLJrOGOC6+wprCedcQSYk2m2V5IogsbO&#10;N77lyB2DEcYq7ayJaacWb7TaSHRmRHspGESNFdMAoOwYbyzjewJxjAHykNNOzNeWcYStFN9fvLdq&#10;s9prFvDFdWSzHxG0Ud2otCsjeRJg7w5IjwG6npnIAYE3LprKW2t5z/Zrz3fgXVbi5igFtLaW7RSy&#10;hlCr8vbPB2HzFOeeGwi2utSuL2xs3i0eHxLZMJrSee4uQJIWiiRAEwSzhjuzjKAEkAgZ+mQ3moWe&#10;oQSJI0dp4V1ed7RpZIo71nmaESuyxdF82QkDj7w4FS1Lf+tjOMZVIOUNlbfu3/wDTjmdr37PaSy3&#10;bpquhrDeSW0Zed/LilEbKispLK0ihjn7nI+9U1jpkgaGxFzpksc2n6sJDd2++0aaCR32ndGMnKqf&#10;n4Ur0bgmO0jjdbywgDGVYNE1WzVxOJppLdEJEZZslXGc542gjvWpmV3s5L6FtOhfxNq8UNowmtW/&#10;fWTSEyRPk4ZsxhDgICBjBG0vu0JcnPotNF6O29huoarNrNpd6gIrO1jj1HS72eQxRyNfTzbrceWo&#10;QELmCNT25Oeuaw4obCa+eCLTJ7rUmTWbOWG3aFooyGJHkosPGNkhDMXAHsoNaFsLe5snljBgjg8N&#10;WmohY4Y4xdGG8MTrgyAMTtklBG7GzGGCs5t3csd1qUmo6dMsFjL4hBcPbOkenrqUYU7P3pzyAATz&#10;hmAHORElO9uuv+RvTlTcnporfl3+ZzGqPMfPbT3ImvNC0xJUdI5o4khcQxs7mLcmPLiPysGzjPBG&#10;65HBNp2uWyGRprm18V2YuZLeBxBC7qN6bGQY3eWCAOM5+8Kp2hlW1vkvZYnefSby0uZLgzHDwSs6&#10;bgZPmYMqdce/rVzVtTht4dauIokhvL+DRNWSR41kuYxGrbnMrMSnmgnG0fMCB1XJvlb1W5FPlfMr&#10;3adtt7L/ACKMlk8d9DbRXbGztjqVnFcMZntTJBGWj2naCWwyDcQpJZMgDJF9UkubWV5pZytv4Ws9&#10;YigLyyi3jgu9rFGkcnG4Mm1eBt7jIpiqtjqEBaUNetqjKkET28lvI10N7hm3YHyuFweRyCVxiqnn&#10;G4i0qLiQvodzpCzL5MduQs7Txtuyd4UsDjAGCcbsgC1BKykvn6K/+QlWTbn5f8P99rFg3othqkV8&#10;GNq3iKC/ihgabMwkjkbzJVYhFJWQj+7kHb61j27SxqLq2eNJlfVLCIu8schEqFUcEN8xIXIUngjj&#10;rWneWtpcNdCQxfZza2Oq3qvcpB9qYBIywIDFtm7cR3CtwuDi+NPnFv8AZIHsZbOw8Zx2sV3fzxQX&#10;LB4HUblC7lgb5HJ255yfdWjJXStp/wAAdLmXxO9/w0/4YhhiubeGa/En/Ewm0G3uIp2U3ElqUmJe&#10;R2kfacIhxwVXuMYxFqt7eLLqtz5gaRvEVtM0ku9XL3FqpbZ855O1drdcdumMuF4Tb3kVwouFm0e/&#10;tYYUZZYoPKkEsTlGQIwXYSFOBggYPGLuqObovqDE3iiHTLi7M82+SdvLVGZtke1CpZkDE5IUdOQJ&#10;Wr1/rUqcXrTi0npr9y/IZJFDLHbRXc9xI1hoGoacySqWSORXkaFVG/IXBGSTjAOQQAKz7hrJ/NYv&#10;fyr5NhcQPcmKAI5I82KRcsMNuVVPGSvvXR31pe21zK1vdiIPruo6ZJeI8l5p0PnWvnIjFUK/8s9v&#10;ThgepzWU11bJG1slxd3U0mg2stxIRInlXSzEiAALkIFbBLHJOd2BxTafKor+v6uiKl4tW2v+GiNC&#10;2jjl+wwR2ikx6te25VGgWFIiqK6EquQw2OxXOMk7hmqy37T2TSWcMkot/C1vJexzSwMNR8q4MbyL&#10;GeEVAzckEhlOMjGNQz3el6tJYrqN2n2bV1DKNOllEqTxFnkBQjIDEEl+PmJyc4GfpcV3Jaw29jcS&#10;2rNoOoaZeI8snlTGCcuFjIjPzFmjOBz+8HTJwRlaNprXoVzU5J6a9fO+35GqbJJNVm06Alof7ftr&#10;tLqCRGIS6sWkdS69yHDDlie+OMRwwWdrptlcaqj3jw6bqWhpZ2slvMsH2W485TIWK4K+YQViIHyD&#10;uCKlvtQivru7g0WOaxg8jTZLqdftErswjSN2bcAQdxlI7DcB0qjOIxOXiuAi2t3rj291IPKWRwPm&#10;McQOd0gKcMuAWHXaWpNNRUXv/wAMVCCeito19/b7/wAizezQXFzJdzxIlxJqGjXLsko8xN8RmcLi&#10;TaoLCJiCOCeqgEmkg3W0l46XNzaNba4bFPPQCDzFi8o7+VJRisjHG1iDnIJFNkaBQQs0t67QaZJG&#10;zExy7Q0akuCWHyluCc5CnpnFatv8q/2bcQTIqX2oWscziUTbnQAhvMZQqouxdrqCWcdMAVSa5dVr&#10;svkTyKOlR6P/AIGv6GeiWpuIJGzCsclnLKzOj3bIIY1kB45BY4U9eAARwas3N0lhaX0BUq09lcWM&#10;cbSBow0N0JeJFbYAhUrgE8HGSSSYEdhaSRTahcSRS2tpeRGQs4lMUpg2JGH2jC/OSxAA3YPIB2Lx&#10;ZoJJLaSE3MFrf38MemYZmMs8UTFnO4gjMbFRjggnGGGT4JtpGnLJ6xd5Rt/mLbJbzalcC1k8+0iu&#10;HeXUCjXVvCZrSUxeWm4rlmXgEHGSSCAc3SLyO1tLe4lkW6nawure8RhbqnlKbfgkDLYAOOoYnjIr&#10;nrBL2BDHJM8EGoXFjcJJDLuWGPDRs33DlmLhcHPzNjAOBWjcEXdw9jbM8skVtMseZFUxrbzs74K4&#10;VcAnIx90jk9alu7uupDqSir1t2rry9f1NSK9m077VZrNcCJl2QHaJopjBO7AEbgTlZDnrjao4B4u&#10;R2Tabam4mVXnnElutrCwjubhUczRZGBlFVnPPAKHJyec6RomdpDmVDqLIt0ltKISstuJmI3KA/JP&#10;IAAz3wKlS6824e5vvtMs91JCnl3rrbieOaIxt5qNglXJ/HB4KkME1ZJPdmsKvMlK2mh2/hfULnRd&#10;S0rULaZIJdIu1uYbkTM8Xmo/mbwwBLbWEY47KCM5r/Q2/ZF/aE8M/Hv9nv4X/FBAun3Oq+FraXWd&#10;P0uVI10288sQz3VrAkiq8cmE+02xRtu+RucFT/nckTQBtQd1c6kiKVlttkTMojBSENgMw8oZOcnf&#10;znOD/SN/wQw/aY1Kx8S+K/2dtfvL2fw/qsbeMvCTFY7qfwpe2oRZHiRnjPlTfPvjQnKxu20lVFZY&#10;qk8ThZQvrHVfqv67HXhqyoYuE1G0X7r9Jbfcz+ubw9rNjPfLEtvp8lqYVtGtGik+3qlx5bR2hwEK&#10;xOWU20yyM8ZRQW3AF/d9F1a7upFZNU1C8lmwftHkxSX1wLULsmZWDyLqViynzE4E8TjjOwj5Ahdd&#10;KuZVk0ddNvI0jijaK5CWGHRMwLKitugmfYYJ0kUROTk4wV9m8G+Kbu4Vjex6g3mXL3zzCYPql5LZ&#10;Njz2Vt4S8hyjSHaBNE5AyDIB85RqLltLc+kq0lON2rrr+B9M6RdbIri6lvrBYmnXVBd2I8u0s0my&#10;pvwuVZrG5ZVE0IBEUhckgD5ezgkSQRorzrdNv0xYTqU0kqShfNa2lmHmEkLumgmP3l2rwCd3jOja&#10;k8aWkKT22mxRRRyTSCMvZ6cbpmVbyJEaIrYXjIvmw/MIZclmGG3eiaZcSXiXVvd2hRIJRYyafe3J&#10;knWUSO32SUgORt8pZLO4ByyyIuc4NdtKTsrHjV6Mk/L9P6/rq+9tJUlVPlQrMhnbbbsfNV5Nhl+a&#10;JRvbG24i6x7snHBO1DNgGQL8zEJIMvIc8kYjUdDnCnuoBJ4xXF287mUTufOBBuEdoRHcsnVrlIyE&#10;ZZAQEuol+8ACAudtdJaTMoKujqiAQpGj5CNK/Gxw/wDq5dyiI/8ALMAgkdB2xfMjyq1Kys/6/r+t&#10;TbkiiMSgBDnDAIQpb7uCD+X1yKrBdnycFccbmYMCOgOeOw/PPepo/McSo20qSqph9hZSBuwRyvQj&#10;HXK9eRiXCzJ8x8zcARIp4G4Yzgdvm6HPBzmtHFNXickZ8nuyehWkQvwwZlPfbucHI7dcHJ454ByP&#10;TktX8E+HtdxJe6fEZiCiyMhEg3L0ypH97ODnlOldjg/MrEsOdpPBJ6YJHtt6f4UbGVjnb94BQvyk&#10;8ev9PRT14rkrYWhXXLWimvM6qGKr4aXNRm4y8nY4u08OafpkCw2cAREGzCZiX5jsY7e+VwNp/hXI&#10;56YGp6NEZHKQhmyg8qySOGeQAYjCsxX5uCqMSBtXaQOK9LMYUOMZ+UbQpICnAJGe3XgjngVQurZp&#10;Q6bmcFfLbc5ZevQdeTtUH2ORiuKpg4xiowjselh8yrKt7Scrt9X8jwLWfDkTbwiyzMFykiwgAAtt&#10;LLgEhcqS6EnaF7g5ry6/0gwS+U8Me0IQyKd8ZHyvFjPRGwxUtxk9ARx9TX+nB1LYZZAdzSL80yEp&#10;glQVIJ2nbt43KSec4Pneq6EodJEWIwrhPlIltUTenPy9YmYAYwCp5BHGPJq0eWV3sfVYXGqtFKT1&#10;PDS8kU253ULIA0kRAG8hQXbkBgc7twzjBOO+d60dhGgdmzvADyEbWJ3BFG5SPvHLDPzg4wMbhPqe&#10;hOdymMoTJ5eGuMOHO4hWO1ASBtAfaA6ntggZ0dvJHIFkGGcEs7hCzE4JVvTLDB5GGByTzWMHZ8kk&#10;dsk2r/1ob0MoEjxygF4sSqCC0aIq4XaMtglg2OgGcEc/K+f91tKxq2Wfc4YMhGc/dQghQd5wfmzI&#10;GBwFAzS0h8t0lQMjksTk3QLDAYKV5cAhsA4YcE54q/uMoieQ580KWPmgRHcufmAyASTxnBUhgcc1&#10;urcuvQ5mtbDgFSOWcs5mEjhCqGWCQOrLIGU7flycgAANsJGMYFm3uo5iiyiVpookHntMGtzgBSrM&#10;pYvEW37SCrxkkFT0qJRAjBCk2+ZMeW5DbAy8g4IKkcEjsRke7Gt3llXaAJUZmR3SMyFuzByv3gWY&#10;ZHDhiCelO9rdzPrdHf8Ah/Ur24uorctbtcS5sJizlxe53SxxTvucEqBiO4QADeoOR8x7K0uGkEtt&#10;JsmeZxCn2vLWt1LE4Kx3GOYp/kzHOuAxCn73FeKwo0O0NFDKY9roz4kJXaW2nO8+XheVPMZBAxkg&#10;97pWonEMFzGJo5AIli1ALJAcxKGtplOWKfuw0T4wOh7beulXlFpf10PMxWFck3FaP8z1601DdvQm&#10;ado5BDGvCXccigt5E67yPOC4YMcI+5eehrahkhkiiVUCQyKSINuwxqMlsxsAwwSqlSPlOBgVwFre&#10;rKAw86eT5bFftkjsnzNn7JfFdw67vKuSgxnGck+ZvR3H8TLOZZZ0iKzziz+0PG+VjK70AnT5TkDE&#10;scY5P8Ps06kZqzPl6+HcZNJaoytW8MvZStc6cpktyxd4S25oix2kDPAUAggYyCvJ6Vz6xjaQGZnB&#10;zujQh1x6HPuSMdyOeterQSyyBctBdRSReWXDCJM8qSqjcCG2tnJypwOcnby2saALcG7s4yIWCrLb&#10;xAMYjhlGz5SSMtyOwJ+ledi8CqT9vRV49V29D2MuzecmsNi373R9/J+f5nJpa7po3+SGT5yJCMeV&#10;ksdyITgjBUbDnIyR6Vo26SEAEYaEO0ZLNO0KMFLiNQSWjOPmQD5SBjGAREPJkGwqqvuJiDTbChGB&#10;02jgYPTlSRnIKkyhnRFD26uQ5aKSKRBcwkcAoSHAcKc7uQwJHfNcsFyrRnqVpTnZNa/L8Nf6+bv1&#10;FoXmtzAv7uQhZAmS0IBJ2tGckPHuz8p2sAMEDIzpwyZI8yMrJHIV2gF1I+b5kx94Hg7TyB9K5qyd&#10;XYfLK53LJF5DKxjONglhDDCsBu3IAMjIwwyK6CU7wUgUSO7eYHjmZVkaMbH2OOI2XA+VhhiCCOpH&#10;qUbNJ9T5nFQcKjhLr/X9f8OWSkbZyqLt2uQx+Q4x82c8kbTyeRt5qI2ytjJHmIoLeYnzjIwo3dP4&#10;VBPIO0ilD/ewDjOw4dY13tk7WI5jcAjB4DF8dSDVj5chFKAIViMYIGwn7oIH3c9AMYIYd8VvKlGX&#10;Q5eaUHZMybuxVlZRg/u+mCznaVPPHXjPb8cVxl9pWWlAUEgZVgAjAg4zjOP+A++RjGK9G2oXkVAh&#10;C4TAIOCAG2sQPl++pwx75wQecy5t0cEEKOMfOxDYxtCnsAdo7gZ9sV5+KwkXG6Wh6mAx9Si0r6f8&#10;MeN3ekx7trou0DJjI2rgg4PY4AJ6Yx7VmSabtk3I0oZn4wNpJwM4IOc5Gfoeten3tgHJO1yCctjA&#10;xhsnBPtwQBxnP0567tQWlkPCsQjEnIZSu5cf7POB/u+nXw62FUZcyR9hhswVVRucCbXZKS4OGPmZ&#10;iIViAME8gDOCAQcgY6EVu2jlVCllwvyhXJVSc7uW4wDnK56ZOatvY4cEAlmIQnAJO0BeBxyfToe/&#10;WqsQUOcTKBgbtrrtUZ5PvnnIHb2yREJRi1B7HbKaqRclubUWPnyrEuCvKnJByeR368gk9j6VYaIA&#10;Mi7gF4RySSV7ZPXJ556HBB5604pFBJWNkLDzCskgkUDcMAt12/6wA44Kn8deFkkXIU7lDbSSO+Qp&#10;I7EZ7ZyQMda6o++rHmVHZ3t/X9aGO8LqCwRfkHUjbnBIXkA8DjBAyvoelVQjxyRuN24SjdkHDAHn&#10;PVQRg8gc9zXRzIr4LKT82QpYFjlgCBgf7PX3GaqyQDqVKAJzl8OOF3DGCc5Iz0I4NDjJryCFWLWu&#10;7Nvw1drFMYllEcdzkygx7IJeZPmTB+VgT8wOOo6nOPx3/aStJfC3xg8UaGkEtrYaRBPqmmCRDGJo&#10;7iFfsuxhww8wnlRn9y+a/XOxKRSbyYysSAlCdyNgHCsOpUjaQw6bfwr5F/bh+HY17RvD/je2tGF/&#10;NaN4UvPs6DzVUia7hZnz8yqySYGMDPX7uPE4qwbxmTqrTXvUnf8A7de/6fcfaeF2b0sl42p06/8A&#10;CxMeR/4lrF/mvmj8R/EXiKW3uLU3Nusoa6YxRhSFKjI+YgggZPY5696888Z3x/sadpYt7i3fdujG&#10;IlPU885G3gZ4I/GvW/FOhx6fqtpp+pajpliY/mjeaX7XMpJOV8mIMwb5t218ZDAnAKmvJvGWoeHr&#10;W1ntrddQ1iaaHa7SubKzY5yB5YO4jDFgDtI3+2D+O+xbqe87af5H9o08RRqVISoxb6+qPIvh7p+v&#10;+J9V0nRLO18w3WopFKDJsZQ8gAI4zhQc8Z4Ff07fBDwFbeBPBHh/w7bqw/srS44GlOXa5lVRudmP&#10;Uk5GTjgHoa/GX9iT4eN478eWmtXuj6bYaVoFwLlo7VZZJZHjUKmXfKrlgztjuegAAr999HtHt7eC&#10;NDHkDJO5Sw4ySV5PbuO5619xwngormxU1e+iflpc/F/GTiF1XSyik+VR95r1Wn4HUWoWJdwGUVQQ&#10;ORk9DncSff05GMDgSXMofbGhO7GwsUBAXhVzjPYKeOQGHc4qD5oosDhwoQMCcr9Mc8YzxyKht1dz&#10;9okLvhN4RmJRRgDBHrzj1zx3FfoUJW92C1P5v5FKTqye34mxbxoskULGSQSqZHCIJdhCnaSM9MgD&#10;OOrexp1xckeRFbPFKrfen3EvjgEjggjJHc479Bl1lZzP55STDSBogXwI0AJOV6k/wYzgHb05NaMO&#10;jvJcSqsqSSQZe6njcFY8bGEalckMSAPUA9jXVGE2uWK0PNq1qNOq5VZbLb+vUs6dGBbiFJVM4t3m&#10;kV5F82GOL/loQAx+YleAMkHpzXV21mtxH5Kh44l2JNdGAwy3h3ZmCk4IUlFGcdPunGDTodOtQvkR&#10;25htoZYziJPKMpifzWJIG4guATnhsehOd0DIyMeqgnkdCD/L8/rXtYfCuC94+Px2NdWblHTW/wCV&#10;v8hojRVAVUj+XapUA+Vnk49B/Pj0qUhdoGAQcnOQeMn17HpgetIhU/cBA4GDkMMgN0PPGen8sUDC&#10;4QfKAQqgHHuP5V6GiR5LfM7iMM4AOBk7sDdu65B/Hr60x2Cybxt3H5cgBmx14OM84PHsKR5ggOcD&#10;bnBLAA4JHr6/0qpK2QQrfeycDGeN2CPryfy5rOdRI2hSu7y2HTTHGc5YAkDHznIzjB75x+GazjiU&#10;gEl15YFWJxtHB6+oxxnk/WnZ3FpARtP3Qx3EEgqPw7/0qdVAYvwFZQSQwGcHJJB6D7wOfQ46Vztu&#10;o9DsilSVluOjUMFICkMQQcD5GPI56dSMVcEYVdyg5Y7iB1bBX19uOf7tReWykEiWRWBPVd6nsoAG&#10;Oh78A96nAfDgkruGY2HzGMktyQOMAEc9PX31hFbHNOf2kPxtZiFXfwHfbz3xn6ZJ9gaQq2MJIseT&#10;ksVLAD0B4x3OT9eaGXYrmNCCVONmFIwCQBnvkdxjrS7SSCBuKfKDK5Vlx3PB5wAcn863snoc97Ws&#10;CoRhgzllUjLs2TnaT9T8vHH5VGVIXAAdTngqSc7gRyeo5znvjipON4VVG1ADwckcngcdeB9M9aY6&#10;7VVYyqjOCjYJccIf5qM+h9wQrK6Gr7isNzvk7VJByMhgcg5z+CjvyORg4pg3ugJ3xEAoSx3FMZ5P&#10;Jz68nnK+4pS7EEp5TH+HfNgHgHklSe3cfypQWwSQxXyy7So6lOcZA79gAcdBQ1fVDWmlxCDgMwyx&#10;5Oeq88c4Hp+Gaw9VXdFIGQMqrgnbuH3QTwD/ANM/0FbpJLxlgRIEOARuKj5QckE4ySD17e3GXfKf&#10;LZVIDAYbnnHQjqOe341jUjdO51YVv2iPy5/bD0ZLrw7fuY0cvG5AA3rgYyCO/BJx/tH3r+Tf9pLw&#10;+NP1PUQ8aujO8iHb8ozvGMf7PBB9Vzj1/sg/aW0hbrw7rC+SJ28t/LUkc4RuQeRz8p65G7I9v5Tv&#10;2sPDckWq6nL5bBnc7UKbcgkbcnGOFOPqe9eFXcbNtH2uVVHGXvM/Cz4g2AilfepBAcAcLGoJXaQD&#10;64YEjrg8jivkbxjblZPNZ/mCFmjGUKg7gRnHU8/gRX3V8U7CRLq5kVUeKN2RY2/c7vvAhhjuDnjI&#10;5wOtfEfjZShcZLAodqghYYyGXAOeeznryXHQcVx0ZKUrLdfqehieRR99+9f+vyPnbWNzBgxO8uzK&#10;r5jbZj5QPcZHJrgrgouBhmbdgnGGB6Ht1/wrv9aCxtJubd5Q2b0bLAgheD15xwff8K4KUks7AqcP&#10;uJbj8Mf56172Aneo4x2/U+XzeDVLmWjS3/H8zPWMtMrSI2FwwC/u3bP3R64Pr7ivSNCv5EZ5oVt/&#10;NCOkNw6FreyzwGCk8tgEgnFeeOu1lUuSSm4AHLR4JXn06cc9MV3OkR2p01Gd1M0l00UFr93ywuMy&#10;yHpjke/B9q9ZXjFM8VKlKpJv0+Z6doVxFbae8E88lta3rlL2VCDfa3uO4wjg7FIVAfQDPJOD2Npd&#10;RnyYGsreC5MiLpukWkhlgEhxtknkPUjK8H3zxxXn+l/6PLEUv5PLFo/2i/mVXMbHA2QDHdDweo56&#10;cGtqxa8jaOe6lksYlX7RLGsQk1PUGySqoRyBwBycfUgZ3Xuq63M3KUpqcXZNNNfcvxPSLe4a6mur&#10;u6kmZUCpqGobd1tbEAt5MAPTKhEGOwHAAYnqELfZku0jUeRBu06wWMStE5BDTS/7QJ3Y45xxjFcH&#10;pep3Uzw2SWwaYWx+y6crCWKz8xseZLjjJ2jOTk9zwBXY28SxBoDdBkgIFy0bZm1SaVS+2Ils+WuG&#10;BAGPu+ta297mnsXFRUeWztaxkNMFe0WW3nuY72EXCWnIj1STLlnZs52jCAbs53deMmN7e1lup2uL&#10;iKBIi0c10dzNkjPlRAdsKowvqcnitvUhD9nVZ2d7ryhGs1mg8m1izgW0XHDZOMrxwOnfLTS42uJd&#10;rgajDBvjidybXTxhv3kkZ43NtZj3O0+2Zcm0pSX9L/hxqm4w5k9n/wAE5i/YfaYY2giUNBttLIED&#10;5VPySSnH3jjOD69ACBWcyuBcE3Ujhfke9VdwVQRiOIYJxtwOPUfhq6jAIJoJbaAYEnkyzPulkvic&#10;7vLBGSHJB55Ocn0qlfjIhl2De6kFgn+j2EahSuFzyzfPngDgcnJwJuSbh0FVjzR50vev/kZ5tf7M&#10;EimMpaTKZkiALXN5kkBpiTx6E8dO9U7QoMSO1mPs6M3785it1yp/d9BuUnJ/A4xnFm2lhENw+oQy&#10;x2bIUmnCs95dnHAjUjAzx2wdvUUiWaIElitjMSQVtpJf9GtArEh5jng5GevIx9alpyajLoEVCqrx&#10;dnpp21/yHyXLnCiXMEqF0kZGW4mbBwFHUKcjGfate8t/s0SKwBmVhItnBhrayUHCbyOrKNo5waxr&#10;ySSS4MynEoCpLd8pbIGJyY15HA+v19b8UlzKpkMTuv2hRBYkgS3GCCJZB97aCN3vjHqQW1uvQJax&#10;5Gveb/K36Eoa2j0+8guL4tDKNrXUJY397KwQDy8cqCAhGQDhByTis+eV1u4hLZW/2cL5kVjnc2GI&#10;IMvOMjd0Hbua0bxWhea/SSBicNcXkp3wp1/dxjqzcdcZAx6GspDbTlABPGsswcqzAXF2+5wWIwGC&#10;AE4H3c89NuFypJa3f/BLlzqquV6X+XTQieeWZrqNGimllgkj810/0fT0K4JU55bDcMOmO56VILI2&#10;Fm9yLplSQLEIX3Pd3BO9hhccDqcnAHqCQDfu7UJOkcKG5kQNLHaxzEWtvgMgaQ46jPQHnnpkVWbz&#10;IriUrdLJ5tsYpL64lZhFsUgLEvYKAFHoGHAxxreKUbeV0YOMYRVle2l9f61M2a6F0YkeX9/hikIU&#10;/ZLAEEB36fMM/dz3FQzafbCEy28u4SR/LIzFrmZ8gMOnA5Y+mAB3pjI3lRnauC6pa25Oye/kfhnc&#10;5xtB+mR04oYW8CvatdNLdLGC9wGKWdkFZQyAY+d8nbgep5ODQpaPS5VOL9mnDReehxF3pLRXchdA&#10;VZfLkSNd/wAuePMc8D+Zx14qSVNOurqOFUKRQ2JtrmTbwSMEEZHbB78jjHFa0iM8ttGxk8mSUkpn&#10;M90eNrN14GS3Xvg5zw6e0SdVNuEaWPKsIziKyHUkjABb+tFOScdHqYezcVzP+uhy8VrFez+VOHhZ&#10;YvLt1ixtddwKu47jA6+nXGOKs0MMYM9ujZGQxKFXmJAAx6DjPX0rs00wFInBIRzjzCy/aLkkEvgd&#10;l3HkjHT8Kzr2ynQCISLJPARLKFUCK2QEAA54Oc8A+nUg5rObbkp2v3HSX7rl6N/e7IzLSCZzKZjF&#10;BKkO6VR8y2wJYjLZIzgHv6+ta6zF4BZwOsUTN1Klrm9JYYGTnA9OnU89KoNFGqHzBIEbkRkjfP6l&#10;s9umM5461JbC3jElzBIJLhJQTMThYVJGBH6kAVpBwu3b5+Wg4x5Iua28/PqR2101vLNAj5lB/eSh&#10;d8Vsg4KqTkbuRgjnuDxWxFJt8onGGBjitP8AltMcfKz/AOzuOevbtXOu0RlwwcEKZLe1dCHkcKxD&#10;se+QV9hWnaxEQzSSsWWJCbm6MuFc8fuoz1IzxgcGlFuUWl/X9WEqj0hJ7G/YLG95Mtwyu0cYkubk&#10;IGjswwIAU9M5B9+PfNaFpOimKSNVhsxMwd3Ja5vMgjHHPXPfPPWsi3kCus0dqfLkUvb2AOzzACcm&#10;UjHGN3oeDj1GhbJPdplHQyWzZnuiAY7fnGAPUZ6DupHWnCUWpN7Gj5oxXva72+7Vf15HA+MooxfM&#10;LUCORoQjROSGjXOVJB5GQT7VgI628Q7sGZiMZByhIH05FdJ4p8qCeeXbuDqsaO2QZjn5nYf7WQfa&#10;uSilE80oTgtvI3kfKoHasrSbu9jKEIR1fxa/mmmW0kWaBvMVFITeVVSDgk457njH59KrvaytJiPA&#10;h8whg/QlQOR9cjn2NRtJ5KvM2HdURY1RuCCcZI56Z4/Cpbad5X2AhfNlZQoYnceR1PTj8sVVlB2l&#10;1JlKD1WjSvb7l/wRsMO2JAxjUgYIKBiPqcGirKW98yho9uxvmXLHgH6CihfV1o3/AFodUVFpPT7/&#10;AEOBurxLmJVs4pFtbOP7PaRy5kkupiA0s+09BkN07ADnmp4rsXNqnlylbhHPmSFxMZ5jwHYEAAKp&#10;Jw2eBVWaOQrasl1vWaOSGAEKDZwoMNKR1DHJH/AahgFtcowjidRHIkSPsAQxAAySh+TuOCMHt+GI&#10;b5209DhlJK8t3+GyLguRFbMixO0CS4LysA+oXHbJHykAggDHIGeOlaTsIdP8mB55LfzBcalP0+23&#10;AH7uFIycYDEnr1XIrOkRr2WGG2EYfcYdPs9/lKVI5kYngscE5z+nS2myEBIo4YkEnlwwxu0jzzNu&#10;VpWUnB2gjG3HQdOtOC542ktApylFOSfw6r8BsayrO1jctNsB8/UJkQMW2hT5UYxkE5wcHHHty+K2&#10;DC7meRrZoQbm7RnOxYxkrCrKAwZyApzn6inXKszI0srT2lkVhWSLia7lUAupTlwAcgH8s1VjBjnn&#10;jv4lZUfzSZPvmRslIgepAwM8cYPNOLa0HJwTclrf+vu1LFrdLLdPJfyBfNt91zk7fLgUlY4VYYC7&#10;gWGMZq00z3H2ppY2iM8PnvKGKRafaI4KIZAMEkNzuxuzjkHFUkWwt3nNyskkcZ83Ug7iKc5YFUST&#10;BBIB46dfar0V1BKQTE6C5D3d+80uy3jhDZt4UK8FsAcdyRkZyKa993k9CH7k3zPXT9CxE8c8shjs&#10;5VnmBsdEEcir5Cb8yMyjh2IBBIAPOeg5SGWWGSPncjBrW0VEAG8HzJZSo5GC2c5P3x14NQS3M0cv&#10;muViuZIA08cMRjXT4l+YBVI2MWB/gP1qeRATHLbEQLds0Nnbgvv0+0QqS7sQAGck8qeqngcZys+a&#10;7WhdOSa5X9r/ACH2Fvcusc9rIzQR3QtrORZGgNxOcBn3jHAwCS3bqcVvXKfZg9xdXE2owxGOTVZr&#10;+2M0ct0zHyoIihxJtyuWG1s7jtIUMeeE1yI3ktpJba5u8x2SmYMLeAfK77uVJIDfe6AmrlpdrHDa&#10;LFbRraW0jiyZk3Pf3WOZmHfy+HUjnIH1quZtWvqJKMZNPZ/ht/wTXtktrlpftjmMxltQ124nAild&#10;VQJFbo5By2AigEHnHYVYtbyHbcwiGS11LVeGSVQ8egafEiM7ui875FJwYyOEzg7s1l29zYWcg1C4&#10;U6kttOBBEu5m1u7kZif3g6xA7eH9OPvE1I0OoG8vrWeQRzGWOXVb5Jd6RHIH2ZCDhvuquUyOOver&#10;goK2mjVjVpuXKuj08/P7zSdJVhsZI2W5+2AW+j2zRqI4IzhmuX3N+8yckNwQcdlySKGKO1ieA2K6&#10;da6gIPskiJ5/iO5CqcnAG9EyGG7lAx5ydpdPcXF31idby+tQ80rqSul2uP8ARoFUfLvdNpP8R3rx&#10;k5qlOi7rN5izXskP9n6XavF5SWaR5Mk0hwDkFyeQCdxweM1MLRd13KjGMtZPW2un4G6Ug23kt3dW&#10;/wBkh1COXXPLnFnc6ndFyv2K2YKwYoBg7wNoVjyQAZtjTXF6L26FhNqKZ8QeRbq1npdjE67bGGUy&#10;EyNI6xqVYI2UQKTk4xLhnaazS3igmiS5Flo+CV+1SDmS6mByoAdsKGUYEYHTNbELGOyZr5Ee00q5&#10;aG78uZZrnxPqrrIRGADjYpVTg4Xamd251UtJuOu5KqKFWz20f5D74apcT/aXeMz31ibmaDyRJB4d&#10;sV2rBCJFw28oqKOjAMufvEFk04mW0njt/KEFi9voGmRTtcyohx9ovpnYqTknO4gMNx5ytTbXt3uv&#10;7SmtnNtIuoeJ4pJzax307HbFYoq/881kUbc7h82DxSXtqEWT7Vbt/a2oacNU8Q3hjWVdHtGASzsE&#10;YgbcqRleH5RR3BnlTSfqWknpDf8AR2KllJp/2QTNYxSQwWzQ6RCbpWn1W7II+0NCPmKxMQS+ccqD&#10;znME0dlHYwRXTzQC0dz50oRU1a+baBArKSGRAp2tnoTnBcAWH0pVtYpo5Le1u7rTZJg0gEQ0GyjY&#10;7pmYkb3JiYFlyeW4AyRSCXsslpbW9gZoYkki0m3RtkeQGaW7cDrjdndjaSOp24qnJuST0RMufmfV&#10;9/uQkUFobG7tdSlt0itZlvtXbY7S6lMQhjsoAuQjEMSVI2nfk4IG9FVJHle+cx28sQ1HXNXhbyQU&#10;Vdwtkcj7zeYqhF5Bb2rXg8m2jtbrdNdW1oDaWsUkjQy6tcssf2mY5HzojFyFORgbQfvVz4uLeSKZ&#10;0tY30z7ax8wQq0+p3DZEKEnAYI4GCOQBzmsruT1KikptP+uv5mox0q/aSK2lS2vLhTdi3uJt0Hh+&#10;yjjJGZn25M2GbKrnIxxnFZ9laalDNbTWUSLLLcOmgfbIYprSxj3FHuZvMBiySrAb/l+Q9MYNOG+M&#10;Ly2+qCIxxyKt9fZDpfNn93bQoowCCu0sOPmHTjMb20iSXrXUpt4LmFZdZ+zBs2ERdkW0UfKGcquS&#10;gz1Xkc4uMItJp2Rk1Um3FK7Wn5Gjbx2VpDDefYbfVIZrh4rGzmaSD+07ncVa7m6NtUn7vBOCOOal&#10;j0+WOS/NzbRXcMU+97rS3aSDVJyMLbpIcBo1b720cAc5+UVBbz3uom5iiLWrfYmgjlacOnh6yhLD&#10;GTzudjnjLhuQCTw2D7fNbWMNtdm5jd3FlZq0ksMSgAS37qU2LvC4DIcnYobjAY5Wr2LVSMYey6b/&#10;AD6/5Fl0kL3c2r/bBaPIF168tIxM9xISc2MK/d25UrgfKNuRj5QbMrywJJllRr+1CXUsVswOg2Rf&#10;IijPGHdByM5USEZJziCCTZaWn9kQxy2ukXYTSopY3Q6xdSAs0r25JBQEknA2sEU9cg35GhlVLe9d&#10;bhYZXv8AXhDMxbWLlnbZFEDkN5fCbRjGCQMgmpva3K/wKg5uT53dNfNIx57lL66t5bHTIobh7Y2G&#10;jwxv5fkp/wA/VwOQzYXdkgMN2SSABWRDdX3mWdvbIsskcbRaTFGp2XeZzunbHL5fcQ56gAcgcalx&#10;EkLT2kkn+mSqk2p3hHnJBbsDshEgwCxH3gMkYUHuKqQW+m3cKIg+w3k10WN80kuy2tF+VYmUE4LE&#10;HlfvYHUk04v37IlRXLyReq/y/UszG+NvdyXV3Lf6THcKt0ZnS5TVb2QD95Eydeh/eAnIzk/NzlLF&#10;czR3EqrNEq7TqczXhha2hUjZBF8wYMeny9ByR1rYiS1kdEaOS2PlfYfD6m0dAgHyS3Dy7cK2f4mO&#10;3IH3toqsW02CS8uo52uk04+Vp05lA/ta/YcysMZ2KxY4Aw3y+uaejvf1+Qcvuc0nvYrrqMRkCC1u&#10;dPlhhaCEXEUr2mnwjJaUlnfL4YtvABGMn5uTFF9kkuYWsm2FCI9HF0AIpDuKtcSHbxgHO5QQDgjG&#10;MVGZ7y7TUDcyNKySifUtSuLlmNzcOFIgUH7oHQkYzz9ad/Zd1FOBcSQWrG1F/qdyjLGdLjf5o4Bg&#10;kgyBh90YO7B4yabaimpIim5LayXnq9LE0FmgjvtsltfW9ofOu5izFNYm3MqKCBmQc9R0AJ6ZqG8s&#10;nKLHqF1HJqz2iT6hKPL8nSoAi7Ygw+VjtU52gtzg85xZhltcWE/2hFnuVkh0qyMHly6fGgOZZo1A&#10;ALEja/Q5PUDBoalMiQXMCTqtik4nmP2bddarOyDIaTafkByODgkk88UmmldPU056SUrLXr63I2ns&#10;5IkSO0b+02hMNjaEbhplqFOZWbIBJwemCMn2ppcIIpbc2tytvd+Xptixa7j1S5byxJKxJBdVDbij&#10;EFfMXoTkxy3BgSSC9SCZ4SLrVr4OWubldymK2UBsYLDqvPXOcVx2q61JEkdvKI2vJECeTFGFe2TB&#10;wvH8R6lh8w9c0pXtt2OdJXs+2v6G1eao8jywSgwQSTtPfypEokvrgs2FQj7qDOAh4AWs2LT3u72S&#10;6kVVxD5kGxFEcSrIqp8uAo+XGeTnd+FO0HSnnntZb1jIGurdR8hVI3k3YBbgjPzDPbGfTHZ2lslv&#10;aSXsrojy6W5tLWNElhAMu3BzkqF5O5if9WuBknNKKaUdrFJe0cZyf+e6LEVh5c2I7UTXFpeGNIUU&#10;Ou6S38zIBOQxGCFyMBzkDmtrTwPsN3HJbSPcS6fbvHxE0dqq3bK5dy3HG3jBAKrhcZK247UJqv2a&#10;zuWlE2q2ZiZVitUZp7WVnZyMsNqgKEz/ABsT0zV1Hi0+yv1imWT7Xos9uJHLmCJ7e7+aVwIy5GH/&#10;AIQSxjxtOSCR5Yq76HRGPK1zdEvzX6fqV9QHk6vdWJa1XPiq6tUEaQPHIQhJRducg8t15+Ynvix9&#10;ospbC5ijlR7ybTLK8DlkiliZLpSYlGw5baXjLEkDdxnGDOty2tauuJ2imu9fhNtIFmj1O6WZNrNt&#10;ROA3nPnPUAcNmp4bMPbQQuk+1dKcWsbC8eNWhv8A5hkj5iY8PtPICBmxlAUmlBRf3/ISbm06fl+O&#10;v+RWntIYWu0doJIn1C609muJY5Q6zwRvwRzncoJIPbJPQNSaZrzSri7uZ7a2gbRrYhZbiG1keSBx&#10;HHCkYG8HK/MBydoPvW7cWwk1a7sCZPIfxbCzzeVcS2satEigCRiSoAYNtyQcnAYquOeneSLTT5cj&#10;wyPpdwESK4lR18u5YfN8vU5HOQfmGFPzEVCPM1prZL8Bc3JV5I6/1uat5FOtzfGeSNJG8Q20iorG&#10;WdxNCspxhOgwhIGTggkHGBSsVmuIXkkFwq2fh+/ihjhnbdeCGR5EVG8vcq5KjjrtJGOo2tOLCSe8&#10;NtcQ3Ol3ei6lbLf2NzPbQKjFiZJJHUOshVFJYFCN33iMnHFy4lheNdREDz6tZRw2sdxCwjcAuF+c&#10;bQN7sGGMiT0IznJKD5bbFr4482t9fw1NNVa2jlaNvtd7I+kasgjhuHUSPGqrGqbOWAVsgfeJJyQc&#10;1Uktru1gVIZb190Opae0LwzWz2W+eKaPzi2QfN5Ii+Vj5RBKAkresrQX1qL62jhnKWOkSPdSTQ3T&#10;WMyTyW0gRPMzkMgBIxjLYzg51L5ALldLVI57iPWdU05LmOS3xKkSLJtQA8MzK7MrOM5Bx0pOya5S&#10;Vyt81S7t+n/BMq9vr2a11BrW8ntEiu9LnkFuk0bRSJAsLlTu+VN26Qj7v7zHtWJaQwTCa3vLmcJb&#10;6RqUS+VEVVmELSRMztIPvuF3EckDGTmrc91JaC3s5Hs3S4tLLVppWFvIbd4pXRIldVJDYjTcGOcB&#10;McbSXXdsDqLCze1MD6pqVjaJLDHHHMJY2mCRnaAxCqwBPAIxjOARtLbrp+gqidlNRt2t96KmnRz+&#10;bb/bJ3htVvrC/ldAjkRNE7RhFLcYLORgZJJ4GSRaigEUkkUJvBHdpfaQ9osaXMk9tMdy728wbdwL&#10;HqX6HgtmpBrVzdyF4Lm3kSz0i1tpjKkV0sGyQxHyV8s8kNjzGGdqjByARHbR3TTxrHOkitq14HuH&#10;UTv5iRRMWYFMMdrMSG43A9SThytdKL1f9foaQU0rWtql+d3+ZPqFrY3ul2uo295Ld3V14ZsjezSW&#10;UFtDFKl4kckcBMzh0C8h8KcHlcDLdJptlppvLSCS3le1/wCElvYW3RQxTv8AaLVJ7ePaxA37o3BI&#10;IX5yT0yOKuSCLq3bVG1C3v8Aw2gyZpvMVkmLM2GjUhcqGwRu5GAOg7S8u5WkM95qVtfyyeItM1UW&#10;qzTtEX2SJLI21Ayxoq4bkE7vSqTXK7df1MlKVOrdavVflYydLP23SWt1KhrnRtU05YpUiLRG0mad&#10;MyGMfcCIPlwCFfjsYblxcwNLG1r9mjsNMupPmSO6dT5KGWRxHnZmRdu4nGMcVdsUuotfsrWe6uZI&#10;oNa1DS0MMs90ViaPfHlQhkbaMorcYHAVhtzk2kM82iLcXDyyrdeEnkYLdPE955F8sxRQ7DzVDbcn&#10;BJLKMADIJJc115P5mjabcYrd3/FfoaMlut5f3UNpbu+m2OqXtravGquGN3EXjQyGMDllUkkc5Jx2&#10;qvForQ6JdzSPHuu/DgluokikkZ5LWeRFBYQkCMCNMspLEx4wOa2rq58uPWxG8CIde03W1t4pYoN/&#10;2iGdCRySsalkUOMYIXI4DHnWF3cJFa2cVy0bS6hpOFdEjSFDuhVEWTbli8jE8nJGT2oSVrP+tP8A&#10;gjUXCSaWm/z6/kvvNfXT/Zt1ezx/ZtRvrjV9I1NAlx50dyLiJnaO3Qx4wchSA2AUPOSuK9lpl415&#10;pjXVkTMmtXmkvbmKaOZ5JYZSsZxgKV8pzuIydr4rnvtCLb31xPMNQul8MW81hF5bzxo8MscRQMrc&#10;GMK547A84Oa6DfFYPJqN69ssI1PTtRni8q1+0MZ1Uxug858kqWy5w3TKAECn70otLb/hkZz5be0t&#10;r26aW/Uq6Yphisk8iYPd6Lf2TzzNPdCZ4rmZpCcuCSMFCC3JB6c5beXq3Nm01qZv9EtbLU9UJhMQ&#10;l2Mlu2EVydrAxljkA+ZxuAzU7TWq28MFxbwGR5NVh+ylLZordZ1QnZFkiPa6nnAOJM98Vni2ht9N&#10;320sUV5N4RQSxs8TSXbJexriNFjYjYiSPk4PIAHTExSd216BZPVbtberS/r0IdLiQaxFJPEtjZTa&#10;7cWMkNum0orxMkiIGlOSQ/O5iMknIxgL5so0uSzkV5IZtOiaMxN57ypBdmNlkBk+XAZumQCckEkm&#10;te7tltr+GVZIbkjX4btTmS0DrLbMCrOUwMPF8xPJMufmO400Xl3dQWhvkmis5bS6t7RrsSWg2W80&#10;syRJL5bME/egkIuTkgLkA04NNpPsKTj7RqO2ny7msRZnUAHjjgsj45QM4EU08fmwvGrtF8xcFSCS&#10;CAd4GPXjIYYVjhL280scllcJfwo0MrOYpDIPnDAH5AScHC+WOTkZ2ImlvJpYYFucNqtjqk+2SRku&#10;JCpUquIsgLlm+Y859wtaixW+mjT8W0gM+oX8dvOGkMSq9uwaFn8gElRksFHVk45qZPlWn9bG8Yrm&#10;ST0svuX/AASpqYuPtGpalcAwC8FndbWijCCNiC7LuffjCnJxjkgcKMDSkSwmSHTbCGHW9TtI1ICs&#10;DJbNIWMhnLuwyxXIyxXA64bm45CI0uHWW5vLixtLiObLLI2JihDlo/usF2gk54cgDk11BkuLrU4b&#10;m0hMurXHibUVdS8xWXdAyuGAAUgZYgjDcjluMTzJ+8t/+GHKmpwv219SBIjJBDHaLaWkD6Zo7Pbt&#10;LGl9dkXLMI3lG8Lyx3AdkJJ4BrQns45fKltY7bzm8Qaxa3PlXSXAlCAFVwYwFI8wgooCgqOMlsuv&#10;ba70qO8iv47qz1FbKztprhLWWHf5dxMbhCmSSQZQAnOMvkgqM2LIKNQsrG0iMYbxVdItzbCZVB8l&#10;SFYEnG3HJY45OD0pxUWk/uIq83NdO3V/oYcstrLbtcGHT03+H9Imjdo41eZ45oFBiUx4Ktnfhdow&#10;pwCKguQZ9XkZ5hcSHWL24lihMYt4Vnj3kbgpBP3VwAMZyQOgc8jTWGnyR+e8R8MW7XcqmffEYbyU&#10;FQBhs7WwwBxkkdMmta4WWW4vbmxig8y48TxpDbWyzGcQ3McuFOckfdA5JALKMnmtGrNtf1rY0pyh&#10;OL9r/XmYENkYtPSWS4inmbwlLKkLtbuloEnZhEq5OCNsZIbBG/IznncjvpLK6hhNy1umoa5FLfyQ&#10;2mnJ5kk8TSGZ2aMsMIAdqsq8txisaLzoYYrnDTNBaalp8iIblTceRcCGTDCPk4c7eTw2cdDWtdyQ&#10;C4uLr7c93dWMumz2rrBdNGn7lYliB2ctGpCnOFAj4LEqKzutHuYwny1LWtba3yEt1s5La0vr6G1j&#10;tre1fyPLdkuNSW1uFVkhUOAV+cFmUgcoCTgZ2hItxufRJJba0l1q8kgsbm3MNtbrLFE5WR2eRWQN&#10;wN/AWMZBzkULiCe6tdKuNVmu4prifUbaaa7t7mV0U/OjbViCqieW4xgEBhwQCabbXU9jc6XdRLbT&#10;W8U9tfLZtsELB7cwOzhuSDJuYHqxYHnpUqTTtLc1cYukpp+7Z+u/+ZqJHHDMhYLGbUWsk0qTx3Bk&#10;LxtaSkIyBgAcjOSTkEnIOIlS2eK32+ZJeiHyvsyxmc3MsN1vVnAZlBAPQk8Me2SKFtOWjW6S8ksS&#10;1lKlzDM7S3V0sNySYso3f5jgEjIOWIII3JdQla8uJbWFJYmnuW02a4doUtt6ebgHaAo3BuM9l64b&#10;DSle8iKcE5ezfVD4zdi9aza7aSRJTb29vPIXMCpJuWBV4UECQOcf3iRk5NfU/wCzR8WNY+BPxe+H&#10;XxS0jVJ7XUvC/iC31O480tBDPCkjLdQzIcHY0Msqc5wSTjgZ+XyEL3NzNNa+bNLFNHHcFQ7tPAA0&#10;kUSvkncq/MQcLkgdM6emTJHJEJod8kKruLAmEh/7oYAnHOTtz7da0jUftVUfS33dTZr3XB6Qenmf&#10;6X/hLxrp3jPwn4R8TaR/ZM2ieIdHTVLO0kaONrNNQtVLMtwFbfZSsJvKEjHy5ElAOfMz6j4Q8RWM&#10;t1dW07XrswE8ttHcRy30zQSBN0eQ+LuFigOV3MqZAypz+Ff/AART/aTu/i98D7f4SeKtWguNT+Ek&#10;smi6NcXsxuZYtK1BzLHZ3R5Cwu7BVdwoSRVKtuBNftG9lcWl4jQJdm6s5sEWTiS+QxRoAB84Tz4A&#10;CFbhZIueeNnzePoSw+KdO3uvVPydj6vLakcVgk6jtOOjXmtNT6h0LXFtBHKNPt7ZZLiKaG9WFrbT&#10;oVuSkaStHiNHsL8OYHjAIilfK7cIa9E0DURNLFLanfazefo8ltdERiwKlpk02WQq5LwujTWMjkbk&#10;wu75jj5x0XUGhiiiNrY2T3BkkBWKPT7N4ZN0c0gZfLT7LKVMciceUWZum8j0/wAP6q4lgtWEkso2&#10;aZdpbWYvL27fejNpssgDASofOe1udwPygDJJzlCo1NJryIqUbx5mfQkF1Edsk8qneTqsF5DB9mbC&#10;NIPtqxllxJFvaO6hZfmUA7QNytuwfaQY1CpG6ElESeSW2SSc5MYJVgbS6AG1xnyGCqBxhfONL1IS&#10;MkyXdy0skcerm4ikENxdINwXUoLbeT5sCHyry125ZSCMjYT29o2A0x8uBV+Ty5nEtlYtcEKEDhTv&#10;sLvIkDEnym9htT0ITu+Y8bEUuVN9P6/r+rPsIrhGZxmYPJI8boVfdIUUbkkAQ/vAFI2D76fOM8Y1&#10;E2yR/uyGUHytzO0coyQvyPwQMZwQPmBBB5yeXgvjM4jImLLIY2Q3EZnEqKXazcrIMXCAB1cjDRDB&#10;J5NbBusMJI/LaVIVZCz+XDMJSxiIBcf6wowQk/u/myMdeiMk/Q8mtBrT+v6/ryNRQsxz5qOAp/1S&#10;kZyccnJHVeR1G0dBkFVeJiI8qW5DRnDSDAGflHOcFeOOH96RGSTzU3xS7UbAWTzHbBMbbkwe6FT1&#10;5DDjkVYAPLMxBLBmA4j6YOOM9e59D2rVx5tUcylb3SvtUggENtKjGNgB+9wT6+3GPzqBkK5JCYYB&#10;GKKAzAkgZbrg9eMY5561Z25O18OpQq2cjO49+cchcc9PekKpv4jDSAZyPkKhix68cZHucc96iVM0&#10;jUS3Mm4tkYvlFcZJckbSuACehzkgYB7Dsec4GoaazqfkVmjLSCRozkHadzKCGzkkqyHs7HJxg9e8&#10;QZsgfwFX+Ukn5QBgYwe/I9emMiqMkCK3mLFEGSTcwVMvJ8oUAEhQGOAoycY4J6Y4q2HjNWSPRw+K&#10;nTaaex5Jf6PA4ZDEF3pHEsZL/vm3cRNjChZMDy2xnJIyMgHze/0SSz3zOFeQyAmZlAlnwOQwAXDJ&#10;lcg5yikjkjH0Le2ETRLHJGJIyCD5a/6NtJAKmHcSY24Ugg7Dk8DOORvNLQiSQQoxlm2EXe+O4uMF&#10;iiEkKwkjKvsbkMqng7mFeNUw7g/M+pwePjPVv+v6/rqeHXFii7ZkBcDG4GTdGqgKD1BODktkMAuO&#10;BjG1YEkjaTy4pQhDSIEVpDGCVyuwluQCQV5ypY8Ddj0C+0grDITFHDtLzborcMpHPmSjO44ZnG9C&#10;3ysoI27tzc1PpTAoNwVyo3AyGRFfJaPDruG1h5eyQEDJAPXNYqNm7npc0Jf16GOs7hFXeoeNDJEF&#10;l+RiMBNw3dMA4k25XBVuNtW4YwyHenmvxGdyFUIB/uleVOTkq3ytu29cLBNEQCgJX94xMS4R+UcO&#10;yKFKrgj549q7gOAPvBqzrCzxhok8xgVRDvjIIJCKX25J3LjIyvQ46ilZrTcUklFpF6SN8LKjl3Qm&#10;RWlkLAEqfvPyCSF4PR9wyckgWLK6ijjMKW4lEbExpN88eGC54XBxlQAGGUzxuGd1SNlSVMgSKmSR&#10;MGVBu++fuqwBHylDyDlh1wLUcjLIZNhZU/eeYjLJKWwxTDEMC2RkArhxkZBandKyMpapJrU7jRtQ&#10;WWWOKadjIy+WY5LhWjAbzH8u4TH7yIAnazDKjb2XbXeQyiEtEdtuyyrZmK8nQsAG/dW07qwLKwK+&#10;ROQWBcZyfveKWV45uoyZ44wxlMISIIUT5fMYrwSm37yBcrvz04PV6Vfm2WOOeWJI1jWxkFxeB4Yl&#10;ZgPLbBy0ROSrLwoXg4Ax1UK9pK55OKwvtFzQ3PY7W6aKdopWlkMsjCGQRCF55ECZjmO1VWXA2oww&#10;siL16EbtrOsiKN6XCMDEZUCmMlC6vjB4OV2lRyCPTp59Z3FqNqLOLYs0do32kSRtIGICWs8uEJOJ&#10;F8i4BLZZclicPt200cqrIiyyN5wilSRit08kSjKMSCqXCgIqtvAlVsg/dI9ylUjLY+YxGHcXqv6/&#10;r+uzda0AQSNe2CZWRsz2/mlVTIc7o1ztByV4xznr2rH+ZWbazhGYlWESOsmSG2lWX0znbznGD3Pf&#10;Q3RdT5jbwzOE8mJnUqr7WyvLBlJCsvUHJ6ZA53VtJSKVbqBJfs00f7zycjy8nIYrkYAyACoyo3Z9&#10;+LE4RQ/fUVo9129DvwOYudsPinqtn38n59vuMdMJ5iOAykAMWcfNgnaWbnBGMhwBjPJ6tW55pu7W&#10;cFbcsqxpGt8ASJRykVyuCoJIULKvXf0BUbsV0IZHKtuVtskquQCDwSBgZIJ5XOCCSD0rXs5gwHnK&#10;sm+15eFGubiEEgHBG4vFuJ4JyMHIxnEYeSUuWWzNsbHmiprdf8D+v6SNaJpGdjsmidH2bJF3zopO&#10;0ZwSJIzuLdQVB7HgTxyFlV43jFqI1jXy4zIgVsOHR+Q0bAqpGAAM4YYqogMrQJvVpFxJHMJSzOhD&#10;fvrdzuycEZXuODxjMm1N67RGhZmmZo13ecwU5mhUE7j8zB0wTkg8EAt6EbtHhVElL+v6/r1LCqzr&#10;C6hm2jzEZnWUNxjbuxzwwKsOTjluSDFLGCCeXBQOgyTjk845/E4J6+1TNuKqSCd7sU/f4iOchMt1&#10;2sxBBG4ruHTtNneHRcs77gSAF8sgAfO3IBBI4wTzkAjOLlSurEwqcrutjEltsgAq7AAdSCxxuAB6&#10;5ONuDznBBPTPP3NmQScYKggERq23qpGDx6ZU9geOOO28kOzcrwApTGRHnBI9T/CSDgYxjqc501tg&#10;HKyZdwAFYuVzgEjPBA256jIHAJ6+diMLp7qPVw2NdNqzPP7iwUAlV+VQAEA9AeM/gPfn2rEltSrb&#10;uck53hdhBxgHGOuVB4AByT1PPoE1mpA7jZxgllwRkEY6qTu+mevNZM9jkYXC5AQKQAoOfu5/Dg/0&#10;ryalBN6r+tD6TDZgrK7ORLlDnAO0bicZYc53DjnsCuc+/YWrd2SNoyfkGIkI4xlPlyeoXCjBJ4JU&#10;fxc2WttroSrDax2MqYYtub/x4dCO+aqyRFJJHjCgPIJEXgIPmLHAH8JK4IGMAnGOM4pOMrNHouca&#10;mkS/uBUKG3hkydyn5hkdPfLfd7gNjpyo+Y7shwQArbiYjnLBhg4x1wc5JBB4+9TDEsUVF/eEJtct&#10;ujA2BV3HkHsrDPCYyPmFSeZKwB3EFpDuLjaxYAnO09xzkdD169bTtFPcw5GyYAoFYYYmQlWHytxu&#10;x17kZJHuDjg1S8eaDH4v+GviXQ7fTY9Qvl0qe70q2ZcwSXEcTeVtJyFLE4wT0Y1Y3hVDZVQvLAsV&#10;SMDGT3OMd85GDyB06LR7lYLkgnasxCyFiAq5Kp8wzzxuIPsOvQaUowrQlhp/DNNP5mFapWw84Yqj&#10;/EpyUl6xaetuh/Lp8ULG9tvFmrX501LVra/lkkikjUNHv5G09jghTjHcdBmvmTxTrM63sSLmYvJ5&#10;pVmWQnceFU4A3ABVJ9vpX6Uft/eAbjwH8TtVt9PtYLaz1y8bWdLZZRbxzQz5kK84B2SSSDAOeBxz&#10;gfCnwy8ASeOfiJonhzYtzdXmpwQtbqjKV3spOOucKcgg9sH1r8LxuFrUcfPAW95Nr53P7z4bzzCY&#10;/hqhnk2uR0lL5W1P2N/YI+HC6F8MLfxLLbTw3HimX7YYJl2PEi+XtweclsMc99q9elfo9aw+VFt2&#10;HcOGG4EcYP8AMDPHQYNcb8PPCdt4U8M6NodrEtvb6VYx2McSnCJsijU474zzxx9cV27E84O35sId&#10;3yYz1xj8eey9PX9ZynALB4SEF0SP5M4rzl5znFbExd4uTt6X0/AiRTI53cclHDjhBuK/ng/+PCtO&#10;38qRhCAXMa+WoTKAlT/EwIIxtGCTn5B04qgXVUYEIrmP5mjjZjvbAX2ODvP/AAEcHJrZ0SOW8fNl&#10;CgmkhaRpJk8yKAZzuKry2SNuOSQx9q9enC7slqz5HE1UqUqktEvwNyC1uctZWg2SRwySTXQRZYIM&#10;BFVF5wXYudq+inJ6CuotbJBvtlLJZRyxpCFPzT+SQSXOP43PIydwXtlqLeyjQSWhUBFWISXAlMcl&#10;7Iv7yRmP3sbiM5POSK1lYh0PGFGWKqQgBGAOmOx6dNvoa93D0IxSl1Ph8Xi5Vpabf8M7/wCXb1Js&#10;AbCyjPQoAG5zjH8/8ipk4Cg7WIAXdnAbjn+px71V3qBgZBDFQA5AGAHzjHc49cZ+ooMhwRlVyOwB&#10;I54498k/nXapNHmypyluWGcEkrgMCATwpAzgcE9yOPXHWoJJFJyCclwfkHQ4J56+o/SoHfj6Pkkf&#10;KAO/9OmKreYWyGAHG4keoAI47YIP61MppaNmlOgtySSbuG3LjGQeMdSQR25HftTNvCkr82ANw6k8&#10;Z54zwQOeuDRgtImcqoUrld3yru6f+g/T1waF+ZVduQ2Uk2fP9Vx17uOB/Cax+Jm9lFKxJGpJRDHy&#10;Bk/KHKEHv+YPH+GZtjttbO51yV3Y3rwQeMdsgcH8qaEBBQoDuY7QxBDkYPAPuOOnIParKbXRUK4b&#10;JUIDtzj5S3rgZBz1HHfitYx6IxnO2o4PF5oiZ4vMUGRYi4DlcFd23rjORkClBEqja+7DBi64DDPb&#10;APHykdOu4EetOIw21QuJCQRuKncQx6gcdufY96jJEqfKz4wRgIQr5yAMFTjGM56gqD0JzrBaXOVv&#10;VNBIfLVC4/1mIinEjZ6nbkZbjJJb+GM8dacw3IUkGFkGXOQrAEgHkH3UcdzSgqvDSO24eaqOVV0A&#10;GenHGR+B9ujXdJEcK6EghgY5AvAG5SWB4+bp7fpauSr6CgjLIxTegAKxgLtBOVPX2PX+7xSkqWyH&#10;AVgZCzHgAbctnOMYI5HSlyAqsQxCnYuS24ktsJOefX14NPY5OfvDAAAY44DEEdhk45OO3PTIu4bb&#10;DBsZim9S7KZF5DADAU8Y5HufWowBtjUb8BRwwVVAUkbjgen54FTcmPEb4IA2u689R2wOP546jrRt&#10;ChUHOwAHcxJPP165A656Uw0uRAFQSzEqn7xmxtc4XHPbkqx9OntVO6TAIALfeLHjbHkAkjP1P3ff&#10;2FXQGBI3AMx3FiTgDjPAHtxmqt2CIZOzhTteRsgHaTk4546n2zUVI3jqb0ZNVE0fKPxu01bjRdQ/&#10;dP8ANFsCooC5CnBb2+UgZ55Hpg/y+/th+H5IdR1GaJCoIO0uDtyBsVW7DaoQAZ7Hiv6uPinYLcaR&#10;eK7blMRBBO8qpySSfx6+1fzh/tl6CftepKkBfKOzeYOoJOGXjqQwPOa8PERjZxlt/wAE+xwLXPFv&#10;yP5nPi7YBZb92Q+YsreYwA8wvnjb3+p6ccnpX5/+O4VhLbUEYUkIHIbB6YJ/iIwAARz+Vfpx8cdP&#10;RJ7oGNUMXmO52iTfu5PH3hwvUd/SvzZ+JNvGPOVVD4yu0DYcg7gDz6KBj6+tefFWlZq2tvI92pKl&#10;Up+0q9tLdj5V1xmMnmKSMKSVbqxzxzkk8dz3z9Twc8QE53fdZlZtnUZGVJ5r0LX4TuZ/lJYFwqvg&#10;HOSOnYZHvxXnl0JIQhQLkv8AOWXKvng8d8V7GDcFKLTPmswvKnKU1flf9fIglMaMwBJLsQVIHAIA&#10;b685rW0y/twxVUkzCDnaoYyuQcDH8IGR/wB881lTrHvBCAgg42ZJUknO7tzzTtNu0s55Xa3wZ4xA&#10;kgb5IDu+9jueg/H2Fe1FuOyPn4tObu/dev5Hs2hXcLgO8UM926AW0czeXaaccqTNIemRwMHjP4V3&#10;xvYZN0lnqcF5sjf+0teZdyq7pl44CQCSv3c4z7Y5HmGnSWt1bQ2kqPb6eWUy21sCbzWJPmCFuTgZ&#10;wMgYxzjOa7MqPNjs7e3imuLWDfaWXmeXZWB27sv2JAAJ3fiOcVvC0/i/4ZGKm4vlprRHV2yRTW8f&#10;lpJZ6cIzsgxu1XVpFOTI+cbVJ+X2w3Fdxb3KJJLGyIbiK0EQliJaPS4nA5z0MhB69QWIrznSy+13&#10;W5S3RFJ1LX7kl8Affjt14+9jAwN2cnjkV1FndbLdrb7PMqXDCeztVdzc3TKpCyTd+PQ8kZ6kmq5W&#10;tP66fqdFKU3DmW63/r7zp47hHEc0L7pYm/0e1Qh47UvtIeZuAG2kHA/vZ4yKytQZZJomW6LRNcEy&#10;RqrfaNTkKZMhb+6h45Gct37QG8U28MRXfHdnzL4ogX7UyDaVR8coCqgn/ZPccNkjL35lgvhHa/ZW&#10;lurlYDmNtpC2sORuLPgplQQd/LKgZqpRaXvasmnTV7x3/wAynqQjlWZI/MkurUAzXatshsQwYmNV&#10;Azk4/wDHO/IGDb22wR3JMoiaQNa6e43PePxlpMnhT15/vGt0RMzyCWN4ZXG9bJWBMSgnLyt3J3ZO&#10;emO3FV1sZhHPcNIVgmGxWB+eVscJDnjk/Lx3B5xySK5L8v8AVgqNqCjPovuurbmVqcv2xpX8pYnk&#10;kCyXKgJa2zY2FE9SPuqB1+vWm1vElusDSyTIk5ki0+IEPfKpAMkoOMfeHGeAccdK1pbSO1dxFcKx&#10;EjSW9kxbyYVzhXmyBzgjk/TArOKJO7urOikkXl0mVmuNqqfKjBBIBIBBAxzjnJpuyUW/mQoO6nHS&#10;/wCliC7uBJOfs7q1zbKBOgO2x04hAyjB4ZsHG3nHB44zNb6mIA4mMmbxGjkuXZftNzEQy4iXqAzY&#10;+YHPJ9DVD7EIJ8TOVMm2dNIilIAVVUq9wfU5DbT2PSrFrcXErG4V4T5K7JtVu4x5MOwEJFEMZzyu&#10;OOvpjNOKbs4iUqsk5Ja+XyNmxWWQ/YWR5jId9rZzBRFb9f3rtj7x3MRuJ6fXOPrMC2955D3D27LO&#10;Y7nU4rfKqSxDrCBnPpkenata7meOKGBZCA7KRCGZbq5LEq0sjdFHzDAPTsOKS4mSVIGcI0tsjAxT&#10;ZNtp/wD00fjk4XIAyfkJ5ostL/1satyTUYq3X+vkc/vlsHQxpcQwTJ/o1rKPtF5fj+++OQrZBA5O&#10;GXjvUa3ay3JkeJGlmUZw2YbNFLfKFzjJ4P4YqxdXdqwRtsi28alZ76QBbm+bALCME8ZyV746Cueg&#10;Mkl1E9zaGGEKzx20c2EQNhlaZgeMg9O35USSi1JMxvOXuLa6bf3fqaN7ZoUe7VZktSojlvgVSa4k&#10;LhWSPkHDbyvGQN+egxXNXiL5xUHIIEsdlbqTsyC29z7nPPuelbxu7tlNu8wWOIKIZjuFta9WyB68&#10;qc8n5c55pz2Om3MMctuJ7WDyWG1g32zVHxgkKTkZJPGBxmpupPRaW/UNKUbLRt2+6/6nNI8v3FaF&#10;Ujczz35UtcFSAFt07AcAnHOVI9Ks5hllWOeBwrRLJbWFuf8AWcbjJKw7dDgjnHOO0c1vc280stzE&#10;BLGpD24J8iyV8Kuc9Xxgjr179qiBxGblFmFpO3lNduvz3GcgpGRyUxkZH4+lVZr0IpylGagvx8+p&#10;ZgurjDi0mieaIMWuUbEMC5U4jYDkgMvIP0q00JiW3luQxW42yx27f8fF4cffdeu37nbjmmyRNCUy&#10;iyXEYKQwI2Y7MFMGSQjjcdpPUk8Y6ZrLeR55AZZJEWaPyjdsCskuNoKxegJUjoamTlF+WthKUItK&#10;/l56bW/EgvZXeS4FyFVSMzOmBwMkRx9PmAHBHPrk81mxxxw3ijyWkjWMyRWudsVuckgvzzjAJP8A&#10;smukugk8aJ5MCXDRYtognyQqCVEkmMjPIJz7ZrHW1Dm5mkuxBESzsQN899J8xOBj1J7f0qYy5opL&#10;dWJ9jzaTfu9H+hm3bbxubDI5CyzvHiSb/YUjsPYd/WtSG5hkgFokcskoKTC3QfuYFJ6swOc46k4P&#10;y1lywSIjFh5sn/LZxkw2IHRcf3iAT6cGrEU7xRpHEzJCwKoI0zPKwOM/T/Cnza2Q9o8qfvJ2f9fM&#10;30S6fTw8L+RGWYXV40RaWZh8oijAHBOR0/lzWvYBbeGKG7jk+x+W09taQKFllcjAebBIA6ce59qz&#10;dPa4udPS0tyTPBOWErsxitFxgsQARuJC/rXTWlrGNPndp1dnmMclyXzNJjgeWp9R6dP1qoRTTXnt&#10;8kVGUVO7suq+b/zPNvFswxb+ZFEXJG7y1I2/NlVPbIAB74P1riIA0gacEqIopJJHZdueoIUYz3wD&#10;713fjBFtRZLIBGEcbLdhtcghjukB7tgHI46CvPDcRFnJYSfLJ8igEtnBzntzzj298VOqtH5mDmrO&#10;S3v/AJf8E1okjktSyuu4YDO4BLKeuPT/AOtWVAkouQkbsULuUGRG2DkDJ7dDU8UEnkhzOFeQpCoU&#10;btpwSGxn2Ix60iwvA6OkjOux1wQV5B+6fTuePzpfZuwlLnanJ7f1/kaCxXgVQJmwFAwhXYMDGBnn&#10;iiojJHxuiVmwMsQMniip9jTerkKVWfM9vuOJeRS1wIBH5VztMylCyWtvFhsB+CN2D+v0ps8Uj+dO&#10;FeJtQPzJF+7igg+UvtY5zkKF5/Sp4TcQh52UlXkF9qE0zbHjjXHlRKwwME4yD1/CqTTS4laeUJez&#10;yHbBFGRHZxkuSo7HKspzzxxmpt1RFNxipTqLTbc0nuLgKPLjtLd5I38uRgGkWEgqcocgnjqCOpqG&#10;2bzJlaExMyoyWERj3lW2srz4PQj5unYn2qp5heJIJrcST3sYeRgo/wBHiGcoR2ycHjmn2LXpuoZ2&#10;UqFgaPJj8yLT4mEgyy9QSuRkZPJxzTUrX9As1ZRXyNIxs7lYUWcyOtvpvJkd5Qw8yZWAyMkPng4z&#10;jtmoJzN5sM6vG6q7MJWnErTTMdpl8zHIG5iCw6c+lQvLd3Vzb/Zd9o10fIsTM3lizj3OWJk6r3O4&#10;9CcnrxGzwQl2gB3ynyI42IlITHzyDHynJ3EcAcjuKm/QdlpHRNL8/wDImN1ugjt1tY5FSZkMkUOJ&#10;7+VlO0tLkghTjAxkZ6nOFuWsctq6xOsqJHc+bexrIImupcALEGPy4X1z356Vm2tm17JH5c7QGSfy&#10;dPs5FETFDlJLgKfkIG0gnqex4NbVlPDamzdIUnisZttnFISx1KUsGMjwyZVlXIyoABA56mq0itNX&#10;+ZUn71nrHzJA1uzR2V+JkjTzLvVpYgsrXEnPlW8fXAGBkKeeeeObEsxjgmtY2jaW8KXuoMCWexCr&#10;mK1TABj4wCE+X7v4VNyRuJniR9O09y8SCNt93dZ6MgyRgnPpwfTmV5WMRhuIWMxuTqV/PM+YDM6K&#10;sUULDBGNo4fjOaTu99y4Ramk/wDhtP8AMcweS1VJ/Mhu55C1/M21IY7RQrRxmQDByBkggdjgnk2J&#10;luHWzMDQWjzsbe1srfbEbeIJl7kR7h/dIyOpf8qMllI6MvnBwB9p1oQr8wCsyLCQR8zfKM7f72M1&#10;rJHbXMrwXUTRanfGOTzRdAWej2qAs4aLG5W4HAx0bg5qkrr3n1/r9TN8req3vb8PyLFrGLtIGiEP&#10;nM0emaJbTX7oqoB+9vDIV27iQx2MRy33sgVqIscaNDG88+iW13G1lZygwtql6IgrzMu4F1EjyZ2k&#10;YVgOvNYNvqN1LqCSK/lNdWpjsSbhYWsLUDlm/hJK7wc8ne3bAro9Nui0if2JZMLuW3GleGbFITLE&#10;q5ZZ75x95SDMzCRflBbOMAirimrqHUJOpFpSd109GZ3z2ktxZaxI0sFvcRNqNxZSfaP7RnKkRwhi&#10;VRliVcEAgrtbjIAqzdwEy3Ee2VtWlgdtSuZypt9KttytEkYxkNneCuc/MFAyNpmgS1+1zm0eO6js&#10;rkW+k2lwpkW7uJFCteGHbsdFZD/FuClBjlsTXk+6CWxl1UPpyXS3ur3dvGZXuZxuVbaN2UGTg8qc&#10;YOPTFYycm1J+h0wnGnJpq6X4f1oFtDdvDEkD+Vd3URtNMnm3wx6dYKCXmQMo5l3Scn5h8+Dhubcc&#10;TRpbanDcW1wLJhpHhbTrq2ednJMga9YAYADEvtbIZn4zhqwo1sXhaGSfUTezQtJqV0bfLaVZxlSk&#10;Ee7IPyhwVYDjaFBJ46Oxea6+zxWsNn9p1KFbKw/tAPAdBsowALlBjZucb2If0YqdzAinzJcr1e/z&#10;JlZyc3a2n4PoRx2lvb3Vtql+8lxb23mJb20cu2TXNRVWYurMCjRR7gXBzvVMKWLAGtbWRa2vJ7q4&#10;e5hsY4NR8QXZuPNW5uJgWgtIuMbkY42gkrsdhkA1rNPC536JCtndNBLpemW77rtrxfLKX178/wAq&#10;g+ZwoBKByATtyUsb/wCw6ZZx26x3GlaTfM9lcCzjjvNd1B3chTCdzTKoMWJGYGJYlBDK42VG9tdL&#10;fqw5bP20U9L6fImW8muba9s7mMW+oTxR6j4j1qaVraZIbcl1tt/Cq7N5akAZ3DaQcYrIi/tB7ma3&#10;uZY7W81exN1fTXLhINEscghccfPKsewKoJZWAwS2CJqD6XeanHqsH21LC+MWqv8AaG3X19NmRdwU&#10;Bn8py3OQCVbcGBps0FwFuJLhfOt7dluNbeRMFJ5Fm+zW5YMcnCdF+UjJIyOFJNLm6MiT91prXT7t&#10;P8tRiyzyXnmwtFZraaYLW1Jm8mPTbSHezOAcHfJuJIzlmfGeRiO3mluJbVGjaS6njFl4fiktY4re&#10;2DFQ1w68sXGSQ4IOXJIOKYsto0fkX0chWQi+1QwSCOSRRLthtItwIGAhYjqC4I6cSNL9slntEggT&#10;UrqzEl6UEm7S7YOSyxEMRzGv+sYdSwwSAWm0k7T3Y1Hmgm1ZfrZW/USSyeGZVtJ4b21026NppVm8&#10;AmbUL2R1WSaOPIDRhlG04O4KMDnBpLIlhEUe3trlrKYgWcrmSbW75iHd2GSGVd4G0bcY4xU72EUt&#10;2hgD28l2GXSZrgm3eysoQDJORjAY5OQCQTHgMeCaVlH9vMX2WBIJGjaDQ992IxbpEC019PKx5yFk&#10;+csAoLdhgODvDkfmNtqHMnuunS1vzRqXUItku4Cbq80+B0vfFU6Erb3txJ88FkkgGNq8A8hhsbup&#10;NZE80FzdGK5e60hLhPtWoyQz7orS2CKIrJY1wAX6A5AYtgnrWrc2EVykENpZXS2MV55OhW1xD9nk&#10;1qYf629uFUnYFXAEmcfMFOMFaYtnbCe4lvQ9/BZznzoI544JtUu3R1jVWy2Y42K9OCpOMFhhppa9&#10;P8iZSjVjZ35v61KckCi0iaSd7KeaBxFst2Ftplk2VVwQwIlcEfIcdyCM4EL31y0mnx2trZ3UFtbo&#10;mj274QrtGPtVz/FLyM87R0/hXYdbUYluIprO7aK4khdbvWr+OTFuzAFksrcHCjYVRWVeQU4xisaa&#10;PUIFuG329vcT2CPqiNEHksbbzVMMSOT8pJ8vpyFIXByQY10uaNOFHz2uIlqI1iv3uN5ix9lsCwa4&#10;16d23vI+wk+Wo54JYemelQzP5UBn0y4WVrrfOba62Pdy5YqqqwJVVHB2j8icVuadHAwhE9s8+r3t&#10;pv06OFytto0OZEa5njwSMqHIcEDK5IIAAxoUurWeCGK4uBKjG30aLzESNd/+umaTIKjhgM45zyNu&#10;C2uaSin/AFciNSMafPb3n+hbMdx9k1ZZrxHlnijN9esJlk0iIPl7aIEYLMqhSpyAHUZyTjPlkit2&#10;FzawmCQWqtYQyLhtPt2Xi5kTGAzlywHJy3QHFbVzPYWoZ7dr28tbNIoLC2YeeNaumcrGqkYCoPnJ&#10;ibIIXAySMUoLl9TaVdRuJhbXMv2vW7108qWULx9lgADAN0TZ90+wGabT6MU5xUdunT5FO3Yxacp+&#10;03N3ZRPJcadaTIY2mlZAr3bJjoBn5TkMEA74FLdZrIyW0qy2CyCUzhnRr6d1wEG4khVZiTnggkjG&#10;Qas3D3U1w7TSk3MtjI88bHZHpluAixRKAOrKANvGRjA5JFS3dYlhmgitlYwrb6bbuwcxr8rS3DRk&#10;g8Lg4PckgjaMU5Jq9hyb5tVZLT8tR19cT3Ml55/kLqBLSapMkJt4NMiTDG3jUDbudcYXpkqAKx76&#10;8N4Y54raK3IjKWdhB5kkNqijmaU9M7ixweMjjpgTapc2yOU0xoH02FdomWR2Gs3WMsw35bALYCMA&#10;BjIAJJPHX93LDHdu0yvM0P8ApD28jRqp2kmJc9eu0qeMgenMyk0ttvzJmuWfK1e6LV5dB5xbWkwM&#10;IBljUyhZHYgLvYcHsMDnrUtlZFbyW5l3T3Ucs+2cgyCR4oizksRjqx5BJ447Z4nS5Fkklkfa75jY&#10;ynlk+YHj0ANeu6eqbxHJN5p/tC8/eR5laRDEB1bgD5AecZ54qGua9zCk23ZL/g9SS1tF2wiXbuZL&#10;QuQ3QfM5AXkDIYYBxnOPWuvtLeAPfQWd0otVsb23zcsw8iKJ2kUF/KxnavJGN2PlGMY52zlxaXNq&#10;s5URRW9zHKrBmQB+QUVe68dc5I9OenLWjPNFCtxGG1G7WEwGWZJPMhJUlGfoWbBc5JHA2jO7XXdL&#10;p+GiOlR5kox0at/X6m9BujS+1BNQtFjiu9KuIkleWDU2VQYlNugHzKpZ2ZuAFXO7jFF/Bci0gjEN&#10;zGk2p6xFbJczT3F1IokQEy7goJQOBglCSTgKAzVlF7WaxuL+WCPEGm2AEmUWOz8qcREhd3AI2pwD&#10;+B5rVihOoarZjNrbteeIrtUu3njktJRPAoMUMY3yAqyqvC8nqQRzLUlK9tP+GCbcm7vZX/AzpmjX&#10;z53lllmhfS7hJvKxFAjxHDmRm3Aq0rIgVRv2oB7a9veXctlYWkkSowg1Kyhea3jdJCNjlF+YYzyv&#10;y4wrHJIJAw4rm2ksba2s0LvJoLszSzI/myWVxujb5U+VBgqcdnIBGQa3LCRxfWd/fPG8P9ui2ZhJ&#10;gzJdWrMzQpsGER4xk8qCepJGVfR3Q3GNPlqRdmRtIXtLeG3VbUrdab4ikuLfyp5YGAnt2Zm80ktt&#10;Vjgjglgu0M1LHp8MahWLlHv9RtJmmMdo4klVntizbzgu5TMa8+4xTXuPIs9OiCTJLf6HNaPHa3nk&#10;+XJBcO4coYiDlB8pIJY544wUt5Ha+tby4aZIrTVLKdnm2XcTreAxBlRouM72+ZjnLElsAgJKU5ab&#10;3/r8ioym9WrpLp5dCpPLE+lGC3uMlbWzupbM5MqLbTJG8rB3GQI9wHZdwHBBrds1tZdQimk09Ftl&#10;8RXek3KmC3gvJpry2LxSMm/ls7yOAoCEFgduM2G1c6dCsUsPkWPh3Urd2jQSORCzXEfnOUKsZHUI&#10;MnjHYZNXl1QWN0C98zi01zSroCxmLGTNruZ0xFjejMqnccg4wCAaTUXByX9bEtyjPf08lb/MSy1p&#10;3sIrlY9Mt0svC1tcNHP5NvZSNZ3UT7dkcJMrnaoXeQxU5DAYq3NI9y8FtYiSK+uPHM9w95bb4bTE&#10;1sskkVvGsS+WcuFC9kjA7kVngR6o5ihWa/trTSJbaKxK3YaYx6gsqxlYmjO5kdtzM38Lbgqk56/X&#10;7W50m5is/sFrbPo+vQ6jd3lvAUX/AEuBI0jXc7YUeWmd7Nlt+3+PNScVFOK/q6GpupVlFbWf5frc&#10;4yXToEj0toVgNxeeHnvblHkuJIYXtL64jJc7cbmRM7epOeABxqW0+pmZoJDd6fpj+IbWOaeISs8L&#10;SW7SxxHcRkGPkAHAUZALcVmpLbIl0jaZGpGj6nbW9vcLI6afLA0v7zDzqS6sxZY+RwMgLhS+SySG&#10;OW5lmaRYZtJnWOYwR3FzHNCIFCtjhydg2gk49silFNu/f/MuVWM1r0vb8inEJYNPjRYrSZNRsrhf&#10;tNxFLbyKIbstIqkz4ZgqRjdtCssr5HetLVHtpr2+1extbK1jtdZtpzbQXEflFLu0i4iiEp3bTE25&#10;85PmHAwHKytNLJFb2kFnbqbebUNEmnhiiaCMCRnEYYoVOQG5UYzjnkGsm60+1tbAn5Y7WW3h1Vmg&#10;3PLOd+x1ZtnyYCgEHnOcY5NOzUVJrTT+vuCHtHKSk9Vf5hYabFfH7HYt5lzeWdxDbNeRpG8TMkm5&#10;ZHWbCsrfONzE/KFzjGKFoxittZNxFBK40u3eUyMcsYblE2EBxv3ZU4XPKg54JGnPfixvl+xWhtYb&#10;fxBdQIqeVdxQJcW7uN0nlYYNtAU87WJJJOCItNtLbU2WAI1vfXPhi5ubi4neV7G7a1m+0SOAsWV/&#10;dqUUbfmIHCjcVUNPff3fIH7OUeWWj0aflcswzSiVbgLjz/F8VnbWUNzFDMi3FuVLFt7EHEbAcnbw&#10;TUzT2T2ug2Bt7W3ght7/AEndG1vExctIygn5sja2Mcj5R0IrOvpdtzeD7In2aO90/UIIVUJMuFZd&#10;rsFGBiVm/wBoEE+94x3lpezTx28lmH8UXmmxaZskBsvMtwqruKBQCs7JuOSWBwBlatSje6V/6RF5&#10;Uraar/gv/IZcvJd2V9cxCS2t5PDen3t3FGVa3vJbW4AJDLHnKx5YjncQ5yF6vScwST3K2wmT/hJr&#10;a5numZpraKG4TeIYrZYtucopLA8BF64LVehlJ0rTtPO+eGXw/qdg7wC7UO2GdVeUuB8yRY+URs2W&#10;y21MrBDdXR0vV2Edw9xqfhvTtXaeO6ngES27lA2BMEKeUvluHyuVAK53Yhu8rJ7v9f8AgFxbnTup&#10;ev4EMtnZs9rY+W1ulnb6pprRPKsrwxKJZIBNKIFZsh5VwUUDb90c4ivrmUWWwW0vkvZaXfW9tFGY&#10;o5szlI2VljB3qBIr7jjAwcYOdu5k0/TdRuFkFo+pN4gnh+yozPAiXlvMssXmFizBQ+F5YkqSTng4&#10;F3JO1qi6i67n8PrFEVnWJR9mvPn3LgkBSwxzgHP3uN1axVm/6sU4R53yu7V9vl+ZfEEZ1p7rUE1S&#10;1kHjp7e5hBa5mgj+zq5iZjt8x3f5NgIACnPJyaUNmg0qTyGlvr258N3pupWgWD7MLaRnfY3mZAUA&#10;uSQGGMc8VdxGmrXetXwtYxbeJbCeaIm3IRJo1L+VHyTIQNwJXOW5AB5sw3loj6aRqFvHPc6jqOmw&#10;2UVxFBdtBcBZC0yeW25AzYwCRlCW6ipXLKK5f62OaMpUZKaXvLf72/8AIn1iK0s21uPT7RvtEw0q&#10;6kWOGBEdvlwLdPMI2AxY3EgAK2F6Cuc1WCWLVRFewBIodSuopUjEdxJGHCv5UZSTYXUMAxAwcH7u&#10;cV0CM8Ok63IhS6up/DVlLOZsieLZfJbAMxiAVQWXoTjcQDwwqpJcWMWom3nntvNk19opLq4aS9mk&#10;jktVAhhTy9uSZCW3HO1RyxJq4xS0jr1LlG8XUqej89vuK8JtjYalNZyERzaBZ6hHHM6oYHjvYRKh&#10;ZZeFMTy9gcx+pqSKe8lu7CwkaGGCHUry9k1A3ai5iIty0oQF8MCpYZAJbAAOCBWU955NnOmJZYpd&#10;BSwhiW3cnzY7yJ8yIFIYMIlXJ6EnOMYNt1MV7M8iPLeQ6jKERomR2E9q6AeiquOG2n5gMA5JqXLr&#10;bQu65dXfW1+9unzCSS2uNPKxRBzHoUGHZYhKhS+kw4DN0IdFJAGC5AyQC1u2ax0jWoJZHkvUtNSa&#10;1lESRp5RubbEijewyShePkZOBjHGCH7d/Z1tFBYzpFeeFIlm8jfK8zQ3rmUuSMoBIhwoB4jjPRg1&#10;XmWbVLu5to0ubZV1+zkW8UO4tg8SudxC5YqWZicZzuJPJwveTujSNnDmWi/4Csv1t6HO3LPHZWs2&#10;1I5ZdBdLWVGiWaD7PcKylgr7ljARvlyAFKjkHjfENsdTt4ZonhSLVYLqfO23vLcXdvGpZ+flUli/&#10;3S20+xqhp5bzPIkW8mEfh/VbV3RpVgDSO1wXZQm4AMFJGASA3AJFPtxG0cL6k1/El0ml3Unmx3Ef&#10;2uF3MUuxtpYgMkYUqGBGSCMAsNK/KvkRvTSqbq+/yVh0VtYTQQwgut2nha/szFFZxG2WeCV2YOfO&#10;GCIiCGGdrHkYGDo21gkr3BS3j06awvdKvriW5ns7X90I5I9yjzMlXITCoSzBsIh3DLIzfXUohlkS&#10;PT7qbVbVUkczX/MPmykp5WEDCOIeYzDryv3qjbUzPZzLYzLbvH4WtYZUmlaZA8F1vIX5BuJLjc+P&#10;4DjbnFCspPr5feJ8ylybN/jf+r+pXhRY5J4orJJHGo3yOskayXB3CSTG5ZABu3FmHJK7sMBnFdn2&#10;WF6beaCFn0u3e3W1tkNraNFPhYlYSks3yMxbtvUH7xrpY5rmx1KCwEkVulx4iS6jee0jeS6W6skk&#10;MhiaMkKVkJCqMEOeSGUHATfFEmya3VLjw7OfLENtGrRW88cpKs8ZTcUjUAj+/wADPIaja13oaUop&#10;R9pbbf8Ar8zYtI7iz1GJdTuzLaPcS2w0hbqS6tmklgDRKqpKWBYuGJGPmAAXvSazbTQJY7UijiGm&#10;200Wn+RNHBCwYvh8tnnlSFAO1uvGaleZH1SDStMljkth4lS8TWxDa+bIn2dkUKywqzEsyn5uTgZx&#10;tG2lbTRQR6jLcAMieH9lpHO8ayQLHcsg2uVBwclsntjnkCo5WnpuJpzlyU/hf+b6ElvLHNLe+eiQ&#10;xQ2WoW1su4QgSy4eMLmPOzc7Mc4U8/NnmpbaOV3t7CQtKkVzZypPG6xzrLPbyoWwSrFMlhg+qEDm&#10;lvglxf3EdumYBqM1ntj/AHcEJe2aRYN6yEEZUYPXnGB0M6yyXsU0yh5Jo7GykxcXDCB0idIFEb7s&#10;bsA568fhWkdGn00LhT5Uqjlpv99rItrdItvYNLa4CxQH7TdYncpHK0B8snPG1CM5zyw5xk3rW5Ii&#10;tz5qQWwJSMSMZFC+c+dnpk43YX+A98CsCWymkRLhwPLtoLmGNIoh5StFIl0yNgDCxrOw8wtkbRkH&#10;JIvm8jlljaSBJJZJJlEVugDxrE0cpdlzjacEjPOSvGflrOScZNJakynUjyqTstGvl0P2m/4Ix/Hh&#10;/hZ+1h4N0W98QLoWj/FGGfwDfwalKltp1xLMsb2YnTGCG8u5iJJKkzDjG6v7Yr+LU729t4p3vPtL&#10;O0VxatcpNfuLbcxt2beF+02wP7psZlRnXuwP+Z74Z1nVNB1Pw/rtrcSRX+k6nDqVmbIi3vbF45xJ&#10;GxYjl02qRjcBsH3sCv8ARG/Yo+Ky/HD9nD4NfEd5XudS8QeGba31u6sJv7PuTe2H7iWAvujkW8tz&#10;FFPFIu4zK2ARtQScma0/b4KGIXxQ91+j1X+R6+UTdDEzozs1U1Xe60f+Z9C6RqCxwSMkwe6tjuMD&#10;W86Wc/mSLGbpDsTCPukjlhDFlIY8YGfTNE1FbvKhZp7q8SLToROTdT3sYXAtDFG0jJPb+XGbaUbP&#10;kQgZJj2+YXls1tFc3tvBDIkxg1UajDEskMJZjH5ybA2IpDII5Yw2d755yu0s724t9QPmQWs1vdYs&#10;5Y5JyWchC0cIfJAmTaGgfADKxyMZCfM+0d1f+mfTThGp78dkfWPh3W7q3s4rhpHu9Pspo7m7uraR&#10;5bqzbJRNVtkAQmEgLDdwEcB1YggjHqeltE6xfZY7GOUMbO3tmiZrJTPiV9PkcxYayuw4lt5s5R3A&#10;wcMlfJ/hnW7/AEW+U2moXMfkvNPBJFb+QqB1QM8kgKEhgNsyYH3S3OWz7ros8UjQ20ejTpZzW6ab&#10;NZXl5/almASHWxa4KyZgmO2S0uRKDGUZcgL83bh6qspv7jycXh2laHXX8v6+/wCfstpdROInZ764&#10;jaN7f7NNNnUbgwsJHtpD5gP2y2ZC6v1aPONx+cbdpdyuIXhntbmQRbFuoZXe3unZ4xvTBYJHcbcc&#10;D9y6/wAeeeG0e+W6tjma5vGa4mjieeFIdTnNptZoriNHbbqFoMndgedGnIxgr00cxlj8ySeK4gMa&#10;ySSPEPsuJcAyhSnNtcAsJl58piTwPmX0lO/vdP8AhjwalOLTfb+v6/pLrILlmYPumiZkIkilgfqr&#10;OGC4XDOuxlIU/MoVhxjdpRSBlVmjxmTZsZDvU8q3Xk5I5YcEHPI5PMQ35aRV8to2MpijU+X9qeTy&#10;/nhwxXbPGg3oSCGhB68ka8d0heCS3+zyxmFGVoJ0jV1lb5XCZOVfDhe+8EHAyw6oy01PNq00jRYg&#10;qCgKsVHy42yndnkLgcnBPoNvWmbgSCQzsrbMKGBwW2jg+mevoSeARTpFGHyqsW+aPeAUBO1QSW6H&#10;qAB1B6Z5pHj8zBO4gDzMlGjZRkZw2Bjt8vOQCDmrtpcwTtZNiSLnBYErwWULlsHOct+K/QA+vEIV&#10;tvzYYt8zsJGQcn1AGMcgd+B1IzVsEum9kHADgDA+baODgdyeozwPwqvKW81oz5rbgAQiHbDwTneB&#10;yzZHGeMdemYlG+xpCo9EZjIpG4K4kYqZGRN5GNg6lTklQoIwCy89QKybiCPydkJCxsvlKUcLGQ3+&#10;rVXVlKk5UROvTGOMiundOCAp9yw27/4QAR06DntVQxsxGfnbH35Pl3fKC3A6BiBlfbPPfjq0ebVH&#10;fRxHL8J59fWcgcvHHKCrtMktvCHuosbMSRqUJ3jmOWPeA6gsMdBy97pscwKvCVRRvAl+aCNiQYwc&#10;hy8Eoxg8FCMHlWFeoT2rKSRG8jO4BAbyrn5RgAOQuZFOQDnDopyc8tj3UHCyh43jjAmjuHBMa+Zt&#10;Vmxht1vIWYMmf3eAwI4K+ZWoa6nvYTHNJJb/APDf1+XY8kutJ5EgW5KRkRhCoEqELwhbccHaRsbA&#10;D8cdzzs8DwZ3EkOXZMyAgK23zMIpyozgMg5BO4DjI9iuLEy+dHFbqJYolU2ryCaBGKjZC8mGJQ/8&#10;spQBgDBAO4DlL3ThJHGrQlYrgYhiUhbp5EL7lkjUgLJGChzg71HoATwypyi9Nj2KWIjUtruedEvE&#10;hjf5WyDIu/8Aexn923y9CGwu0PjBUMMZ6SRky7g4VSyMgmGU3gMfunHowJHBGRgenSS6YwhZfJjQ&#10;Q7nhkI8uOVG+8VUEZVmyTtUFSvAx1x5rIZLR7I5POVw+C7IcByodVAaQJHJg5w+NucDIWt/I2Tg5&#10;Xe5CnmqysDmB5GUsu7e7hHwNwzyQN5JH7wLg5OK2bdZkB8tg+9XwVUoIc/6xQuAxTqGU5A5IPOGx&#10;m8+Hy0be1uymQPHBtikXcpLbcNjqTxhlPfI4uRXDxPIsiTNG0pWaORguCzjI3blO8ZYfMuCG6Ek4&#10;qL94mWuq26nbadqzW0hRkMm+IRFZ5lYvGQD5UjHaPKYE4Yk7e5Axjv8AS9RjnS1lSOUS3cAgeWUs&#10;ZAVwwtLqRQdrqC3lzM2c5AJ53eLWsgVlkLxnCMEwnlGRH2lvm2lsEqAcnK4H0PaaVqMXk/ZZrWOZ&#10;WY5luFCwXSY2+RKCGAZsqQ+OoA3DjPdh68oPlZ5ONwsZxcktdD023ubgvDiaSRgwRfNZUlmC5+Xa&#10;znZdQKWZvlxKBz22b0N2rRGXfCtqodzvcJsjXau3a0a4CAnduOUZSpJ5xxlvK0kcMwV505D20gJe&#10;5WJiVhALnbcQsAVcgb8AZz01LS6aN4SLhRNOxESt+4e88vfvmWH92RKGO6eLGcKMcgV7NGreKufM&#10;YrDcvr/X9f1pNf6V9nIltQ/2aQ7GijwsNquAqDAAbHDEEfdLY6HIzo3K/LzJmRvKlCBXhYquHjYg&#10;jeFYcNjfnI6EDqo5yyoUQXCyW37vYxaBlOPLPUjbIMnfj5QCDk4FZWoWLWpa5CwNZbVcNcIA1kwZ&#10;SvyhR8q8kMzApjnNY18MoS9rS+Hr5G2ExjnH2FfV9H3/AK/E0BcQSpDvUNFcSFY7m3bZBG+4BSTy&#10;yuWbA467s+lXCHZljY7m3E7SpRsK5CsTyFP3eeQ4ViFHSs+1dt7KxRRKqKH8vzd/U4kx0wq/K+ed&#10;3I4xUqNLBAqTwTyRwpskgYm7v1IZASCcmVMMDlfmUpjk8L10bSSfQ87ERcJaEiQsCxieJZBhJx5R&#10;eLcVwwAyGCHcG8vg5wwyD81vlGQLGiKmxVUcmMAqAQFH3cMy7hgDJyCMkRrNb74QrgOyFrZVO4zo&#10;QcBHI+b5fn4OV7nGSbIKl2aMbsDg87HPfcRkE/IBkDK/Q4rpUEjlcn1B0wNqL5bBDsYcqNpwoK+m&#10;MdMdAM9KZJFGwbcM8kDB2seeMHryMcg/lU4wCiks3HygsCWHXHJJJGBk9+5JpoVchWUkLzGWG5sj&#10;K43HuckcnPXGecJ04scasou5i3FsFVg2WDZ3kRqVAbIJIPXqcqc5A9TWVLagBwAA2/YPm3hQwB2k&#10;9xuVSDxg44HGerljJ2uVZWc7fl5UHacFs44H8/es2SB0OFUuAS5Ds5kySTgFgflYADAACkcdseXi&#10;cL1R6mGxj2b1ORkt0+dhGxZueSP3gXoP97HT1/GsyW1AIPyjCkLlADNtb5n7DI3qCCDkH169fJCC&#10;NhEg8wYRyxDSAAEK5PzKwJABJySB64ObNbZPAJywVQgKucAqSo6hgMcYIOOteXKi7nvYfGO97/1/&#10;X9duWmtkIXCsrq20uCdqhiMcjHyZPfoT7CoyFUcISOGU+Yd/K52dAMjghvQ8jkiuhMGAyFVyrYyM&#10;nYcnkDBznHK8YIPToaU9mWwFwRt27W6YbkE9ypz16g5HYE4SpbLoj0aeJjJ2bMZjsYBWcAIpAJEW&#10;Xx90dCGLcbTwcLjrzLbTCN4iH2nHyBl3bQA5PGQGH3cqOmQakkjDE5UlSBHjGHIUMADgnBxGCGH9&#10;4DJyBVBt8QZ1fKb+VYiN0xknK4JycgjJHBPJ4FZP3Jcy2OmyqR5ep+d//BULwJb6z4N8CeOmAWaw&#10;vJdDuriIhdpYCeMuQMYYwsuDjG/g9BXyn/wTl+Dc+r+ONd+Imo6fMNN8N27WGmzXBE0L3k4GRHnu&#10;IgzKR0z1JOB+p37UXhEfEX9n3x74Zt0L6l/Zv9p6QzKJkSe2bdwGPBPPBOOBwMVn/spfDST4ZfBH&#10;wTpF9FGmtanpcPiHWkjJkXzJ0BVWf+IKrKOn8Rwew+YrZRCvxK8bb3OVSf8Ai2X+Z+pZRxjWyvw0&#10;nkal++9pKnH/AAP3nbySfL6nvfkpEFyckY+fOOD3/kPqQcVWZYt7KAcgnbuyoLcEkdM4BI445/A6&#10;zquCMZUspGz5hjA4A6cELjsNpqBVCyK8pEUKHJ3Jgy8gFAcnnJxxz8w4zX0+tuU/M1WeruZcdlJd&#10;SW0UMcshuZGSIYy0jEEsNvPU78kkYAJPHI9K0bToYLFFWOUyXNl5k+f3Z2ytuAxgYCqoABwQG55q&#10;PRLJLZRqM9sYrk+bbwR3CZkjAcRjG0kAsdxPfGOnNbQO5VLbHMiqjNgYcjaNpHp1GPftmvSw9BU7&#10;Tl8T/BHz+Y4+WJ/cU9IJ793/AJLT5lkKo3AMwyC3mBVUg89M8Ek8/N/I4p4cdcH5SSVLdeTxnn6/&#10;p2qsGby1YkEYGWV1kB4A6ZGemR7nrmn78JvAOCckldytgEHB/Dt/QV3qTjseK4/eWC4BAwFV22hs&#10;4T+EYJ789PoO9QySkEbdwGSzYA5OAMe3Q/p1qsWAC7iiq6hixfAJJycHI9WGewUUrsWDdcA5THXq&#10;CpyeOcD1+nQ0OfT+uhUaaTVxWc4OSVCEkE/OBks27t+IPHQfVQQcZ4U88nCAY5A6/wD1sVEr7sth&#10;cFuCuFjxgnGffPHQ8U8IGxg7RgghjtXAKg5Iw3XI465FTBuWqNGktyWFRubfg5XLHaGzwcL68cnH&#10;Pb1zUoL70ZxyRlcKG5BIyWPGemOhAz17CqxkbAIP3yGUBuS2W4OD04xz7Zp5yGIAzwQM4yQOfxGS&#10;Mgjgd+mdYxtuYTld3HqAcEb5AQsZwu4ggkHPqDnkfwls8dRITGGDRhTIQwZPOI3ESIhYgA8g4+bG&#10;RwDjPDAXUqyiMRsoLSFwx4bOducEc53A5y3K+kpYk7Nx6sqiTbtkOFyCcYDZyMZ5BbjuNY2bOabb&#10;dk9BZAZCcAYVNxUbXkkJ4wQD0G0gjHPboQTeJtsciDEsex1bKEkhtwKnBwdnHqAfYkBZsB8PkqNh&#10;BITqd3Q+x57gDNLiNA2W29CylxGcswCjPB65Uem3HGK26GTulZ9BQW2gspT5iVjLKrRgBRgDcRwP&#10;T8skmlZvLDEq+2MZOxCWDckkALznd16Z/RhiZw0scrqWBUZCypjkgjOc5yeARwcDHBp+5dxhckEp&#10;8hxtd+u4jAGCAFz25HqMgKw9SoBOX6fdK8oME4Chc9M44z0phcAAqjKqAyMxQqxyCWA4yOSp4BPB&#10;444dvAzuGMqx3ZBUBSRySfQjr6nmnfLIHBztKFWIODydp6H1BGfahX6i0e+wEEgKM43KQQAAcMTg&#10;cY6AD8R3pB0UkH73Gwkg85z+a4Pt9cUMqOxJ5JyGUMUxkc5A9R69AO1BUMBuXcrgLtCDBByTj16/&#10;pQC1ZGkis7KqSFVJUb4mi3tyTw2PRcHoecHg1HLght5ZFDK20YyvBzyOPx7HvmrDEbicdDvJ6fp+&#10;A/yaY4UKR/Fz94/MRg5J6+v05qZ7Fw0keQeO7T7Rp9wjB5CVfzScMRuHz4znuSO/BFfgZ+2b4dZG&#10;vmAc7U2hip5YkqRjjJ+UNj/bA96/oQ8UwNLaXCDgSRsJQBzt4Zvy6/h7DP4qftkaUwgviwV1GTjZ&#10;uPRunGOcE59sjHFeNiXq4tH1WDnZRkvI/lF+PmmSm91IBNzeYciJD853EL25LHH/AHyMe/5X/Eqz&#10;lSa4zyiu2FX94o25BBAGAD83Bz93r2r9k/2jNMmttTvMEZZneSNui5Zl9evy5wMHAB9q/Iv4p2rQ&#10;yXguMbljaSSNM7eAWbA5H4HkY65ya8puTmovzPpGoVKXK3rb07Hxzr255JA58xgvlnoR8vAXjv0H&#10;4GvNbyMgzBhu+YttBLbhzgjv07H+teua3bkNMdpVROCjAAsSWPLH2OPTkHOMZPmWoIDJKVX5Q2OF&#10;2ngED8K9CheNn0PGxtNrZ9H+RzsiMChQAKFBx1+blgMdOhxiqsYIuEViSWmLIpf5R6A/TBPPrV9l&#10;CoybQdwDAMCGHGPve/HHXiq8pSFS6qS2eWCbXUZBOAOuQCK+ipyVo39T5ebak+RWtq/Pb/I9S0B5&#10;4SLlrh7dFYrLqLwNcyjC4WGADoSemOhPbrXRwtMqtbyR3FpaXEeAwlLanqxY54GMgMxAA55xntXC&#10;6NqMwSLczedGQYVkJjs9OGS4Y9ixK5x2wMmu80+QiP7Yb3gWxEus3WZ5bkAsGSHuWONgwD04wK6Y&#10;ptKNvuIpzpqK5k7dfxf46G7pd7Ol2LL7Bb6hqO54rHTpSVs9NONoe4xgFlwzEHqV5GBg9Ho7pFcT&#10;suo+ZAxC6pdeUS93uTDWsBJ454ypwQx6g88/bWdvaW1st/p1zB9pi+0Q6RYSCC/vt5OZXkAIGdw6&#10;jneCMZFa9tci9AthawzGyikQESGOy0dSRvfeMh5CMLnnlz1JFHM5TcUtNiozXN7u9vwO6ia4u7SR&#10;GtIbNIYMR4kDmztmkKpGAQCZHJDEKeQScYzXPlL+OeI28kOxCYooWiaRrFFC4Zhj7zY45B+Qg7Qw&#10;zteGmhW0tQ0Ki3d1mtjOh8y9dcKZX6ZAAOOv3SOT1qzGz+2X01qS0LXCrsmO6XUJuFBUEcoDngcc&#10;jrnjTlbk5RX3BUbSXsna2r6EF5LK1uoEexrm52urN5l5fcb2bcCcKNyfyPIwKN1e3tzEyXgNvFDF&#10;y8cWyy0tefkDZyWYgDJA59+l25lS3gkQZWWCQ/ar1gWJ8xc+VCOCMAEcdS3pyaBs5Z7ONbfdcsLr&#10;dFp7cRIQCTLKcdeScnsOOABUqN37z+RNT96ny7+f6mbbgpEsRZzagfPbAGTU7wquMk84BOXJweg4&#10;x0ktpZ4/O3GOSeJHaONmJtdO+QFBzwWOcnrz15Jqa7ia1a5uhN5nlRbLu/LAM0jjaI4BjBI5BPT9&#10;BUMU1je2gU20jTqpNtaqCoYAHmRvfB75IHODwFJvm93bf8iKKcpNrXovv6fgc2okSKO43b7O4utt&#10;1Msge61JgOFDddpYgHt25OM9FNp0lvBCblI9ywrLFbW4QW+moSCZZueoBzg5Pt0qhCFNwjXEqM6v&#10;uaZgTZ2pDHiNcDLD5sMck+hNXTLbb7uCRJ4tPYEQxAedd6k4BYtIewLMc49R1Jq4ykr27fqW4xjG&#10;MIu1t+tiqIvPa6lecS2TSCC5vdxR7thuIWEZGF6nPTbtIwOrLizeErFHHG1uwJW0FwHckE8zyggj&#10;r908/XBIsKzOZtk9oGtYlllwwSHTFyyqiY43kE4xkdepzjPJukARrSSG2mImZgoW41Es2STkDCDA&#10;zgk5UjqCKmUpS0e1h+0ptap6aX+ZUhxqM2WNrN5QKrO77bKyUZ/1YPVgQcD6HPrrkadcW9x5Tyxx&#10;qhjKSZFzqkxIBKgEkKc9egxT5bFJ7eJY4c3PMgsYGIgtwCAu/HfGODzgfhUFs+5Li4ae23ri3a/I&#10;CbMDcy26MeRlsZwSMEjp8yVuW3X+vyB1PZrfff0/pWOav4550ZM+W8LhjBGcW9ihwzb36EnIqI6i&#10;Y0iaIN5m/wAw6ndKVMoySUiXJ5znB6c10dzHFNaxoswSGVUjj0/Zvu7/AAOZHPXaSBnJGd44OMCr&#10;D5jXMZaO3u57bljImLPT95IyR0yvJx6g0Xlo1v8A1YyTpOoozej1T/zOe1G5gkaOOSB40mZJobWR&#10;ysl1wP3krkDA5yAf1qZ5RMrlZVlcRqVZOLPR0AGdvGGOMjjgcY5qveact486kyFI2Ly3KHa92y8l&#10;UyeFwMDgenaoPKeO3SweTfLw8GnwtsTDbWTzmGOACCQf/r1S92ST6ktOKbT0dv8AgJFxYLHyGYrO&#10;0TtiNRlp9TJJJz7ZwAfYGqN0M3CTr5ayCMHy0O6GwXI2ovqx3Ac5PbtSxxXkMksyMVSFh9pvBjyb&#10;dcgCOIdCewGMkjpnip7hYfOtgIg05Uz2tsDmSUg8ySDpjk4B6c+laaWtLY0hBxmpdP6uZdzGxiin&#10;WGZbadywOG87UGQglRxnaDsJ46HpxWLK00dwY5Tuj80iR/lAteGJUc9eAMjPJHWt66uDvVmmcEr5&#10;El42BFCvJKRYP3uTkgZ/Hmsy6g2fZSpUgEfZbJz86MwAMkvGRjA4P9eJaXNYiVOy9mtL/n0/Aike&#10;2ljjjCbEMmFhJKTXRUj55McAZyfXnp0ASKOeCRSjIGkzvu9wKW2G4UHGAcFfy+tR3cSKztJJH5ay&#10;4lmjOS5C8JGo6EElSfUdKn8yFLfy5o9zsqyWVujA+SD1eUjuOOMc+tQ4t6iioU/dn/Wm50unPb29&#10;gY4yqRR7oLayjfbcXzhQN0hKnC5xkc8EGr0VnLKwWDY0ykErG222sFwMbn9ec5HU9ea52xmt4IZ2&#10;llhZ5FY3GqFf9QpBcpHzjI2gj1Ixz0PR2UbiNmeICKCXz7exb5Jb9sbQXbBIGM9R35zgYIqT0Qmm&#10;4899rf19x5545nM01sqyK6xMEFyQCZ2wTnnB24Ix6cd688WASOxEkSqkDBmHBB7E/j/KvQfHfkte&#10;QKdgYkyTCMfu0BGQoA4BB6gdDx1rgk3O2yODC+V8ynDK2WAGfw7YqW3ZqW5jaMneL0v27l63m2IB&#10;hmUuixOjckcHgdxnPt29aYJXLyE7PJj8xlUDBwSw3N2J6c/pVaW5SSVgsJgWLAVujbsH2+tKsbLF&#10;/E6eXvIcDPLc/wBKuKa06inpaMNl/X+RptqEQJBULjjaGJAA4AyEP86KzJJV3kxuioeVBbGOOlFF&#10;p9Ig079DnW2ROyfa2u4oMy3Bg2273E8u3bECQFYJj070t1HAryMGLxRFbq8LfM7OEULEOADgkA44&#10;5PWpJ/KRolt7cMttiC3e3j3Ne3BJZ5W6BgM7QFP8A561JBDKqShvLeG2fMkOoOkMVxM5O8uD8+AF&#10;UYB7HAz1ym1d8rEoKnPlnt1Kkk96bWZ5Y1URYnu235BkZg0aDvxxwOnPHFTi7ml3W88kNqbxxd6m&#10;6qY7eKFdxjjDZyOcjBz265zTBGhEiySxygOGUeUZEkuHbcoU9Qq8dRg4pk8ctsXtbt95Lxz3UkZU&#10;mViSRErjg4BJKnuT6Cp5mpWfUlR5qblDdbvyL10klvJaz6pIcX0Uc0ZibdLb2hJER4PAZU4D4JCg&#10;8ZonubG6tofsML2bvC2ZDNuBhj3Ek9QDjJzkdata1dwm/YXqyzp5UTXi7AjRwoiJHCByu4Kq/iec&#10;4NZEqLEQWC2i3LCaaOGMGWJRkJHsHQEbThevpRrJXfexvUpNJzj1sydbiCaGXdaRQXFwnlRGyVhB&#10;awJ8rEoT95uuQeea04pJ5mtbXy4obiS3IskZiLaxgQHzLh0POPlJO09WPBqnFOzJd/Y4jvuWzexu&#10;peK2t9pXy9rHIPP8ueamjun+y3lukZZr4xkyK5xp1qm4hQ+BtDDbkD9TVaq7S03IjU54uFt2Ioie&#10;OPY4lMrm304rGXAct89xIf4AAM4PWte68pfPJuftEVq7Wds5kVItRuv76yKPnC4bG48YHbmsyzAu&#10;I42iH2Z7yIpbRtOoNlb4be+8Zxkf3sdM+hLbaQTzFLMSpGsbQabGpRFcvgNM+Ttz1wePvZyD0bjy&#10;269SudTlzRXl+X6mlbfZ7eN3vYp2jtZFleJN0s+o3DqzKHXpsViNxU5AznJ4q5prt9llgS0V0mk+&#10;2+IdQZEkEMY2sLdWPzxlmHzMOoOOc84BsZZbe2lWVXhjla1022LFnDD5XlZOBg4YbgcE/nV5FsvK&#10;kkEqxW1mzTsQPOOrz7cRx+YGyuGAb5gVwWGRnNN2+HroQm7826WxoLY2siqiSrbxTBr/AFaSONZJ&#10;tOgWTbDCM53bsk4XPyke9dVp1uEtHupGNrqurx/ZdMa3uVhh0HThnzpJuN8R2gjaeSMsMhgK5i3j&#10;dnltryyEktvJ9p1R5pW828nkAMEDQhcbEO8nbgnJHYVPayi7u7m2u2/syCYD+1L4ZhgsYEZVaIA/&#10;MNxUAqepK5OOacE9XE051FKctXdM1Y7uOGdrmxlkMzIPD/hqBAIvMGds12SAWUsDu3L3bOQFzUrX&#10;ljGvkq73Fpp5aBYGl8y71W8lO12UYJkVSiMT12qBkdaynY/bHaExRQ3sZt7LdOqx6RZqQTMDu+Ut&#10;tPzDPy7ieCCNCCa0e2aZLS4nuLmAReGrMuokEqsrPM21/mGBkdGyQACVyc05N6lKV5OUNF336mhb&#10;XRS0exmimjQP/aHiNTYeXd3M67vs9qpOMrsIco/O5ug28ySXU9/DJdahdRw3mphZdQnhjSzttKtA&#10;SqWgTaAPMIP7vsMAbc4pqWcdh50t1ex3drZ2sKQ3FlM27Ub+4iEqRKxwWERMgYkFV8sgHDAli21v&#10;DFNbXF/FdRWTLf640SyGS9vOI0tUPTCGScfMOcNg8DNu/MkvmXCVNJczvK3y6GtZ6il013CqQv8A&#10;25pklhbXV7C1svhbQ7PdJNMVUA5lDONpJxulIyzAjT0d4rm803VrWJZLqSxk0vwTZ2yeVeQmICP7&#10;c8fO4l2kbcCH3DOcABsi+tpg9s2rXT2a6rYpd+JLS3h+zXGmWMMYFnYrEcFWciM+USGBWMKCcALc&#10;W1zca9GNAaK0vtXhSaymuJvIj0awEKEM6nAVtu9zyrEHOeeU3G1l6fd/wBpu2/b7r6r8DFmeEq01&#10;tbyXX2fUxYaeIwqSXc8mTLPIpyxAAclhwCFBPOa0Ifs9tE4gjZtO0wmOF3hYDWdUKPuZlPDBc84B&#10;XHZcjDxp/nW1tJp8Sx/2nIyeH0uG3CwtNzSNfMy4KggNhyvXzOAQCqpZztPpzaTdCILcNpOhLESH&#10;OMLPd7chMYZFJLYwwHGOSV5tJbO36Gb5vaNRd30T7XvqYEX2rY4uI0jjtb0Sar59pvW9v5nZkjUb&#10;SRs3HKZIyp7EVciuY4jcwXckEFnap5l6Fdhc6jcMwRYIjxnhjxypwTt61e8mMRvDaXsupW6yzWfh&#10;8eWkVxPdytsluZkyT8g2lQcgEHBwWNZbx6jp+o4txBqC6VqDW1otyy3C3188YDy7RgEJuAJ6ZGDk&#10;qQBv3k5/1sXKNo2i/T7ye7jvQbqa5EltI9qt5qMvmm6udHs1b/RdPCnorbcYzvAAwc5NYZlhaK8W&#10;5gdWurWKXUpmjIj022SRVEMZ7GTYMkZ4chhycaTvJY2WpQXMl1cRLdJ/aUSSBk1S/CSRxKoBG8R7&#10;vmcH5Qz5HU1TEJRboXKzzqQs1zIjYF1NgkRKM4+TeQecHHsMU3FO61RFNQfuy2v+Rq3F7Pc3KX1u&#10;qabLcaabTSbFY822gaeflllkLDJkkUsc4AY5IGTisPTprY3VqNPElx5UZ07Q/tErW6nerhrtst2k&#10;ZG2McfIoztXBm1CKK3uLm2a7llvipvvEJTD2kAEatDZRrgnLZbMfQnaOeaabmG5gNqptLeeRPNll&#10;kHlR6fZorAQhP7znLdA3ygDqQM2k37vUJXdNpfZtZodLI6wwyxq8tpZymzttPjKvcateb/muWHUq&#10;Chbc3QEAjmkuLy4Yzy3qx3T2d0Xv7mJg8mq3UuCsZKkgbRvYOuQckE8qDRvZprd7G6Om2wkmtSuk&#10;RlPs8dnaq5DXLEYDbiHAcjnJ4zV67uIlmi8i31GG1ZW/4R21uCqNHuba95LHgBjkMMZwWUHOAQR3&#10;TMo1Xs9L2+7qWnv7iNZLRJohNLAlx4ou7VCdqDlbWJgNygE7GVT8x+X7owM6d0u71EeOTTrO6/4/&#10;LkWplhsrTH+rIOGywYnbnufvZwM2I21ncJeA3FzCpUWdlextc/2tKCBkgdUBLMyNjgAdeKUXtzer&#10;cXF88Txm+8y6it4nikv58hlhA2/KigKOD8oz16FOTcl5Gz92m1UWr6+Vjoby8uEvYriG3uLR760Z&#10;PDqSXQ3WtsGEaXLKvykhR1fnvVWJrKC0ttQUCSws5gtnDJMt0mqXCICZyMENGH2ZUjpxnOWrOW+u&#10;5Z9Qiv7iKCOaw3ajLJjcsa4eO0SQbmUkKiZUZBwG4GKy5TOtxA1zEiJMoNnapOJfs0Khvndu2cN8&#10;3HIyfWtOWN0+/wDmZKCV5S3f/A1LdzLIsU7XbeakMgk1O5hiwbuVwrpFuxyBnBx0+bIOBjFvrppN&#10;zTXYae+jE2oPO+54YwOYw3HYY5+YY696z7++SaIJawMu2ctZJJN5jXkn3WuJCMDAUDGB6ZA5zyct&#10;zGYW8xTIiuXmTeEa5ldjgDnoM5yKl2SStqQ5SSvH4S3cX4c/aY1jWQqyWtusgZYEB+aRiepIIPrm&#10;uW1C5jjidI1XY6nEjNvmmcnl8jsOnrUd3cykzxOSm1P3jLIGVV4woxx6cisO4unIHRSIwFXAAQHk&#10;fj71Ls4qJnz8yUnroaWnXUAwyhvMyqc8EhSNxB/Ada9W0u6jIkgtSxuVvSIWfNzJIZI9oyGOzJwQ&#10;MD0FeELPJHJvT5QRgoTzz1yfcV2WmarCZbcR7o5PtkfzLJuVfovUnihNN8q3M4y9k1L+vQ9Sj1ET&#10;W5LOyf8AEmMYjdgXnKStn5U9gByQDj069iGS2lt7mF4Jd2rwebJcRolzF+7Tevlkk7CZV+bv16Dj&#10;zu3a3DXKXLsk4t54rYg7REGJZRxzwGJI4ro7VZrWW6nmEkyQw6ddRbZFjGJHiCFv4jncq4HUgetV&#10;ZfDsv+GOmDlzpw1fX8juQIxYW4t4JL63Q3VlaPHcSSNevbSRTxggIq7SXc/Kckg4AABq3Bcvd3cM&#10;imdrtdXsL61UbwJNyKJ4wwUjDeSvC427cc5wOfWS+udRh8s5L6hcWgnQvNIzyW+9IgzkchW5A7Ng&#10;cDnRjaWC2s7gz21xef2NHPelQnmaf9nu5Y1RQMglVBJdsAlwAM1cZJRdnrdG2tST5ddPwOmsra+l&#10;SK0MOoRaounahYxW1vJcJOYwJ7pVBJHy7QxZSMso4XkqWXdot1ayTywyQXC2Gm3trA0TWqXXktLB&#10;KkRaTadru4IA2jDMQMYMVjJAmpnU7hTDCPFHkwTWE0ZunFzbFplWMybfnCmNmyGIc5PSqunQ2d/Y&#10;B0mEF3HoVyBBG0UTbluEIZRtIUBZApfnGeDxwJqTdzR8jlGD0Tt+en4Kxt6TZXN1dxXd26waZPe6&#10;hpUTGTZvmkt3aNViWQMNu9sNg58s8YBBgt7K7igtLy3xb2a6HZajC+9I5Ykgl8n52dxuKvH/AKtA&#10;dvmAYblq152t59WgvXjlm0eyl09pIdOYWkqJLbJFKiSmFgjSvGMsAexYEcViQzW9xaz2xe5nSx8P&#10;6jb2LO3k2sSfapLjy03Rbn2NLKQcYLBuTuJE68yto+5OlD94tVay+bOl1XxHNeWOl2d1Y6alpplv&#10;qugxRWNn9gubj7YstxHcXTh8SSF5QC5O8iGNRtVVFcgLWSOFF8uKGyg03T7y5zOiklyVTCK/8PIO&#10;AeD3+Wt6S2u72ObU3XUUSPXLc2MIZpnY3ETxq5k8oKqgqCWbuQASTisrUIraHS4II78XOpx6BIZI&#10;40l8qFre6YylWdAvA8vByTtPThqJxtdJWYlJSh7SW+39fcWraystLisL+8UOuoaxqeki22xTafcB&#10;o0KJI6vnA64zkHZkjNUZJGugl1JciN7u302SVJoYpYIjbS+WAh+ZpJOWXkf3sFiWrYmtw17BNZWz&#10;2dvD4nVLOZ5xJdl3s5CSGEIVQ0nziQDI2rySCDBptlf29iYINPnaE+GZILeaVrm8Fs0NxDKpkbG2&#10;JgI2VEjKkguAADWenK79P6sDfPH2kkm0l5denyKCwWz6qEF1BBnWNVtpPLSFGtorgCdHTfEExlpB&#10;yPvHON2MbWnz2tjo88lpPLe3N/4btniUu8X2MW9wrPuXGXwqo7HdgGHIwMARNaW76o7Qs+krNqmn&#10;anaLb208CRW93bKJ2+ZsyKrpEVw2CWYj0ENgt5HK0NnBPfB7HVtOiY+dbKWiiYTOVLbm2hS2W+Yj&#10;tirU3ZOXbQd3GfKmnb/O+vyLlyj3N7NMdZaL7JrdtKEkM0yxrcwsxIIUJneW+UkgBgBnnbgyLaLb&#10;pDbTBnWx1LTLyZzO0N5cLIZYgI3kC5IA+UjOH+bgCrV5BJYWEt7eF5p7qy07V7KWYxvGwjcxyDaz&#10;l1EWYyMjtgDIrYl+2XVza6ZJNp1oyeL53a6uY7eOAvdxfNI7Kh+Ro0dsqONpyBnBOZcvKn/Wn/BC&#10;m5uXPJX6v5bHOG7ay0q50tX3yXlxYak0jun7krgOSu/axUM/DfdLYwTnM9tcvp169vZ2b3cVpqd7&#10;ppuYpYonjWSOSRoPnlGdoA+UEs2xjkcAsSFDYCOMWsYXRtSgla0Kx3U8lpJ5qXM5WNlOVjVQT8xW&#10;LHy9kgubvcLWSbyI73VLOWSYKUSKKaCRGcx+XkHsNuCAoyTnAI2dTlX9dPyJqczpyqvWP+X6ETw2&#10;umWVnJLvcXPh+a4ni8yK4aWW2uGjWIL5nGUZS56DH8QxUN1OJpWmmS3eKLxBZatstreOAOZ4vmbP&#10;uW5YDkM2AATVoWhiMMVukskNnbalp7SPO0qygPiN13RlhjIYFgfunAOTTZI/Ps2je485X8O2OoXs&#10;FmZEltRb3D2yISyLuYRxJnaW+8MkHIoir3UfL13uaxXNC1PRa3v8kWgYCmntD5EgXUtT0uW0Szt7&#10;ryi0HyIshz97ErME+6VOcELmKxif+z5be1WH7Vb/AA/mLWqSxfa9UWO681URVjOW3KMYwcqOAG+Z&#10;1pdeWZU0+e7jtpPFLGSWMb7BmMP7s7mcMzHczgAKuGBz3rOhkS3tfIimu4ze6ZqWlCYsCj5ljltw&#10;wWUYUI0uSMDIGSueGlG91/Wn/BM01TnypXX531f5G6sos4bt7dvLuY9Y0y+slQybUieAHcuABuy5&#10;YEnALEAniteGxZtK0wTSI2pm/wBW0O+815LZsOkb2reYCXZ0kMpYjJKhOgIrGlmtoLO8C2thuufD&#10;en3ssUSQtPFPZvbvmJt5I3jYquQBtkbbgjjf04acmpQtdR289uvi23hs4oVguYF+0W8zu0aEfPIz&#10;LN6ltvpySTabjvtb5aGtCUIRi0ry/wCBoUNQad7a51CXS1t0/svSdSktoZrhoDCtw1i0jyOBIpkO&#10;7PoZPm4FLDPbi6luHlC21p4yvUTT/t1xMvlSQk26F1BDFSsY3uQPlyBng499ZWy2lvBaLdt/aWm3&#10;avBJKjuklldtGfMbysFFy+EUYDIM54J0PsltBerqMWnzwQQa5ZebNewRTRySSWKyOB+7EZZwykZU&#10;7VljJzuVjMG0rW/rT/IiSc5pvWXT7ilKRHpod7me4v8AU/CYjS3IzLHJb6hExDSGXKtwjFuGLZDH&#10;vWj/AGMiXcciS273Uniqxu47gSW92Q8ln5wEUPm8bd7Kd+AxiUYGRVeyjtv7ND/abiK4v9L1Kysb&#10;OJGAWUXGVlllEW0qpwdqZZtwPGAW1rvzdGgnsmYT3U2taRr8NyyyRTvtjMRiCKDwHmkAI64PIDba&#10;Pf5tf6uDk/ZuO69Oui/LQ5nT9IkurOKWOLzoJdIvrm3YvCjXnkTzEsUUnoYx827aAw6k5OtPqFzq&#10;9zd6y0VtGDdaWLaG6e0jhkUwkKQxPPyjksCW2j1FWzHONZtNOtXuhObvV7Ek+d5iusMh8sKg4CyI&#10;F2rkjf0aql4iSQ2TzPLGZvD9jqVwoFwpP2OZopFc43ONkbBtoGFQqeMinFe9zJ/1/SJnzJqnayX/&#10;AADKine3S+3tAft2majpEttHJGvl+RcJO0pXOOXJUNxnbtyCrLVrVTbzNeapZwtbxwWGmaiEnMaP&#10;dbEiD3AQt82XYkEZIDAgZBz0E22812Zpre4tbG48Rqgig80wH7TbsGAlKt91k34YEkyfxYJrB1K+&#10;nOlvE108F/Fo0VuZJ41giMumTbXUFotxOxgrE4A3Ifl4FK7V/wCb+r/mXpRbjLa1/v0+8lmi1C/k&#10;mhsFKT3fia6t7K1DRQ3LnULeXzowN4AC7AoLYKn0zms6JJ7IQyxotzLDoUcxt4086GCWOYxPFlWO&#10;9mMbscdeSCciulubKN9Rlhgj1G5tLjxXaXV3dzXDPdeXcR7QjvsyNwkOZXYHghic8Z9vHaaeixBG&#10;a7hl1LS2YSqY0DH9yPmi2khehUn5lzheMkovn03/AOGIqNObs97fi7mhA11O84nSGG4k8V2lzFC6&#10;ANcrdQTfxCU4jOXBABGQvOcZwLiGS4tlEdvDb7NIvo3iRnt450WQuCoExkJBSQE9uctnGZ7lZWlv&#10;tSuRL9pjg0iS0S4lDO0xZUQsVjGSI9hU8AheOAAdMCQXKWUkSSXC3moaaGeaLbJHJE0qcCPJIfa5&#10;jPJySxySKlxeklv1JVnJ83dfcZ9zp58261DUpbl2jj0i8sPNkEpk83JZXYybgAqqAqjC9M88TtEL&#10;67+y+X9lW2h1j7OVaQgbRugXBkDM+5l49M4Haq+oRW88dvvjkV7vR9MvLqFp0ijRoJjA0z4j+Vd0&#10;yR9cswOMAgLo3sNpp95dXMWJ5R4o1LTQkSgoY5rVnhmA8vgF36EkAoBnINKUW9ma0XyWpPumvnui&#10;nOzTItxFb3NmfNsbq1uLeaUuA8TW27r8vmShipQYBfG7OAZirR6ZJC8N1NDHpepWAcxSSpBNHcpc&#10;KFfOXY4Vt2G4YBV5Bqo1hDJbRrbvMpfwvBNpyHFtLNLFclQpXb91ShbBwBuyOmKtBIb24EUY2NHr&#10;U0kTzwJ58f2m3jLsVAJDEqxz2DdhmrUmry/AqFH317LRdzWtpmCo8L3TW82uwX0treWxlhbbFtld&#10;5Nm396PlEYz945yOQySWOXRQLq6t5orewRraGe1JlmaO63YDLGTwAc7cHaSBtOCMnSQUhYT3cMd3&#10;YWljfw2pnRxLJHIEm8zK4OFZ224wcAZ5zU1xHANNtkNvBDcXUlzbTySpFHeAxSgoGUAbR8vbg4xn&#10;tSSukk/60JptxleW23yS/qxo2g+zR3FoIPtC3zX8EN2XRxIGjjkTAYKUwceYQdxTaM/eDTWcO6Rd&#10;Rt4oNzOkIt8OsLfaIeozuYjcnGeCCB97G6TS2kv7i0S3OIrO+E91IUU21s1xYssodfMQHc0W1W44&#10;kC9+ZbFQFs5Pt1zayx2tp5i3KeSlvJFK0f7tV3KFJYc9flHI60pc0Hr11G1H2fPN69L/AHXNi31H&#10;ZMzf2ZI0pk/49pXMN9Kdqt5ioeQFORnb2JA71/UH/wAEEv2ntNt5PiZ+zn40122s7ycJ468Dw32o&#10;R2tpdJDB5Wo20M+FK3YPlTRHeCxV1w5kXb/LMivDNIQocRSCCC5cGGE+WzD5SeqkOvKjOR17D65/&#10;ZK+KsHwH+PPwz+KCToy+HvGdnez2ssDJaSWrlYrpXKvuGA8pyuPfgCqjGlUjKjU+GStbz6P5MuU5&#10;0pQqJWlBp3+5tfNXP9F29uxcaWt1Col+aS7t7uOBnE0KoQbuJShwXRJRPBIwVSr8DLqeU1G4jmt1&#10;Mf8AoEzoEFjFLuNwpCZhincu+5FbdCxBbCn5iwOek8N+JLbXLDQ/Emi60mqaV4g0+LWbHxBpMStp&#10;M8FyEaPVoQitnfFI0dxAr71IU7gR82HrFrPETa3K26xwStGI4X3S2BLM+yFgzAx4kSSCVVAyMAkb&#10;TXxtWnKnNwnutH8j7vC1IVqcZ9Nzr9I1+4ms7e61G68hn4iv9qeVAY1WLzQgYFSQhidZMNgbuwJ9&#10;b8NakV0y3gR5LxbRpbI2gka5KhpCz6d50URdY5mDSWjh8blwCu8FfmaB105Ytsrw3Uku+eSWVhDO&#10;GbY7J8q7Q6gRyRuf4mYf7HoegaogLRSAM9uq2ccEEgzIqkO0DMAzZYuGhfgfN6ZUKFS75u5dSjp7&#10;u3Sx9g6LrSTsL46hJdPcWMV8+oW0Atp/EFvFE8Yvo0lJZb+y2v5yFMSRxHK4bC95bylH2zx2SlpC&#10;0xChLFmushZE/d8Wt9jc+1m2TAZBIYV89eDvEUlyg8mKQxW0T3WsQ6YgklEigomt2is4P2iJ1UXM&#10;KryIy6hmdhXs+kXLyRCNVtopokhBgESpp9sbzEksSFk4sb4IPLYE+XLtXsM+nRqXVn6nzuJoKEtF&#10;p/S/r+kdnBM0hME0cziRgsaG6P2vMWx2hkIkAW6gJDhhkyRR8FsZrbgnkljYYjMhIk86F2MFyjhl&#10;W4jKucRy4wUBJjbDHIAY8hZ30RkBS4lfcHglSRy1/dfZSS6EBiPt9nsbOATMidCAGXbtpkkiledI&#10;DEmLl5Fg32c6XI3fbIsjiKbJE8fRcu24fMzd1KXMlJf1/X9dzx69Np6r+v6/rouvgfDiNWdXI3tF&#10;Nv3jYwVvnJwxACqTk/eDA85NsOVI3LGMOFJ3Mw+Ydmxzhvl9gMnHSuehuEeQJuKyKpjdINpmieMb&#10;lQMBndtYGPdy0TMSvBNbUE4ZVZztePKzIrlg2TgGM4HHythgOQDnkHHTCStdnm1IOJZURvHtCrIr&#10;nDKWG18hSCfXjHT1o3EjLJsD9VJ3ABm9QMfMTk+n602SQxFsrtjAIMjsNhxjJJ3DAGGznnA9qdHh&#10;sEAKrgbRt28ctkjg85GQenNacqtfoY6XIZIlIDEZXGGAAO05O7t9c88jIxVCOB1JDpA+QJI5TMY3&#10;LF2JX1C4ZQo5wCynPG7UKYVDIMCJ2IO/5eh+ZsEcnr0IGe1RMG2HO9wyhipALc8nJHB4OOP7vGTi&#10;s5QTeptGo+5hupkYLLEjI6BNonxE+5xgFPMOQ5UlCRlMMDwSDTubctH5jMUkdVeG4W0RZI9xUSOV&#10;kQ7QQSso7Lk4BNdDNGH8sFpA5BMRWRirZADK3GCMHoQTgFhyCRmTJFFK7JDGrtMZpGEatLI4TYSo&#10;wCzbFUEckxAY5xXLUpp3XU7qVVvbf+v6/NGDcRQyMiFoWUAxpDJKJYQJjlYZgNwEMu0Mj4wu0DIO&#10;Ac2Wyimia3kinnVyUUljb3M5VCgRy+3bcxl8oxUK0YXnBOOjuVaUeWUS7V4mYoZVe3bzf3axyJly&#10;YJstg7T5YU9s7ak9vkoyH96zJHNHMfKub3y9zLErI0ZEyBMo7AloxyDya4alGTf9f1/XyPQo4lq1&#10;3/X9P+tzgLnTY2haaznXHlrMbzabZX52eeIyVwCTmRABtYEjpWBdWhaN0MSq1sxjxbwgyKrbXSLz&#10;cHMbByUbexDIc553enTWiXDtLI32ZmVrqK6KspUoGYXCoVXDAriWDJG3nrg1iXFhEjCRP3cSFGZo&#10;hJeW0PmFSpU7W32s3zYYODFu6YGF4JUXfXqe5QxsJNKd7r/gf1t5eT83mscg+Q8pT7SWVncFTtQb&#10;sKzHDjJBjHDgIc/dIxmhILDMeN4SQJKwjKjIXCfKQCRw+AylsNgABfR7u1k+VjbzXKoY1dJJUW4h&#10;bACxOfnwyqf3UhwGwAe+7nLmxaSU7UJ2l8oR+8wxG47dw5HdMf3WBxjdg01uejCcZowbdkHz/OQo&#10;8t5VhMbhxgAsrADcSVHowyATWvZzoEXLTQtLEYWjXaLeXHzRkgEgo2AQeCvI284NB7OdZoyk8lvh&#10;F8rM5VnDBfKXIIxu4VCPulwDjHDHikZVnjlLYJYt5Rl2EjLME3ZJA3hlG3OF5BxilLZNEKCtypnp&#10;GkX0bxmGaBljRmV2WYKyONn7l5VY4bIykiYILqQTnNdfb3ey3/dCS/diXIjaMahcFByQGKIlyh5O&#10;f9YEP0HlllJcbZZImDlHUPFOQsZwCpQjklSMHdjI9OOezsbjy7ZFlYO0jeVGzbVlfDHEbEMpWZGC&#10;lJeQx2jrhq7sNWtKyeh4+Mwycb/1/X9encx3GEE+2TmESl44EcurfPNNCgVid7HbLD1GzIGcFty2&#10;nWePy5TC0jxJ50alWikVgACP7yuQ5Q45AIIBGBxsc0sjIWl8xnZnWSHFvcTFBgzRoy4juYwxWRM7&#10;ZFBPqo0rS5lZg7XMLnyjds9p5s8M4dgHuLcbm/dtgK8PVG5B5DN7NKqmrN3R81Xw7W2/9f1/wdC4&#10;tlHaOr2USSWz58iS3RJDCHwSiMTjZkBsEkZKhR0C2owJLdWJ220hBgmSeUBclQrKWXMXRcJyuT35&#10;NWEuraWOVblofKm+Sd3kWMN5jNGoz8vyt8ojfHzD35NNrZbeOTakdxZXMDQyXJkMzqrY2xyopzIu&#10;GbD7i65HBBY1oocvw7fkc8qjqRtU+JfiLuTDqMSbG8m+EihgjsodTdIvRv8AVnzkzwwJG0Ai4lw4&#10;kVfLJDAyK3mbg6/eGwD5ZQQrdw4BXK/NmqoKqoaOVAWf7IoFwoeN1bBjinIBIVi2EkBzjoBxTEm2&#10;iZn8owmVgI0X7PbzSE7lSQHJilXCfMSoZpPu5KkaRnbcwlB3stjU8+MhlAXLMUwF84zdjgn7zAIw&#10;aM/MNpHYZmjcsyFtysR80SvuWMhic9ic7CMHnj7o+as5ZmIcTTOE8xUbMbQyRKUB2S4IwSWJWRAo&#10;JwpGR8zopwPMXfFC8YD3P2mPa6BcAvIBjIfE+JlwvA4bBFapp7Gbg0aqFWUAAKpUSZXBjOc5AOPp&#10;nIHB/KCSIhGGfuPneB5sgzycDB6gkepyeelJFKoXEaqi48wIzoQoYlixIJ4PzEHocHnnicHegyfn&#10;2nAIHLdCQM54JxjORjGaJRUlZijJxd0YdxGQAdkpzuUBSgLYYbVLHgAjlSWHYYzgCnPGSzK3zeZx&#10;uQBGkYZGG6BWH15zW1LEJSWiEZmjIDySKH3Jn5lx1GSp9Bn5ueQc+VA2Gb5EaXZIs2F8w9AjDIw4&#10;ONrAMGCrzyK83EUNT1MPiNVf+v6/ryyHiUuFDBmYBixberKo5ZRzggkKRx09+aUgVVcMFLR7kaRD&#10;koCpG5R/dboQSfvHqBWzLEjNhtxUpn5hhXJBGVHUOmASABnP4CjKJEyWAWQRk+Yke0EgcyIu44Xg&#10;goTkbT65rz5wSR61Krey/r+v68jn51IMjhI0BKkKOUwWIxgHO08DPUHj0zjXDMAFZlZoycKxUH5n&#10;ZgG2+5OCR0A6YzXSXQG0szBQ6gABgIUV0wSCBgxtu56gYyK5W+ZC3KrgDym3NuYHLMAw64JHBPT8&#10;q8+qkme9hJe0V7f1/X9d8x7VNTjn0+ZRLbXcbW13Eh2KyMFLDI+ZWUZGQQcN+NdOsCQRxW8CiOG3&#10;hW3t4woVVRAoQADgBQBx6CqGhW7PLPOQSkMBQ5ILAsVHPXBAbOM85NbbKuZDvAwilR5mCCVKng9e&#10;cdOODxxSpwSXtF1NcTWtU9ktl+bt+lijIdvIccIC+58Ng8d+cggfipOSK09C0xLq9a+umVrWzZYo&#10;7cxqVkfcw8x/UKVAH+0pOTxitBZyX8qwQswdhtEpbCxYyR25wASPUg12MVv9nghhAGUt4ixZxI6l&#10;SWYjggE75CWGOn0I6sPTUp+0lsvzPKx2J9nS9hB+/L70v+DsSiEpbgMqsVZpFXYMl3kdjg+vzDnP&#10;figKoUJxyOXPBwx5J79GX8qtFMwvGCqlU+RQAijAzjGeOMcdB+gq5CrlSRyFL7cHOVUEjHAz7cYH&#10;pmu/lSZ4cZcy+YgIAALYcZLDB2qcZHPOOcfePJIqM4Uuy4+Y7uWVWccgY47Y69QB7cyZDEtllUjc&#10;DweQBuBPbOMfjxjBxG0buqsnOMbg+HYnIzkn3x1Hbr6y9rPoaxtezdhm7PzscKqF229R254ycgnn&#10;Bxg80i5Lck4UYxvUKTxznnpg8g/nxTkbOAyuynhnX5iM88gnPdumRxzT2U7j64OQJBsbIOTzwenq&#10;OD16ZTvzJ3KuloxqqHCjcAV+UFSWYYO0qTjocAHP555qbqJC5IARshl+YHJAIULk9Acr3PqKX5XI&#10;DMcjGSWAEbAg43dRnGcHgj2qXBJPzMAW4K7k8shlxwCSvVssMA9xit6aa2MpT0uSMqsGOEdJPmAY&#10;kx4TJUnkjOTu3KPTinBxlVzEWO2WMM+S2crlWHPOVG8Z64xTWDMfkCs3mKrEOyMvKgnjlT6dQ20A&#10;9ch6BERd+xVL7Tj90pZyOvYFiQMHAJb353OdySWosTMXK5Z5I49vmHazNuHUjjBz82ANpA6n+GXd&#10;JjczqI3IKoHUNE53AqW7g8AY5BJ5x0YGbDYaPayqY3KtIikliGznBAI6AjaB1HBp8ZLEneVdTiYq&#10;FZz3wQpIDY59DvOMZ40gkc87XuhVjjdgGQMAPLDSRAeWCQCoJHIJRSfU7T6Ye20F9wKxltuZHARu&#10;AAoySQCSF24HI6YPNeSZI1Vm8qNYYw07xyAJBt2jk5X5cHd1B2p0OcVaXcVAZWWQKFd1UbdxC/Mo&#10;JYcH1z061aVlYjzGlt7puLKSd4LRlUBOFwCVIDdeM5OT25oZA2I9ikSIyMpQCFMg5LDgnOMYHYfj&#10;UvlynJ5UMBu3ShMZJBzgdR8uOgORzxzHHJuwwkiaJWKkrMWZHBZWBPIPPGOMY/Jkpr7JI24DAUsA&#10;uflIVyRjGO2T+VPQfM0RCgFdo+cHOPb9OKh3/MgAXaeEYAl93J6EdBtPOfbjipVQ7yVGDwQVKhdp&#10;J4AyM4BY892zzmgUtF/XkNQbY13uqtkMzBPLBONx4I46H3HPOaAcD5iGOOdvXgndx1//AFUiZfcd&#10;hCldzBgoY98cE/7XXvUjELklweDIcjG1c9+e2G5+vFAX11K0jqu5CEXYm5lc/KAS2Bn/AID29B9a&#10;WXoWBBZ+5OQeAP0605sEbSQTkjBG3P3h0J+v5HFRtlmRgQerbidw7dPw47cZ6daT2NIWvdnH6/Du&#10;tn3lcbS5IQBDjkA85zlSPxHavyj/AGu9Fil0q+kkILDzAqgHcu08ZBAIJIbA7YHXPH6160CIHxyQ&#10;S+SeRwGyG68kDA7Yr86f2ndGF1oWpsLfzyYXaNsBsb2AZiCPQk8jsCRXlYm3MfS4FucEm9D+SP8A&#10;aS0FTqOotJCZIjI6z+Z90gNnaenYpweQc+1fjV8WtOkN1fRbHCAPIHK4Vwwz1XPU9Md++K/fD9qX&#10;RQtzqCRrtlWV2DOcLMSf4j1GNo56nPevxN+MdiXeYQqZisxCA4WJsHByAT1PcE9eMcY8xpc/u9dP&#10;yPpqShUgp1On46H55a9asZ3HDl8hhC7GL5sHAOOcY4HQ459vM7qB90zM3ybguOOwOAOO3f617h4m&#10;haFpNgDFjwCPvgqeQv8AnoK8iuoBGMkbHDbVjKk454AHTtiuqnFezs7XuefiYtVXFv8Ay6f5nD3E&#10;blzjaruGYcEAgAAE8YxgHP06VWmmjlhEGDFOjF2IG/aOn3+54z+B74rfvE3BisbLtOGdjtI5IIHY&#10;cjpXOSNFGzEEbn+ZiSWAYjH5E4/wr2sNJzpW3sfN4mnyTSi+v4dTU0Y25MSzo06iXCxRKZJLhyQu&#10;5vZeDz+A4Neq2oEk6Wzm1b9yttHNIrLZ6MjMfmOAMshcsScgnOc5ryHSJ0WaUO7W7Mm8SgFnbGR5&#10;arxgEEk56Y6dcenWN7HLaJE6yiNWC2FiVzPeEMPmlc9iCc544xnBruppyXNslucVSSgr7vodf/aF&#10;lbtcw6fqlwYpkVL7W72NpL/UmyN0Nsr4ZUJjXAHXIJYA8b0dnbwLp6XFiqiSfz7HRWuHWS+Dc+fd&#10;SDA2k7RtGAQpwB1GHp63F9qaC9s7a5u4QJ38t0FhpcaxsYkUqfLBXABwc88A810NpJYwzSxySzLY&#10;vMTe6rIg/tDW5EJXyYcglEwcc8A547C4uLbknr5jgm6ftXo7fPudDHOl1Hd2ZdJ5rOPFzqNnlLG1&#10;+8zQwcY4J28dxxx1svZwN+8iiiiL4t9uS0lhDuQySDnJdgFA4/vYwOmdp07PPHFYabvdIzJa2EeD&#10;DpW0E/aJmPGflByOc9gK7Ke1iuojf2Uh1GMuqGSImJr+4JCNhccqrljyBwDwMkVpztNyWnUalGq3&#10;KWvf/gfOxyph+0W00T71ubJPtGnWrAS7gylfOcg4xnZgnGevoKoRmS4sZrYsWkMgEbqFW51Eguig&#10;kDIQtuyOCRnII6bepNcJNdtAZJkRWE8ixrDJdTMQdqqBwihiPTgde3FWV1f27So5gEk48uWdQQ1o&#10;rA4jiJPLYJ3cDlsc4DHJJP4XozOU5RVprVrRLqhmqWk/+j27ypJJBtEgjkH2O1R1Unf6vgnPGB69&#10;KuIYI7ayVLki2ecpcbHVb2+cojAgfe8sAnkE8FcnkVUubT7PJZNKbmSRl2QafExLzEgOrzZ6DkDG&#10;O4HvUbGSJXd3jS8aRZn1Afu4LVTu3RRoMAk7lGR0xxntajyrklLfRegQSg3GXVK/na1x+qpaIZdw&#10;Wd7UebBZRFmgtQGDbpSBzwORkHI56YqKEwSoXSSS3AjY6hqFw67JW+8Eh46EccZJ21HcpALclmmi&#10;RVzHbJ/x9amQcgzNncq5wR/CdvQ8mrjxvvtbmCVVdATM8kgis7MckBV6ZHJJ/PrRzKKvTWhcHNSb&#10;j1t+N/8AMt3dsltHbKtuscswD2eniQSv97hroYAB+UHDDkL0warXSrdW9tGJJhMWQ3eosT5UMalc&#10;RRDJJwAAcDJyw602TT7mQSTo08UNzMqsoPmahqpVcNhTkqucY9SM1LczTwmG3ufJYxxKLbTrecf6&#10;N5YVGknOdrEc9ABknGOaIxbSiu9hKNovnWt1t016+bM+a/dYJbYK+nWO3a9lE5N9qHJwzHrtYnOS&#10;R+lUVd5hPGtvbebEuwbsC209NpXnnGdrdyeQOtbJd715Jm2tLcJ/p+obSIbNMNiJHJI3Mo6DsOM4&#10;rPmWzZERLWV2kcpbWcAP7/AG6aVwM9c4BJOF47U6l7Jpa/oTZSgru1igZ5ljvb0ztFFP+6luSq+d&#10;dYOG8lef7uc8HkdOQJJNkdpGSh8pgVWwhK+dcvwGMr9RjaRjkdeOeKL/AGzyruR44j9n+VLmQlba&#10;2XklY15yRtI/nV157T7HHa3bJpwRWdPLQzX+pE8qpIHygs38XAGfxqLsuZbCnThCSurbGdaz3xuW&#10;EMURuI4UM7SE/ZbBNpX5MnBY4BJ5PLcd6ikktlhM0YWNZpyzsi4n1Bjk/KSOjHHI749aZMJkmlh2&#10;HJVD9iim/d24wSWlfpk9+wwAR1qFr37W7TGWOGGErCL6aPFrFnjy41H3jwCOmdwzRLkkvaMlc6tG&#10;Lsr+vXQ0WlEwEE0ZhuoUZjGhH2XT0AJJkPdhkHH/AOqufurdo45pow81uZji5clJ75jk7EPUKCyg&#10;47HtVuYr9nSMLJbwuSFh3s11qJAUNvx0QcdeRkdarjfDOqy3Mbz29t5UaoR9msATsyq5wXG1/fJB&#10;7Ue9BRT9f69Bpurrfd/f/X/DleQST3C2cgtoHtyJIoGbfb2gxlmYgck4P1xjnrXPTvI290uEVGum&#10;maZI9kt8dxAZV7LzwOMAAYGMVr3W9ryO4tre6kglAhTefMmvXIwzHgfKSHwDxjvUaxxMszmMrJGx&#10;kkkb5kgyAEVex684646+jXvtyvtb9Ad3FSj8S0/FfoZ7RCzhEkqRtds2PLwXSyDAEM2eMtnPGe/T&#10;jLbmGN7fDmUxbxm5Q/vr1vl+ReOAM8jGMCrckEkkKW0uZQcyrAxCPK207Xc9doPpyQK0rGMW7z+S&#10;8RuYVDG9LrFDbhMOdmcHJIx3JzWKUpLlT1/4Yyqc0Zcs9Gv6RDpNmEuCmd6xoWSKZtkVoBgDzD93&#10;dkqfcn1roYbsos7TzYhllENxfIm6SRVBAhhUHPQj8x71mQXENy8FnEsrtNKXnTBD6hIc8567fYns&#10;frXQIPKlZLyyjM1nEAiIQtjpqckkkjBdi2SDzlevWrhzuOm34l2ny+zXp91rnmvi62/eWzljDDFE&#10;Tb27nL7SOMnrn5c159G8ixufMaMbBJIWABPIxg9R/n2r0fxRP9quGuREJLYQufNl++56bic/T7vS&#10;uKle3FkqPyzIoRmBAB3jqfqOtRK+jf8AVznhTTm0tt0vyKlm1qHUNgss+9g5yD8pznv6gDI69atM&#10;ClmWkfDyLIdmdgHzkZ9+Bnj1Hpis/ad+ICi/vsh8qq5CYIHPoKkRpyNk0pcrb7Y2KbwPmJ69Ouet&#10;Vy88bOX9aG1k2ot3dv8ALQkdIw2Nobgcl254HvRS3KtHM6FQ+3HzBMg8A+v+fU9aKyUoWtzfmN1q&#10;MZOMou5hvPqMl3ugLp5cn2PTkgwqkgZeXbxjqSSPf61GqwXEzPd3ADW03+g5ia6lvmAIkfd/CCwy&#10;Cx6DqatiW3u4oPs+1ZiTaWQlfMSxKAHcsPu5Gep7n3rOF7axuzJbO06xtaWxmcCTg4Lq/Qcnv14q&#10;bJ3j0MZc0rVV6f1/mWzqdhBFG0FlLLJaRfZYTJeh5ZriQk+aSFC4TcFA2kfL71qXU9jJZWMVrbDz&#10;9Lld3uZHCy6jLIECqwwAwjIbafVm9a5aMR7rkRXBjfb5NsF+7uJHmHbx0GeR3Ga2RdQwR5t4I51t&#10;7c2tmjxea1zIykPKyHJBHXK9OTRK7d2Z05Ti7rsVZroSyz2t3KCsR+2XEUEQkkuZPvBcdMD24HSo&#10;C8MsjTajI0sySC6umJLeaTxHDsGMEbuvtx0quHEYQqySrD+8d0lM3mTlchF7/L0444qaO5QQNEVe&#10;5mtZhNJMjbfMlOQFDDBwpOeeufpimk3ZFzcmk5Mc16kTyncIQwM93NIrMAxB2ITwenrVtL9GikD3&#10;D7NQhSTUCUMaQRxKCkcco4wdo+XjGB161QkNspkurwsrJL515E7+Us8mBtRezDDc9+TTrNV+zB/s&#10;63NvGxuLoJNma4d8FIfLPGBwDj1P1oskrNk2jCovS5obi6xziSRJr+NEuFQC3MNvEvQ5BBBwBjIJ&#10;9fW5FI0MsqPbok97aGO1ijhKJZ2w2sZWiAwSQvG3n5jzzznCG4kKte7bdZmEuoKiAbI1O4QgHnBO&#10;AQvGOtaF1cGYqlvNE1xdN5+oM7bYrW3jxtQZ+ZemMLyQMUPlXu2NnypuLeyT/r0G6ezTNEkCxQzT&#10;Qm2si8YKWkIPmSzlgcgnLdcj055rQ0xxcyRCD7MsoP2HTbeVzBulcjMrsAVbnLcjHGPWsmJS8txk&#10;PbG9TyssA/2G1XDfupOcFtuM/XHHXQsHjudRVdItydQuXa00j7TMLa4jTBXzHbOwsQM8Y5B55FEG&#10;07dCXyKCl1u7f8EfNLHa3yrE1w6W8ywpKj5W5umADuVGCVQtxtIGD1rWgmtrO4uYL1hqemQSxzax&#10;ctvDahMGYpA8hYOAJCFO/gbWznNZyTy2c/2uzgS3uLENpFv5USzy3M7sqTTtuBycA7ZFHHyYIyDX&#10;QWUtrciRnuM2mk2ha1ivJCkuvajMRFGkJU7XKY3YkwcRkexqEnFXjtqOaVlyvrv8l+RHfM00txFq&#10;UItLy6j+2X6W1mE/s+BQpW3CBhhm2p93jkDGSRWrFPfy2zkTSafqF7b+TazSwCOLT7AM+WYg4BYB&#10;gWXByW9cVzxEdlF9muJpp0hY3ut3Su5UThsRwRgncufVs9enFdEJ7Y2V1Dfy3EGo6oEur+SMO9tp&#10;dlENyW4I43S5U5TJAjORzU6O/K9BqUYuKfUq6ZPcxWvm2cDXs7SHT9EiYlmkk43XspcMpCIpUIcE&#10;7lIJwVOxHeWqLp0dtYTxwaXKJrk3cjTzeIdQdWBfc3VEAjIhY/8ALM4PzbRjW02o3E4TToJWe8jk&#10;sdMa6cNHpNmzFpWUtwoIZ8txgOxroxJqFxpWmG0kiksdOuZtL8HmW3+x3V4ZJHFxeSZG5gM7gZSc&#10;EqqkBMCk+WK01v8A194oRcJPlV/8vMrTyW5uDeXU1xfi0jGo+IJEjMcNzcPL/o+nkuCSWwgYAcKW&#10;KsQATZaOe/S7F3LdWdy4kufFd4GFrdHKhIbCLK/KFVUOFAYHaPuqQKSx3I0wSxwRtDompwW+ns8L&#10;3C+I9QuTtjVYzlXWMqCQ4P3TgnNTS6q9tdGXUmkvNNtNQGoa41uiSnVboIHMCIQNwByucgjJ6ggl&#10;OyXKtNb/ANfeaySvzPZ3svO+wyW3OrwRsXWxur4m9msUkPk6Np6JCYYUfqWc/KCwzhl3E7yK1YjZ&#10;RxNFaq9hJqkK2WnQXjq58PafDkXV1JOq7SzsiAlRtJVsYrJvJLid9Vjv5YGkmEOo683l7ppZJF82&#10;2syyjI274zxgjaMg7c1Z1I3xt5v7TutNa51AR3GtDT4Y4hZW0fzxWytH8m+QyRkqoHA2leoFXirN&#10;P+rDb5Vype8/v0s0ZLrFHeQvYxNbSXgFno7ibyksbZUVHu2A53HZKQVwwJyAABVzSbWadri60Ewy&#10;ajbPJ/ZsLW4ks1t1DyXN7KchRlkyvVjuDfeXILdRPcCe80/e72q3F2l1M32awsoVVI4QucgFSo2D&#10;JHAGQSGn1bVdc1R5nN6bVtZtI0vI5FWG3jsbdSsS5UjLOcr0BJJGSWOJ+Je+9f8AhhfZ1jr1+8xW&#10;gu79bQx2dwyQPJp2jhIwInu5G8y4uJGxkhemSeAVyegEG+W1aIw2/nQ23+j2NvKy5urhgC8+AOVB&#10;AK5BDHAyTnPTxahcahdNDc29obW7Tbb3EkptrnStPR08xoygOGYZXdsIJY5U9KrahFbbLR9DRo3u&#10;rOVwhjcXOg2KPhnB6PJKxfkcHzGP3iaiUpKXNb/gjUoTlyLRrT8Ec1BfQTahDGUubi1smaCBCiyt&#10;ql8ynyzxg+WjY+UkkbGOecU4WttbvPPqEqTRQObiUQusx1S7dgVtz8wOxSxy/OOhwauQXhWCKO2V&#10;7e9MEkGjQLbxt/ZyncZby4cguzHDsp+8oYdccZiXFsYYLjTg8180hh09JY0MKlMvdXkrY6fL8oYb&#10;SFGW4wS0r3sT7nIqceumve23+RnzqZpLuC4EM0kVx9q1OVEUKwwClpGM4A7EDg84AxWreR3KXEn2&#10;549NuhF52qW6xSW5tbZCFjtYw5+dnxyhbP8AtckDLuYF+yWl0FeLFyYrRjefvNUuFcF59nO1EDL3&#10;42k5zkVBfG2M0tsk1zq0LICbtUkebUZ/l4O4bsL8xDHnH8I7O97rqiZTj8cdyezuL1ZfMEi3OoXV&#10;oAkU6lotHt2AXzsHJ4BOD1Bx7A17N2VJJY9VYXJneO3gMiwRWoIVGu3yAN20HBzyQuapR3ky29zH&#10;EDb2AxNrUguCFmbICxhGOBgZAYcHzDwAMGqLi3eSU/ZS8YCzXzIqM0NvkBUiPUOcd+Dkd6pqPM0Q&#10;9aUYvv8Ap+pYvL60Fqls8c0llGWWK5MYF7qV1jgs2QQnytz6Y6ZxXP3Fwkc7GaUNIknn30qucLwN&#10;sEZBP5jIy2O1X5ruZI2WGOJQbcpArR5fRbcE5bIAG7nHPB3H0FcpPdoCpHmTW8AK2iSoyefJhTvw&#10;TnqTx04qJNfEupaunZvt9xFfao0skkwWON2UxrHtIe0jIGAOepz1xnP51y9xduFQlURnXMKquFhB&#10;2jdjHUhRRPNln6TDdvkcHHmSdcKepwTjHtXPzShgwGCCAzsSQU9AB+n40tldI5uVONpbdAuJ/MTy&#10;9rIiFlQE4MpODuz7VQlcMR8wYKAXOcgnPT+VSSMQTnbvYkAg8IPSqkj/ADF9xGcEAkAn39qnRWsr&#10;Eyio3s+wjcFgcAHqR36HAojYRSq24oN+845PTtUDNnjOSvJIbrzz+HNNHU5IbnIJJ4J6D/61N2au&#10;iLXfKereF7q3v3trWe4SFTIRLNPkEKRyVPUnk129jdXMdiGe8RvtmkmCeCOLBgMMwKckE5ARSCOi&#10;8cZrwKwumt7qGVcNtcEEtxwOnpXqmiXwukigleIH7DcOSPkAG0khvXO0dK2jHmVo76/kaxm4pRf3&#10;nrkFxsmuL9pHhlfVrcqBbboIEkgdF/eE/K525G0c+h77kcjtaWNjZSTG5W21K0EiSK32wF2kTcqx&#10;n5huZW+bgggAYzXndrLOAZ5JpH33dnMNmJGiO7YrBWyflDHA7F/U13thNJbf2fY2s3nXEuqalpmY&#10;bmVpoTcIyKQVI2sVZmLgZHy46HMSbs21/WhrzSi4qD10T/E6PTLOaHWLIWUchS1Sw1mZVLzbC9sh&#10;kdvl4y0hAU5XOCSeMXLASxx20ts17Ikq6rp09wTcSQo7I5aKJVwQWV0b+8OiqRWRbxRNpaSoJbqO&#10;DSrC4u5Bb+RdedbXUeYg08oU+UhxhMZG3Ks2M6qGP7XPa7HS2XVL42caGAAt5eCGdcr8zAFsE4Dc&#10;EHGGn9mW1jdKajee+mv9eZYuhe2kXl29xfSxy6Vo1tMJoZZY5HbES4ZmwAhRV24OPlBI2nJZ6QJr&#10;nUYLtmdNOi1O2uNhH2tZlRplDKJfl+Zt79cAtlutRTW9vZWuqMdStobhdCsLzTvJkhh8+VZE24Vo&#10;wQyO0qjnnyBtyOTcubvTbuWSK0d45J/EayyG5kQ2wM1pmaTCR7mO5jIAdp4GecYdpLVv+mS3zJKo&#10;+v5IbqV0xhiura+vZbe20LS5ria1Eo+0Tx3RRiI2m5Ct5igrwAOcFuKTyR3k9wLmeOK3urnWbO1Y&#10;sqy3Es6Bj+5Mh5UhAW6c59qw4Ula0gae8EcUGlwiNnCo4it71FSKEKn91i2WAzlyW5Ge7gdtRv7i&#10;zN3ZWVr/AMJdFHcSvLcHTbj7ZC0hQ/u9u4+WpCrlVXAwTwq0Wt/6uVKXNLkkrNW/BD4pxMqSRyRQ&#10;Wkk+i6jNKkKymNXSKJtrM4UfvDt3DcPmGOcGsGT7TbCewjuLllne+0w2luDLbWTwYZFMfmlcnKsC&#10;cttLDgcUy4/0WNZ72dhJDpMltBDmNlYWN2qKhBQHd5ak7jgD+H72Gu/2qb27th56WwuPE7XdqZ4Y&#10;4I4ku7UhzIViVAvygkHrwW3ZO4bUlfr/AMMP2UlJOqrJfg0WrzSdIj0Gw1GXxDFPrC2dqsGhp8up&#10;TJCB5kxQjYIIk/dBtwIZcKjANtuF7ODVZZNNWJbafxI9vPdTvAY7WK8hbKKqg5YgMQNxLL8xwflH&#10;I2ou2spC7qAvhq5tPKZyXnWwndFiLiI4Z8IM/eA7qMmtG21a9s23w31ykX2zS9UaKB7hIIJh5Vvv&#10;cMQXKqqkbThcjoeSuVzknLp+uo6jhGnyt3fkOvbm01AXF2Io4c+D2gCrHEDI9veCMDeI2xgdyOFB&#10;xk5zAss7Q6jezCSVkv8ARdQaRXdTLHLC0bZhCYxkoC+cDeSd244u6jBGbqRmU3C3FxqunQIJZ1aK&#10;bYjQuWJDBMuuS3LiMhTwxWEbZNNv7u9+a41TwzY6hDiIyTSS20zJIJCZAoX92GycBdnOeMUv4eut&#10;g0qNQjdX0T8tP+CQCC7gv7ezj0q7uEGr3+ngIZU+3LPFwWDEBQU3EZ+YlwBtIBNeScz2ttqVxY2J&#10;jj8N2k6XkeVaU29z5bFt0pKng8KoADcknGLUlw32u5eOG2sroeKrS8jsrdYI4hHcW8anA6szD94/&#10;QnkE81AosEs0jsrSQXfkXiXYcx/aZ40lBhWEhNyRxkEk88SnBBOQSTUotf1ZCgq38OS0/wCD+pDD&#10;FLLcWenzSRQLL4jbZhxJ5cd1Ejusbsx3bVPHI4QZIGMxvb2b2ZmWUkx+G9sc0PlxkyxS+VKi8knK&#10;fOBk5buTitW5WOOeOSZy10moaZqisUdngikVIpFZSVXksWy/8XB5bNMt7C5mtbO3R1kaCfUbIEzS&#10;qZjIGkVXYtxtU5BGOASo5YmHy6WVun5EqMox5um/z3+4haOWCeEzSQYt9Wtru6W3aJ4reSeIKzBl&#10;RQWCjO0ZIBJPoZhvf7DZ3dqhtbbXLuyuZ4SEQJPGwRWTy8s2FDY7FSOSxIhvZpntJJZY1d38LwAf&#10;POsnmRTthQQdvCKiEE9FO4k4zeinlVrVUW0kFp4lstTdUYSCU3NqQqlmk24UlVJccYUZGcmo2Um/&#10;P9bEpSULRWtr/eZQnu49Oc5kSLVPDUmmMqho1hFnOHWIvt5J3HlSWPHTGD0AmM1xfNDqQg0+B9D1&#10;JIwHhnlnCrA5hBYZK723uPlUnJzxmvpsNvOdPW+lshCNP1ydRLeQS28Uii6Ta+8sdxZVKqME+Wo6&#10;kYo3Jkgtpp2mhButG0e5jJto0cRKSk/lkDILPGQ2zkmMnADYqoPRRa0/4c2hKMZNwWn66f5GpDFb&#10;X0cUDXGpILS81u2ieJZL1kOPMCq7TZJZ8Z2hRghvmz8twwx3V5FdyXMwtXGhapJHK6vbGEeXbzuA&#10;JDvObdtp6YIwpwMaVhcLYaumsW8b22mxeM1t7i5j3TrElxbbivmMm0KwaTLHBJGR0rGBku9C0xEm&#10;mcjwvcWlvEUmC2k+m3RuUWRChZlCrs4C44J2jJMtLRryuJSk0m5K+rXre5evbc+HNbmtrq7Cpo+q&#10;694eVVt4ZZL15I2SOdLfzzsDoxGT3U/N8oxz7T3Wo6XPdzRpFcxaJaXqgmKMTLDOqAsxO5seWQxB&#10;xyTzk11ksF1NcQSavqFla20mtWeqSXsqOodJ7Z4ZbiXCDkCc5DZPGTnvW8jT59E+zTahciWy0zUN&#10;O02JtkVtdpbsbiITlos4DPHhl+XEbEKwKsJfu2UnsTFcyTq6KT/4L/Iv37wC7ub2SdTDP4vGruYh&#10;Aj2yXsEsRWGTzc7XFwH35VsqQFGAzc2IoLaysYZYJYbqOx1nw9LPPbw3AghRxjYhl+bIxjkZ289i&#10;NW4vp7mHUNVMLLc2MuhX2npDbSkThUSNpB5UQCHAJy+APKJDZYA6l09musRRaxc3Or6pL4yvmeO7&#10;eaC1tYr61l8uIloMNIWWN8rwP9o5zSTXvf10LulK8ttL/JHK39reS2FpcJdmLTBFp+tpG1+lxdQl&#10;TslcWgkOMkgFyuCq8ZwcJHYC8ljs41keKK7vY8KyThJJ4jIMDzMuzsFYoMMduMDOa1ra1vBp1tNr&#10;Eki/avCV7YaelzNdRwpJZ3C3AZysDbNwZWG0E8uAozzEGvgttLJcyaBpzTafqcouLe4ewvhPG8cb&#10;yBImdmy82COSMElQBiOaL1WwPmU2+X+v6ZnSv5guo4obSH7RoNnNNe75DcM0dwIwsimXafKwoCIq&#10;/fGTzkWrgXLSwmX7Zbw6frzRmK4jIIS8t1LOMuyKWdB8xxuByFHevPYWtummyIrzRSWV/BEygyR3&#10;zWkiSZUmPIXG8h3AwGyAccaBk/tO4M8s0UVrcato93NEHha3xPFEspL+UXL5Rh1wDIwIIUVXRW6f&#10;5mkoqUryWj/4GhlxzSzaa21NSLXGgrJcI8LwSyzWt4FRYjuyVCopBXnDMCMdbc+ntHcwS6fdyXNw&#10;+uQXTMIX3W6zQyRKrsZckscLwCoPRs5zNY6fJD/aNxM9oIdNTVbRRcoqyzn5yFgGwkHckanAwMqW&#10;IALVmRSyJ9rjjvIra3li0vWdwkEMbASLGGy6fNIMEFRlgGPOOaIw2V99jnlDWz22/JGjZWUyaUst&#10;zazysfCt1HJ5jSS3Fu9veSSIWUzB3yEZcZJADHcoCg3JV06DUoreWS4uL298S6fqdhdiOeRLqK4g&#10;WMpiKRQ21yEwRsGMr8wBSpbwLHqGowxXawWJvNV0uV2e3a6vvPjeXbhhwhYSnACuR1xu21LpFjbL&#10;pdzq/mWNjNp2maTr1nGgMkl40VysbM2EIyXJkcMRgRnbyQDK6c3cqSlCbh629dPzK1vZXEtvmCW5&#10;jma01G2khSGdJYvIlgmkcPuG8ojsCG5x/CMgCVp4bfVZLuHUZj9kvbKJriCHyoow1siyOEMu3cV2&#10;jOGBDEknBzpPF/pcFsVgm1G48Q6nBd3MR8vzzcIzuvk+VvRfMIPGOOxKsDTs9NNjY2s+oz20i3Vv&#10;a3kktu4jliW2uGt5PN3x/LwrR52hiqggYKk0mrrS5VWDqy5Yvr6dkYENvfTJKkEl5cGTTJRLHOlx&#10;K+2CVmAKq/zsRtYlshigOeM10tlbzabqTXd4lzc2kWqvcS2ccEyKPMtSVc4LMgLCMbum4nG7IBv3&#10;yz6bfX2n2U9lLZxXV7ZpCqwtIvnK8wE0ygElFTIGQMj15OQ1rJp9jLczNA11qFxYXcduLyAmRCsq&#10;SOymUts+4oO33AGeYUrtdLf1+RXKruovh3T9UkaTpevp1peOV0mx1S1gvWRbUtCxiuJlB2GPczEM&#10;yg9cFhgY4dNHDZOLG1htGWwt7mGWQpF5dw0dxvDFwu0jAx1AxyT1AruqtEsd2YksbbSbyO3S0kaS&#10;WE29wXVVLSiPI3cn5iMjkHcpswSvIzBYbpYZL51lVWDiMXVqCvmgNuJZo5AFOeEYgABqemrew56+&#10;6vh0189Gi3G0VwspaZVTz5nhkS0897l1eKWNPvkIsYULuKnOMgHaa1YNSubcwwRg30nCi4aMySQs&#10;wAAEmTnBcYAUdOnrlvG1ulvci3CiaW2lbzZ5owglE0G0kkgKWQtsySoILH7uUEMVtDazCWCdzbIf&#10;9YXNtICVDOANo3bGbCjAwck4xRdKNoq+ptVblBX3/q36n93v/BET42xfGD9izw74UPiNZ/FXwX1k&#10;6J4gt5opL/UNFsy2bHUYUaOQSQNE7R3EeVLbEIzgFf1c1K1kUs2qtJHbs5ktLVJQsVi8jtObMfvC&#10;/wBnnR2kt5SuN4x0VyP40v8Aggv+05b/AAb/AGprPwJ4s1660Xwz8atCl8NWWoW8cMtnY60kU02l&#10;TTRsjBoZGjMMobIK3AXGC27+1nWrV47WQXcsZUQvoEljJMc6fsUOLOYmRcW7KDJbSqHCtGqZDbS3&#10;mZ3QUa6xNL4Zq/z6r7/zPbyLEJ03hJP3oP8A8l6f5HleqW0EGnRzfZBM4slm8x41KSiM+Ss8USxj&#10;MisjrNub5sqSp2uawtO1m4IiECYiRDaPb2+ZZHAf50Z8scqIVaNzyOe9egX9jp/9n3DQb5LuXi4l&#10;mRo/NCBM3Vs/lqTLFuZJotxD4Rx0DN5fJa31heX1okEEqrNsMqXTNZuTl12yLkBiAPLbON7cHOAf&#10;mpNqpy29D6anCLi0tkz3bwb4iZXt57zW7m0aK4edLso8sWnyOrpHdCNnVXik2wi5XYXAiXG4qob3&#10;3w7qcQXTbYolwFRrK3Q7S/71xJNpMhCNvguvMiltJCxxI6oGUcr8TeHNTurW7sz9oRAxBgurg/6F&#10;CzYhO4ZUmMkbXB6lu3BH0bpmsWKqPLudJN0tmY4dLeN5re5YtIG04SbCWJBSa1m3gIyMMkM2e2lO&#10;ULX1PPxNBSbUv69D6MsNVa5UCeV0MxW8a78h0ub2OBOL6Haw23VoxMVzEVzJGMkYytdZE8cbST4h&#10;EkToY3Nn+502S4UmRtzIxFjd43M6k7GLdx8vj3h3xNGm4/atQZGki1F5JGAvrbdiKHU08yYZMbK8&#10;N2gUk7CWVjvNeiabqZfYsEFta3KgW9nDeLIlnDcz5Z9NkfyyptLkES277iNw2jHyrXoUal48q31P&#10;AxWHcE48un9f1/wNH31tMkEsccUU6pAxtzHIAWBjAJttnmA+cgAkjfaQ0PAzkGta1uIdrYeBnWOO&#10;5iiTbm4EjMUkj3OcLISFRSRtbIyRiuRinVtkaN50JYWtpAk5jv547cZaD5pRi7tJNz7uC0QwATyu&#10;5bSvcqQWimBiWQjynjhmE+T54+ZtsVwoKngmJgTz8xr0KbW54tem/wCv6/r8DpklByrFVmfaVU7E&#10;c5AKqx55JDgewNOTJd/mx5eFMnlhN52/Nls4bGR0AAIx2NUbdpSh3P5iozbCIXifCuQqs7NyRtCZ&#10;IOSofvV6MBS+SQoHmqhViwzu3c9CSQWPJPzHqME9EZW0ZwSVmPcKCiYChVO3YQoRVweRkHaDgYHG&#10;CO1M2ozlPmIdWRj8xGCdxAYYAzuHTr74yFctkKpyGBJkiBBjYKB05DH7xGeOAOcinKqMCAzKSDwG&#10;ZSeeuPqever5UTe+5EwWUbBKrK6OHAIEinO1juB4wWA4wenNVp4N6soBMh/e5R2gklAYkKZA24Y+&#10;U5HABxjBxV/JDKEKnA2hc5cYIPUn2569Rx61GhRAGSJVV28gxmONlU8KrHaQMbdoIzyqhQASAcZx&#10;6M0pzaepjXCsAxWYvPJGFUC1AMWWCysAyMQjny/NGfkG09SC1V4o7gMYWWQzwrDLALllhZHG5ULR&#10;uVVmyDHMF4VVUnkVuuhjdioeYluFV1DPgZ2cuPnHLbjwU+U56nNk2SwuF8lofKaVkuLd2s7kSOWy&#10;xZWHlsTucA/usLnjOeeUe52wqtuyM824K+apL5uGnZ1gMV1O8a8MB8mydcFWXGJEU5GCQM6aOFSJ&#10;vMZXSJrtZRGz20QkA3Sx7ky0EhKmaIMdny9CQW2wkTSI0u52kkWExTErMrqBKkcu1yglB2tHKB91&#10;QMnIJrzRyIFke7SNkjM4uJRsmjKBf3piVUO1hgzxkgAEEYzkc0qSep106zi9f6/r+uxz8lm5dhtK&#10;x+UIDBOi+UdxwIJGO4FH3Dy3Bwu/b24xLy0aaI5dpZC3lhVJW8VoVZ3R8NzMmCQNoWRNwZTyD1kt&#10;uzRb2+yiX7jpLG1xZyidi7xyMVf/AEeY/vFcMPLcKufvLVWezjn/ANFMVwfMjNr5EjiR0KKHjhnI&#10;LBZo/vxTDkjaCScFuKVCOq/r+v68j1KGMlzK/wDW39fr1PObizUJFOPm8lI7iOZxsMRkBBZF4ZkY&#10;oN6FSUbaexzi3MUtvKC0EkOxUIbzSVbePl2jAPUqyvnBUjivRrqCNg4naFF3fb45fJ2PFs2qLmMZ&#10;2hcqqzRFOOOxOOZ1GyRBOoaKKUv5iw2vyRGJjuR4m+VTG5xgpgo6NnHfilBJcx7NKvGo+WXf/L8j&#10;AN1O7FljeJW2zZghSMxAAq5ReRj5fmXC44IPzAjYsbp1dYDthluCYWUv5X2wfMUWVs44xuQnBBHJ&#10;xgCB4L5i0UpmWGUHc1yrSTYCR4dSwLK678njLAj6Gk8zxqiSNGIkfzFDEO+XyoA+ZSATjsdp2Yxk&#10;Zaf8wnHn91K9v6R6FZ6ij3EQlSYzNMjySWkOHuSkZCMxAz9oQgA8/vFOOcLXSWt5tjiZJGfcVvZG&#10;hIlkbe5V7yBCGxyT5kQ24UucZNcVb3F7cwRSworNJFHbGQho47llQADzPuJJ1KluHHAweV2EnUoY&#10;5GaQ/aBKoguJftOSSpuIVGSHU5MsZ4KqeMk7vQpVnGx5GKw0GuVbo7eCSWEQySRJZucW0myRns4m&#10;bJWPdtXdC2R5b43I8mMYJWtK3uAVRDHKiux85HlHmQkBSdziVsGPgOP4mfcCcnPKQSrFGojlWEBj&#10;cNNIQYrdZWHIVtu62m2lWUH5GwVxgFdq2uwWjhjjUFXS38qVxKYXjPmCJmBY70QGRGPD5AJyQa9O&#10;jWT0R89iMO4u/wDX9f15mtLDOZEeCeNGabcxkRPKv0ZcGKQgAhlx8rDoAOuSKY0Lu7K+bd3yywmF&#10;ZHZBlSJjuYSq3AIXDKGXJGcmWOc5jV1kKsVCeVBKVXrszhAFHGWB+6cA5BFTLCzKkMwM5WPfHeKV&#10;3wsuVRtjE/Phj84BDEHIAwtdiUZannuUoaGdBKshV4ZnkDMzJJEUeTywQx8hgu2WIblXADMu4jOc&#10;YQOsMcVrFM7CRS1tulE1y4Idy1u8m4TYAOYySyqfoDamtirkF0dnYSNEVMccjZKxNuX5o2ysY3/M&#10;P3fCA4wyRopBJbzKs6hPNdJTvnCjzNrlBng+USrp8xJHy5yaXI07xBz5tGOjdmkkKSMAJAgQgLGh&#10;wNzKcFo3/en93JnO3gDlq0ElRgzljnIRkOQ8O4g7SB3+Zf0xWRLMVZRFG/2k+WQ0ckYuLhFyfkkb&#10;Czpy5YblcA5wCwNSpdeVHcOYhGkb79/n+bC/ys2zLMPJyAuQ4VQXAy2clxnd2YpR0uaRKvHG4AZH&#10;G5WjO9SGH8JA6YPBHYnkVnyW4QlYlZnOYvlDIrqN0gV2zuP3sBtxwzHjG4G8rKflC7TGuYySVEeA&#10;UHy8Hu2CABjoeBTZgpwpIAVvmIYxgIc9xjsRzkDIz2xSqRTRVKTjIxZUGQCWU+YCmMh5MAjPQAMM&#10;k8DkDr0qjPtG/L7WYK5OCm3aRmQNnP3V5XgZU54rUmG0DIGA3lqgZQZeP4c4G4HcR2IY59sa4YO2&#10;7lWJYxlVKcbiFdVI4cBju4GSTXkVopNuR7mG95pmPd7VUorlVQkBcZyCxO5QTna3PrgsOvBPH3ji&#10;RmA8wylvL+98nJHDDoFA2dh0HWulvGYGQkr8rEL5ZO1QCQrY7rzzk5rkZnbzF2nJYAHL42ckgEnG&#10;VPsMDP1rxq0rPlR9XgINK/8AXmdPpduw01DKm0TyGZEddkirxt3e4O48HjIyARUs4YgBEyG5YkAN&#10;w3Oe4GA3HuRxnNaRi+zRLDtOIo40Yj7wJjBG7LZycN09O3JqtFCs9w0crKyJbvfSZkIBERAIYnPD&#10;EsDk8gHnPNdFOPLFU47nDKspOVd7bm1o1t5CvMyvHI8zIAE3syeUknocZ3Ekd8e9bohjCDapVQoT&#10;bjaFwoAAGOwAHHYHpTZUEPnyRKc+YJvKjIXzCFRQMnAGQijtz9Ob4AwzHO0DLFWJY4BJHH+TnpXq&#10;U6MYrlfQ+axFeVWftXu/6sQojKQnBTcd24lix+Xbyc+p69vpVGQeW0gwQqORuI6chgee3BAPqvPt&#10;rFFPBCgoSyk84PPIHbqfT9aoXWUcYjZRMmWfIzuyi45PXbz7hTz3rWcGle2xlRqXnZ9SkVKjBJkc&#10;EpuZQrk42jOflzyODwSPybnI3YkAzlAGyqYJGM9uAOORnuRg0PuLgjZjcSSTuGTlcDJ9z8pHY4x9&#10;0pyp3MWj+cRxvuxg5fAznIzlTtb5emCTwMElc7lZJXf9f1+owhiVYKzYkUEFG4PPOO2G5DL8uBnv&#10;mpCqh95BC4IX+IkjrjGQ2Vx8uN3BxnqGFFWIgoIoygDIAVMI6KrgE7QAOHXAG0HNWCsj+YTGmJY8&#10;OsibnzgkllHEi4wNy8jHUjOGot6ClPTT+tv6/wCHJVBQAOAZQSAc4B5bamWOM4K8HPXg0jYDKwkl&#10;C/6sIijg5VgU4JBwCdhBDbl9cEYIxDxjzN6KDJGcjYFfG45y65DAAElTIOB1p0TiQLMNmzZgFJRL&#10;G6liFJYEgoflZWwCuD6kVvBcuxzt9WSIxfa0bbky2W2F2UjfvxnJyG+UoQCOcHsEBUIriTEKgMhk&#10;JZSo+YFy2TjvuJBUqB6ggeOMvLMRGNo8wM2JApO1csM9v49xxnJxjItB8kEuhAOSGUxliMkHBPAw&#10;GJ6hgp6VpbsYzdmtCvtPmM7M5Vn2shcFVbhQBz95gIwBuAKscgEnM4/eYYMzKGypRFa3k+ViCW+b&#10;5QwJGCCDjntUaYw8TxADG0KQ0qyoWYgds+hBGVZu4ILIjDljE0Ts/mMXbyrlSFPytg/PgjHUhwGI&#10;JwM3G60Mm7lmRNzeYrSIVbZhZGAJOzJKq2TgAADtk9jyskaBC7qCFIZnYEEYYMeScjnpzxmkEuAF&#10;HmMsy7gQ8j7BjP3hlecrgkjO48nABkQqT5Z2ZC42sQ29QBnbzx83HP8Acx6GrMuZocFikQ7FE3lf&#10;KAoR9xU7cdQAVKkH05HHIp23YcySM+DwUgZycngY5OQMAnvycDs3JGVZXJLFUTLyBflPLHoo+Vhk&#10;8E+5wWMBE2/dGoSNHaZyW3hd2R1LHCgnJ7knnmgi+rVyYRorBwAX2lQApJwSOQM5xlR09frTBt2l&#10;gSq4McjCIgn5toxnOAOecYwc5xRljyzMd/XCEDqcDnODyORjJFI+Y/LVY3KMxZ3QIoVTuLMeckc5&#10;+UZyR15NA2n3JG5+WQBt+V5wS6gckjHTLfqPXFRlNrN8iuhUBUA4UAcbc8ZJGMZA6Hr1VmI+XOQR&#10;goOOpUg8tjgk/nQzFY95jZ9q5VFALdsADgZHrTvdWYJWWgzf+7VhuIx8pIDlxgH19OMnvUbbCSFI&#10;VkI3bgoaMbTjj32nk+/pT8HIy2AeignapHzEg++SOfYcc0yQhmCjcdy7d25gACct9Og70r21NY3u&#10;rGPeoWjd1yCcSKw4aPbjaQenUA/ifWvir9oHSDc6ReojbWFu+3GVJ4KZ9Oh6ds/l9u3ikqCCA/8A&#10;y0CkEEkL1I9z37Gvlv40aal5pV0pUKpibLR5yoKgHkk+x+rHrxXn4hLtqfQZfKXL7p/K1+1XoEMU&#10;2qbzGRvmfkATMWOWAP3gMge3zdulfhJ8ZdPhlW/hUmFo43O2JiknTBUgEDlWHPuOOSa/o5/aw8NR&#10;wajrgaFtheUh3TKbWJZlLfwgEDJ77RnpX4LfGjSBHe3qGMKke5AuzcihuOD7DnPbbXj1rKbcfI+t&#10;wutO0j8qPE8C75/NR1DO8SMzAHngd/Yn05ryG/hiz+6YuudolzlXIVsFhnrzX0t4z00RXEyt8xOZ&#10;WUJuPU9TjrkfpXz/AKrbuFOGLgYwSC20DqQM9DnAHvzVU3py30uZ4in7iTa0OCZImQI2cSdZdmVJ&#10;yBnnoOBz+tcdcxtGz7hGcZBbIBbnAPt1r0Oe2yThcAhiQoJ2ryDnHTp36muJ1eLynkDlQ5kOGALb&#10;sNzn+f4V7eBaaemrPkswpSVqnVLsZkFuq3EZkISVvmid+Yoxg5J9/u8+xr1rR3t/LkgGUt53UTag&#10;E3X10AMnyo8Y9Pw9K8dackQopR3jYEk8M7Afdz0Azn1PFejaFcvGyXmbSynSBi97OMrCMbSI0/vF&#10;iMEDPAwRmvTjBWUelzghWainy/15HotqIrWQiKK6kuJUY6foduxSKWUgqs1254Cou84I7cY4NWrb&#10;7bNJc3Qmtbm8sEEzXE8qppunc5fYMYcjIwFBzxwduawY9SuxDDGq7or2Ztqqp/tS+ygJjXOSinBA&#10;yPU+1dCYJZp7KzitX88Ik6aHbhl+wlRzJdMASSfmypO7aW5AK4v93dSl21Jc3USUdtf+G/U6fS52&#10;isXIONKvJ1Nw7ymG+18qPmRfRAxIIxjK85Ndjoj3TKZnuoUubfiLTrMh9P0OJgxIZhnEhVVUA53N&#10;Jyd3XzyBJ5LqURTbtTt2Hn6xJMItJ0aIKdyxjABbB/h454BYDb2GiXS6dAYxbmWydv8ARrNSwm1e&#10;VndRcNk/d6+uACPvZy42jFuOq21Gprmu1r+rsv0/pHQu0QjvZ7XyhK0D7vOI3WkWGRW2jhXfDED2&#10;GeRx5zaTeTLDcmFg6AmIXAPk2g3ANPIo43Z6e+PTNej36whzJZqXvWhIuERt9g90xGIgw7RoCT74&#10;5645q+tLFk1Ccrtgjf74bJ1a4GAUVgAPLXDEkAL+7GPQU1GTUEv+BoW5qTta+m/kv6+ZkXMsDyQX&#10;0k0yW19IWS9wTd3+AW2RjqFOOq9AMdM1naj5Fy0cEaIskEwWzikTZDZjnLyndgEnGAT69au3V09w&#10;tnNE8bTWnyS3l0Q9tYxtkeXAp+UNl0Y49jjvVZVizMxiEsczK6xOmLm/3gSMzHshypHHb61Tgr8r&#10;2RzRm/bcr8kU43sIFknkhkdpHBvNUuSGM7Bdm22AHQLjAGT06ZqaaWymuIreytXdFnMlnpxA85nY&#10;MDJcP/dGS2BjJUVQuhI0t5bqyXc0abmTYI7LTFDAHYQeTgEc557ntFZyGGBJfMktopsl3QH7Rf8A&#10;ynCZGCFHB5OPl6ZwKF7vL0ZvN3jrK6/rT+vM1r65MzDZIkEkQIv9VDtsQ5CiCMnjPTOBnLD6mCcx&#10;FY4zE8EMsHnwx/ObjUSRtJkYj5VLbz6dfan3UEhjSJWhk2xLMlnaNutbTAUhpGxgkbiMHnk1Ut5l&#10;ubeSGMLEkQBudWu8q07DACxKRkAAD6Bc5FaJc3vJ6/8AAJanFc0lq+nT/hkC3Ylja3OyWGB8pY2o&#10;K2kQTo0sgIGAeoJ7Z7cZ0KwSOC0zLHK5W8vIlIRz94QxkHGcA5C8Hb+NbccaxxyaeFU28wMCW9qh&#10;Zrsnnc57c56cHbWcmmGSQ3CyQwPYINiBMRaeAfptLHaBz/eHDdKlxa06/wBIycZQUrq+9tfNa/cM&#10;uxNLIltAsRh3NDaWDPsMW3BE0zH+InnBOM8cYrHFlLG5uzJ5jBsNqJGdykAbYBnlvmPI6Bc59L8s&#10;yRwzTCOaSC5kZUlmZnvrsZyVC9QCSOnbd1603VJ55Vs4yd2oRELZ2gUNa2K42lpCDgELt6Z647cz&#10;FSmnGT002KjKVO1leT3v8jHubJbVmJF15IbelnGqrdX2TktKRn5Tkcc9MUq3MVw5EdratLCu1Qy7&#10;LPSxggsTgbnXJOeenfgVZljvyLstqUaW4URX97JiGWfptWNSRnkngA9V7dJ4dNS8jhgkjRGaMy2m&#10;nQhvMK4JEs59BjPJzgUmlpZ+o1UU1poZaQQyQtPHM6W4Kw72bzL2+kzlliVhhV5OD/CPoSMlrRYr&#10;pw8bFlceTb8FIyPvPcMCR1cdsE8AZrbv7H7NBJILtC0RXzrrb5cVqpwPLhHRmGBnbg5OeTzWRO0l&#10;3aJ5MM0CSlX8rcftd/gHBYc7eGY5P5daOVKCsjOnzyno9tV62K+r30qRxeRdswKFJ7qKICMkgkRw&#10;r0wCACT/AHeM5yMuN4SqBYbibMhZokDZjwMB5nyMc7eM9T+ehJDJdQSI09vG0YVppQNsFkCxDKgP&#10;Octjr2HpiqUVrcW2mRvJOYYrqZ3tbaIn7VelcfOx6BRlfcZFKmlL3n/Wn+Y3zR5mndOyv/kWJZhB&#10;vO92UyiOe8CgNKw6xw9+NzDrzwTW5DaC9tBLDDGJGi2wWZfZ5EYYNuk7k5Dcf7XpXNOJ0LIogkub&#10;ZEa5ugxksrUvkkK+fvYzxzyB9K0o7lZLdVlDiCaERERMwu9Q5IdlOB8p2YwcfQ80RtOSUvv2By5t&#10;ZdbLXZf1Y1dBtkgu57iaf7MSF+26ishUQB925IcjgDnHpx0rajt7VPNniknksZLg/Z7OdfIvL/c2&#10;fMdQzEDjOATgHnJ4rmrdkExRYY2ZHUxqcR2tgo4BkYnBcgN0JJzx0q2bh2+1vHd7oNg869kBQ3RO&#10;MJbpjp8xXt+PSlGLUWupM5SnVU7q36u1zmvFthH50pMixrJbAbbf5bbdnJULzjjbkZyCMHoa4FrS&#10;OQeRuDBHRUBbYcY4/p6dOvp2XiyfdHBhx5FvGJEjZtzvzkk46H5a4qVnk3TKVG+7VSWUB+BkD29c&#10;n0ojZrV6/wBailGUqjklt/mWJ4IhBFJGgBSWTgLhGwMenTkcmsdLplRAyqpCYZR8zn5/p7fzqWfU&#10;Ji0O0BsJI7KM4O75csPy/Wq8yN5EjlUimSOPcVwck8iiKT0f9djOtvdKyf8AwP8AhxZLkTO8m4De&#10;xODGCf50VTmnl82TACjcSAWC4/Cij2U+hShFq9vxLWtaReaZftb39pdW9xcXLWkfmo0E1rFG2xt6&#10;ngNkMCGwQQRWWzZuGktI57KORvsqDaJPLt1BzKyZxk7m5HOeOcVbn1zUtYtBZ6neXt2rXLzI1zKZ&#10;zBGAuWO5t2CcDj0rPTZcrOonNqLndHG6q7pawRdSVxuG/P0rn5W/ebM51XGPure1/J/1qQXNoyea&#10;8Dyi2aRreGd4fKVVYlmdlx3XnK56Hnin27odzrMJQxNjYyy4YRkx5Zh1IHOc8dRWdJKxEqOzoqxL&#10;HbMG3NLGM5ctyeQOg7Y5pxuIbgRJCpjuiiqjbDH5agEO+78BnPvzVx+DmT10M1unfW342LVujfum&#10;jTfDAvlWshfd57kAu68+oHB/E1CZXS2ZVZY4bWU/PwslxKcDCj+LGe5/hPrVq3N7ZmS4jOHEzWFv&#10;AYFLklfnkCkbe4w3XgYxis+CJJ5ZpSJFQTFFiULsZj1fB557mk9hubl094sMjlYcyCeKOYJFFs4u&#10;JmGfmQ5OAEOfTA6VppLNbhFlhbyonM8kcEW6C4uS20Jt6jAHXttPPSswqXnMdrbl44t0UCJJ5xEn&#10;QyZA3DGScHPGO2KtrNLbtAFkgIjkeKyd1JEs5SPc+R83y/KecdTU2aaitDSySbfkrkssipZC3uvn&#10;a1ma6vlZ1DGYk7IlGd4AO3PGOetWXiiS2JCC4YRpe3/ybU8xh8sSSDB4yOPb2rLSOCGOae4mX7VD&#10;KUUrESb2XjKhyfUk8j+Gr8N2q28LQyzbLeZgryJiS8uZDtALD5WCCQDJAwAe5wdfz0IpuDaS/r+k&#10;Shpri6nt7oM0dxbI11O025o40QBYVk+7wuAAeeevWrlkZmiLwwpC1/ZPK0tvHs/s63BORtJwOOMg&#10;5xis+4vb2wE1mZy7Rz7tUtofKMV5Kc/uwpBVwuccU4OySTu0qMqyCTVUMbxxHklbdFyCMED7p6ge&#10;maE1om9C5Q5bpra9r9tDo7WWW1craW39pYhksdIjf9zNaxDAmuQoOUY4IUNnhieMAhbe8vXks7iK&#10;0dZLeP7J4fijiSLzJwd3mO2cSEEk5wCMjpVI3Ur3gvorcack1sY0RGONNtXUgxhnJcu2zHzHPPUA&#10;1dW0il0+2e1vE/tW+kdoLOWV5jZWqoo3qCvlZIB5RtwznuDR0uHLZpLrf9C7NNGtuttZt5kFjsa7&#10;uJLnzhqF7IzKCFJLFV3NgAkYLetW0jtkzaSn7RFCFutaklDIbqXKsIIz3GWxmM5+UHpTLOLydMS9&#10;t2gWVbdbXSdOt3EscM0nMk84GWBxuwzHaHcDA4p9raIsSSGOb7HFeC0tjPlre8uiwaSYKCCVzyWX&#10;kgJnGcgkrJ6f10LcpVJRjJ3Vvw0uXgJGmiWW7eFrmJbnWolk2RWVgnlhI1kfgu2CdpwwG3nqa1fP&#10;S8hW4+03VhrBCwaVbun+haFpMLDc6yZysjkj5HADAkh8nnHm+yW9v9hvk+2wQTNq+uanDZySSX0r&#10;bUjt0f7rKAWBQjIYZLcYroZrZ1jv7OWQXUmo2T32tahBazWjpbI6zxWWwgMpLxRDy3Bx8mMEUlo7&#10;MuLvf2bt/le35Mhk+3XFsyQ3wmsNLmFh4XsHUwMjTFhJdSRNtk27ULgHIXeBhTkGaKaDTRbJp7HW&#10;7XTryaHR5YoR/wAT29KwGSco7bnRD5WUO04yAQSGNxRf/aRcXSra6jrlqNGsIVikA8O6dxK8wQoT&#10;CGWTagY8h5WGCc1Vs7S7Nrb3+nBJJ7tn0bw3aIqyfZ1jcRT3qRcAEgEZbncvYKAG7ubdr2ClBxtZ&#10;r/h+orBDHLJc3Uc95b3bXeoWscpJnvpcJDGpK7fkJUeu2PpxTLmHSIIjGM3S2E4utYutqZ1C8fJt&#10;7SLG0FRncWXIYZGBtyYWtreaDfBsugkh0zRXl2zfaLxikc104JLERq+TnBBA96ngSez06S8dYri2&#10;0+/OlaerRNC2oTsXJuvlHzhSD8wOBvAYns0lOLl2/r/I0qaTUpbP8NyjCsdldX0d5NLf2kLJPdy2&#10;90YjLcMzGO2OULHZ8wI4xhvmPey8Viby9fUrj7dIiJqWrxEmEzyHabexjboB84LBQoAXGQwIrL06&#10;KWFi9lDFLBbSNZ6YbmQSR3V6SjyXMwcfMqfMQpIxvXqM1bNtcRyi7tIZ9RjtXVFvXYB9TupQh80t&#10;0Co7sOM58sE43YCcVypmcHUSkpb/APB/Ay9QjjuZJZ9Sv1mWa3S5vZrOCSFbEKoEdgnI+YNhWPAG&#10;MdFJKW3lI4nuEaKS3K3WovAQ1xarhPItEIBAXKqSCc8Z7cSXk1xZt9kd5dQ8uVpJd8JhfUr1AGJz&#10;k71iZm2njIIz14y7Tzbhru5lizIrF7aIITLqt3IwBKAcHYCTgjgJkc8Fc8eWyWg6zuvcVtUzV1SW&#10;VhLq08ccj3g+0a5c27CP7GiiNY7dQRgZ+Vcr90KBjgisG7lu3mknube509Lm0UpDHGsMttYo5WKE&#10;dAxl3DJP3zyODz0FvKn9kXtsqFoYzFfOrfNLrF/Gf9HABIAVM4OARyQc5FZMLrDLJ9uS0vWhZL2/&#10;JRkku5mK7LeNcH7uJMgehI6gkheMmk9ROMp8rb0tv22/r7zOuIJ4SHuyftFzbqYbKMiMabbdHZSO&#10;EJxyp5BbOMVWNqJJBcWFt5EkjFNOgmkM7QRAMWmdgBkkdGAAyckVp3VibaTUbPUDIV8tLzWJoSpH&#10;mSKHW1j6EklwpAOR83pxDdwyxyqtxMAZSk99ICsQsg2RHbqBkjCBcbcg5xx0pRWvvAopVHGT0Wv5&#10;bHPSNGJVYJP5pYpptnat5trO+ceaynpu3Z56+gOc0pzdRM6ySebum2kCJV+03DZJQY52r1x04HtV&#10;6aK4eQyWW0zzREPuLq1hCARnI4JIDZHJGODzWFLK8sijy2lYIIoDuJECA7fNYZJOQBj+QqebZy6C&#10;nGUYuKV7PcyZXZjOstyUlxuu7iQgC4fdzGuOO4+U8flWDc3FwDcB3LtgRhhny7eP5vlH+0c5rpLl&#10;prkIZkaWGBdlpDGixg/McPJ3bJ3HJ5wfauQuyIHAU74hIWkCsCJXGCMD0GSOaUncycpN80HtYw3d&#10;8KPMJU8RKBsKjqW/GstmB5xtDfKgY5LEH8z3rTuWMzM7KY2YgSZwAo64FY7LwqHIKpkfKSFHP64z&#10;STfLdrX/AIYmSs+Vappld5RuJbccZ3sW3EHjOPaoZGBI5I3KTjrtAqRmDnpgDIVSPmPHU1E/ytyu&#10;SnTco9e+Pxpt21e1jLlclzNjGc5IwRuxyAcjnnI/GmlzkY4OcLz6daTIAII4x8vGWPpRyV4HCjC9&#10;jj6f40WskiG2tmITtB2gnAzz2JOOK2dMv/s0qnDEpHtUbiw59P1/OsVmI5xkk9Bjt/k1LG7KylQv&#10;97kZbPPH/wBamnysWsj3bR9QWaO4eAhbj7JHKFaQOSEkUvt3dyC/T+778emWa+ZJbNaeeGg1+2kl&#10;aKV3DvNDyYolOCFAIySBwO5FfM+kXqDcQ8nmvF5IOQpGWycdMD29q9v026cwJ9ndnhsb2xEaM7JI&#10;pkjf0ITaG255zlxxzkaK7VktNPzNabk9G0t/npodtYO8kQihtrRkttJneKOcfLMomZ2yql2Y/Ifl&#10;Y57Z/irrbm+mzeXv2mWN7PUbSeGCwlfzlN5C6vJsC44dUHTaAcmuHsHKQ6ZDE0xn8/UdNLfa1hiZ&#10;jEzSkrGpckYUAjhQx9cruaZNdQRtcpa2tyX0zTr1kuraRZYYvthiDxF5Nu9HjxkAjg8HgFxgmkk9&#10;jsjUU2oNaP8AIvWjTGzvhKLiVH0ieN55pmFxayC4xiFSwAY5c4xgDc2B1ro9LWzQ/MgNmfFNtqlz&#10;OhmYpbywGJI8OxJCEt26SZB6ZpwwWN3Nc+S1vLFPrt9p0Jvbi0jiU3kZlhDoF2q5PmBVDYTJyRjl&#10;CW1OGW7RHsoLfRrW7iLR28cTC1lFvOzsDhiCCoLclnwAerKSSspb6fncHTXLZO7/AM7Ip2Njc3P+&#10;gzRSBzpmqRzqIpWkEiL5gVJAwdSD8oA+Ylx05q4lzIm3dbTDTYptO1NCsF1BZ2zRrsjk+dwGkZFY&#10;qd5XhjjgqLdjLIZmgtBbQTWfia7tVESiS/8As93aoxtyquQBmMNgHcSxzxt21bm1W60eFoJAjnQo&#10;L91hWOVYPIupUMbIzdIwHyNowrDPepvaCsKcHPX+t/8AgEu+WW+Nt9nlC3suq26XQV5JImeOWVyq&#10;F8ZOFzz0UY4IqN0bybidoXnjtrXTL7e8DYtfLkWJiy+YVKbWO5TwBwQScLaslt7mWxFrOotZvFk0&#10;KXk620c0z3NrKCFGA20fOWC5wCCemapRXVvqlgLRBcpIfCQC28C21vBL9hkG8uRnAUY5Gfbccg29&#10;7dl+ly4VIuT53e+v4ly/hRbWSeI3DfbNb1bTzMdm50nihm+RBJleWySAM7iBgAgZdtDDJpt7cSW8&#10;VwZ/D1qscgtI2aOKK8RHaNmfIfeq5OMZLAcsSNeC4s7fUBJKqz2a61pN/gOgSaK/RUMaoEXCBAuS&#10;cOQQSfTJlFpHBDHZrLC8kF/p12J9kkMaGaS4hKqYgpYEZ5JClVGCQDUpOPuFOUE1Nbr8d2dRapFb&#10;3ItZbexyviGwvJ2lFrGE/tG1SEq0zyhAoLYJYFV+bIAG6oPDWuSeDru11RLXQdQuJ/D2r6E1hrmi&#10;ab4lsIFDSBh9lu45IvNjUwyRy7GMTybkIbbWLLcyXctw7adOIbpNMgMySPK1qXZShDCMAhim7tne&#10;Pu7sC/HDfPdpYraPf2T69qulRX7iaJZpLq2iKLtDIf3SbSoAAJYfLtIpX5Wm/wDhxSnzJpLe3y0v&#10;+e4t2lxePeXE0D7WGkOyQCXzFiG3LlEiVFXYuSM8g5LevQW1haxyPL5OI4/EeraBOjWkiwrFOkUS&#10;IJpJi7+WzpgFBuLDaxG2uaknvLjQ7q6WO7W2u/CNtqE00d2bc3K2lwsPlYM211ZRJuVsgdcfJldP&#10;Ub6Oa6uNSnj0+2W18R2N+8drHb2U18Jw4e5IJL5YvCxY4+8AF6mnGHPaMtr/AJlOo4L2cpaW169P&#10;82c1ILUJtCQPcTaB5k0sItwDPZy52xnzSudsYxjIQsxB5ObDyJeXb37RQ21quqW127x+V5EnnRAS&#10;LDtJzwTuLc54zjaKVLSC1NxPElnbaejaxoVpJLIDNO8cYMdvG8cbKrZwQ46FgcDBIoXEYk0meWW7&#10;aT7Lo2n3kEaRzJFHIknl+UuNqnCxMSWwvqc4w7Ju66f0zLRQap63X/ANGAahLpdrpFoyCOXQ9Ws7&#10;0lFlluoYJfOKExxkIu0Y5OT2zkYs3EFsi6mplMtvc/2OY7yKGSOOJp4lZtqxowCgq6F8kgIfu5Aq&#10;G2kfT8X1u8m1NU1LRvsVuxD3Ud3ah4nG51ZtwZhyozzz8pxJp8pl0qF38sSReF7W6mQxxG1EsN0y&#10;s4GShCKW4IIDRnI+ZisJ+9f+u5UHKMld77fgloXHtVgvrTS3DSaMutaknmPJLcySyS2zuimJWUIc&#10;rjPoDtDfNinAk9wsVs8duIf+ER3wiQ8BY5/NLuxk2ghiAyrj5cgg7iKnvNRjiv7q2hgBtj4sTVBL&#10;bmJXBmixc72K72Dbidox1ckGsmCCO5bTdMs0mSKGDVbcTCSJI2EUTOMylBlQViyo4ww74p3vFLp/&#10;wATSquUtlr97TLGoJvudRkaENJcalp19Lfl8yhLiOPYqIX5zwScHBUknkA9fp10mm3aWiNpd1qa6&#10;vq+jRQXRhea1jvIgWNxIzYCneDwxOY+SBjPJOJptJa+c2T3dj4etLtY4zC7TfZp7e3MiwtCSCyFh&#10;55O59/y428y6Ve2Ul5bFbD7DBL4sW6EsqiaaFZEkMUZVYxuZiz53MFIBJ5wQ1HSzMeaPOp27prfp&#10;v+Jp3CudKsbmaFZzF4WByZY1t5FsrtY/NZhKwI2BVZCAVC8k5ZVsJ9seeEz2enRWY1+cNI6bo4/t&#10;9issSIwmzggfKuM/I2MDLVZEEa2li5LiSSDWraCwuJfs/wBq+eBgCVgBIQMST0AcnaSy1VGosbiz&#10;e4tzd6f/AGTp91PYWsog3rboIZVjkMRYKwXlsFjubBUYIFdNdn+rOiooxk4c2l3+Flcpm8M2lXGm&#10;QqVnfRUs98bGSaSWymSYB381QMLHIAPmADkEc7hvQ6lpz3lxq0kqyWdlrOn6pdI67Yj5yiBQCHBO&#10;dy8g4zGccEGqj/YnMVjp9oIdRTxJf6bIklwt1DLD5csqRZEW0kbGLkdQGwBjmhexNeBwrm1t5fCt&#10;jqWoSxeSPtfk3LorqogOxvLYoQeS4PCLuNU3Plu1pv8A19xnP2c5y6X09NUK629vqMmZdQkjuNU1&#10;PSLGGbzJWLTRyPGPLMoJyADtJ3Bc8YDYgv5LPULeKS6QWgtvAcFvF9hzdwrNp8qogld5/vbS7sFL&#10;IPNbjI2jori0SO+uX05Vg02LxZp0scBuluruRLyJ182WWFMKGD8gJuGOSO+UVW4ih+2NBDYwprOm&#10;aSlgWe3MYV5EBZYxvG58qQp4JO3gEpLmp+6v+GS1/M0b1be/fzvu18htpbrp18phu4ZoptYkV7m/&#10;QJIwvrV0G6VpsIhcSkALyW5Ix80y2ytZf6LLAsln4ZS5mtVuYHKmwu5IJQGEp6QhDkjcdoyepEP+&#10;jX1vc6j9ounRdPtby3tBbSXV1eyQskDxlACdimSTPYYbmrQJsNTt9N+wtc3n9oajpssW7Fu4ubdZ&#10;IPlKBNqkv8oADEPnLHmfeta+2oSlHa91pf10dx0lpAxaKHUWfzPH0axytC0b3FveWkp3RqZ9qq2x&#10;QSw6jGQDk8zLJ9jtYJLaKcy2em31lbTy27zMv2e4Fx5qqJOXUFhwOd54BGTbtPtcdvA9tCZL6OOz&#10;1GVhsvVuPs9xJE02BFlEwiYJbJ9RuKi7BZJKfMvCsd1Pf6zaCJB8mZUE4IjWLCMxmLHqPmX1DUnz&#10;J2juVyzsm1re/wCIloZ5NQguri5tIYZNbtb6V3lWSdzcQJHulUPwrAhgBj5n65Ga2N2oWenR2i3C&#10;jyNDutBZgjk2SwztNGqFrjaQRIzFQN3yckHk8z5dt9nkvJLOeGKPSbLWAcoFLwTqjOp8vJx8wx0z&#10;HnkZztaibeOWayC2r2kfiG6si97bxFYEuIHnVUkWHzPMKI4KjAJxu3DdVNtK71ZLftIKOifT9S9e&#10;XKPdyXGlzK11F4jsNWtpQDZyzm7hFphnVwFVJXVzyqAJkAnmsTyLiWCB7lJI7kaFqOnfup1JV4p/&#10;KnVCZgwG05Oe5YAgE1HBcXTQ25iW1eIaPa3DvcCOGGFba4eOKVysWSQIUXLDLFB1AArUeMz69fG0&#10;tDcJdapc2S3JaOG5l+2x78kLGsaRFi2Sx4wScmhWatHTf9Bwa9ouaWvmLprxztb6bPcSIrarb3Rn&#10;uEZrbyJrZQSxL4LZIG4kBQgHOMVQhnNg4ubqxdGFsslu6zjbHJHMp8ybCktgA8A5BA6Y501ja0W3&#10;u7XU1vLxtDsr4XNhbiSG2lWfyDEgMQyqBFUsfvEP2OTAIVP2HTdSu7DT0txeWf2jCTiOYiOaBpF2&#10;kkMnGMlTh8ZIxQ4u7uv6X9fiTCMm+Vv3fyNC3srSZ7e0cNqTm61VltpncORKEmRXbZhTnBx03M2A&#10;wVq3NN1zW3tna11+60eCztbbU4rNr+SGNZf3MEkqQBNqSMqxo74DMEHOAMcxa3Fs7/aIg0lzFdWN&#10;8buXYHnAzFOdx4BZkVgSpGDgA1Zn064isGSXzlkuNNvFnltcvHcRwTeYVjxJuxhQW43E/LwCcine&#10;n72xrOTVr7XV+m/QmjwLWS0+0213K8l5E4mHkm4FtcQkO5Ow5KvKVAOcD2xU0drDPLqCghbSzv5m&#10;JkJD3CRlWj/dDcflWRiM8DDYJNNCXPl3FzBZhEurw2lyPMMf2hZrQurmRpHON0IJIAG5VGM5JdHm&#10;yDyzW32iS8jSQSxTb5SZIWR0VioLKvlgb+n7ojgdMp8yvoVJqck4vVW08tv1PV/ht4zuPBXinQ/F&#10;ml3c9lrHhXVbfV9EuFlKCOS1njmjAcfMFZUcHocMenSv9Kv9mn4n+Efjx+zl8Jfi74Wnj1vSfGXg&#10;6ymJvroqlrqHkLJqOiXu6aPy2VlaW1cEkOyJgEcf5h+nXSW9hb2scMBVbkXz36xlptpjM2CWYqEG&#10;zjAA+fvX9l3/AAbt/tJv4n+FvxM/ZfvZY59R8J3M3xB0LTbyV4D4i0q9aNb23D70Ae3mieSHewUF&#10;iOA5FPEwji8BUpv4oe8vyf6fca4atPDY+FX7MvddvvT/AK7n76a/ZRRBbgKxi+aS0uo0SJo2R1j3&#10;vEFwsqRny54twLB927kKvmXiq1SSWRYBHGzw+TDbvKWtRvdZSqkyAbX8zfGxJAZiCCd6j6AutHFx&#10;E4e5iuEuIon/ALTeLz7u4wCn2tokRgJ4FVFuY2bcxBY7yGB8m1zRrFzNZx2N/ZXNqiqYBCbK3sZP&#10;mk+ywEuxNvIqxywuwDISF2/LlvjqkZX02PuKTbalf/gnlYdo70NcStHI8ImuT0hJIVDJuJ5LfMHU&#10;Z3Mxb1z6rYalYhbG6Je8tjGkbpO0dvdQHapa185SxyjEGCTGfm5Ucg+T6tbra6jKzbpYdjGEvGI5&#10;GVHdUZ0BwkgB2ydi/I/hresba2hj8wSyfPAgdEjkcOyxtmJtoJ3ARxmIgHhdpPygVFOSUW33Oqqm&#10;knHS/kfT+m6/9jWxM98Whtx9vtNXEaySRMZVjFw8W9QVmEIguIsdFVscJu9g0PUvMURJZTSyCI2k&#10;VhPatIt3HhrgaYH25yI41nsZQ2BkJnla+SNF1eaCa0msL2eEhWRZ3lNvDfLNm38zAKnDj93IpzwX&#10;JwD8vrWh6lcD7HD9nkZS8iywjy57hYYiTKiZj4miRpZbds5K/Juwfl7KVZKd0eRiMO6kXfQ+orW8&#10;gu1s75bp75JFE6yxAC9vYogALpIdxZb20LIs424dCflOQi70RYsGkW3kJdyXYpHZOZx1+6+LW+wG&#10;YqSY5Rg7zkjzfS9Vhliv5zeF7m1njvb6+sNllGOAbfW4YnkOwFSI7qLbgksWGMhu7jZpCPKsliDi&#10;RUtZJFeGN58n7G7rEw+y3WPNjlVjiQhfRK9alU5tj5nEYeUJWktP6/4HT9EdHG4MReRVkDyNBIbu&#10;4j+1D5WEglzGFLwrvX7x3QhmLOcZ1reeSYRNIkaiOMyr5FwsyDJYrsOxcqQBtPG5GJOCM1zEF6ry&#10;POjSRNPiZJpRsMsce5WZo967Z7diVmHDNFHjJ+ULp21ygdP31u2JQGj+VhukyyqCZyAJBteEEELG&#10;Cv8AEtdUOyPLq0+XdHROZHPyDb0LAgGTkDjIbHXBJ9BwOhoRizKMBo3H3slcBgx+YE54GwZ7ljwO&#10;1a3uI5o0aJjKJVQx3EUW2GcbSyNGw4KMPuktgggZJwTa2/xcOpPyqEwFGOn0yASa6Yu6OOSewxyy&#10;5wD8q4XzGK7SucbjyOcbsnnkeopxijVXQqreYV85iqq0gDclhjB6t+ZxjjANwBjaPYqDcqxszgZ4&#10;BDcEZLYAxhQh6DFSEqH2DHPzAgjIzk8gfUsWPGSOuabSejIUrFGdFYM5YSRRth3BDrncrfNgEKMq&#10;Cx6jAORzVaVGVTvuRA7Y2SyNEpBCNIWIAXOdhLqTgopI2nONNsO7Ru0hYspRVZk+6UbPUHAJBJ4B&#10;zg9cVnPDLsAjdpNx/fKZJY2kzk7Q/LLhiWHQqUC8A8YSjrZnRCbZTuF8xAHVpYZJXtxFMjNaOjxb&#10;9krgMPLbAZZQPl4XuVMB2xLKEXzBBMHlmRla8R1HLkAhmkRQCynO+NhjdyrWriFpEaRMMjW7MpvY&#10;jGG3DJSYGP8A1UvJkBAMZxxyNtWFPMYl47hS+IXgDMl0fKQOsUjiQAy7gHSUjmPg9d1YNWaudUJ3&#10;iQmCMgrIRHLCpcBVMlskchC/KCuGgk2hnUt+7+XBXCsKaRR3EUAkhM5MYtZI7lwU+Qhvsk/3gZFz&#10;vjkwNxxggMc3ZHWB3XdACVknmupnOyD5VBlKFVHls6OZ41f5Dgn7xYEkTqYo8K7oRaosxaeK4+Us&#10;tvcyFZCEOVeOYnILBT8xKyYyoqb5mjeE3a9/6/r+uphyKEO9ZY4o2MkshlhBnIUFjcBWZdskWT58&#10;e0lid2M5Bo3FiwVgDbWkifOIVi82G1Z8qZECtGWtZgF3oWyrEYYEAjpZxIENxFcMEiJR5tplukKR&#10;7fNdNyjzI9zF12nemCMkADKMLowYMyqoaWRkVXt7Ay7ZN6japktJTvZixYowwMANs450UtLf1/X9&#10;dT0qOIel3/n/AF/Xk+HvNMUrG5aVzbzCGAhBLf2LKN6xFgGyy7gYpNzblXGOoGPexLiYFPtRuBuS&#10;62GN5QCd8mHK4JDsJFIyMZHpXpMummUSboGYCTepmnKYbcubeQ4I2NndDKpyDgdQA2Lc6dbMwjeO&#10;GKV5PtETrI+6cKUEjom47ZYhIPMQAbgc88EccoSi3p2PWoYqm7K+u3Q5XT5meNlkNxMskAJhgIij&#10;kfzI18suclZQC0iPk5Xochq3TlE8iOGRjcbZ0KRl5AxRV8/G/AlATay9SOQDxWX9ivY5JESOGSCd&#10;kw0cCmxkSZkCoMD5Vfc21wPlBAO0AY342aWND5k9wBKyHZMVZZFZ+o3ECePnadoDqynJpRbZpUV2&#10;pb3NGC8EsLSoLeyaFllFxK6Q2wDO25wQF3wTZbdz8pIbBBrat23CJQ6SyFxALe4meV5QD5ogkcMS&#10;WTkxSkZx9WzxKhIZ3ARmRA13EYQzohLqHcKdg2tvVXByVxxxy3R2TuPL2FyUhVBBG22KZcr+6Y7y&#10;vtE4xjpkcV1UargebiMNGza/r+vw/E6m2khkW5mECSC7V5f+PdmgnTcYmlkBiX94QypNGSSViGAQ&#10;BW5b3qN1kLJI7CKUuBvYnIVc4JyCShAwygH0J5C3uUkhh83zHAd7mOURiC6kaMyB2jURrsuYiGSS&#10;LA3Ip4OWUaUbOoP73yJ43/ehJ1aKRHcogRTL8qSkMsJP+rcMOQSD7FOsmuZM+dr0Fd9jpyguE3h3&#10;ZcK8LpIqLIMhw6sCTg/LkH5W28qQagMUIllDFYxEpnKvLxCGjC71J/1eMMPkwvLHqTiKyvo7sFlk&#10;WXZM8crRugNu8TEPE4DnDJ8qtyQcEgYNX8tIEIk5Q7ivlAsxK989MbieADwO2QeuL5lc86UXCVjK&#10;Coo8y3B8m4Zbp440WWBi53ByqZILMwJliyMgsRwWprNseBI5rjzJTiKVZI2adMliqyMCkowhGG/e&#10;Ac+pF+RZVXekUKsh3INgKnnftIGSDhFG5d3XO08AV5IZmaTchdJP3Mm1Am8Hao8xc4YYZjvUoQQP&#10;lIHGco2d1sXCSejK9tMQjtEUQBdsz+WzQByibF8gOHhbLhigUgjq2SDWrHJHcRiVGEittkjcFXXD&#10;AYIYEqRg8lSepxWXcRuzxyblxnELpM0NzgFjhZs4fdtjJjkG0kHJYdHpcBWnh8yNpkj8yXCNDc7c&#10;ldzRYzghGAdeCQcKeKz57PlNvZt6xHXSKseCEUZ8so42qRgkgEH5ckLg9qwLoplgWYFgMozDDMhI&#10;+UdmCgNkjB455rppDvV2BIYMd67SwYAEDH6HHrniuV1AFSwVOZCMA5CucAAEnjgrweck8H18/FpJ&#10;XPUwHvTUWc3fMACxdSy/Mem3BUHI5xjA5UYxzn2xdPgefVLaDnDSqWVwDsUAkdTyoOGBOeXA4yBW&#10;neHaznncX3/d5ODy3POSDgjpwODimaDARNNckgeX8sjKF3KSOuTySQM47EDnAArwnHmqpn1sX7LC&#10;ymnbTT1Z0Fw24ucfKZGdc8jGeOOnQAcdcVsaLboUe5YL5jS+ZGw+R2jmjUJ93oC2cdO59Kw5AZNi&#10;YG2eZYkO3gBmC/l8yjOeh712dhBshjc53+QlsygHjyWcHAJx3wSOM4PpXq4Onzzc2fO4+r7Kgqce&#10;pPKruuBtYkk4zxgZIyRg8gr69e9OgdJIlkjKvvJDYbIDgbWBIBwQRg8dRUgdc7fuqAQylCFAUgHt&#10;g4Bx1wPwOIrfBRVjG2Ml1UqAqBgzAqAcNuXGDkYJ/GvUUGmeHzLkSZPsR2Cum4YAJkIIJGMDnk8h&#10;Tnvim3SK0DHEhMIE37r5mfhhyuecjPH5c4qVepyuNw3FQcHHAPOM8cfp70oAUqANqqojKsNxxggD&#10;JPUk/e5zjmteXm0MeflknHp/wDBkKssiqkshI5KI7jDKGGMkE9c7QcgkjFQbiQzhyEOxUMBDuWBZ&#10;XAdm+cAtjYQHBQ8NkCr8itDM8e4bS+/zGUshLEHDLx1BwHHQ8exa4HLmPJUhmUqGQgj7x4wQBg7l&#10;+YY98HjcNdD1Iz0VttChhR5YiGfKQRwIgCFSpXciSHgcgAxt1CnAODT0aMzMg34aTZtWR3WNsA4P&#10;/PB8c4wqsJBgknInIjWZgjqzuPtG0JmSRI1Uc8EyAEqPUbuD2prYYoxzJC6kRbRvyHBGeuJYyu5i&#10;uSygDjgEEU73Hzcy/r+v69CRVCNhcDbKSyqgQu5JzI67flY4YhsbTnr0yq5klBkQSMk2YmWQs0bg&#10;ZIcDiNwGCkBtrhj2O2mDP7lPLAZBvfbklY1AP7qPaS6ZdUK/KVye4FPddsbxAskAjMTStL+8gUIV&#10;Cs/3tnJbeGDqWXtnGyVnqZSa2HrmORYn3q+BKDE4RGG85IzjdnBZ1y23fx1BL1ZkLqpjMalCoVNx&#10;U5zywPMfMahgvy7GycDhsoUFGd5I183bIT+6WRwwWMFuG3MwQK3zBgMHO4ZcVZWO3cCq7Q0aqGDY&#10;ckxqRjfjJIYYbeOeKcWr6mUndXJcAlhhWfcBKrNuOcbdxXjBIJOdp3L+rELxkNEWkiJASBSiGEdS&#10;MEoAoXZxjcp3dcmgEbZRHskST5ZdkBlQsG2MpIzwMBCu3K9eADifaSHiRSjsC5ZgoYsAFDFsEEkl&#10;SDg+hHatE3dpmX9fkOVcBgi5aTkMwXc5OAWIwOflGQMjCDHpU6KAGK5y5BOZC69FA78ZG04HBwT1&#10;5qBS3znDyFAAok+VZCFA+YAcZwpyF4ycDqKlRBKN0i7yEAd5IgZmG7JGNuMZA4HoDk9aZlK60HgK&#10;Q+9+TlAhUYPHPbJ6dfQGn4VFOGxn/WHG92DFhgAcjk9vfvzUP8MafvMBid8bsiqMbQDhsnOQoHOT&#10;zjjhsTqPLCxykyrlFEeFADICxJAI5ctzyQW4J4FboiwhGGIdSWd9oO1QxADHrweMnnsW47CpS6sA&#10;PM3nAEmwlWJwpBAySOxx6Hn3jbIKuEBYklkySS4U4X0HOMMQeCOxGE2TKjqrLuJwrsodiCq5yAoG&#10;7OcYyMAepAk0sm00KrNlwFDKPmBaQs24sSR0OACCODxgjAwKcRlQSroQc7Wx1PTdzggdce30qJjg&#10;FsoqqgWR53CkAc4PbnnLD074FOZ1YeWvJP7sOE3pnnI/Q9aCrWWg4khhjALDDbSMkDkDn6n6ZqIB&#10;jgE7sPyUYqSQeh9gQwP+6B6ipTu+9gSZLFGKYKHkYA5PQ4/PscCNQyk7gpKMxGMgfM2ckYxnr64O&#10;eTRZPRhHa6Kc6nDjACBDu+YfOT05zngL+O7pxXgvxOt3ewunCvjYQysACvGCPzz0x29jXvszEJkf&#10;MGbJJyByhGR68bRxxyeteS+PbXztOuMhmJTGwDDNjkDP4en4cVw11pqe3l8tXfY/nW/a70Nzcag7&#10;gCOTeEiVdu7BI9zuJQ8dCCeOQa/np+O+lFLy8KuQ4d8JG5EjbiVIY/eI+ZhjoSFJBIBP9PP7X2jq&#10;TeSTQOYVDxIwQoGwCMjqAWCKTk8ZP4/zv/tAaEkstw0cQj+TbI8iDK8FSDxg8NnJHVRnODXkVmk7&#10;n1uDlUlBxh/XT8T8d/iJp2LiecINvILFssDld2cHHO4HAGASemMV8zatbgmZWcKzNglVIDcMQew7&#10;dfYcc19rfE7Too3uXMOz94VHlDZGMhuSBwMbiR0GQK+RtcsnUs5AGN7uT8yggKTz9M8fTvSotN8j&#10;3Y8RByfuPTd+VzzaaEEBQCfL/vNu8wg56559OenauA1sbpQiAhmQ4ywbHynAPUZ5wcd/wx6ndRYk&#10;jc+XxnABJySDjI6dQBjrk8Z5ri9ftCB5xREEbDMg+VHycZ5wfmPYjqa9PCTSqX+71PnsdFvRvZ2+&#10;/wAzznYEYygANGSeME5zk7ew6n9a63w81xc3Oxhbyuq7kF2g+x2gyCQ4bgkDcRwRnHcDPKz/ACnc&#10;qswJx5ZbGM9wcn19xyM1Y0aQtMyOkkiTA7IoWBdiDjLHuM4/IV60W7uMtjw5ztJJx+R7NZRXu976&#10;O6hhiiZkub/cpuLgsMBYEJztIVRx044xiteJbqFzZy+dFBqcS40qP99qGsNI4Iedsb+QAwHI9FwQ&#10;ay9AjllNs1rdRSXQTM010uzT9ERScM5Iwz/IOfm5de5NW7yWCNpne8vnhlnBTUI1D6rqUo5kMQLD&#10;AJBwQw/i6da2u4xXMrhBQi3FNW/ps3JZbu5gXS2kma4idoIdCjcmytM/MrTyry7nkEt/d6jOBr6U&#10;y28mZJ1NxGEW81Z5CIbRcqSsGOXOTgcjv9a5kTTNBZ6ZFFCEZmvI9JRTJqt6uFG+ecHOcbSQWyCx&#10;IHOa3NJNrdTuPK+1x6favNcmLEGk6SwZnZWbksFBQnPUt1OeduaPJyp/1p+pKSlZxlu/n/X6npdq&#10;z3ypAs4srExs1pFIu6e3gx+/uWAJO+RdwzjIz22jHP6jMsCRW8MxJkhCwKku17GH5iykcYeQ7jg5&#10;yZD9Bf32xtzdx3aXQksUe6ukQ/6a7MrLbIOpC5Ge2WPYcsnEMdsPKit4rqTcTI5824urnB+Xg4VY&#10;y/X27HmiKa33NYOzd1ePT7+5zF20kE2m2sFoAjN+6tuDuxHGDNL7k7lGckBFBPGarzTXAedd6yzO&#10;PLnmhj3iZ+CkEYHPXaMDnPBq5f200Nst6p8w8/a70g/vnP8AyygUccZBJ/2T75oQRXdtCBuhglKG&#10;UW8h2raxjJaQnOC7ZbAHJwOmacm1aMdhSiuZu9urX5EV1ZrfT281ygFzDGBJY2ygQQJkfNM4GS3J&#10;JOercdqatukQvBLIUQO0X9qPCEQBjnZAmACeMcdq0r5gbK1gsllNncXgluLbYTdajKdwBL8Ect0z&#10;0LDIzkZeJXkEDzR/aYGxcLIuzTrFAOflwRnkE8deMHOKaetutiJ2Sai9E9bfJa+pbhneKW2jij2w&#10;y/PFY4AvtQOc+dK4Pyg8Hj/Gp5UguUkeCOK41FH/AHlusSR6ZYIFUorMCMuVXGMAjAIzkkZE0iW0&#10;J+y3Fw8F1tZ9RNs322+ZVy8NuOuzPToe/wAvIFi3JBFhcWUen7l8yHTISxuLhgAfMuZBls4xkscY&#10;wOMUld6x6W0NJN8vNH7X3afmLcTpCmwRtbq0wNxqFxJvlvSQoKRLk4AGDgdz1GTWNJeRyzyW6Qva&#10;fIDY6c0gjeZgpy8h4PUr8vP3+OmK0Q00ss1y5W8ubVAPOuEYWVmMt8saH5WPOecjLdKz7zT4btFv&#10;djy2zSbWuwuzUb92A+VYwchAQTuAHXnqBR7Xdpehl7tSG+t1/X/AIpbKa4jWe3uzDcwMhutQlwFg&#10;YYVvs6A4bHOADzzyO1iBY4ZJUuEdoharHFb2wM2o6tKQP9Y3AALZPtnoelOvTIrQwSRkypAEgtkG&#10;210yMYEbPnjfg4bPJI5ziiwkurKBn8+3tYJGCy6yB5l9c7VwEg4P3dx249TyKXNytyv2/S5pOV9H&#10;a3r8vn5GVcxyz3D2/kRteW7KDao2LfTuODK2cbu5zxwc1LZXq2KzOblUQuI72+ciWS8OVSOCLkcE&#10;lBwOBzxkmqs7m3ke2hSeOG6dTFaqBHczqQN8szjoMgj8R3GTFaStbXDOywNc22JoLtgBp2lAHLtu&#10;Jw0g4GMNkjHGBQpckbR9TkjGVSDla0V1/r8zR1qPeIU1CHy5mYJaaVHtRbcEDYbgAk5yMjOMg+mK&#10;xbm2WyspLiG6MZtyovrp3DYJPzRRY6DDFc+/WrOoXLXMLNDOTDNI01zd3ZI1HV5QQPlGPu53cn8O&#10;OKzYIZiYkmRpbp5FWz0/CmKE54klzxkDnJ9MetJSVNpyNIx1suqv+n/B+RnalHOIdPUWPkRlGmtr&#10;dVCzOGOTJO2Pp1A4x0JNYCO+55JJHXl1ac5UeWN4VFGe+SBzxzXUXgt3uXW4lkeJVY3lwHI8zAws&#10;UAHABIPT1J9qxp2t45okd0vAgzFDGP3dow5Te3TI5PHPPXJIrSLjJ2QudWajrrf/AIcoW5a2kw8c&#10;8qEiW3sQM+eRnBm64ySOvBz19dBp54pEnV490qKtzd+Z5kNuDkhI8dzkDA/ujnk1BbRqi+bIkn2W&#10;SULc3qffuQAPljGc9fTsT161pNC92YLa0hF15G57eyZjts1bgvJjjK4Jzg9PrjJyUm+XYFC0L1Hr&#10;e/8Am/xNWzktL2CKN7VwYyBZafC2G1GbADSXDbgwXLAgEHIyOdpIbd2txbXUoDoXtmWO4nJD6da5&#10;5CqBlSxLZwKqWfnRajKyXIs447ci5v2jxIRjlIj6ZGOOT0PWtO43/Z7fyohFao4mtbQnzLm9kYt+&#10;+lO0YB69yAuOeRSaabTer3HJctJJq+pxWvRSQRl3ZWRlMm7GJ3AbH5dfrzXKw2xup3dQqQRyNgSH&#10;arKikDIz3/Ouu8STXWoqUn8sTrEv2h4FxCMnooH+eDnmuJmUwsIC5EBmkYNuI4Cnj8yv601flTW3&#10;UynV5pOS01/yKcvlRtKygMghAB5CnLcDJ5JHWlkZJA6RkP5jIu0nCuQB8pPXPB4qw0KCFwVxFIAm&#10;xDk9Rgnj37GrP2JVeKTywsQu0jVFAMrkZOdp6+5OPxpptR5W9CEuSTjNXT/UzTbXzM7B0UF2wGQg&#10;jk+9Facc06rgKQA7AbotzfePU55oqVOC0KUqaVpJ3OBlBYvvjFrI43SRIzhYI+y8gMO351Z8w3IL&#10;yRPHG8aR7oGx5cSnLJv9SRk88ZHeq0r/ACMk8gULH9rvNrAlDg7I1k9wMbfb6VFG0uxzNmOVP3k7&#10;BwQVfBSLOcdMH+dZN8q0JupT5H9r7k2SXNx9v3zM3lRzHYPMbdMI1I+QsOGwCcVNFfzxR3S2zT2s&#10;txC1s0sUvlmGzK7ZEMZzkyBn/M+uayCMyIZpCS8Rnu44gUjRFyVQAcEn5c49asR2vmF0lEs0UaNL&#10;cNE43DONkW3JbnGOKGtrozsvejf+uhNLJAfLmjZilxmK13ybHigUAFzEv3ehPHJz+dcXAVv3A/eN&#10;+4hIi3IkagqZCCMhuDyPWpLuUhbUPpQiZtjy7GYqiDB2uG6Z9KkiXzwJHni86d/m3lkeCME52kDa&#10;ADgfn7U9GydYxTj/AEyPM0rxPH5kLtKbeJg+GijUAu24ZOWzznj8qlhszc3xiiXyd8iRWrXc+yGJ&#10;WUM0jOBgE9c44HrisndNcyAwTBWLlVLkKRGBgnGec4+tXI9QvZ4rqAwOftYEUZRQmIlAUkqeCQM8&#10;+hNF7yTuaQUqmr6mmItNhXeUVg6iK3tpQdwfIDTq4+Un73UYp0Rt4oWlidd8btBYWoYiUMhGZCvR&#10;hnPI9KqM0s0iC2h+xqy+XbAOGSNAcMSrEdyT+PrUthNAILxDGr3ilrTT5JF3Rw5yGcdw3GRj14xU&#10;2lz28v1F8MUpaL06k8V5bxb5IRJPLaIYVVIzFa3UrnLExlQ4wcknnPoDzV+3SOGGOK4iSKO1/wBK&#10;vZJpDLFLOW+RUYHIOWUHvgn1wMCFp7MgRW7zKT5NsXbcQ44Zxj3xjdxj1rdZIUhk8+EGytA0Mdxt&#10;8uW7uiFOdx4YLn9O2RVJx5bPoVCTband2/ToXLk3JuIo9RuGSZ2ju9UuIQpmWIDaiRtjaeAB83OS&#10;K2LY21y0dlPJNbT3syzXupCSWWCwtQd2x4FUvvAC8pk4UjBP3caOCFQFe5SQQOl3csUMs08hDAQh&#10;QCCPlG4g4G78a1bTzJoJlnuJrSC1iN5rM8cau8YZR5UG7O9SxcLyCucematqzcV5/oVFxaUo7fka&#10;EclssVxcR2rR3F+Bp2gr5e57aFCDLNnJwcDjduzvbGMYN631WJBBv02W6EMD6d4fs75P3MUj5El4&#10;4CZVxk44IGV6gYMck08cIslhgS81CL7QJ0mDyaTZhRldwYrllIBDAH5sdeabbtlCywCO71NBa2G+&#10;QodPt43UtcdMqWCHrgYc84qZN2s/mXeSlFyY2Wya3iIUwSabptynnPJckTanPuAGIyMuudvKg4UD&#10;PcDpoVkjgubG51GWLTr0xan4skXypWupGfzI7Nc4WQx5JKK2d3PIVcc1rEthc20BAkEGnzfYtMJQ&#10;RLqMpKs9yyFQcAAjfk/w9gSLCT2FvbQxG1SeHTbszBbSHzjrd7Id5M7BVEiL5ZG5SGYHtk1UXFwV&#10;viX5CqPlnCyt6G4y6jeagi3lzMv/AAkGnRJcXi3Qvr/QNNjeJiGU4Cb0iEYimH3WXA+4Rpy3t1PN&#10;d3ds01nJqNv/AGVpES3JgOjaTkgHKgHDoAx284J67iKzXmi80W91Fc29yrM3jLU7m4CvO5dttpBg&#10;AbBuRTC+59+fmI2qH6sDHNJBNc3Bd3jn1G4guBNFa6cqCOGKF8Lkuq8AgEEqMnPM6KKj3/z/AOCa&#10;SjatOS+FWfntp/wTRmDW9vFJZQCPT/skuj+GBKXn88nabzUASQzAshPQOm8Ln5S1VtMRkuZrqOaG&#10;e2+xyaVoNlcTSoFuZlaKW/WHIG6PzciQcM0SAggEVXkslkRJ7m2k0+TWLJIPDlnNeCW40qzRmE1w&#10;5LBwwEbLlgGJbcBgLnX0+RJpVXTmcavfRy6Zos0gjEWj227ypLph0y0SSkOvGQx/2iNSTV9X/X9M&#10;qsoygpN6Lp89PuM+WyuPMjttJc3Nusj6FpzXGXiunKhLq4jzkqQS5yT8pYEdjV29vrrVxpcVjaRW&#10;thpGlJoOl6dpytFYt5Kyi81GQEku8uXMkgbneuMANWNN9nivpLWxufMgliaw0/a5ij+zrIBLckdR&#10;udZGPIID9TnBljtbWSMrHPcwXt602leHYtxQWenxF3vJ3f5fvAvjACsd/Q5pU9Y6eoRqUbN7yX43&#10;/qxn3X74219Z5t7GYCz0mbzGtmdNywy3Dhs8Fmk+YN2xwMYjinBm2W8TTSSSjTdNh3kxQoios1wr&#10;Bs/3m4A2hhVTULu5llWKz8xrR4c6el3GGeyso5HLyIp5V5AwycgnJ9TVyaKG5jiNui2kl/GLNYXH&#10;kHT7WKMYlc5HM+Q3ynu4yNwFXHlcGrafqZKc206itG35bDNMeDSLq11GM+ZNDdLp+j2bRfaYnPAn&#10;uGWT5T93jIIO5c9Cak1OLSYLq9jsxM6adMLewecENfTv8zSnjcqopjHUknPUHIqMmmrcssNvdRi5&#10;tTbxPJcF5NHt1YsZlCqvz7UBYE4+8cjitfxA95rGk6Nq8cS29pdRnQNNkNv++22ZiWe4lmJO9mRk&#10;YM2OuMnGRFrxSW/+YRfNKW+35L/Js5TVXQ3KpaD7XDYMtpHcybturXTZMsjHHzfNvAPUqq8ZJxRs&#10;4WAjbK3iJOYmcAQLLcnYz53HJVOflPHHGM4qaOWSwkUWrN9mkU2enJIGgk3MSGuDk5LHkHBx1HSm&#10;yuoRfs4lLSSG2063acytJIQBLcsxBG0Kox0IyvYVadvh17/gQp1JfFppb8NDMvdRbyZbKRZbdBce&#10;fqN1BKY1vz83lQhQeEQEgEYIJPvnnbjChn2ON2JLlhIT5an7kIb14688CtW7MymFiu5hO0Nmxj3W&#10;0sqEF5Wc9DlgAw4OBzWXOZDFsuSlxNHN5rOCf30rcZ9Dj06cdKxvFNKxvyShBTa0f5/1sY95E0X2&#10;iMSKJmT/AEpvJaRLVM4VNwGAxyvI/nXJ3IjfYIh5jjKRIyH930yx/p9K624UEO8r7lh5m8mVmN22&#10;QSqkjGBnofQ+1YN4pbc4Tyndd0mF2LCnGMZ74A/EmhWu+b+v6uZSgm5WfRP8v8jkZYsDHLLkFScB&#10;nOBkgVmTKoG0HO7qc9T7/hXQXSB/KMYKl8ADhFUEglj79PyNZEinAbIAGVUcZJPf9amzUUrmPN7t&#10;4rUyZCxAI29cYxjA5GT6YxURwqkZDH7wJPPbH9DVuQKN3BPduNuT1xVYE9zwy565I6/400k9Ht2I&#10;cXzXT10ImI4IOGHAy3HHpTCBkFcg9D1yaWQjd8yE7R1Xg4zwMd6Qk4DDOS3Yj0/+vTasmKVrNSWo&#10;jYAxuJ5HJwTwaQEHavHTqOgpduSoPU8gZAPQ4/z70hYY3EAAjlsAhefSlf8AMWnNykkU7xP8pKuu&#10;c5PB6f5/CvTdE1uYwywq5ZnkhbazYUAYAJHsQDXlo3ZywJUcghRyP/11dsrp4JRsdlQuC3IIPPeq&#10;hNrqZJ8rufUei37Xd9bx20zrO+uuY7ZW2QR7oXRsqmNoJI+bknJrtLO4aDTbKJbGNLg6Vc291eTW&#10;6bxLazNMc7mIYIgBCHOOScng+M+FXW6SzdZngSTUQWuCjIhDEqSccZHPyk/0r0fQriKKS1S9Imtb&#10;f7fY2zLEkKwtIpaFxuzuJbnA5+Yn0rW13zbL+v8AM7qM7NS8zs7Zby3d79/9FijfTdSkEl7HDvZ4&#10;CVOwbiA4kBU9TkgV1F1dXVpFJFbTFFhXWtHKDzbpS6q9zEzkoR8zbCGPBAbjJrjbRop7S/Z5mkvb&#10;jQbS6t3FwI1iSGRYgMxjd/yzi+6MnyhxgE1qwPGmsyPLqVxC0niB5XEsE808PmW1zCHKSNHyXO3G&#10;8BRKSpJBxUuV6Lz/AEX+ZaUWnd+9b/JmwwNvNFc29rNPDY3Gnam19M08cM7yxbZEZljBYZEgLKwI&#10;KnLZ5NS4xdQToskKQjTtVis0gkeN5GU+ekYYx7+SzBUPGWGAAQxzgGTTxaLcS3C6jpcEsPn20cNz&#10;byWt2VK/61gdqSMV28DzSSTxjb063jg1Wx0uzS3e3/taaCKQQLa6heR3lsrvvkMpTYNjICeSXyoU&#10;MwrJNTulsbU/diqce9n8v+Dcm0szWrBzO1tY2GoaZdTpavc2tkfOW2jG8lMs7KokAxgNIWxwoDbM&#10;M/2O2sbgy2Nxea5Z/aFhvDcRIioWchkUhAoOMjojEqVrOS4UaFqqyyzXEk+gRw2qQBpPLa0uQo+X&#10;zOhKIvHUoM56HRH9r2WqRabHe2Ukc2sWkk825J/Ia5t5WlhMnnFUUgEsSCSUGAuCTN5S97b+kQ4c&#10;vNBra/4dfPcx7pNRl0KW/jLPBF4dtri7ghimiDGK4aESKCBjliGDcjq2OM7dw1xca8YY2K2dl4gu&#10;bW3X969vJEbb9x5aM4Y58tstgEFRgDpWWrJe2T6av2d4ZfC9/DJLAsUZne1vBc7UJJ3fu3C7lOAT&#10;GOrDOraSrd3Pm37GGxk8Q6dqE1nZotqYxcQRxykyNHkHDybjg8KvUYFbe63eK0/zLkoOVr21e3kk&#10;v8zHil8nSo44XeGS+8O2V2W2IoKwXKh1OWZiqBzzgAMccnJp08NjCJgTbwWdn4kC2p+0wQPbrc27&#10;Oy7HywGQBwNxZlBxkg7NuA2j2htxDa3Y0bVdGmupblDFCy+W8EaIItoYkqBJnAxxg81ivdSPFc3T&#10;yCWTUdFtdVW2Ll3uHt5jakKwiYc4LbjtON3oWKdk1zdP87hKEXFdW7/K1k2RNd6dCEgBunUQajpN&#10;2m6OU3JKPLbBAsR5BD7gPkGTx94mXUStzo93c3VyYPP0azkhjAbejQSxIJGKxZKlQyqobPJ5AABs&#10;QR2kV1cRi8uTeweMkaCYNObO3gu4EWaZI9gDMSfmIPRcc8VUmhaaylshK84XRb6I214jyENbzKVY&#10;h5F+XaHJLAdMkgHmIuTj92vlb/gnPDljJWe/+f8Akiyftct3YaVNch0tvGULWypJN9lDz24VXETF&#10;A2digtgglBg85rMvS0GmwyW4tjcXmhXab5DBvEVrclnBiLFkOQeGAwAM5PJ1ILuxWb+2ZVt7hYvE&#10;ul6hc3EcUUd7KJbJiYvNZXfhxIQATkpnaASBctmB/s/7dIsuliPWrO3QMIbtiVmucIgjG5n3u3mZ&#10;Kq3AB5ApRcpO39aI6oScY+0srNrb9CvZXGmFzqkgiN7BruluiW84kkSOaGUSRxReXggt5e45ypIB&#10;zwai+zXK2fmXUUlnYDT9UtNP8ppEEzQO0m15FQHc7SIcj5vn+VeBVCWCOzi80+bBdLoMF/tuY5lE&#10;LQ3Bi8kKxXa5CZOeeTkZ4rtJ4I47y3OtKsMcfiAWs1rbIJcR6jYb3ZTvwoLRxYU/Mxz+Da15kun/&#10;AADN+0snzLT9EctHbzJNBOkt2TbtpmstJAbiNrsK6LIUZgc7lZTuU/JsbPJUVsNJqE7fZrV7qxA8&#10;VyWKIhmdSHt/MZzNjBJIVTHwCIyMHnFCKYXtvqVs9mLaWx8ItYQyqDLJLJbX0bDKGQRxkoGDbSFA&#10;UZGSSLjWtgTZ6bFe2y/aNZ0++v0SSGUQPNGluCXUkby8jHZnOWCkB8gRo72XX87f5B7Rc7ktdNfN&#10;pW/XQo3ltcSabYWkVzcLc/8ACK30FxbxyTTAtb3s7tFKQQAuXVyv3uVwOmbEd3p0TSzIWmZZ9NvG&#10;VoXkR8pDDM4Tfksvmv8ANzyvAJNGbhIrUtBEZPt2oafIYniWyvfMZGkVwoBC58tiowrbUzjs+9kl&#10;NtDOTp4lu/B/9nt9ljt7eNPscgACtt+d2ERIcY+UjB6Crp6yfnr+pm251Etul9u1/wDI6DS5opF0&#10;22Ae1mm8VahaxT/YyLe2tp4URZZ5HlMmWydiY43nawxgY13OttZ6VOIRLPceCbnTbqVrQTPazxO0&#10;csPMg2hRtGMnA4yATWjPHqEEhuru9sZmh13TNbJikiaUm8t5Y/O+0qmTIXk27SwYNIwbBBFZcM0c&#10;UllNuS4ebXdT026xcpcTMs6QsCcR4KeYCy4+7zk8ZM2iuWMfiX+SsaKM+eUZvR/8OXbKSKLUGmla&#10;6ttKt5tJ1eW5gkyRHNBb28rwqGxwxk79cYHJNTQ3Cx29mi3FyIYrLV9IhR2mtso6C4gCJ5g2fMxd&#10;iOWIXjByMW6MwsxI15Exu/DKO8sYDPbR212Yk+RY+MgBdx4BbqMDFmytUTVVu4Vkt0sdSkszJdxb&#10;I4mv7SQRyFWizhzFIMk7fmBJIYgU1OUffei1/QenIoye1r/18y1HPNd2txeaeyJpkVhpF9qLBwwh&#10;MGIZDGrSbTkyEgkEAjsTxZmtNMl1Hbe3E0lvD4wkF1iOC3eE3KFWXHnbRGwWQqVHJiUYVWO2sLeW&#10;PTra2jaW3+1+Gru2uhbXY8vyrGbzSFjEBK/M2NzblO5SqAg1hTN9ij1K0sPOa3ll0PULtLgEwqcR&#10;h97BDIWKSttUddw6gVNJtx19PxFUvDVPpb12+41lkgFq0v2CySwvfD+o2k092tra313FbSQgqxRy&#10;wGZAwAY7mR+uGFT3tkkuoXVzBcacuYtFlhE7RRMRd2qI7tEXO9t5djgZ4YlRWto6Wuri3gvLHUks&#10;NOg1fTLKUy3L2yzz+VLayRpsVhbg+ZuzlpPNG1ct8+Vc30VzpzPe21xCtr4Xs5EleOVpJ2trjyyq&#10;YUkAIrqSCflUZ2nGJd27ruCSnFSf5a9ChHc+Xb3Ngbo3F7b6LdaZcCGYfZEjtZprgIAr4ADkMQuB&#10;yMnIzWzdarDd3sd9aJGY4pdM1q6uWCx/69FguWXbtHzMV6AKqlVAOAaxI2ub26uL+ytWsrZtXjja&#10;ISyeVOt5aLCqKHxnezB2JxzHnnnNi5l1E6WRavcQXMnh8Wf2IpKXIguYgwKdN2Odx9AMA0X5bKXT&#10;c0i3NKMU0tvxQ+PRWvY9IsYZYbS4Zr2xdri9NraxxRys0Qz5wwm2UFmc5GzkgZqa4RrUx6lH5pez&#10;exubeIoFgv4nCpLOhkc8MGhC7toCgEqTkmLR7iHTdYiF1etObbVWjlaUOkCW+oW6GVhlTkBoQ3oW&#10;8sYJAJry2yw6DYXFze3T3WoeEpkt7COHe5uLa9ZBBM5GEDFHZSAc7+2ch3cWmttCFzLkT3V7+hYm&#10;hSWyis4xFaRJDqVk8y3AlkklHlXMK/6znhDgHtJkccB63lxFMl9bwOLNb7TdUS3nuYt8nmxJCUkx&#10;IBJGWVxgZ6/KOlJaGCGc3Nyl1NJca9bmISxyTRW0ElrtdjHgkHCLhvuhA34Tsok06xtRdSC+Gm3e&#10;mmwkkkZt9tJJLDJGFixlxuO9y2C4xgHhRbk7xLlFyhJPWXf0/wCALY2FvaR35uohLlNR8PMYXW7M&#10;Miq9zaMsSTjCgozHbknaMsoJrSs7i6WefUdkFuNunXs0TttAjVJrWWNhG+SctEcnhWJyOaqQSS3N&#10;3aqsn2hDeade2yi48mG2FyjCW2A2EljM2c5yMsWLZBqS3tjCmqx6gyzCx0h0cyzGOMmK8hzFEqw/&#10;PINxbcN/3eBgZq2pS1j/AFsRSmleo1eL0/ryJGimitvtFkZZJrTRblrzzhcSRb7K5LOY92FLEAMC&#10;gBHzHO1stbhax+0Q363CJfyPc6U8cVufts0d5aFiAdjEwltqFRhWLnJGMizc/wBjWF7rMUemXFyd&#10;RaW00uezut2YrmJWb7QjwjzlbZkInlFRKN2cVmDzDc25KRSpKlhLLdPEjPKU2xbDKQNoCMDt55Ve&#10;gINQnoosI31ad9r+a8vQsQzvPJpN1BFbyWsUWnTPBcxrBCyZazWQfINzMkSs7gFczDnJYLeR4n06&#10;2uIpEj8lTLawIMswhuJUAA4wDgMrcKoHJznbQa6s7ewurpmnubuXSJLG3WJZN1jJbTI7vs3sERY1&#10;fgHhZOvJFS5RZltZ5pd00N5cXfmuzxhmjSWJAqszMrYIQdcoc+pFPmp2b/qxpdU/h3e/4aGlDDEu&#10;pW6ywNtt9kaWwdmWQJIVxuIPOGx148sYxg5/WH/gkR+1Zov7KX7YHgfxb4skmT4feL0k+G3xAEUb&#10;T3UOn6s0UZu7cL8wkt50hlVtw2hWJPBB/JRBPaN59naObe5uj5DyStIxCxrNJt3KB8mSSBgEkZA3&#10;EHf0TXby1v7a5tZntJY7gvBfwncLFlcGORZFPDIWVgw78iqouMJxlLbZryej/AMRSnNNJNStdPz0&#10;a+4/1ddRtoLyeDUrZ7nUIdQ09dZttf0+BZbWWKMxNaaxboiySlkSSOG7hPzcZCnajN5prVm0M11+&#10;5SykeZrFIFvvtEEBdXdLIOZTut5CqSW8pUKpKDcBs2/O/wDwTX/ai8M/tg/sb/C/4h6VqCTeNfBe&#10;jWfgb4n6exa5u/Cmv6ZaJYrqUcbNJmxv4Irfz0IClnz0O8/ZXiTS5PPmgaNbRl36e1kb5IbWHAMp&#10;0p2dshH3GazmHynfhmGCtfOY/CTw2InSXR6en/BPqMrxscVhYVU9/wA1uvl6Hy1q1pPs826to2S4&#10;maeFmhEVxfKH2NKzADLIdqyckkuCepxkJamG/uIbe3JVY/lt5mQm7LKrBIxz82MtGwxjBzz930rW&#10;9JtkeWZIYruKSNGhupGfzwSVMkpXYWDxk7JowSeCeQDXC3mm6qdo+xXEsoMYhEEQZUSQySLEhySw&#10;OA6MMcbugAryLXR70W3FK5Vs7hrSO5gadWjVUubbzGMKESYLyZ4wpwUZP4eTjk16tour/wBp+TFH&#10;NdPOYmtTgxySTwxxswK3DK5WS35ZGIIMe8EkFs+P3FvbSyNNdRtFA1u0scok8uOOQYAbnG0EKqyI&#10;DkZ3cbhus6XeRQskHnrGhkxvVgGwrFWAPZk2ZUrwyjO7kVUW46JCnTsk92/1PsTwf4ku7QT71jhl&#10;gWKWG4ubxrizt7mQkTTGImI/Y7uMYkRjhXQMASVYezaW6BLJIopZYIlm0u0t2iW3MIUK02kXLqrh&#10;Xj2mS1k3BWwqhuQW+LPC3iSK3mlT7SVnlTy4o4i0tu0shwUlPyr5M+5SOpR4Rj+E19GeHtce9tYI&#10;l07WLqO6idZFnukY6vaq0jIVA84xX1gVjcDhmQJjcpWvTw1WNld9DxMdhXrKK1vr91/8/wCtV7bb&#10;Xiox3XoDmD7Z9pmYI15FGdovCvmR4eDO26QD5hjIG7A2re5Bdow0hlhle2W289m8zcPMVQRKyhJV&#10;Akgdj+6XKZX5lHD29/NFareS3UcSERX0t3bS77a0lPyjU1jVYy1rcFz9pjP3HYk4O9h1atN5sEOV&#10;G+ZrRIHacEIMyyQGRXOOFEsE2OFBjABPPpRn2Pna1Nttvb+v6/yVr9BaTJMVkWT7QrpHchWE2H80&#10;4SQoQQoYoCVwPKZGJ5Y1qxqPlHDiPKCTYwz1DcYwPmU8D0HqK5VFSW3RmQ3KTxRvPJLprxLILnMb&#10;SeWYif3y4SeNsGILkjkFtyGZFkcKJ44lL7gttKZWaPZGQwCjJ2rhQAxZAGXGMt1RnvynlVYNM0I3&#10;IbBdnVSTyu1oiAo24A6YbPNSsFI24WQNJvZWBcZByOe2GC46/dquxVyisVYyAyxLIVDZXaQdoAPB&#10;PPB+5yc05EjOBJsDphk3SmRgx3Lg556NjnuzcZwa3TurnO1pcccuEDA+YFViJGCsCAoJ4XafvH2J&#10;OMekcsIkckCEhx5colJwwyN2AeOhO7g7sKCRtFTM7rlhhlERk3BtxY4J4AUnnnkZ6DA60jrlogUX&#10;cQWXOcR/Mm0endeM8lQQOOFKN0KMmmZpU72ZVTcSqygS+YIXIBUsu4ZbDgsOrJgZOADRMb3DAE28&#10;yjK7nMjWsocROyH53BV/leNwf3fyLg9G2XikRozEMHf5k7h1RpgDg7spjH7x3OCPmAxnLVkSKWiM&#10;8axC3Us2+R44Fb5t0iyL5BZVkbd54OChXIH3iMJRvodNOeuhGJkZEYG5kMUarvlXybtmQvvcxfIx&#10;cYzLGB8yFMAn5THLHG7QoIz5EiyRPE5W4tJY3D7FnLBsQSAZUr904U/3ROiTHCxvJ5kQjhIuL5ri&#10;SFgTJh1D4MiblcnrJGQpJzULx+ZE3mG13C2keQT2wFi8cmXlyHGfKkwrSR7mKNsBJA5xatudMXfb&#10;+v6/rsRfNmRWll8xpkiWZZBFclwHcoyBipmjVRISVAkjIXDDpRlhlEiGKVLMwMLovEGNvatISU5K&#10;oHt5QJPNUnKuVxgjdWrwrYMc2RsgSGaYmZSg8xYpQjmNZOFZJudw2rnO0tDLBDlCqxW8gjkmt3aF&#10;UMMch3PvVtrGJjs86Pgq205HDLMoXSsbQnbX+v6/ryKiKAwdraAAxm2W1mKGTDE7LWVgXG1id8bA&#10;4wyrj1zLiCFlISW+KGH7SxePZcoUIQ3CIzKFlhziVSp3q2CDkqNXLBGtxHEoRhCLGVd0UPCiO2kO&#10;1sxOfMaKf5Qp2qQcFaZKxuoIpQLwpCPNDPAsWrRSRrtD7Ac+fEu8tHsYSRtgBvunCdHm1R0U6zj7&#10;1/6/r+uq5ae2f91OLaBwJMHMTmJtzFAyvjIinBDZyfLYdRgmi1Y3Ie3utLug6T/YxJcSZ+0+WgZI&#10;XVpPluEIj8uQj5gF+bvW/c2W+3uDcyQbUjM6PIuIEz8kkpAVT5MgIMsZP7orkdFYZ3lkSSW6i3mh&#10;uJ/ssttKr3BR9qsbScksMsCGhlOMBguMYFcEacoPXqemsRGpHfVf1/X/AAzK1xDI+JjcTW08tu17&#10;Hcq4gkicbBJKqBQflU4lRjwVQ7SMlYrWF90yyQ2ksTKbdy91LdMokDN5QO0q0RJLJI+NrOFFaavl&#10;DJM8iZlN7HLGi2l7JGoA8xVGzEsJDebFtG5cjDHINYQ24OVjtyMEkM4uIoiwYxt907rafoRn924A&#10;HQEHs22pN6MaqXTTWvkv6/rtsTRblhjVYZLoC8PmJJbpbX+YmILZOz9/GAnI5kVWI3dTrW9wrxtc&#10;LMYIdgczofJto0LOTMh7xy5AkQH9221hjhhmGWK2EfyYtsRsxLlrndEirsL5B86IbXVm++gUdDlZ&#10;leUgEzE4QS/aYog1tOWfb9qiUyNtVgCs8RHG/cBnJPXTlyWt0/4ByVYKaSa+f9f167LooJCzKyw3&#10;CvHGA8YnbIljZVVJGZRkqP8AVsx2y7uR0I3ImLLwxKvI48wSh/KKtwckZP3en8JyOwxycQzJteOM&#10;jK24jnIkQ7XLi2nbYxAjJLwSDglgM55fStyqPzBEpRTOj+SonkV2UvIoWIfM52+cMfKSpx0J9GnU&#10;tY8etRT1R0a7JdrDaXA2qVYghSQcq3PBAU8e3PNQ7QrE8hCN20gfveWzljxgl+MbT8vUiorZjKQX&#10;2O8J8gTEj7RnAJ3AKApOASFwMbTkhuLudxUEjcuASDnDDrx+NdF1KLsee4uErMziJEd1JeTd91Of&#10;LjJkxgkYJX5TgsvADfPg1Xmi3EL5aOV+75m7CEgZ24yyH5jgpntkjArQkKs3BU55T5ckE4Q8dDyz&#10;Z9M9KgkbPzDDfN/CQx4wDgdiOOnPtmuad/kdlG/X+tisG3uro7IQxjwsocEZwR3DdFORhhjkjkHH&#10;1WM4+0KCVZTvjyFKnr9eST0J5xgVovsDKxALBAhLNgkDaQW4AYjt3BY8Dmq8kizRvEwO1yVBY52H&#10;A555yM8A+o7VxYlKdNx6npYe9OpGaWn6Hn90B5isxyd/3A20nlVJGT1+bg4x1znodrS4xFpiOoKN&#10;PKZDlSrKeQuR7kMc/U1lX0EyTLGMFy3yK52lv9X0xwOMEkdM56810sqxx7FAGYdkQwhDLwBjgcLk&#10;YI74A5NePQblNyfofQYmonRhBPR6/Jf8OQxRJJdpG7FI9nkpIjlQkzOnl7uvVto6fh3HfxGQ+WXR&#10;UOxWdQxcKcEsvQd8c98HgcZ4/TFkaUK0KzQXFysD75EKQSR5myQSSeAcAAnhe2SO0AfB3KA2cdQy&#10;g5yue/TBPpj8/oMDS/dOT3Z8rmda9ZQ7f1/XoAyScnvsyQQcBmB7Z57Hpz09a0ShLp3SQYlt0leN&#10;RiMcv84IzyeBjPbPPSrRB5GdoYDBBG8HktwePT65qCVJFMbRFQNwgljcnyvLJw21QcBgSMH0z+Hb&#10;yJanmKelkWFK5I3BmxkhfmPXHb6H8vyYyttYgrGQodWLHOMEbmXA6e+f6VKpDhWUqcHGQQfm5Vs+&#10;4wRwfX0ppLbsnBjwF2bMsrA5yWzjGB+eOelaEKTRQuY5CkU7qqy42uFk3GMnoEYqATkgcgA9zxVB&#10;WPzMfJiVWQBy7RLlmAIZDzGSRgYJBxg1sPHiVoGBaK53SNuLu2SpDKT91RwuOexwO4y2jmVfLMZl&#10;wBDIGlWViu0hsMc7wcg7ZQDhic5wDy1oWlzHZh6vu8jIX/djDFyqYeRpMIjtnOXwPlIxncuAWIz0&#10;xUpi2s7qoRZXEkpEpjDEbBuYjlTwBlSQQOaDHHvEnl7SkjLAVdS4BzvVT0+91jJI+TgcYqQB2BWU&#10;Ku4bA68rKCH4CnnIGWKMpA3jBOCax9Tqc/5f6/r+tiHaWdsgsd5dSI/JdGZTggHcyyqm7nCh949S&#10;KAoCR8hXZyY2XMJLsS7YXd67i0Zbny+BUkAUkLCYmgSPaqxnciMr4ZQSSNobK4O0xmIgDB4RpWwy&#10;Kp3ImP8AWvh1BByScZ4CDepbaXIPTJL6md3fQEC7UARPK+zMpSOJ9jRgHARQMnoP3RBK7yAT0MmF&#10;DNxE27adgj3xrjpzjLAEKc8bdnYYqNVKs+18TsY45mJDsTwNzoo2hyNxDhcYUbuABUh+UO5LbB13&#10;SBG3OoGS3AV+QAyHDbyCAcGtIptWZLaAMzYb96vk/K0UrKWnHzgM3VRuXJV1YEkgNjBWlhJkw+6X&#10;KOqPCzKGikAXdu64Yk4Kq+1gcjOcmVEBKPuYOFOAfvjJJU4zwDj7vQ4HHApSwKAjoQysoJyOhPyg&#10;YJ9iM8nHvcbpa7karRDFQqWQzq0e7zi5Y/IQRlAzZ+UMHY/NlMAdMYsKCu3LOzoPmYFwrcj+Ecc4&#10;Xj64HWoCFjHLpGWKyPGG8oMTuOSVxwTjLFeQpBFPQiIgOqLERlMuFZRt6nODjoCOcEjt0ZD2Jgbf&#10;ey7kLIWi3qR5is43kcdyCD77vzkRgCRI7Kc5P7s42jHBOMY6fhk8DpEGKM5AZ1VtrxAYVQ2ANoA5&#10;ABGe3XvkUp27WIHlJljuYiFgVPzMowOM5JPsCMg5pvuZtO9mI2yNQpCHau4JwivyzNgngnAck8Z7&#10;460kTHeWGcDI+ZgTnII4HGCNrDuM8+lOHJRiWBQkgO+WdQUJKgNwMhfb1HPLT8jRqctvxsdtpkb+&#10;HcQM5+9nOAOe2aW5SX2QAVSFbGScDPso59uPp0NIwywIZlyACRwv3hnPHUhceo9qaCQSSNscalmb&#10;5gzYz3IGcYPrng59VOPlyQrYL7S/zISoB53dgT/30D70F2W6HL5fyso+6QitggcentyeabzghvmY&#10;dWUFRjkdz229utG8FVZHDbfn+UK5YEgHAAxx0z7nvzSDAOCqqdwG0NnOOTjHp8x/EUDXcqyKgcsY&#10;/nkX536qAB936Dntj5q4bxRFutJydjHyzgsDxxgk9+gzj36da76bYSu8gcABd33vvYGO/G446/L9&#10;a5XXI90EgVtwWItId37zbglgPcgjrnG48Vy4i0onqYKVppXsfjh+1lovn2l2XiEuJJM4CqqHHzED&#10;HQjj8u1fzmfH/QmF1fF7d0LtkBBsG5efm/D05IAHYV/Up+0noQurHUmWMFFG5ldjtfKKG7DA3A8+&#10;5zX86X7RXh+CO7v3VIxP5paTkgF2ABOcd8DIP9BXlVVJQ+Z9VgpNNcsrNH4afFHSY45rpWifcqcx&#10;Ku1VHzEHjHUDHJwdpA718SeKbF0luI2BKJJu4Ux7gScAD8OuD+tfpN8XdPWOSSZ0eMYYDa21nBO0&#10;5HYdefbHavgXxbZubqYZDKHyoWTZu5zgAc457dM1yx5k3Zo6q9XmgoLZXv5nhU/lxb1YbnJI2YJI&#10;PygfiORySOfpjI1eAvbPJtJKrnYM/IDuwfXJKHAA/pXaX9sfnLxcIcycgSDkE5Pckkcf4gVgyRT+&#10;XJGu8s6eWxAGAduPYkZH6da78O2nFvyf5HkV4Jwk7b9e/Y8KnYI2xApZmZNu0goRx/hSaYPs0ryR&#10;swQ5iuWD5yv8agY7+ta2qwSw3EhG4Oku2JOEJDfxAe/9e3fl5Glt3z5owsgYfLgE55P1/wAK9yNt&#10;2fN1VKKae6dv6+Z65o11evawxi3hmKS+db6UFwbxAGLTSvzlQVzyOhHBGa7NYt0ZNxcWRutjw3Or&#10;OwNjpQCAmCFRxkOfuqvJJArz/wAOTALMnmLH56F3nWTN7dABFS3j4IUMckkEA4Oewrv7AG2aFL+0&#10;RY7GTfpfg5VZ4d5AkM16w+UfNgled2TyARu3T5o2/r+uplDlVRPy1t6/qOSOKOytSls9taCZ8yLJ&#10;5er6s+CFbOcRqwGRgjIPOOg6K3kxAtnJAqLdBI9P8N6dG8iBlyRNdNn7zMdzZz90/dAAGeqTa5Jc&#10;3lrqLy3iolzqWuzKLfRdPJLHybdcNu2qpA6HKgAetFT9mtbdIvOtbRbhme4li26hrJkyu5VPOznJ&#10;A4AzkkjBtWvqaThyzd5N22t0v/wDtLG4vWe8e38mSbTm8kTgiKw07Iw3lrnBPHHJJ2AEnrUsKSzf&#10;Zjc3LpMsZzFESJbe36MznszkSEDuDnp1q6RckzR6bdwSJkAwaah8sRO27dLdMT1wI+COBu5AFaIs&#10;rcXy3Yd7uGcATBSVW7nUfIsRYfcUDcc9O/qSmlZub/rQPaRp0+RLV/kmbWoIrWQcKZ5Vg/0GMMuz&#10;S4FYFpCueZCvOeu1sYBwK4kKUa3uZ43eATArHMDJLfsGBAHTamM9x3wQcV2F3Lc3Fo6yQHEdyYAs&#10;MgSW+lcBFwSMsiKFB6gBMZBPPMWMlvplzLb3jXEoMximnIztJO3YhJAUYOCxI29feqXvtJr+tC4x&#10;nJvrotfu/wAvxKl7ZS3N39tF7Lbx4RLq/njZYbXACGGIDG5VA6pkZfA6YOfqmkwEwyI0kVvKvl2l&#10;g7ASXeSFeWXBBwSSQM44PJrXE6Tm3CRGW5kkAtNMkm22VnCvPnTNg4JXJI9hyOSKCND9rmjluWWF&#10;oWmur9pQJHARs29t8uM8oobHBPTFXay22IppxqO60+8IHMN/K0kgUWSfZWv9qi1s41HSBc/e+UHH&#10;uOetaYmsjBKImW1spWEcl7OqPrGonGWVD1VWYt0A474JzUlt42khge1Q4KnT7KLMAQYH7yUnCljy&#10;eepGTz1nvNC1Czgl1G1lDxpIZbjWG3Nax5LLiLI64UcAZ4zgYqYq6u11+40hN25r37J+ZW1QN5EN&#10;q8ccs4h229nay/uYlOWMkzDjOOx565rPt/LgiAN0Jxgx3N8hDR2g5HlQKRhmyoyR3x9ab9oCWzJM&#10;pjijy8NvCS13qwJI8yRhyoJz6/nmnRR3kMsREUMl1CmI7KMBrSyJC4a4b7ocAgheTyARUyjKKSvZ&#10;6nPK6k4r1Keo34u7poI4pILcqClkg33F5IeN1zLxjjkAYALdOaIJ7fYzNEj3kGCs77m0/S/lZPlX&#10;GA3z46dVHBIq5Nb3AjMv+kW8Fx813cSpmfWpQBlYh12ZbqOPlHrisubdLFHBPIJPs8uLfRokYpAy&#10;KSZrh8beqKcE5+THHBqoJuLt5ERThB04vtr+P6lW7NsDcSG5lijaLMl28RFxftnOIxjKg/Lx7fhV&#10;ON3L28EkQmVRldOjf93GQSS8r8ZIAzg5PGOcVJqLl3fzJ4ridfJVbogR2WnKCAIo06bvmwSO/IzT&#10;ImSOK1aSKdElIijiVz9p1Fiw5YD+A9efcfUdvdv06luXNG72XT8NfvIrn7Mwt0EUks0AIutUYhra&#10;IlziO0TbkYBGeuSWPSqLQ7HiVInEa4jMDv8A6deHbzJkrwuRwOoDAAnBaum1F3328Biitp7di1pY&#10;WoYw2oPAaUkcnBGM+tZqwzo0t5EWujcyeTc6hMm2SQkAOsC5wFA3DI685q+ZTumjKC159Uls++3+&#10;RgNv+0Z2W5MceyCFOEsurNI7A/eLEnnJwB2qpcW8aQQMihbNJsLGiZm1V2UGQMcZCrjgD1rVuYx9&#10;otUexlhtRG1zHZWz7Jrk43b5yD0+ViQeg+lU5ZDKp+ygJ5IEaXc5321oZGBbyf4c4BHc9fSndSqb&#10;adwV4O7W/wCV7/16mV5rpcQTQBFlihaWKzn+e20tmBUMxIwW+7yeu3OOx21toDp8c0E91HbzTP8A&#10;bpyrfab5t3JA5YoeD6c1lyWkkZRSkbwSK2y234uLorj99MRkAE5PHGB61biml0+FiFD3MsYia6GT&#10;p9kgJzGg6EgcgjHTocVMI78y6fkNJXc9o7P8LE0UF0s9mWgW5vEjzFaH5orNQ+UkkOeGyAeenynt&#10;V5oriQG4N0spMmbidVLPLI5BCxNkggfNjPAwMZxWVcTpM6w+Y8FnJlvJgXzLvUnOerdVUZBB56Y7&#10;16j4H8TxeE7jVkuPC+m+KNT1bSZLDSrDWGBt/D7yoAL6Y8qZEBYqjEBWBLDAxWM+aSujSU4crqO7&#10;j+vRnjXiKGNnVYxtYRJ8inJiTcWADevHrx71ysumxXXybCHEzMJNxXaApxn0H/167fXN4iMssOHD&#10;BJZlckzc43nPbjgZyfqRXJ3MymMrEjA72LhQMEYPAHb0/WqSW0GYO8It207d9TOWBY7R4XAZ0XzY&#10;icqWAJxg+/TjAOBTE8xHjlYkyrc42ElTHtUDB9+M577qrzrJDHFL8jq1upCHIC4OOOfQ+w5qU3Qn&#10;KNGjfvHIIUYYbdoLH0J5wOen0qVa2q7Epwk9dGl/w33FiGCSWJZd6pvywUoSVGTgdaKgS9mRVVZG&#10;VQOFWRwFzziik6upbpq9lb7zh7iO4DGSMq0sAM96WCW5d2/g2gnPUDg0STCWMQvHGrxSLd3AhBDy&#10;lhhQQxI6Yxj8sVUnt0UPHbFZ47d9vmecZ2uZmDkvg5OFGBwe44OTihIJxCG/cI8ThrkIu9pZCSqg&#10;9SCMkcY/Goai/T/hjBzbd18X/DDpViiIhKsZhh7nBOQ5IIQqfQdcelTTHMb/AGoiOGKQXF5PGCSH&#10;wSkWVweAowPrTFD3MafayfLiYNNPcTB1ds4AJPIxkDHanI0SyyrPGXTPnfIxAdyo2gt90gADA9Aa&#10;dr6CU735tL/1+g6a4uGkUSSifzUWWeXG50VQQibvXHY9+tI0sxMYljklLgNKqJ5AWFBuAX69c8VC&#10;iRgeVJKN0n+l3quPLdOcquOh7H1qOc2tqqRM05DYuJhC2RnBPlHdnoQOg5pKNne+rJtPlv002LEU&#10;kDxvJFDFEJWJlMgy8ManAAXPc0M142ZHnZoTGDKDGH8iNcYVW4IBBPyj05qut1JmaRQIlciaQR8s&#10;u0fdB6g8j8TUPnvLOsVwJUZo2lnZ5NkYG3cq7s8nGO/NJqzVy1KpK/Rf10LdzdyyTpKLaSGK4tcx&#10;MHLxqudpYkDILHd+tQTuHeB4k2I5AQ8j7Og6sW564J5q1dSTIkHmyl5DGkojDBWhgUZRQw/yeazZ&#10;ZGnQiIsXuo97bhs8mNW4Ug9c89B2pxa5tOjK5LRun/WiZrNcNI4kSNmBjFvB5jFQyZxJJwQDuwfz&#10;q3/ac9w0lvDEWCZW2i8oRhHJ3SStGRjjkAnpxWG7R4BcxKrps2AMFiTcwOVHHIwePxratI2niFzZ&#10;RpGlyotkOwiKxj34eQnGc7VY++PaqvH5CVNSmoPS/X9CyJkSQPCTNHZuwJDMqyytgFiM57AkCt6z&#10;uoVCvPILqO3nDfZpTKp1C4dcBjKrLnHdHzyQcHtFGiiO2FmQLJWktrOSYKs8xbAMhbB5OMAsDgj8&#10;KdZ3KWNwpgtHvYrctFYqsY3S3LxgNOy7RlQXBBGOnJpXsXZUkpJ66+ljooVurg3Vt5k7idxrPict&#10;tZLdUIMMTIT/AHto4/iZfqZGa4ubqcXbwRXmoxCbULsnzVsLYFvKgTCgfdQZjIDDjjmqEKNHFKN8&#10;tzbWM3manKpeSG/nXcYotw5XdwOfXnAziysU06m2j3DMiX2q/OZZUkKlYotoHIAOPl5Ac4weijZ2&#10;T2LilGPNKVpff5mtLrd6YWEdmlyt9p/2LS7FbJZl020UsHmUhd8TEKxZiQeScjNSpf3txHYXGkWc&#10;M8FhtttI0y6shdyXszpIkl20WMkoQ7eauQhK/dOKYscupusVir2mr6s/kTSvcfZ4dKtbZymzeBvA&#10;YK5IYcheM7hTIJ57e3S4ga5sdaaY6dpMUKtbxWVisflzz7mO6NmLvnPHzP06UR0bZmleCvpL+mdG&#10;jI9jBNfR215o/hppLmU28Qhudf1G4kBCEKoNwqkIpyd6JG23G8gpZSrqkF1Y6zAphtl/tjxFqKz/&#10;AGa4u2UJ9nsg5zhUQhVUEEbF5yBnM0+8h06PTLrbe3NvYmX+wtIhU3VlLdHEQuriJwUKeZgeYm5j&#10;5aggjiptQRdOnZJ7wan9glEl1hkuI9W1SQllR1Aw6RFkUv8AMAEOA2QK1Ti4+89DWKbj7Ry1Wr8+&#10;lv68zS1mGWG10p74vDea6o1S8spQHm0XS4CFj2vgbVlONoIDYKEH5sHObUo9Sa8aULaXF5GHdbdG&#10;UaPpsLN5abC33nC/eBDNtyQCwAR7m+lg1OHUmWSS3eK/8RapcyE3F5KqjbDA5IDgOy5C5b5SxGAd&#10;rBbSi5uJNWy2nXXk6hr3leWLlkw0sVqjDIVsA/KOPmAK4BWoU3BWn6/kJQ5leO7/AK+/U1WS3tWl&#10;WNmhi1XTvtVpbCARDSdPhKuqsGI2K+2Rs+it2bcGXUt3c+W9zp0ha8gF5dTwxsy6VpsYXylCgDHm&#10;KUJbPzEg8ZNVJ5rq8eNrhndkiF/rE0koghtYw2LSxQjuUC/IOQpKjgZp8d/JJb3sao9rcyRrc6nK&#10;zEwsm3dBZALkDO0fIc5YKeMZqLPVdDSLcOWns3b8LafgUWQXCXQnFyJ58XN6iP8AuLa1iAa3RBg7&#10;jvHOcD5QGHORPO99bfb49Qt0CPDb3F/drDk2kO2IW0ICEfMwClUPPzdO1Qz26WrRwzs3nNam81G5&#10;jfbBHJJgxWa7Ty33QV9fvAcVNHrYhVFv3aVoriLWbyGQjZPcKN9rCxX5+AUY+hc5x1GyjGEVKIrc&#10;z5Km6Wn9egxZp0tL2CVJliv9t94ju4bcPfC2DsYbBWKjaJMKxVSPvLyO2ZcTm5sruISmNpL6K6mW&#10;NmVdOR0KpbqAcZYiLnBPyAcZroI5PMsLlri9smOlQR61dB7gwzateyNGsVsiFgHeIOQR1VfMxnpV&#10;jULHQLfw9olzvlm1zUdRuNW1d48fYokiCR2loY1ORI7mVtx4KIcBSVIifNz+6v60sVScIRTb3un1&#10;6f8ADWZyE0dzNiHULyJNQlhZry6yDbaRYIoSNAOzkEKFI3ADOQeawJImmLvHFFHIsRigG0RfYoUI&#10;AbZjAJXALDqTzk811NzaRJb3Eskwvfskiza3JH5kjXM8g3RW5cH5tu0ghSCMEnIxWB9kNwLiWKFp&#10;4LOIXGoL5oJmdmXbBECckZIHy5zgnnFCcnO7MXC8Eo7f0/zKixXCWhhgBkS6hYQ4i8wWFuCQZC/R&#10;WbqV7DoTwTyqLGoiEbvgboIHY4EY5Bmfr0ySO4z7V2EwuoxcRyW/2aMILi+RYnjEYTiO1UZLFeVy&#10;OWOPYk8vcxyrMomijt7d8TXUEchCiNzgRKTkgsBjnJGecc1m5NSsaJWhbr0/D/gmPKkysjyRl1OU&#10;skRAGuHJ/wBYwI5Xp27isC6ckSK+ZkBAuZioIlfsg6ZAI611tw5NpcJFE0V5O6uTOrbdMgGGB6cN&#10;wo4/vfSueuQJD5hA+Y7bSHysJIejTOegPfn0H1pShr/XkzKUVNNpWvv6nLtE8rL5rBpCQ7swyERe&#10;inmsScbiXAw3IT93gIoOK6i6ESE+SfMjViWbG3zXxgAH86wZVDFsdlJkIyiAjnaPfr+dHLZqxn7r&#10;3f8AWxhSqDnbkKUJVgNrfj9aqkkle+MknHXHb8sVrTKDklAhIznBAjUc4+uM/rWZIFVgV64Axjgg&#10;9DTWrsZ6r3rkDjBbpn7zE8L34FNABXOc5yAcen/6qfJjjIJ+XjB6ioyqLhsjHI5JJ5A4qdEryJTt&#10;NyWw05xgjj65YZ9aaBGAQd2AMcjOeacRkFRgA8YxgAf/AFqa3yAHIxkLxyB6cd6rdpshtJvsIcd/&#10;vA+nOOc04Z2HpzjCsOBSEL1JAbO3k5AA6U0BSCchsL8w3Zwc9qUvdtYpK7V+qOu8Oa5eadc24jk/&#10;dxTK4DHKDOVOVPB6+hxxXtvh/UJYn0yaJofOWa5fbLCs0MpKMMu7EgYGcAg5IHHp8zI+1lwdvGRh&#10;uSPpXo/hvXgk1tbsAqRxsTnMpYkEZHv71pT99WaIUnCaafb8T6Isr2Mx2tw80gj/ALCkeYKZEDul&#10;y7CLdGAeQBnbjtjA4rqzeJNcXOq3ZjaRtYsb4stgrQBWRYM4d9xjXei5HDbuBXlvhvVf3VqoKyvb&#10;adcfLMsk5ZWLYGwHZwWb1OW7DOexa6NvbmWN3kaXwvaTTsYoImjSGZNhIOcEiPBPGdxHPfTSP3/8&#10;FnZTk1P3ld/8Mj0Jlu/LuYLi8imuLCDVNJt7DdahFB/ekSKFJJkyGClsA4BJ4Jy5pZLy9F7qMtpL&#10;K6aXNbT2qi2Ro1UQk4CYJVUAYDJY8k8qGllSw1B7krBftqb+KSz3cN5vguEuoNyhY0XGRIxyQxUd&#10;OoIqCzgiezeIWqFDoEsUbG4ZJYnt7uSVnWSSbhjtIJYj1IGKzSe7/rqbRk5xUpbPX73/AMAmht/t&#10;spsVXzStjqcIUxIJZgBLIBtEarGmVODjCgDCtkGtnaz217MDGnn3+i6lIh3R21zLLA0bqD5fVXYh&#10;iTySwyBjFbULi21HEdvHEl3d+IPPuL62kEMVzHfwndEWL5/1jggdSGfOADRfXFldWen2Z06JobPQ&#10;YlupPM3G4uIrgMSFEhyVCKoUfLgnO47ibUpJq/Rr/O5pKcYyUU99fR7fdoQwNcWl61qYYo45b7VN&#10;LSWNZBPNHJGq7VCgKiEDd8u0/MMdiKTvPY2UshExjk0KCSZrlJZLO1lgY/KrK2Q48pyU+U4kbI25&#10;ro7u2eK4kvX0+Jk/4Sa3la2ghje1WDUIdgUfOVHzbQD1y2Otcras7iKzFqvmwz6rYtK5CwCMxjbG&#10;hJwSGjCktyCQSRnhRqtOz0/r/gikldxTunv5a3b/AAN15TrOvtLZy3omk8TQX4VYpLS3iikjcSMM&#10;N5a9EKBsA84yQ2Y3sbZNPjs445DeW2g36zyyw3C3GYpiGCDzgAhDA4CliWAOBgHPWeG206QiO2ik&#10;vNMs5YcTxyyMy3SI5L4JU7FIycdQBweNXUGYxCeMx2clnq+p6dHbyW0K6isVxGrh1V48tyioMgqT&#10;tbqVw3yu0Y/10uFN+yTjUXfX0X6mPf2xCpqu66tB9r04GT92hjUxAbo2di2SyfOAMhmPAB5igu57&#10;mXMeoxhrg3umJFbgBpB5DplmEW1fMYt8wPyjkKWOG0r6d5rW3KXN3cwx6HZ6tbaSs91dR206zgXE&#10;eFQIjOIyGfo3lnDKOkF9ZG4urydtPMNwPFdtPKIPtBhto7y3aQJGeQUBwBuPynnnmoaldtbNkSUW&#10;oprb/hxI1hn0aaRGE9wvhK21YCKa4Y2badcSo7KyoUZ/JCkjKZ3ZznCmeyjuBf2T6jPI/l60zLIu&#10;+4MXnQF2IDNgb/MJ5J5XGMgEvgsrmyuPs6QTWz3Gh6lpFvOYFeIFwHIfcwZtm0ADjnr2q1etJYWf&#10;2xYrbzJbfQtckE7W0psnCRW8pEYcsSSU35xzn5cls1NOGnT/AIJclJfuqnS9vW39fiNisLI6daxu&#10;YvIv/DupWcsxMCxwTWbiVGKs2c4VgqEg8DJweYLdoUtZZI4h5kj6RrEMjvHbxiKWHEzBgrFndpCE&#10;PHLHAHGb8MNl9t07Tioe3t9V1qxCxOkBnYxCZMsiksGUyYUHGEYkk5zVGm6hfaRp4uG815PAMd9a&#10;Wr2d5EwFlczNy23AKhWfb/vAgZ3U5PmTa7L9X+gKClZrpp+X6E2m6Rd6ttWa6g03T2u9YtozeM6C&#10;TZAs5i3RoOeUAYcEsoAJIxMNPu20LUJ4pY7W5Hhi31JvMaXK+TO28xhUyC4bB3En5GGBzSW3lBZL&#10;+7lvxDHrlpqEYW3eQvb3SEXLeaxzuOZY8fdYYGOpLGgW+kt7NQ6RJFqVlK13G9qoR4DLbbWMgChm&#10;YnDNubC8gYzENFzS9P6+8r3XVvptovnt9yuaUE8lhJYww21+BJ4js9ZV7hXhtr2O7tmhLSR84QER&#10;cqflaLoSTijFZwMkNxd2Ek6Xw1nS5bpfPhgtp1BktWUDG1vnwCOpToB1ieeK7gv7kXdjCbjwPZyp&#10;FFBbySl9OZN+JC24Sx+XGWJIXEXy5Bq7ZNPL4gsLO5h0yGM6/BrFqbmSCCJUvbSOVly77MbQwIbj&#10;5RnGCTcEubR6P/hv8zOVOc1o9dPuX/DlS/vJJ7GaSPTJEl1Hwhp7M/m3LC3+zXUCecBkbNyoinIJ&#10;K4ztOdu00FymueSdLK2c/ja1eWWaB0kWG5slnMTDcMB1G4FQOenJNc0q2MtinnC4+zHQ9QsxAzqZ&#10;Z2guo3Ry2NoRYnOQcgfLnO41qzLpdpBfXm+5tVMum6uRJcxRR6cQHje5kYpvIdm2qQ2SzLyOQU05&#10;StfUV7Nx7WXrsv8AIht9O1FbG3WSy3zahZ6vpctzcoTbmaANLtgj8zI/1bNg5529OSda/mMmk6hd&#10;W6yk3miabrU0caGTzpY2MEshzIcD522rkKMAHByaiuZbe2v0tYLC5WXS/GlzbLLceXA8kdxbtI8c&#10;QIyucPvHJILggZNcyYoH0axaEw21vP4W1C3d0nS3hSSOdHRpSYiCVV9ygA5AwcZADTb92T/rf9Qn&#10;rVTWzt939K5ufaHuL22sY5ZHjXVbnSZfORvML3liseMiXOxQkjLtHDN8rYCgZxSZdOS9uIreO5v/&#10;AA7ZmG68u3njt2t52ilMab8ZAiTJYEKU3AnGa1EnaCHWL7T0Nu9sul66DFMwllabdEyRgp8qZjJC&#10;naSWIOADVCWCzmeGxaYy3qx6xo0bNaMtshMTPbEfJj7xLKoA+ZBkHOazSe1teg4QioqK1vb8WXzB&#10;JLqR0q3vDbwjxGlyyWzxPPLDdWxZnZw4AwzEYOBkMOME1VsZ7C9sJraXy3EGhX8cKtsXyWtp5JuD&#10;vOWYM/JJX5pM5Y5qO5vtQE1uolDx6jY6ZqM06o0cFpsPk5lVYhkkYw2CzDgk85tQWFzFfnTYL64W&#10;ybUr/T7UvNMJWlZSYnii2BB5m3bu4O2MDGMGr5OVWXX9NCl7Wla/xevR6/oXFW2kkm1KSW1tUk8R&#10;aW5giiged0aFklOCh+bGwrt4ySx6Gq7zTtb29tYW7Ga6/tnSZEmuIJY40lDTLDIwjwGC4ZsLnchH&#10;BIw9C93pct9HavYouiWIvr157m63rBcQqpOQuCpj8rb82Cu7K4xV+0klu7ie7ku5WUeJZpLmzgke&#10;ZXku4XYHG8EKXcYOeN7Y5pxtbTf/AIYvmhzKf2fu8/vMCKK8hg1R/Mt5JprPTZDPiPa7CcRRrCDD&#10;yCHLEgjIPUYFbFxptnYyzLJcwXEi6jqNjb27opN6ssOIPMUhTw5UkgkcMegqtaB7i4e1aO5kmn0y&#10;6toGuHlFtZm1cyxJtQ9QqqNpG471GOQKbq1yz6pe6vqUst25m0rXmt4o5oJZfPkSKXy1XKKDl0CD&#10;ARjzksAFVtH4f66IFJ3utvToyu1xbiyS4B027nvNKtp76zkERljW2kfYVKsPveWQW4XexUDoWuD7&#10;Pea7iT7LFbnxOyq0U+ZEa4tMNCuJtpVAgw7ZO5sZ5GEuABdXdtqVhJaRK+p6XHZrdys1sVKzw74v&#10;4mjZVB3YDbDgDGRYh3JBHPZ2UE5WfS9c2IZYooFjJiaNyP8AloxKOcZAwM5ywChd9P60FKm1pPp+&#10;NtjKjNsdPtdQhM8QbS478mHbFLA9teMJBtDkkhFbJHG1jgHbmtmKS0mmu4ome3u11a4ijUATny57&#10;N8qXZidxIYtnk88gcVA0OqsDazyy6ZaSS6zZzs+biRkgRrlonUxkjc4YgA5JbOCAWq1HK8WoC6e/&#10;LQTahp2ovNDb3EUbySKtrLGI1jA4ZwSV2gEtlh0ot7SSbeiIguSDnJa6aeRft7KA2KaiLyc/ZrbT&#10;9TvJbZmnFisEi2bMheUFmfCFsHGenWqyyebJqMWmRXat5M2n2ssss0M8kcU3mRh4RIyoZEGCAM8j&#10;rzuLuOJo7vTbhri0ie11q0t7KUy3MeYp1lhhEvlbZNrSQEu64VmOByDV83JvdQOpebe7J/EO+8XU&#10;YzJJM13AjMzyrGFOdpkAJDEOCQe06yle3U1lBxdlsr/pv5lOXTtROp6jZxW15FAvmJd3A/dzXKmE&#10;iSOMrkhCpZWO4oSO+Aamg86+nW0uIV8ifVrGOG2KQ20h3wiAsDtO7cpLeYeBkFsDFJd6he6lp73Y&#10;vY5GitdPuoYpHt7WSEGZrR4w52sRmSNj1++5wAQaTT45k1WKCSdJG0+KWW2M7sI7j7Nc7mVpN/CK&#10;sjb3yD8gDMoUipV4xXYiTp1JXtZ/r/VmTWk0emtZwx2wuZ202LSxBefNbM+WtJpFMcyNIfvEBiVy&#10;ELBiONnTwFmMlyq+bLCkd4qJlZJI1z87E5KgQKo5GVQE7d2BkCF2hA+2Hcy37SNAZZbK3aCYXMSR&#10;ghllPzM+cPkgBd24bo2mKT6iluttsDyW4+R2kRFaFlIYgZLbzwvIyc43DLntt3Nqc2520s9z+pb/&#10;AINsP2ltE8I/F74jfs7eJtVbTZvi/pS6r4Bv7zWF0/QH1vT12/2TNGwdXGoWz+Xwp5hU4Y4x/Zxq&#10;+gbk8iXTxJ5UhsxZXF5JE93EkSStppmBizc27BZrO4PO1AM5yD/lg/s4/E3U/gz8U/AHj/QL06bq&#10;fgnxlp+v2OJ2Sa+kiuUWWGKQjaoeIOpYkAq+A2Ca/wBSD4X+MtG+KHwp8A/Efwxr7eJ/Dvj3wjYa&#10;3puoaT5cl3cW7QJcGJiqgm/01jtRywaSOA5DMM1nmtONfC08Wlqvdfy29NNPkaZbWlhsVPDLRS95&#10;b/P/AD8vxPNtd0yWJcW2s2rOjQ3kl8lkxE6NmFdTACvIrDz1hu4fMIHBCkhWPlWvaOYdOBu7y9Km&#10;d7COxupmijhMRR/K2+ZnyikrTwSBQpL7ehBH074v09Lq2Mxe0kmjcXd9HI32fSityAqahbh3c/Zp&#10;8eVPAucOwYkAKR47qGjacAsyRNDDPB9kjintzE9veRKzXOnvMfKVfuNLA3zBlZckAtt+SnB2ly7I&#10;+yoVYrllc+fLuyggT93PcGS3V3lErs25tyNFIqdGATekiscAkEcfdzI1tXvI5IYpbRQirPHA7n7L&#10;8qkkBiScEnDsMsq9vujv9TsY1u5XkSaQuCyySwBURgSyzONrBsBVEiMfvHPGWNcFctMzZlubcB5C&#10;4Vh5TpyCqBThcgbcdcrgfMQa5lJtnqc6aUYo7jw5qsVpM8k+noyl13RtuitHycBGK4KqVUYK4I2H&#10;oea988K+JZWlgjDXjyQ7Z7qCHMkqNCT5OpRs7EvLEuVmXGHRFJDZOPlizvrOS1jie4kjMQKbY4nV&#10;ZOFCk5BI4J2nIwWYkcivUfDN3DbxxMi3DmKF5Iru1O+4TbkpKQG52mNFkVRzGS2CT829OUoTS6HH&#10;iKalFt7dPM+xNJ1lLhLS4Ijt7uR/OjtoW2acJLk4lRd0cTSWN+SvzYIilXP3lIHbaZNYyk2kMstx&#10;bRztpsMMl6TeQeWxkm06X99xc2pAljkHzNEqqCcBj86+GNaLtZ6fPBptwbYvpcDSSFbaRnculu6B&#10;QEgnyWjkD/JJtGR8gPtuj6rFcCB3uWKzWP223ntvLuLy6htjEk3mBN/+nWBKA4GZYieDyE9ahWc9&#10;VsfOYrDxi7R2/r+v6uu7h2s6yERTQyneLmO3Nwrm4Kr9oUeUVaK6DIJ0XAiI3ZGd43Y2hh8sW9qy&#10;uJRtiWNYJf3OwCHcNpEqoSUHR4VxyDkcrCXYgi7jSTiVZBBtsYp5kJSb/VLvtLw5M204EowrA5K6&#10;sN0FMduYbtWeNo4YfOK3UojBMlmrGVcXERzIj/8APJeCfmYehB3S7nh1qWv9f1/XzOqgniSJWhaI&#10;xSsGM0XMExYLs2HnfxtC7TgKCP4QKsFWO0kqQH3ohyFJALKBz2+9yMYAwOOMmO6+R5BHNOyx/LDb&#10;hVgvzIrbHiLSbVWTBUBj8pHOASW1If3oZid0hHlkyIIncA/eO0nAODxxyCCB0HVCVtDzZR5XqWgo&#10;zgIRhNgRciMcLx6dlH4GoiyRHcWk2pl5CwURxbQSxZj0+9nk8fLjAzSqxJXK8MpDLHyEPTO446fM&#10;OBnkcCnAqoDBNgHyFduNwLbVH8uOvqOlanO9CExlW/ds6uyYDEtKq4xk7SdoOWPTqRznBFV5raRw&#10;0kTH7T5ispczCIDHBwr/ADYBJYE/PtCkj5St5mbD4yP3ZZGI3YIBxleD/cJ5xzjiqbxKjRqsMakg&#10;hJcMXXIUH5tvBOBznOVBwQDiZRvqaRb7mZ5coITY7I/yrFsmk8slTKoWR1IChgJEkIARlWP0Cwed&#10;Em1syYW0EqyTxQrIzFgJ5WUMhGw5Nwirg7lxg5Wr97bRzFjIsXnIkiqtwgntJkc7SJBt+ZWYRs4z&#10;lWC87c7qjbvNdMTyeVskLoI1uA+d235JN5kRQruCpEke0AHJ3cs1rc6YST3KxZFl220UblIfsUZu&#10;JnkBDgtFDcEK+YXHzJMSdpbbjJZS6XbPtVNomjeSSGVbUCW0YsFZmDSjJjUsZVAPmB1KjqDJOvlh&#10;J1aKMxRtILidGS3iRlVijBkz5DY3ON2Y22DkAFYxMjmJJMoIWTfb3Nx9ruo2jBmSM7ZHbzlAMoIB&#10;8xCFPqI8zdPZr+v6/wCH7lZvPV5iEMMKO0FstzDHFFFuVcQF0Rh9mm+Vw4YMjqqnP3QjhnV4FuJg&#10;4QQJI2+8vI3ijM0aON5VbmPej5YN5qDBByNsrRGIq4dYoFQHyVtkS3sV2xgxInlBmtpfvS8kxuFG&#10;QFOyXZ+/eER3c2IxbvPNelVU7xIts7eYW85d4kSbZkqVUvk5IWpcun9f1/XmZwiXBkLeQQTfS3Qj&#10;aC2UyIN0wjYLmCYHfOgb5HOSclmEflJMptyImntUFiLSW83yBjulS0n4IA2bXhmzu6H136D2wDJJ&#10;HHFEiySTbooViC+ZJukkAMYJSUkfaUJypAI5wS0xAKmRG8sgFs9rJcPPB82JFh83OQSQTDMQOCq4&#10;B21lOCd7G1OpZaf1/X9W640aWySpJBDctI0Avo2jtTDcXKxssRlYsVVbiEynzFOC6EAg44XZHLmJ&#10;olJWUMtx5cMkEYkwUkUfNm2ucvljuKuTwO1qSBWBdVZTLctdpPDaNazFwrYlCNjZdIPldG/10YPB&#10;BKrXlg/dzRyFCq482KZPtGngTbQWER35tZyoDA5MZJPHJrn5be7JHXCrKSTb/r+v8v7pGAEQebb/&#10;AGdRut1iWXyp5mT96LclihEsewNE4zvRRz8xqMzKJXEE8T3BjF00kMcl0sqE+WLqBdxOQwUTxLkk&#10;HnBINTiNYQbZbRplQiy+yjEU8TIqstu0jFfnUAG3n6EYG4ZDFvnGW3ln+2ytHGFvWvrQK80ZG1ft&#10;MUYDqpHzpOm3+JjgA8CXvWWxfNpp/V/6/wCH6XMsZLdvLjjHyxSxeU1xa3OMfuHJj46rJC+Bk4Xv&#10;VtJEiIllkkeNSLlZntzHcy7NqtOyBVZZFztnXgMgzgAsozxG5LItvbuhhW0kjeSVYwkmHWNZfKBe&#10;M7iYZAQEcleuQLMdydhlbc0Ty/aElijaG7mRMAsRvX95BgiWMgmRU4BxtOtOTXutnPWgparb+v6/&#10;z3W1FMiyFo0RQZPOCRxxkXLFMfu2xyxVQUbJDIWBxtyunbyJ/q1Msi7ywaQNjJJfAYgfJg4AHHOM&#10;cGubiug3lqTE0hbJFncK8FxG5yjL+9DJ5h+aNj9wjbk8btBbwKzFvL2xsojckFZ2YhMoN5KqSxQj&#10;+FlJI29emE7HDUw99bGy7bxLlDjHY4Lg5IIOQOOfQg/gTSnUsxBAwTsZGBkVlzjoCM5C9+Ru795I&#10;50YhCyB4zuLZBA5ww6nkAkH/AHgelRO4w28LkxhpMnIO4s2Ac4wMH6ZFEmmTTg4szZ5NvQjBBAUp&#10;80p+YkgfxZ2v2B46HgVlTSkHcTuLLgLgO7AZ6EEA9AMcH3Iq/dsEXeMKp43jgHjk+xzt544JGa5v&#10;Un8pXDZPPCsnDNzgqMfMcg4B5yRyBXlV6vK3c9rCw57D1MV1NCykoyypJNKkabmjQk+W24HIbPQH&#10;I3NgjJzZkfBLHIZsH/aDHk47cZJzWVpqmK2adyrG6k8wAEhljHKY45BDHHJ69xV6aTgb36HIO3Cr&#10;wMcfX9MdK44O8b9TuklzqzvFHUeGkjMP7lSu9n+1AoN0cq7EjYc8ZjG0cHO3rwc9NjG2QLtZwCyl&#10;QrDHr9M9eQKwNLimgsLQBVilQsFUHCzRbneNCdpPTbnHOeeelbqSxuoY4w+N4Y5VcgdD93kkccZr&#10;6fDyXs1DrY+PxvvYmc1tdjm3rg5ydgOSoVTj7wx1Gefp+lNKkhoy67mXCEpjGCQcjPI+ZV9evPNO&#10;3/MSW8xNm8FcHGDxjHJz7f3enNNUeYI3UsBtyVIMWzI4BBG4enQYBNdBybEEM7OZsJMn2eVotkqo&#10;vmhSPmQqSMccA468jvVoYIH+rYYCnjAU5+uOoAwD2NQKjQzSECMpPJvVT8m1iBvOeSWIJwAP4eSM&#10;1Y4AXIVTgYB4K8gED8x05yaAYchXVAw2p8juu/J7Y5yegz0571SmjUr58aESAldzqJjjL4LEtkqN&#10;xOAc84HpVrD9PMbeBlirKx5PT7o6nIzjog701UVnZgqNDIC74yxmJCgEr0IAUAH17YOaTV1YcZOL&#10;ujLw2F3LLIF/0dgD5rRrxkMxOZE4K7sFgSc9yGMyuyvIoZAisZV/fJKQVZGCDhlBy275WXYOxzV6&#10;Uou7ewQx4UtM+3gMRuzxjjoQc8854qoSIytxI32fcmHhncRqkjbQAJMkBiWC5UlWI7Ek1yzjZ3Z2&#10;053jZj1Xy/nkXgtvY7QpJ3EBmUZ5wfvLjPIYDgBjRs+xN0rPEd5lXFvIrDKkkA4yQXYB1KN8ufUt&#10;jEiJLBujR3nMYkiCpIxYbi7/AClRKAGcqV2sSPUikZVBKi3UlWYLE26WEJgEKmRgA4RfLbb3wcAE&#10;pQvuNO7sOBQDbuDiOUhFilAZ3Dhim7d8rFty+WW2kKR0OAsKT+as0scK4Hlp5YJklUfMp+bayn5p&#10;CYm3gYUhgcmplCs/m7ImkWIqX25L8coD1K5LHaeRjoaiVFjcRl2kOCsQlzJwNuAVHD7Tsxv+cAHk&#10;5Jq4pWTQS1eu5Io8xcBUb5jGpU5iVfusoUjGQVwyHkc/SnQr5q7i/mIY9iujFdw2g/3iDk5IbIZc&#10;Ac8mnKNiKxzIdgLY3M/duM8nqcA/MPc8UwOilQQ3m4G4kF2IPAfAGQMkAuQD8pzwCQzO+lhAszTF&#10;m8+BeyoUYz4ZgNylTjAC4IYEhzkAjAmjYbcKUCLlcAZEe0cgHOPlORgZxtx9Gs4RoydzZT5sKHKk&#10;DOCFGSSAxAAIJA6HApo43zLGzAru8pIzFLJjgZL7SD1AJxxkHsaAuticBQFwBLIir80gUSA85yQM&#10;dj07ntUwEm1CCjgR8gRlC757c8AnP596qIVMaskalASY15TYox0BUEfd6epHOORYG/AjBDOoQlyC&#10;UZiDnI24A47HPTpnlq5E+ncbu4iXG5Au95i42KCGzjkk5ODjONp68AEkG0EsGXOGJ25dBkfX/D8K&#10;JVYGWRhGyLEziJjh2YAAYcttUcAA8YznIyaafMDlVKONxJdmZTGMYwMDnPHpyD7Ckxw3FyTGFxtL&#10;ny8xsDg45IJHb39PwpobbvGMtGNijHlhyeeCf+A+vQjPBpMLGwVAoIQDlm3EDhcnnPU9eRn3pq7s&#10;DoCwI2qSY0BBwTlQRjBGPc8UGiStdApCqqLNjI8lCxEjkrkEEk5LEggnnlaVVCEgHAAPzCPd1ILf&#10;iSTz60FghWNVbe5+dl+VlBGdxJwTy2OM8sDxzTRsj5fYrhAzzeWQigKM8c4AwMA+/wCAEVbUZIGO&#10;8NkNjJBwCAc88Z6ZJ/8Arg1z2p7jHMq4V2jLbmT/AFaEFQcHuMrx7E4romYEAKwOGOWERAYncSff&#10;OM8cfnWPfbXj2kEZXJQglWIUFc8deW/+ucVjVXMrHfhHaauj4L+P+mG40q9VgQrAy/MCdwOcfkd3&#10;T0Hav55P2lfD6x3GoSRpIGdpMEINrnqepx3X1xnr2r+l/wCNOnhtPud8QYiJiyYwXK7Q655557gf&#10;ePPBFfgJ+0hpSGfUSLdw4DbJVypTJTBOPQ5AHux9DXkVUuW0j6nC1HGSTWn/AAx/P38ZdM8+5nhQ&#10;StGZWLpjfJkkj5vUnJ6+ma/PTxjpZtpJnRcZJbnHDHge4HX9K/VL4xaFFD9q8ti2w4DKoRIwnz5O&#10;Tnjbgbcndt+o/OTxrYyrNcIgDIjZZyA6DCjdjPqdzYz0OKxlGKnypaHpVoympLa36/8ADnyvfQSb&#10;38whtkmwFSEOSFzk4xgcE/41jz24LLKoEsZwwkzjGcAYI9c9ea7PWIWBkZkO7bznDDgcY+mSPw6V&#10;y0qq6xLIAgJWRmdtwTBJBIHUcnp/hWtN8vurQ4KsIqDbW1uvnqeLeLLZItRLqr7MLucn+Lk8dzja&#10;OPevPbiPz2cCQk7gELry4H1OMnoPcGvVPFaSBgWz5YZzvKnIIOAAenT+nrXmV3FsEsyDESMMPuwG&#10;yPu4PbnJx3Uete5hZqpTTWqsfLYv3G1/Xc63w5MI1lukGNzRuL2SIvck+YoK2oBABUMXyc8LxjPP&#10;czLLBHCpiureC5w0QLkaxqaEKpMm05AONv8AdHv1ry7w7LtnD25hW4tpVaJnw0VjHwC7KQfw98fW&#10;vSLJ3uQt1YyzWtsJBHqmqXz7rm63FF22sIHyjGNpyckjOBgDtha11ojnhGlKKk93b+kdAYrhrWyW&#10;SN72Npnk03w7bMzWWmoDxPeOP9ZJgYA6j1wcVs2nmalBNfteQ/2pE4hGrNbhbDSVIxsTPykqAcY9&#10;MgEYIzbm7itbNrSTS10XSb23WXTdLUM2raizM4jmuGXBQSnI2ns5IUsFYawa5ddP08QJqLwoLj+y&#10;rJhb6ZpEkhwQ7JhM4OHJYnGBuoScYpy1Qry9raG+3l/XzNA2lutu9x510mn3N0LVLqVQl/rzA5Ih&#10;ThtuAQx6Lk8njPVwGJbaBLhpI79ow7WcUYkXS7Rd2B23SSBULMSCdzNlicHjYpJmu2iEsUt0XVZt&#10;SjcNp+koAd8cIx8zk4GFxyWPuNzTJXhulkDST2rTEW8DReXc6rI4KmR2b+BCBx3Abn01ttHrY1dO&#10;Tg4t2S/4Gn33OijMl3eboFtbDETPb3NxcpDb6TEq5YbjndK5QBQOScADkVzupR+ZcIiKJFLNPZRF&#10;8xQx72USTYOCSY2P0xjvXRW0NtdGK4tnW5Mt3JAPMdUgnmMRJ3N/cTHBJGeOfmrFvo7e036VBci6&#10;lkdpLy7bpIW4WCLAA2IpAyR/Dk+pOWagl/WxNLmpu1v60/U5+802ZohLDmO2EhCxwRkzXpDZLfeO&#10;EXIBz16nPOVihur1rlJLGI3scZ8tI0As9PiRmwXbOCxAPJzwOeOs8tzcaYkkct9EsjxCSRlj8ySw&#10;iLkGNVx99hjGDn5gOuKa+pxBZbOO21KTTpN5ggtf3dzqRyyo0vfYxG7BGcA9elKza5Vv0/AcZqDl&#10;Faz2+dtWMt5oQpS7na7smnSS5mZvIurwnOY4iBgrghc4PQEjOAJZLuWWe0hh8yYZ/wBE0O1JmgtA&#10;V4eYluuM8ZJyc9sVm3elzpLIFngjkix9sMAEqabGD/q0zwX5I5Ge+Kt21k8Fq144jtLC8fars2dT&#10;vyjOApGQVUnkk46gntnR3S5YvX9SJKSnFz/rsTwxxTC48qQfNhLvUpWRDIxkUNHaoRjjJGV5xnHG&#10;aZIrW5SOK2eC0UlktojvuNSkBUrJKwyyjJyQTg4bGaw5bJzcwvYlXvOPKiLKlnpyAhmaQgDLNj5t&#10;2T835NuDb4N017csHRRqF0FISUscLFEpAYg7SOO49CKlWnT7y0/Mmas1Nb3+9liO4vNQaa7Jg8yx&#10;i23NxJJustKjyQQpzjzD0x1z29IvtET2KukclvY3cyx/ZAqyajquA2TuxlVycnGMYPrVnZ5tqYnt&#10;DCjATadpkTokI3P/AK26YruY7QTjtkHgDmGze4ZruW2eOMIWa/1OYDyrXnASFcYBO7jbj096OeS0&#10;7XLpuMZKnNtL8u5zt7DJc3MwRbd50AMUDZS3sYzzukOOWAGcYP1qOzZYZJ5pJnYLMlv/AGlKpLs+&#10;xd6QqDxjcgB54XH+7tTRWqwSxMlwqSHzY0bH2nUg21g7HBI7EA5ByffNSC1+ztHbuqy30RIIKj7J&#10;o65LZckAb+Se/OOe1W3dpvr/AMOZynKN1Fq6f63Jp7eC3gINu9raTSiVrOdiLvU2DDGW7DJB4PPv&#10;0rnb97iSS3jSSH7RFGUMSIY7XSVOeXGMFjnsSe5Hp0N3LbtFFKYpZEWUi41m4fdcToSPkhQgN2Yj&#10;1z0GM1z1/GGitEWFbDzXWS10/kSzLtbfPPJ14KjAPGScYwM5tuNkQ0uZxk/T56kkqtDAhN1PJbTu&#10;FuLgwDz9QZAcJH1IQbwTj646VnziO/lNgp3zwZa2swn7i0Y7jI8rZHzKIycEZGMZ7VqTtciWSW4m&#10;gDQ2/mT3dq4NtaoSSiRBcgNnGcDjI5rCk09P3TbjYK7Moj8wfa7gEEA7hjAxxjqeeaTlJ/d/ka8k&#10;pRjZWS/G+tvuRDdqbe68qKbf522GeSAqZ7kHI2J2C5z1OOevaprgXTS21vNAr3ECCG3tIU3Qw4LY&#10;aUj7xPGT39cAYpmCdrkmMiIx/fkYeZFaRAZznH3jhj+H1q60dwfszRtP9mkcrDGc/bdTCuwb5c8A&#10;4OPY0laTcr7HP7R8yclt+Wn/AAxcskdGkYT28TOpk1DX7p/JWADCrFbR42ktjgbc57EE4IRLAk0k&#10;UlwYprjFtAVK31+p3ESSu2di8dAf1xjXjia88ljp8Ut3GpaC037rHSxjGW42lhwMt2B/Bk9k8tgD&#10;HNvSGQC9vWPl3F3IwO2OEYxsGw9sDPJ55pym+n/DWLjJO0o7evz/AK9Tk9USFVuZJ5QxaL/VLIWh&#10;jOR8oPc/MMkk5xmuVuEWJlkjjZZGkbYH4OdrHBH0BrqNfWZvtCvHHHshQRQIuwRgYwCOpY5Gc/3f&#10;YVybrL50av8AvJDOVKEnAB+8T3zzxUdVKxDk02nqv+GIZYnlhaSQg7Y40A6DDHP48Z61jvJJamN4&#10;izI0rRuXyEj54Pt+FdTcRLCJHwrvLHEUVMggKWyD2yc/+O1iyeZN5qsEwrP8iKSkfTHPf0NCvJqT&#10;3/QmfNUScehoiygZUP2h48xqSigbV4HSis23ScQxg3ABCAEM53DHr8tFLlk3oZXlfVL7zz6G7Ko8&#10;UcTz7ZPJjl2ecASOXRhzxz1HaoIpGaTZEplWIlUWSUyebKxGSWAz6fmTTriKWFISqTB1QRQEyHzJ&#10;GYEM424Xuf681SBkiKtCjxNGTHDIuY2mdgckr0I5557Vi229O45TfPFt7M0TY3aRPJcWpe2hYwnJ&#10;8qK6mxnZuGNxGBx6fWqCt5U+55EEduPngEmQZCDhcdwvGMelJPBIgkC3RaKAl2jWRijMRliI/YYG&#10;eOR1qKKGN445FVgsTBmJHE0jZKgEnj6c5x+FNNJ36oTvKKSW5YNxbyXIMrHcriaSZf8AlqR9xNhO&#10;RwO3p9Kcfsk8TykKZpH82Tz2Z/LYj5VX0zgfmaquZUwZjbyeSyyTJsXcSAdo3jBx7DvUbXDxmTbA&#10;FYoRK3JO45ADHODjNO7dmaTfsbWJkISVtyRxrGomJRgS4IyqbhwR35x972okYXreZcBF3TebKm7D&#10;Bf4E2ntgYBqm0sCsYnZSFYiVQu95ZMELj2znpTXDGAoJH8gFZriMgF8gnYuc5wMnp60r63a6ku1K&#10;0bX7/dt8mEkjmND5pXAMt00OXKpkhIsHpgkDAp8QSXeJZvJBUvI3JREUY2Adt3H6dKreWqKWP+pf&#10;CyE5lDMDlVXHc47025YgAvDkBy84jba7tjKqW+hH50mnewvxt/Vy9NIjJI80RG/b80bfu0iUYXJx&#10;nB9P1rWhlZHAmDRiSMFDF8jx26qeDjglhn659659jLKGNwW37VaRig25AyIyehHP44rUtyYRISVl&#10;AbzZ3c7TIxyBGqk9vQdhTjvdBKUkm112OsiJtmkWSNbb7Qv2eCKVmWa2gK8tJH75JyBz+PN6zeVd&#10;n2OKBFFoy2YZ8ywqOWlGASjHeOTxn1rmYZzHHci5YTCdUjuZpYxMIUUFkiRj86nOPunkcVYub5YZ&#10;Ee4Z1QgeaLdSCowCsa8Z6cYIPOPSnFRs+ZlwmlHntflu7etjtoJlS3W6mt5pobFHs9GS3lYvfT7g&#10;skzNnEijI+9jA2joTTJ7iWFpDdW8l0YtQ+33jToEOq3cgIjztOcLycrxhvcVJY3d9bzPLZfaIb29&#10;snS13WkUo0ewZSHOHBTewz84CuAcqVOCIIJ5HlgEivNPMTFpy3M5Z4cEmSaTI4+8CD04xyAMK1mh&#10;q04csVbr/XovwNGKBgbxCjZkVH1TULaIFoVDK7xKu4JjJA5PUj0FNjntbmULL5qJeCNC+wPPpliH&#10;3bgxC5ZlDNsPdjkjNW9PtT5LPIbhrSFmMFgw+0JrV0AMtMn8S4wCeoUmlW2ymoCXy1ltiJ9RgkCI&#10;2p3HmHy7VIzlWjTamUwDnuAMmubpFaWLk4ydv610LM++7nNlp+mSpdzRJZaEsgRI9Ks43bzblrjp&#10;C7gMzMcr87/MAObERsoJP3NrNc/2aWg0CAkCW+vpFVbm8dgfupuyGHDBI1YAnmWaC+lc21/JYxtN&#10;D/ani06bCbSTTYVBWOzRipCEgNiPdsy4/uk1nx3Ey24kubKRZLmB7PSo5Qyvo9imJZJ+AArEKRvI&#10;wwLHjrQou+rKmpOpOytFdPLQug3TWpdjdvpNhqKeRBu/datqRjDsQoIDFFcksMjBHQ4ASykt4Lu8&#10;unWW4FjMzokD7TqV86n9yhyVZEJIOcqwzg4xnTW6nEVpJbRM8QhbT/CenJcbYtPVQv2i/nRlyjkr&#10;KwwSnyn5uMCnak2kkBbTd00j/Z9FVrxjuuGMYe4C4Gd5O3BJU4XHK5InJtc2rZKSTjOS0ez/AK+8&#10;fqNs8pvZJbiFpbe5N5rLM/l/br9ht8iBBy6R5KluCBv4xyayzNaQmIIzLZzG5viXjjlu7uXbsjJB&#10;IwoU8EfMfTmp7tBbpbSw3JaO1uZdK0+xmi86e6ucb7udyBuYLJIAVJyMYJbBApWsEREsv2tpJmmW&#10;LS7WSQDzWMbvcXLRKMlYlDZboN45Wl7yTRVZxlK7ey0f3XNa4XTbez/dwlprQbt8cZWTUr64dcln&#10;4GI1ZccclGxktWT5TFJmljRp4MFZI1/fahdTMijJGciMY4PAwxzzUcJupYbS2gk2ym6dbd5ZQgjU&#10;Bd1wew+83zZIGwduanM5L2UVhcQizjeXSoGMQQ72cie7lz94gjAds5HsNwa97TbsJzbqKa27kYu4&#10;7KXyVhW9Nrb+Xa4jVkvLwsWkmkXad6q5bYOf4eo4MVvOZLZLWCK5MFpKsqWshJh1e+mB/fBRyqR5&#10;Ix057FqttPFG7LaqUiuUEOmyvF+8iiU5lnY5O3dhgCP+eg98Y0d6pcnTzJ81q9hpizwnzI4/uyTF&#10;c5Usm7pnB6E4yW9736FVHDkUYdbfoXmTULC0EnMUFjcGC0j8tFbULxlwzlBjcE+XLY+XaM4J5oG5&#10;eJoZVWKX7HP5NpGHZl1S53ZkllQ53Kp25UDjA6nObkF2VsojI1wl0jvZ6VCQBbopLm4uiGI2sSSV&#10;I4JyT0ANCSYO0MsCq00qtp9hPcLtS3txjzrg4zgkg7WAzyeOhMt8rdtb6DaTiktv+G/pGOwlEzgh&#10;5oIJmIjgcbLycDqz91DHhhnhvpUV0LyIGEhpLmO5M80qzLIJLg5wu7cQVUbcr0IXPUVpXCxtdQQW&#10;bsVSdrewSUiKXbgh55ADhSflwCdpOTnqTm3kMNs1u1o5uFmkYWk7KYlXbzNKwJIIDJtyec+gBwlK&#10;zt5ijRUlyp7mJqk7yxzWkrFQtyJNVutuDO33hAjAY64GO2OMYrDkk8wkR7YZZzksPmS2hCn5d3qQ&#10;RkHBroJY4Ft98qBbe3kWC2jTMst9OcZlde6juR03Y4rEmgit1YStI1tE+bp0bf8AbXJB2L7DnkHj&#10;mk3aVjG3LFSv8vwOeuLd2EUkYjjEmY7aJOAF5UykHnt+Fc/Lg8bVGQflDAF2zgNkdRwK669RSAzO&#10;POkAkdE2lIE2cIDn7x6celc7e2ZDLJt2Oy5jAX5Y0HTj1z/KpTdm57EzjFtcj0/4Y56aMgGOR8sT&#10;udgd3bgD/PeqDrgHdgKB1HTH+RWzLEnVlbapwQy5eRvcDtWZLHuLjLAk7iT0znj/ABolKyepmo8y&#10;5kZkm1uV64yOcDHTr+NQEE8YO4EqARz2Of1q043ZwByAWYcHr0H51G2ScY3Hn5ieEHSqstidHdFc&#10;dCXAxvC88dTxSkcjIBx1OBhevT/ClJxuIGCpAC7chsU0hgNrDIPBwOev/wBepfXQlXWyuRnrz8wG&#10;WwDwT06dqQrtViBgDlipwaeME4znBIBJ4/z1prHJIUkAHB+XJNCb0XQW0U77/noIFPcHBHzbuc/X&#10;86sW07xSK6ZUrxnOCOx/MZ/OqxyTgYX5j1AyR24pQQTsYjOcFsfgKabjFMSim9D2TwzfJdR2cO91&#10;mW1lt3dXxkHccHpxyc16xbqRpI1ATTMupeGDEYkcbVnimwQQqk4/drjjcdo9c18u6bqcunyfIAcq&#10;YzyQSD79e/617X4c1aYaZdWu4SEaSPs7vI4WJhKjuwC44IDDk/xGto+/+f8AX3mlKo1U5fPf7j3K&#10;zluYJ5ft1sWmi1HT9Qk+1wbXSLywqBA7BQnPpj5kx6VqXFtYpdW0MefsEuqaxYI0FxFDdzqY0lji&#10;WNVYIqlCQW+9uGRkc8rYXc1zFrF8s8CuIrCzlE5TewkEg3fM2MbkQFipxlQuNxJ6azN1p+sRJZXh&#10;fUzqzGQ2t7un8mRSQjGLlXyjApwRnJ5wCcqckpO39I623y80Fpol+P8Amar3csNrcyadPLaQQaFp&#10;l5cSI8jRSfZ5YbWXZmMZ/ebgSQSQCOKgF4kN3ftLHcRwS6i+myXKMZDHHOsh+QeSVJOA23Axu6HF&#10;QaPNqOmX2kX+tWA1PTreO5sl8MXE97Dp1wsT/aEtpmR0k2LIzM+1w+GbkAnPR399Z6hr41m0tLfR&#10;Rfa5pmqyaLpEV2+gaBEu0GCIT3TyOkeGfezyH5nGRkgD/urRrX70aU5Rac5rVPRellb79zmZHt7i&#10;1vzbySPF/ZMFw1uH8wQS2czNHLOyrjfsYHgZBJwMA42I4fJh1LWtJebT7aHxfPp9kFZb27sYtQtX&#10;nyyFNqhmjRckf8tDt5xjKg+02M0osreCd9T0/Ura6KAYVlPmbY/3hYHbK4DMecEFuBWjb2rWLwwC&#10;UTXsN3pOtyJFNHNBbnzDAYsK5DlfNYZbpvPyZAyLlVnJ3f8AX6EqUKaaS7/Pb/IbqG3TNM04ARal&#10;ev4QMhtYBcbrdIblmHmHapLMoIIBIPk4PGSy30EtreteXdy11fS6pY6vHFMHQzpe2qMhdxKS2Vxj&#10;kAlyQMrmorcC2u5ZJLWS4uIba/s1IRJLd3KGVHEQkwvJOMnjbk9CtMnaza3h1O8mQhtAs9TiEEsF&#10;tJIYJyuyQ/djG1AwAKgcjG3oNK3N/WolZttvT/hkMtbUx2TQTRXFl5cmq6FeWDwyXAiRBI8MYbeP&#10;+Wpdd2MnO7gYBpPcxSrKxTC22h6brNzLZyQLHKyOkZY7pcnAYEEA/MoAHO4bk09jHOtyiWJsptfe&#10;fzjOkImS7hcs7RgfO2SSQDwASxAJAook1tpUf2dIZZbzQb23nMV1HcHFrMkm8hYt4TaE2vyuT8vR&#10;qjmcbKS0/pmkopu0ZX/rb5I0AYLjUbC0jLT2Z8SXCw2qNFbr5dxGs0aLIF3AnIQqSd2ATWNZ3rWN&#10;jJFDbtf3t94NuNPuLqzZojd+VdA7wxicBUYAHoT8oDLktV5lv4bi4WB7lI7C60HVsSSujM09qyvM&#10;zfIRlvnZs4wWLHJrNd4rV9KsUuZh5k9/Y3ckFk5eKKctLHFy4JTe+TnlxjnGDVL4rfn6Ezm5S0W/&#10;/D6HT6fLNbXn2+6iFtLbaxaXlnp1yxOyG4t2gcs28MSV5yM7S4K4KqRZ0u1iuZfD2h3Fsy3aNqvh&#10;kJGpa5uC43xNI0soxneQFHLbFzgZI5KyubWIahGYJJ7mz0xLt45YoyszwzjeEXO7ARycdi2R76Fz&#10;DDHf3l7cXdsJbXxPZzJFHNEmY7qOXATrIMERLgHnOOu2m5cuv9f1uKnzyVn6/NLT8yrdR3N9oz3c&#10;kltM6eFrW5uHgWCwVms5FEhRA3zhcoN7tuVdpGQuD00S2xS8kuFtYgNfsdStree7ghlngv1cPAIt&#10;nmBR5qHkKcqwIJNc9aXrjyrKbeb2B9Q0dPtMkRtniKP8vl7fvAAdBhAGyDkbZ729a4trCTDNcal4&#10;St5/MgDnY8V1KJG37RuJwwDfUkrwquKaneWt/wAtyOdPlS/r+tSW4l8uK3021tpXuvM1jS7yS3mN&#10;xFIjxo1vGrmIFgFW4ZR3EfTIybnnCS3uLvVJppLmx0nSZNKiaGWeVwEjQoApUHzfmYsPmAUZz0av&#10;F5iX9uigW8aeLI/NSe8CyqJbNUZiXlLKqh/xORxyQt1HCkNvZCzjnnubK80uQQPAvlNp920kSqQw&#10;G5UjQ7V52hssFLAwlaylo/8Ahh+9LV6P18/8jc017yG+09Jke0jtPEtxpwaV5xDZwalChjeOQsTJ&#10;w3EjsRiEEMc8Z1y+oT6DeXGoT3tnBL4cuLDTdKuZZ5ItU+y3abUGBnAGXIYrlo3XKjmo1ntDJq+t&#10;WyWsU8Nj4dvbLyJ9tsp2xpfhY8El2aaTa59AflBqzbXVjNrOmpfpAtp/wkepQan9phhnSxSRzI6l&#10;mR2YDJYxnAXkMeGFU+ZzaW6/4C/M1VovRbWfknu/wt9xeNvZ/a764m8UanIDr+l6rZCPTXuJ9Qiu&#10;bV83R/fBVVDJ5ZLDkSblJKspxpbuCF9J0pWuZoYbzUbOOJSfsNnBJtuFZCX3bixuXKseCe1F5cag&#10;dHW+36bLFc+HhuDLawXm3TZSI3RQvzFdigEDnjaD8wGnLHC7TzXL6Rvi8UafdlIPIli8q+gwVEAi&#10;yfLAQtGzYODkrnFJKLd18/yE5KElCS6aP8fzK1vZQpo4nbU7qOXUfCEzstrdq32+TTNRuVMRHn7e&#10;R5BC/dBic5YjIfcsftMMflvawP4osrlGt7RZ7t/tNoFUrMzs20KYuQD8ozxkAyOk93qMmnXepNPH&#10;p3hvXNBt0ktooIImDSSRqsUMS4EnmSnO4nGM8U+/1m8uT/aUC6gVurDQ55A0M0pu3jT7OzFmAVR5&#10;cGWZck7yNwO4Ua/Ev61uarWHLfVfLRWRk34abTrZY4/tWpQaJcWMNqkfnRxeXeq6ybjLwys2NoAA&#10;8zOe1WIkFtexWJhgN5DrVk0Us80SzKZY5B+8ZWIRGLYx0IH0p0NzeSyN9iCQXMl7eWBlXdJKiyRB&#10;xGxACkOxAO1SeAwUkcvtklRJJ5YryS9l07TtVtLryJGjnntJpbeTeVOHeMBOPu8AuTkhkpuWq3/4&#10;YzVO6dTpf9R0NuiWT6RCumwj/hHtUshDPJagxi3lM6iEKw3SEr99sn5ivJAxHJParNP4qlNuJJIt&#10;L8VXEcptJmtlWeC2cFAwZf3vlEOAWKtkfLnNiVry1uH02Etcak2vtbwQm2le7H2qEzuHDoMEMSTx&#10;tGD94AEVJJ7IaHYxWitc6xeeF76wulhTMszpIGjTcIl3Eqmfm6YXBABNNXmrv0FVipPlXVq332Oh&#10;S80+O+t5LS1trvTx4mvfNS7igVUF7FvJkkjJCHCqQI2yQMnG0Y5FNPtpdCYT3yrcP4bCmXiQutpe&#10;2+CwKkKWCiULksCFOSDkyEahpk0MV4JWis9Ysr1rJ4ZI4JlktQHdxvC4VmxknGQDnK4O1BInnWVl&#10;ZbpbSDUtV0+0up0ntrqWFLdpo2aZ59u4bSdoAwU4JFE7XsrW/r/Mcatly1O3z6f5DES1tdVnubu2&#10;v2S31Swmt1K7Ge3uY5FYXCtGDlkQMB94kksfTGkt7v8Asy7WSGGz3aJcta3KskaQNb3Maq8pVG44&#10;bqG25yNxGa2hNPNplzfTy3E0Nzp1hfJbLF59xI1vmKRjI0jEAFlZmUn5Y+jEAVbQxw3EcF1cNbRW&#10;urXsTXnlE2zxXMMU0Jdsk7SyuuAOTjnINJJbvoLm05KkXpbT9f67jlhtF1CzsPJmmkGvpd7b2KC5&#10;cW97ayJKS27crOQMKRghgcD5TUB/eaf5SpbwPPpE1nGskttbwILO7R0NxK0wUAhWcBVyGKZYliob&#10;dXkGtTNrGm2l1pD29lYiby2luoNVltJEimliViCpJy21QAoZskgGm3Mf2eCzsP3k93pl9rKXoQSy&#10;uN8UE6MilAruxhGHwdvlsQDyC3LRdwuqkvaR2281ZG15/n3Vs0tpHBeDXZLMpvt8L9psgwCF5cB3&#10;Ku2UBY5kx8oOM+JdTvbfSktbhUSfRoteljugEslNjObJ5zGsq5cbTt5wHbByOtBG1Jri1v5re6jN&#10;nHp+rNcW28vEB+4zyhxIRE6gHoEweMCk05TZW8MYf7N5emahpzfa43a8A85ZIm+WEKCoyccLjoBg&#10;FW3G1r+f4BKM6loz2dvvv/kdNJFFcWlmsDESw3OrJcPM6yJI0Gy7RVhEuFYqJcli5fA6cZhdZLlQ&#10;LB5oL+6u3hZIYXvp7hLqCN2j6MgGFLZZgvBPLDFLYQyXU0STfZLGzh1Wzab7TIuB9ugkjE7s0fDN&#10;5LEKC3UE4zWfb3MNtBFeNM8NrZWazqtpIlzJqDQXskQkmClFwyyK3O77n3SGyIS5btbf1qaP2acV&#10;a73V/wAb+Y6yjxJ5zzQTXipB9plggDLEs1sUkEK/ICcoq72+YjAx0K3le9ureEtayR3NxJBHFEVE&#10;twd4kiwYVZgC7BAQe5XPAqGVpNLt1I0uWaOK3urYLqMr2katDNkFnjZ3bgkgMBJnfkcZKXb31681&#10;/M0Vlp1kpii2xRI5HmwuiNIIw7lVkbO7n7vTJqZSlKFmy5e7JuO19fNeR0FtcaikEVzMkEyahdiW&#10;Z02vdDyyjuR/FGDjiQ4yVbqRiv74v+Dd/wDab8P/ABV/ZDvPgBevA/i74E+I5RF5F08usXujapLc&#10;3VjqMMe1mL6ewms2VNqsqJ94kiv4JdPm0hYLnRZbqaCb5p/tAtFEOVYhdzhy+4ZGVMY6nBHQft//&#10;AMEG/wBqLQv2bf22vB1p4k1B9O8D/Fu2k+E+u6vBaGb+x5btPN0i9WLDK2L2O2jLFDsSaUkbQTXR&#10;Qj7aE8JL7a0/xLVfPdfM56z9m44uD1pv3n/d6/o/kf3/AGoW5ha5AjjitopFu3fy45rHS5JyYmkj&#10;zKS2nXqyFHG3EWWO3DHZ5ndaIWs5LcWjWLzs9jDazxi3tbpFJaWwmmAjInt223NvIz/Ose0b9rV7&#10;1fRRZSWOaxUrtNuUne+0+3S9zH5c8KPg2VyUyhcEIxY+w8+13QwLee2VdQVXj+xW1pHHH51z9llO&#10;2zV3VcXMO6NraTJ8yPK7iQufka9NwbT6H1eFrqpFST7ef9efb8X8w6tYPBePcfbLe7trqJR9umlD&#10;Zi+ZVnlUeZh12CKePPDAlc8Z8j1zTo/PuUkS33orO0UDM7wMEYPEN2D8u1WRjg5Yg4wK+mdT0YXd&#10;nPewJLfyC3N7JcPEZUnt5hv+1tCDJlTuZbmE5C554Oa8I1vSZYbrdHGts2BFLDcHzZYip+bgbSVf&#10;5mjOMcKN3yk151SKTXKj6CjNtNp6WPLSYYi8bqjRRz4YrEolCnjGTnGTjnJAbnnAx2fhnU2tmRw0&#10;RaKRQIXRmhm3ZG48jjahDKOSAcdBnjry5urN5XezR3jO2RvIAIWPaCpQ8E5YqwI5YZJ61paVJdiQ&#10;WslvKyRB5VeNSs6rGG3lF3AEhdwIJ6D05EUqjVmdNSkpe69j2rTdSMcLWU9vHp/lqYIAkhw0MrgC&#10;3bK7gPnVoJAfl4UYAXHvvhbWfNhYXN9arbgxT3TrIWLRssey/VRKAJ4Ud454sDdGzEqfnI+SrHUE&#10;nt4BcGJFWBrdka2Sa5l2fOVJwSPmwY3BBGSDkfKPZPCF7cedJLb3N9JIiyXMS/ZwkaS2qsFu41cn&#10;e67HSVGXayqzHJ3buyhVaaW55eIpJRt/XQ+rtLlgWCKYHS4Ns7ac/kbW0qB52AayYlebO8YmSJ1Y&#10;+XIwUg4K11tpdJIigTX1xbbjCUa9Y3ztC5keFmEm/wC02+0k9TLEuDvIBrxzw9LczLCjadp0c9wz&#10;RR29zcC2sLlJUWVdNAaNQIHVjLazIf3ZUr0GX9F067tyguIpvME1us6TI3n3c8FsUVpXQNJm8sC2&#10;yTGfNTaCpyqp7FGpKyitj5rF0Urrr/X9ef3s7izlZ1csd9ypD+YitDA4lILSx5DERykIsqAkwkZ9&#10;GrVgmZnmjijJO7fK8xaNiSmPmUKBvyqgqONhVwckA8zZSzRtKtw0W5yDciG232cLStuju42wubec&#10;A+cAcBw3K/O1aC3UAYRSLc7g4TaxjSdnQnMZfzMtJEiszE8NA3JcZNdsJa2PEq01d2OnVWwpVUbe&#10;oV1IAR12nA4zjLH06A+1MYocOQmYyCrkLJOhCsSFHPO0k/R29aqwXAlKKiK8AiJIEUbQXQYLsaMh&#10;iQCMkcEbQR1GKugbPK3HeMDJKhVkbOd2OnUEnGO3WuiDbWpwyhYc2RlgVUZAJ+Xg7vmOSR0APbt3&#10;xil3Z3OWAj3iPyztAUnAKnsTknoerEYqDAj2Ls3JnYiNCrykDMfBU9P3i9RwA2TzxJIx2uoVlZVY&#10;qsoCKSpOGzyAAQGzgnleCcCrM1o7lZQVIcPIskiCGEPNNOqgDcC6F8AqQCxIBOdmckbqM8P7wFkM&#10;qk75IJLh5lcKzyBVBYhWUgurkDIUIcDG3WkXILPtRRGW/ebcfxFlfggL0Jweo9Kqz2ykJuIZoUbd&#10;5ghU3P3Syt+7+47Hc7KAQyjAwcVjOJvCVtDFcQGPzxLDZiFZLyOV4vItxuLmR5RiNsEtunjJwrAH&#10;jBNNVpVBgVEkj3KLeKW43SWxyGihlceZnndJFLgdEU8/emwqypLHI5udow0qo9wWVD5jNFGUBkBZ&#10;DKijDoqbeQKSSAo7BtrwOC0rTKzxJnMpR2dXzbks7AgjyyqrnHC4zsnodcJaaizBCUuo/wB2wU3C&#10;PIFRrHIy8rqdrbDlBNHnqVPB+aoZNkk22RI3ilC2rJJK92XVyXMUgG8eXIFZ45mI27gh2521MqKW&#10;jPEbC4M0UzKsU8siqWYuIypMgCnenR0HT7wFGWFYFZLuONF2TmeO4Z7mxCSklmfzRloG3BpE3fus&#10;KoOOWi1y0un9f1/XrauEKKskcs7uVCwvJFEt0JgxYzBf3WWA3GaPrJGgCgnILIoleMFH88yKXwZm&#10;l0+4ExCjaoZyIZjuZck+TjpgkNIqxXMcuRKGjnRWTcv2pSgBhYOHKljhXRyfmRgjAk4DIS0CRbxB&#10;gwkFp7cWyujhpGlEbRAh5GUedHu+UIDhaaVx7ax3K8JeZncBmEsqq0Uv+j6hdYj3+XJGfL8u5i2o&#10;Vc53RAdeGWsw8wQTj7LKfKLW135aeXD5oAadfmY/Z5SY45I8ZjJJ+7hhfWUbw0cli1zLJHujjAkL&#10;IUBSMyCVcl9j+TOR8q8FSQ2X3KSNFIYZrqMsGkeSKy85t2VRn8sowJyPLkjGMqzMMNyc3FPU0jUd&#10;0l/X9f1daLJ2mIPGyFCq/YvLF6IfI3sMWQbEfGSfs83ByVBI6FyMVAnxMkZPnPIjrc3MUqbY2niA&#10;ZssiqyTRAEkqSMkndafyoLYRGYW6W0sduWumjhh2ll8mHzDtbYxwsMgyysepI5bseWIzf6asgGZF&#10;YG4ubbyxtDbNsim4j3kYUETLyN4xtycGbqo7Wf8AX/D/ANaFd4Et2dYlt4kjVVi+Ty7eEOyuLdZP&#10;Kx5EhOVYN8jkDutR+cwXatxO0pja3bfPHFezNGD8m3zVVbqMMGLY2yIBzgjabLaFXQRQRxsqvJut&#10;IntLVHKGZgjBD9mYgeaAAyOxPHJWYYlaaFmnw+LUwJMIr0Ov7wRtIJCPMRQXjkDYdH2tkjJlWV2X&#10;GTtr/X9f8P3HtNFIl4sxEqyKC8LTpJazo25S8eZMCObZjBP7t2JJ5YiNp2jdyJxDC6l2G+NWIRfm&#10;kfLYDpgxyr3Vtwxg4idxGBIBNIZg7gGA+ZCWZQ7hG58twB5sY5Xg4BOS95C8k5kBMSYKS24Ml1v2&#10;Ljemz/WqrKE5PmRv04G4lO+qNI0+XT+v6/rzHyX0sAEjefJIpKkLJHgYOWUZlC5iBZgScspAHOcX&#10;Y9ShJ/1uPOwiBpMKdynBwT65zgfwj0rkru5jhGE85Mui7UBgh5JWKMMU4XcQISMnzAEYtna+BPrT&#10;RMCWkKA/OGL+Z0CDcfKUZyuWBOA2CuR1hVXHRnR9VjNWSPSLi6iYNuaKWMgrtDfLk5Owj1Iz0yOT&#10;zXM6pJBJFIQwQyDG4EMoPG7p6/MeOmR3BrJbWpXhjkLSeXIzK8bD91GcMyyEnCrwpUknGVGOtcxe&#10;6z5up2du7MBPcKFWMZZsgE8DtgDHPIYYxxXm4ytd2XU7MHQcZ3tsd0ZEjWKJduyMBFG4M0ROAVJz&#10;90E9OnB605nUquAPlTMRKrJgrzkLnphR+OB3rJSZ5HXeMkMCCfvHr146ZP4+lWd8kt3BEAAXmUZC&#10;lZCRsY4+u0kE9c1NPWy6ltNJvqeo6YIU0+zEJLxqmYG+ZmVScEBjgnHIye2KuMxT+EtGSGKEbAOm&#10;Dj72eOABkGobTLJAY1ijhMT4tVI85Hyu9QBgfKc+uS3ap/LWSPawJ3/MpwAy5O8EZ9Dj8QK+hcJR&#10;tKJ8dOSlOV9riRyvGVRisoIxCxYCR8KNyE5I3ggdxuDHjgmrMc8bqu2SOQA7TJC+5ATuGcZOOR0P&#10;c9Tis1lXBR4Z5S0C+akOE3FCV3K5wBIhxjDA46Z2qKswyM2JXkimgWHct4SGLIQhV1IG3a2MsAcD&#10;ap6HjrhLmWpyTi4vUkusvayyhJmMAWdYYSrSO0REgVcZ5JXbjPc1IHYuAwbDgsc7SqrtHQ/3c5zn&#10;PJ9Ok7ZEZZSrsSSCSFB9M/pz1xVMOI7hx+8WMRoZCikrEcEBWDdFxggqMAh92O+hBbCrhlVcYBjB&#10;UjAHHAweOMD14FROkM5V2QPJDyJCoLR5PO044OVHbkY7U9GEkYcLuRlzkkMrA85yvBznqO340ocb&#10;9g+bbt6YyM9CRwB0P5UAVLgyAC4TEhUEFNwRWRiMNuzgAY3FjngY74qumxjKseI0LZdg6MWYhWwC&#10;CQD8zEqw5L5B7m8sbqzh2V4ZE4hZF2xEdduFG7dycsewwOTVV1kUfvQgiyeNxndiHXyzuYZ55+UZ&#10;OcYbpWc11NacrPlZEqNGxUqcALsiVQBx94Lltu3A4U4K4bqCAG7SVVM+ZC+2NRO25h8pLAZO45UY&#10;IYbh83JHSZk2SvhJZd/y+WoRdwAT5ckgcbicOd3DY4wKaY+SFIXewZkaJf3mNyjdz82AMjBDAouc&#10;jis9joTuyALG4aMqphbCyDarwSHldpJ4YDDKRwwEQHpmUM580xeZseEPHiPEzHaAzNyCSBgFSFYY&#10;78YeFRum4CN2jRhKWMpACANzhv4lw5yGWlWSUsqsj5ZTjCEg44Vt5wBkHJXrnp0yUo8o5PmZJyAA&#10;Jc/MzKSAcgEDBH8QUkEEEHAAyeSUC72wpG93bILAA7TgNjnkDAyO7cjgANHzCR43Rgu0bVBmAeNg&#10;H3Eck/Kq9Nw2fhTyzMFKPuicjaUByxwWGeMLwM7sYY8HHRmZttLQbIoKOS0jRleQNsYTap+ZSRwT&#10;wck4GAQfV8SlBh5BKqqoi+bdMnADB8ZDHpyPU8cZKlUZvMjBEkZ8vac+XJ8qnawBPGCcZyQckZzg&#10;tJXMqbiQxLh/lAXhQRnIPGS2f9oHJ7hN+ZpEG+FJ3ybbdIqiRl8sSkjdsR23AnPOzgjCtzVuMAAo&#10;FZEGAsY27VUggLjkYGQB/u+lVzJHIFMZLRyIxUqv7ghRggtyADkfXHHen/O5do2kRuQMxiNRgHoG&#10;XJyQM544GO+RFNXWo8I3yIAfs+zYFCYUtyTn0GOhPGc89Mo5ySox84yV3kEAscncOmQRjvx164Vl&#10;I+RXZFCggJGAGUADbgj9BSxqQVYH5WJYkIFXcR0AC8jqc57DrRuEVZajSQpHUqpVS29nHGc5P/Ac&#10;e5OKTd3V97lidm8cdtpx+PXPP4CmneVbaSjYAGUDNGDgghMc5OcjrwcUgwcgDGN6kBdrAsRktjuc&#10;qeMHnrQUlcGKbWcNuBOw+W+459DgEA5POPbmkZmIP3s4AI4BHDAMPplTxgjA5ofYgZiF3FQBuJ8t&#10;j8xPy9jwTn0A54prAgbwrsxT7u4YUfeGAcAHJIzx0GT0xLb0cWaRSej/AK2ELZBz8y4AIUhCAcde&#10;g45PfpWNex4diFUMxVOW2NtAJxgc9TjnjnvjB3DyAcsSWCkKSwJBww469+vTH4Vj3asY9zMwHTeF&#10;3DJ25JI9eB+fFYyb3OvDStUufPPxMthcWswjdpk8liT8vBIKgqe4HXjrgduv4e/tP6MttLeKg3Sg&#10;EnCBxnuuenU8E4PXjrX7xePIitq7MFL7CDGVAaZh8w5GePYZyR34r8fv2m9GINxLCgLjcRuzgZww&#10;IBxkc8A+/vXnVVdWR9Rh5RS5pf8AD7H86fxp0kCW+idURJVdSzrmQA56diegPueAAOPzB+IWjGCW&#10;bZjBlaVcjCkIxLBVx0y3PY7lPrX7F/Hexb7RfEW2XAZFMa8MT6H8TntjvX5afEnTWD3bxxooTIy7&#10;YUcsPkI9MZxwcAcZNcs7pNdT1ub2lNybs0r+eltPu2R8Q+IbNgQAAm8YIAGBjnbu+vJ6/nXBXVuT&#10;lnYtHjYNp2n5CB8wHI3Aqcnp0FeyeIbLybgyjDPIoRMAZiYKVJ9B/UnpXl1/8xkSOJRtyGZl3Kxc&#10;jIx6n19RRBrWUvL5HFVSinO9+35nlniaBDbu2x2Z5C0SspKjAAxgZ/2evUmvFr5ADLuBEbH7oG4n&#10;PTj36Y9a+jdXs01CznaSIoIoiOBneQGGPTnd+HpXz5qHnQ+ZboNnkNnc5GTtHXB7jn8+gr28BJey&#10;VNaHzWZ8vP7RLzS8/Qo20UVvcyW6yGTLmMpvINxIF6E+i4PX0r1DRbh7k7Psour22RbtbuSVWsNM&#10;hRHaQ7CPvAJkljhVHIJOV8kSdpLpJVH2NM4LsOFUZJ4J6k8Z616noMYkiZ7yc3VnvCRaPav5dzd5&#10;xku2MEdR82cZIA5OfRjFuKj1R51LkUfe2ve/9f0zp0dbiS4urfUpIPMgzqmq6nGfttwTjEVqGO7C&#10;56KQTlzlV6bNhOLVCGEthokiCaGxhl8zV9WdSMPKFHTLZUdACepyTRZ767Ro4tOt7++sB5UcIVLT&#10;T9JiwXJm5O9kwDnJwRgjGNsEJhivFmtbvaxsWkvfEcqNHbRcAFbXKkHA3YIAJ3cADBN8zSuv6/rU&#10;JpKpdu0ej/z+651QjmvZNPysU15M+LDR7WTYlsvIeS5OcqcHJ3HPzjtit8iSKxlM7xLdGVEvb9Vj&#10;SCNQwBtLXjJZvLCkgd8DjJPI6fGmnhLl7a6sdGvJQkTeZHLreu5yilULDapfAz8qhuCWIXPSSwD+&#10;0lhjtHFx9m8jSdAkuNsWijlvtF2P4pCCG+bBJKnaAFBuNOKlfqgjWqOCjDu7vz3/AK7G/brZtbRX&#10;Pni3vrs75bZF2rpMKlQiyZIAeYo3HXHPTFRXqyDUIyI7YzxWW2ERtsitVLF2xj7z5Ocn1wM5+XF0&#10;6MxQT35DGMXA2sF3Pqci78EEZDIAG56cnuAa079VRbWa3ZrlZlLl/L4unVY96k9Cql1Bxkc5Bxin&#10;FqLUW9v63KjJtc8tdrLze/4mJcRWWonDI0zQL/odsuCJpeVM03fA784+c8dqZbW8lyjy/bWh2IyX&#10;WoKTHhQpdbeEAYy20Lxjqc+osxyuiB5pVxLC4uBbw/OcFgIo/fHXHJ3U+CGTy1tfLkQWe6a0sMZg&#10;t0+480pJ4I6kY7544q1dvkX3jXMo3k9NG/8AO5kySTMkVlBpuzFwHtdLE25710BcTXJJIOcdWGCC&#10;exqVIyFlzMgu4sm81S72m3tAwIaKCM9SB0Ix079aeBbKnmWdzc29vKVfVdVclru/kzhoICMYUliu&#10;B17npiC4jlW9Q3Nv9ol+WaHTYkwlogI+eZRgdCCdx3HdnnOayUmoPm/rYUopWs9LaeX/AAw5Y7Kw&#10;eF4xcyRXV2VtNNiCyXl6dwLSMM/KvBPPBHHYkQ3Ucn2r981pLcxjbHCyCK20xCSNxXGC4C5zznBz&#10;kk4dfaw8cl1NaTfZ4xKtnc6wy4eFGLBYYAv3TtA5AyRjBFYUyPKEQxzRQO6rBbh9t7qrKCYzI2fu&#10;7v4+du4dScG1JqnzW0/E5+aejfT8zUku7WC2htpxK1jKVD3byFdR1FhkhVyMqg4+vU9BitcI0jSW&#10;6RTtvlLxW6SbLPTuoBkByTtIJGeRgntzdtba3jv445223As2WWeaRjZ6YpYbY4RyNwGWPfIJ6nnK&#10;WzZbye2Y3D2MrYhs7cK9xquM7jKRyob5eMcZPccDle8raq3/AA5UISmlFPfVv5lS4IMTzR3L4hBE&#10;2onqxIYGGFQMngEH1/QltMJImF8hNsshkt9Nj/d3moFT+6eds5AG5iQCeAD1PDy1xBOIZ4IFuhGW&#10;S1VFFhp7HOOF+Ukcjbn19hSXTSSQEs8kMjL897HFunuSdqrHHjocYwOOB2pKzdjWyu4xvdWv0/rc&#10;ZdrcNJbuSl1fCDzY7aEiXS9Fj+Zw0nOM5J4PcYOT1wLq48+z+0kzzoXWC+vGJWa/dSuyGBcfKijB&#10;OM5BPTodLU2nsoIICiQRTcJpyOJr+9bdgNO38K4wNvBypIyCKyr+2DLGxu4g1uVjkuLQhrPT1fBY&#10;Z7uM845443U4t82n9MxjFpe5Z26+d0WHVZRawzRJA8a/aILNCJVtzlj5k+eCQHOAe3Tqc0b+Ey2V&#10;1PbyJthBRry5GLi4Y5OIozj0ySOfTrVgi3jQfZ5rtLO5RDIzruu9TY45zzhAMHr0+uah1aCMCG4l&#10;LyOw3yGM7LXTC25URh3YAZIJJ6HrShdRdlcqTvTkuvb1KFtalkiRnUStbl7ew3hmlGCpkuDnOCCR&#10;yQMMM9TV+KUvcFklSN4UPn6qYwIIFGQUgHBLEDAwOvXrms+ydElmtWlK20v7ssgJlvduCqKeyllA&#10;zj1rSvw9tfWkbpHO5tlCWUDA2mnZ5VpSDyTkMQey89alJSbSIhGXMpTV7K1vy/zJ1nU2cqPePb20&#10;8DSx2MUofVL9efLMgzuUMWB7dT15yxLq4jWIlTJdxyB3MhBs7IFQAg7FuvJ6cdScDRQiWQTQzC1t&#10;0G291W+jLtL8uAkEZHGOvH58VmTkbYotrmIzsYdPc7LmZQC32ibnIUkjvnkDA7Dlyu6f/DmtoQp8&#10;zS1/DU5vW5ZmusB82xXMkk5GHYMCWY9TyePpx2rAVEEpliJKpcyMshz+86knPGc8n8K3L7N1JfK4&#10;2mKMMfnITqMKvHIHP5HGTVFILqVyBAnlwM2xnTau50Yc+4Gef/r1o0uTRbGcdYyVtLPf5GfcRJsR&#10;pHmDSwB44wR5cZ52++MY/EH1qGK2MDuJHKxypLIufvgHHPGeBnr1rWnt4obcvLKstxLFGioDvEeS&#10;ePTGMce/T0pTDY6Gb5pvLeNQoHI3ZIAznNRFc/vt7foR7sWm9tdTMaeInJJyRnJIGf8A63pRVx7e&#10;IsSgG3AA3yBW6DtmilzS/lE4rmPK5neFMohOwlbNJX2ksF+aTaRyuSRx3X84UlVw0jSbmT93boQZ&#10;97nBdyOoBz9Kiu455tjBGimnHyrGMQ26L94ANyM5FQ2SCOcqw+WQBImcicx4yC+4cjPrXM2rGcoS&#10;U25y3au/wJ1uIWJkUfaGjzawxOm9ctndIVHzehHbioWnEUXmjaG8wpEIwzEYwC+/npuPPvUETlLg&#10;zW/khHjEe5my0S93UjJ/Oo72Vp5vLjjDkILe2BGGI67yc4O7B7D0qrvSxN24NLYW4W3dxNHcfNAU&#10;jibhWnlzyQRjODzk+lRTo+1pPNJ8tdjgEJ5rHnnsefQ+tIQpjUmLyo9v7gKFjG7kEkdMdcfhVG4u&#10;PJW2SOMTpH8rR5zvfqS3P5fWhcr9xblTqOULvr+li2rxL5Y3AhPllLIz5cgkHHORnjj1qCQlB9od&#10;gVZixGOXYtkLgcj8qhAkIUt/rA+wBm/djJz9eMnmnzPJGjxiGOVUfYrtJyzHuD0OOgFD01JV37lt&#10;BUmkWOMoAwEpKwsxRN5OB8348fTmpb2dXzkN5sRPmKW2SSTsOenBA4/A1RdFWyEwdmYy7Y48eVsK&#10;nk+hBNQeeJUb5fmSTbGQuGdiBy35n9KiTvJImKduZ+howSyCF/OZTF5YIVAFkdzwARjOByePzq3C&#10;7SQxIpDRRSl4lYNnzP4iTycDHT2rHQGMM0blsYVN65LMchyPpWtDvijjZJcsqGOEbh5hBHzNn/gR&#10;pt/pYuCtutkzpbdg8SbI1aL7XgSvudJpsYBDHJAGR+ArWskZGee4gub9oiUjRXFtJLMwOHGR8yqw&#10;GQOqngiucs55YlgjAaRjOVt1BMTAFWDPt6HGevtW/Y3F7Lc2aWaQbYZJI7R5oTKodlG+V+/GAcjo&#10;KFrq1r/wwc8WtFo0jbtoh5d359+rR3Me7WnXc/klXDLCeTgZUL8pwTj0yLdrb6bcGMXWoQWd3cSE&#10;sqyZNrZhSAI2I5JK/dYg8jryaw7ZUDvFcTLcRw3KkBHMY1GRmBZi4PRecK3T9a1bwbr2aW8ZJA0h&#10;muZFi8keYR+6h8tPucDICDAyMjg1cFG8VI15dLp+v43/AFNOOAuYLrTZbNFuGktdFibjzFgRlaeR&#10;MZRjjcWx1YkE8E2tPVBKbqW5F3FYXB+zrBBJN9tvWJCu5xuKBgPnxnCnpms+xmv4rgiPUjBdzWcs&#10;V3cuClvYWTK263RiDncBtIKg4x3Oak0J7SOSSGzkkmuZFkSwSaAxwWMTI3mXUnZXUDK5yBjsAMsz&#10;Xvwi4rXqdFFZ6VtuxdavBiCBLnVrS63TXl1LO6qYIcqEkxltwYjG7IGQcT3skl8YjczC1uNUjDXr&#10;RQsV03T4lCpCikALuVSvlkjIIHPSsK2exZ43sNMnvUeQw6fHPCrrqMrEjzpIivzbMDYynA3dDwan&#10;+1N9nvFuNQurmGORbjUZRK1wb2Xb+5tFOOfmiDc4xg8NtWhavfXQ2k+WnJX8vw/zRtL9kiKY+zxX&#10;WtWjWNnMbffJpVkHO5hKRiORl+8rYB5xknmO7s2uZII9K1I3UE1v9n0ieWWCEW1lbbsyOFO2Mswy&#10;Yz3ZmHOCaM+pXuZ7S9jlRt0UOq3C7o2gh4LWsPOCgUbctzmPGMEimNcGa51FpA9pFcsouSsf7yyt&#10;VVdkMXzDJI252ndzz1NaqWqVv6QTlW9m4y6bfkbtrZXMlub2GUzhrz+ytLYA3HnJsQz3O7JIG75S&#10;ygFQwGcdWxaM0sdn9mka4uru7fTrS2W3O62s0bEswyoGCeFI+8HJDdAcuczTPFK96IZ7e1LW8zL5&#10;cWmWpLFwQBnfIoAycA4G7A4pLMXRLCOZraKbTpQJo7lhd2VmhCvubG0M7MoUDrkEHgVlP2bu3e44&#10;ydOC022+f9XNF4NlxHNbMsUeoTtZ2tnJIDdWFjBvjlmlQcAyMCuBgnngAg1TvXhu5EXYtvDNIqJt&#10;TIgtkK5Y4JwXAOOerc8YxEmpXk1xNDbGQwTwyQlrlTdXVtaMCjqzYG7erkc4zk8eurJdAvcpcaWV&#10;s7sxzmCyDxmytICvlrG7knLO20kZ+9jvVJrkT3/pBSilUUZRfp/XqZN3c3QSVbmNbSGa3T7QJQqJ&#10;Z2sWBEnqNxAGVPUjoM4ikglgVHMaWN1e273U9zdo8K29oq74oY2AGDLsU4AGcr2JxY32bxsNVDxQ&#10;2cv2vU7d1SW4nVt/lW6HcCWOF4PT5vrUZWKeRmjEAGkQNrN0k9ykE1y0jxJb26RsR5jktu2Jkhdx&#10;27VNT0c1sXzQm3Tgvm/NGfG1vGk0VzC5mmK3E+2N5WsrdS22GE548xtv3ucccZJqK+sbgCeZZI1Y&#10;gT3yRMWNnHuHlRgMNwJxk5znJBxzmxHaXTS3E1+slvbwlb+4Z/8ASHvJDj7Pbrg4DHb04wFJ6gCn&#10;XrklnluIJJo08y7aaNl+03MjY8tSCQdmQOBgk9jkCHHXmfkRGUox9mnvv95j3FvOZJZNgizbpNcz&#10;/dkghx+6jXjkvgj0OeOvFGWYMgtnRoEW2AZGJljt7fdnCg9GZtxzxk1pyxyWwuLmRpLmKK4DyES7&#10;xqE7A4XH3mEYBz2HB7Zqhc2TyyxXVw7EvODKI22rO7DKwYB42jbkf/qpxslZspSagoJ33ObeJt7r&#10;b72EiEJFLzDZKSNzE44b3zikuLa3WDzYpH2r+5sLVUDec4GHlK9QBljk8EnjODjSvWbdeQiXy0Lh&#10;b5ynkvMWOBCg5yB90jjOOwAJz5mntSybmjnWApcM+dtnAcAKOmN27GP/ANVDs43/AK9DFKKul/w+&#10;36nKyqipthdp0RwWkcFDMx6rj0H+TWRIW3LHIcqpJkIYlc45XP19a6CclSjQwtDGylLaJlClFA++&#10;e4zkmsybPlq+0bA3lxKcB5Wzy7eozzz6VLlHd7ktJ6rbv9xiSqwJdlVCSVjUfdUDqSOtY8+A4yqs&#10;H+6T1bBzu/nW1Kse0iVhI+CZpVYls/wqOOnr/vCs2ZGZjxsHl55bhBzhc474NDlf1FFS5TJkCbPl&#10;IKL0AY5Zj/8AXqlIFzjnABJwOOcd61ZwFABQDIyFySqgjrn15NUJECkHnrtXBwGPrSi2viFP2b96&#10;K8ys/wAuCcYJ4HQY/wD1Go87sgZIcYXHB9z+n51OxBDbtu7j5ieAf84qFs5werDg9AADSe1kS6nv&#10;XtpYh289M45PPU/5xSkAHlkGGIyDnI6inNyQckgk46Agd/6UzgEgqASQWOevb2puT5bkOMFp/XkN&#10;+8cjjk7m3dSadjBUHIA7ckDv/KgDkkY4HOfu9ef601zyu48twD0xz2ojdR21Dli0l1f+Y7PVh95R&#10;3+p4rsPD+tyW6XVo+THNaeUwDDpuBA+mRyK40ksuMkAnJGc564Gamgdo2BXjtuBAIx1H6VUZyi7d&#10;CJb+7ofU+jawwj1VLd9tteaXbS3KlYoZZZYSuMbg2FXIOQAcAkEHkd1LfTvqM+qG4a7u7iTT5gZH&#10;crMUZCu6RSoUDCgjIGFGeM5+c/DmuqnnK+fMktFheTIG1VdSSO4PBGfQ17MNSkMerQRzssN5YWck&#10;ihRN5ix+WzICWxgPsIPQHHcDOz1fN16G8Jttwi9OvztselpHHNqW+7mlnVvEmp/aZWiEpY3NuxQR&#10;K7j59gcqxxu2/MR2qWcosbWHDxRQ3WjQ3DXCRpsnKXQTZ5iRHccLnn+E/Kw7X/tUaavcm9vBDdR+&#10;MLKOa9dwQWELwSBERdoDRjB5APXIzWcIZb200tLgkaetpqNhK8sdwVBjmjeEKDtUMwkJVh2Q/KQc&#10;0L3YqFtNLfn+p0tqo7Jf8O3qzqVmjS7MVvbyTq/iG7f7SqhwVvIUYKFCD5VwSOdgKnGDnOcfsula&#10;dqUMgmurm60E3dm9tPJbWls1pcnzJXWSHLZ8iQAcH5hgdQb9x580dxcaXpwjW203TL/yJEd0t3jE&#10;dtJKSJCQC8zZYYRcAkDgNLbR2sJWLfFqM41nUtBF1dxttQy2hkjdX+0EuP3pZBgA7AOAKlqNvd3N&#10;IezcrSXZ6d9/8ilFK0f2a1aIxTXmrJe5V3t4LVLqBo5UlGzftGQQpPP45qpDCLNYpLm8hvVj07Ut&#10;BykEqw7rXc3y5iQ7kMm3GMbw20kFWLTDcQW8s97K1ws32PV7SScB5/Mt7opOHKS4GwALt6Kx5PJx&#10;ZsblLbWJozbgX6a5fSyFJxPvjuYHkT948qgKGlbOBvYLgHnFCjGzaf8AX9XG2lJRktW9fz/yHXUO&#10;qPBPLq0t7OJNKsNVDqLlYrySKWILtzhVwki/NySrAMeVFZ+iBY70wzrK0LQ6xawmd5VCv9mOyNWL&#10;hSxUqAAMfuxkcrlIFsrrS7y51QzxpP4RtZ7e2tFikm1NYLogS3LSSny40EWBx92MY3ZJOrLdQPLc&#10;anfyQrPaeJba4SGBoWkEN1ZlSY4SCpAzkqcf7Wc4A0+fnuZOcXT5XHVXf6or/Z5BpPnPCsh1Xwvb&#10;T3NxcGGWd3tJ2iSPczheEiAQINi56kBSrYZWbW5L6KCGGCDxPp1yWmS38yNr7Cp5Yb7y5k53ZIwQ&#10;cDID7LdctYwzXWbaaTVtJtWkjQtDvAaJ9wjGQGc4yu1QxxlgM0UvVNg15fzyypqXhhdRWK1uhbRq&#10;9jKsMSSqYWONkTNwFZgflYZyZTTvf+v6QpQtFST+Lp2tp666lq3mnTFs15aW1xKmr+HWm3x28eUk&#10;MzKphUqzMyAx8BYwoUZBIWR4ri603Up5737ZOnhW01VJ7aXe1uLK5W2ZWjCbicRY28OwYsOozRiI&#10;aa5GkQyyY13TbqJjHOUAv43QJI2FwN8YO07Qp2nJOaLR5BaNpslnZKkehapp0n2pissjqxcLtMnZ&#10;/M2hsBiwzx8oOZLSLve35FScr+47t/191kdBFdSW2sXivpsF/HB4kzi+vZbBZmvrHzELSsVYodiS&#10;MI9vysc5xmorayjltvD0NtLbySyeF7uyl3bUjkNrMGYbnctlsyZGeARjqKW4eztbe/unht0hS40S&#10;eRbIJBHCdggONvO5tyA9GYyNwQwIbb30Nn9k/s6Oe3js9av9KaV7gXAnF7ZozQ/MhAUC2DA8jLNk&#10;9RWsXCMbPVf0h2lCdtLrf80LqNvYpeNfSRxborHTdXmmW9guk2GSKzn2ADBZ281geQwAA9TqtZvG&#10;sg8PySOJPHU2jR3yxT/uYZ7VDtP7oAMWLHC/3QV3naKw7AXF7pculm5Def4LfcJnnkjhlt5LiaPz&#10;DGi7mdo2CL6jouMjQuWjsbmS18oyKYdD1uJZGmEVpKUtxJOwLBGJBkJ5wDKSOOCScZ+9bX/g/wDA&#10;I52kk+q/T/gjTpZtdIt7Vrie5nvvD1zbTRJa3ELJc6dcCeNMkZKNsTGGYgKAc/eq5Fe3LXc/iKC3&#10;SeKyXTdca2CObXetstrPwDukwFG5gccA8krg0yOys7mB0tkjubrxRqnh+5uL6xhdpo5ETyfK3yMe&#10;CZMPtGOW3dxmW9w1zZRQNe2ls1x4Of7Vbs6TrdGzukBEqx4XfncQG/djycgsyjJBKWsn0/LUHNuX&#10;s/8AhtGtfuLkaS31loEN/KZJZp9W0maKNbhnX5pJdwJO7gsoGRlg4IHWseIXhtra7No8VpBpFtqi&#10;Ipd0kFrdIkxbcykhvMAfBOEbOQRXUn5L77daJDbWOl+J7S68pokub6dNS0/yXM0yoAI9yqyrwRvY&#10;gYZTWXdRR6rF4fsJZ12jStVjS4Zg7EQOrqHCRkbcxxspxjDEc8YhKV24v19Doe6btyu353v+H4mr&#10;fahcT6jcPY6Xo9hbQ+OQ0jyOqSsbyyZBDMWkMhT/AEccMCOTggktVW2F4+iR6dYXGlGOPwHcaZcy&#10;LPaRzxG2vXdSWJaQ8hh5kfGGBLYVcZdxqNp517rtxpl1cLJcaTfiVhskxsVWB2IufMEYGRxmPJzW&#10;qumtbJpj2lleQy/2tqnh+Yo8vl3ks5lkg3FlwuFOG4x+7IweovlSbb2/4FvzMUo8/Kn9/Wzu/vNf&#10;U4o9L1JTHJosSQ3uia3ZRpcaeLp4by2KysQq7jsWKJnZ13Mw5wqgDO1K3gtrKCOxuHv3S81HwtGA&#10;LZDcoD9qjQIpHAMp2YbkR4OMFRCkNuNNaSO3vLyOz+H6veRwyTECS3ul8xpXcZxjC8HzCXAxk4ro&#10;LO9v49Raa9lmtrey8U6fNdJFE3lSJLZMHVQGAA2SsPM44kAAJY7stFpBe90/r5Fud4Ll1jon81/n&#10;c5rTn+1rDLdyS3BmttKvmaRYGaQiQwSsx3GUFfL3KMHODnsDQWw07SgIvKR9RtptXtLi9knt2imQ&#10;shhjtUIJdmAwRyoA+Yk1HsntdNiu7ks5uNOvYLVd7W6QyWdzGySMxJycsDtHLBQMjJNbQW5W9S6L&#10;SsDrNtdIZG3WSwPZvFgtvyDvEOB3Y+qrkScr93r8ylanBNrT/Iz76Fja3aR3Be0XTNPlQlojeyOy&#10;70jaQpuwjPJGcDG5QAGwK17DSVfxMkM81vEieLdQ02K1kR3jSKe0eZVWMRYOAy434ztwcDNVIbUQ&#10;WihrATX2o6dd6BdF3k0+SG7sbh7i3GFcsAYivQDIBPGM1a1NJLC5vzIGubo3Gi+JGMlwN0MNzEI5&#10;DNIXO1cttYZIG4jA4NNqUp2Xz+ZjJckHpq3v+BRtb03VjBLdzxz3lv4e1CW2d5IZ453jlJEJiEG1&#10;VVgBgbUzKeOwgmunk1O1dtkVnu0e8mNykWx0kSFG83bEWw7bxgg4HXOMVs2VlqaX2n6S8MwbOsWe&#10;oea/mXRCW63Ow5lCrHljvBG7HIwPvYU0k1zAk8jN5d54etbiK1QpALyKyvC5Ii85jsHzHc2RkKDn&#10;apJfVLpuy5pyaa30/F2LdzaiezurSC7O23h1XTltnt2InAkmukYBYtnm7HboeDEAOQS1qe8u7W+u&#10;p5t9pdR6taSzNqduiAi4tfJWQR4DR+YismDh/lOPlwQ6yujNrsV9a2lpFaSeJpmjc2yGW1W5ty/l&#10;RBpVydoGC/BAwAu4srb+81DWdN0+8vLy4upZtJge5mu7ovd6gLG5eESSnzSdzLNJwTwrkHkkGWna&#10;1tDSN4t04W8tO+mv5jAb/UdHttPlTTrWMeGbuxhez8qN2bT7l50chW7L5zKCQwKjcRyKdDf29lqM&#10;l4tteBZNQimjs7uArHcw3VuwaTIk3BQ7AKQGHoOOatm8cV2rRw/bLK5mutNhWRXW3jeSB2RTjcc4&#10;cfewpKnAY/LVvUbK/lUahBJFME0uzv2unjKQ+SrpGdztEFDrxjH9044xTdRJJf1qKNOTThHbS2tt&#10;/wDhjS2zrZSfbrOcxxeGraazSNLi1hlnju0jR5QXAYKq7gBySBnA60vnMlxZtLM8U819HbpZwXE1&#10;wjSA3KPFDGpYJCXJBTgGLABwKuW19Jb2l3oVwYIWlt9Qt5boxQPBZvG6Ozu8ihjhdxCRj5S2TwCA&#10;y9s7a2vLdru5ttQvJ2024kthPHBNPFd2cRdZZVYMu1tykAgEg8jOQ+X39FoyaibopXt/X/BLcZku&#10;riBZ7qK3sGs5bl5bm3VXH2+0JkaONlbYSwKbj8xzyQembNNb+WUj3+SyRGdkOLC3WSHAPmbzuZ+w&#10;4xz6CrcM0Eds9xJNGoij0vy2aCOG8uEtrprWZlkEpKxoJScDcFYLk5NT6fNKLmVTaIFaQSfa53aV&#10;T5czR+YsYDfMVYMcjcdgJxkgllLVbf5GkHeHMl8LTfltsQW0TKnmwCN0d9zXEmWijO3fy5ByzBDh&#10;c9Vz3rvfBfiO50jWbCfTJpbS8sr+K/huYLwxSR3ETq8UgkUgrtbY3HPH4VwemeVE7xThFnt7yVpY&#10;wf8ASLVVlkjBYkAA4Y4A6be55Olp7WzQlGtrxp/NE9tOsixqRtCsqqe7MuQScc9cUlP2c0+1i5xj&#10;ycs9na/nv+Gx/qofsE/tD+G/2p/2Qfgr8VvDV1FJcXfhaHwv4oglvzf3OiavaLHaXtpctI7OIb2S&#10;INH8h8sTxlQQFYfUt7CLi3ME9tdTrl0jgeN4L1lTG+33qiKt1b5ZoW3YljUkbgcr/I9/wbDftJab&#10;YeIvjh+yx4o1f/S/Hek2HxH+HNhdT+Zpk0+mJPba7YMCcmeaG5tH3cg+RIcOQMf1/XVms6F2e7y0&#10;UixyRL5V8ohYlSreUMXNsQyINw8yNmOTlscmcYeEK/tKXwzSl961Xyd18i8oxEvZ+ym/ei7X8t1+&#10;H9bs8c1ixt3iu5JpLW4kSEao+vWCx3FxasXeNNWtkCSs0TnMV3EAwVwW2gbgPEtd8PKCFXybd/KM&#10;cMJP7uOTy0f7LKchlgkI3QzbSCxK5yDn6vv1mVZT9rt4sqr/AGgRJNpkE07YF5FH5rn7Fe5MM0e0&#10;7ZNzcElj5Br3hiKyh2WVjKIlc6etgzNpyFj5Msulzswjj3KFaa1m3bWYbATuXHzdakmrH1eDxDlG&#10;7dm/6/y/4azfxprVmwiWJ7fymlZUed4y5jaNjhvlBJfLBWXocp3wRiW6XkV2kXnQvFIfL3wSJNKA&#10;XIO7kgMpBOehABBIwa9X8U6Rtt5Xt45GGDcxXjW/lyyCIbC0g3OUlUALKqtjnOOQK8leNoJVDNcp&#10;CnIKwkSKFHJHOCOpwTg/ia4XaLt31/I92znG0dzUsJZ08+2cpjyWWOcOpikG9S+GIwMqCyOBhWjB&#10;z0Deh6drV2Gtnn1Ly40l+2fborhl+xu64ZyFG7AwRIuP4CRn5WPjSfbYUe6JlktA6xSAL5kYEgbk&#10;E55OGKnHUdj03raSaUQXZVcxBnuy5S3iwNoG1cj7+cOqjAxkYBVQ4VHAzq05SsmfVOgTm4stPs5r&#10;tr2YlS0NtarbRtESJxaFnQYkUo00MqNkkqoJAzXt+kamxtknuNSe3ZpLbVm1mWSOOadPKdIdWSAS&#10;tyWKw3kYCALJ0UdPjjRtRvTaQGRZrmLKxpKJC0vRTGgbnLKFLJgfdwOwx7L4d1xlgyColjiN86Es&#10;bS3WYrFJcjL7WiuFdkuITGdmQ+QpkC+jQrauz03PFxWGcly9OnzPpiwuIBMrRCCxeO9e0SOSORoN&#10;HvZQGltHkCDdZ3fEiOcAu6/xFAvTLc+TtxHIFSNStq7B7l0i2hsAzgGa2I3Oy5Mke0AucY8w0W6F&#10;w1oUs7YtqEDadbo7Zt74xt5k2jXjspw6AvLazZyRlc8Nv72C6DxxzW98stmVZ3mlkeO+lW3JAlZP&#10;MVvOtCgW4UjMkeAemwexTknG6PmcTRadnr/X9f8AD3Z0MF28ymA7ZGH72UxvE6yIXOxoiLjcoucF&#10;4uSFCFT2FbkM3yxxs8LY43R4hUnClVVdzEkgsRg/8syPeuctZ3KxxmbzR5ixSpb+ZJbSyTfvAy7Q&#10;37mdZGcOWxEVAz1A1Vu2VxG7MyyOME2k7KwklZEDfL8pbkNn/V+WCRtfFdMJN6nlVY2ehrtuXGAW&#10;3ttIH/LMHJyefwBA4zzxkgYkKxGEf77EgsikDnLbfTj6A455qNWOxpF5C7yu8GMAqW2jbjge/oBy&#10;3WnARqqohIWFQUjQYyuzjbnk8ZXr1J4rqWqucbTW45z86uuApjJcBD5jY2kHjnpkfVlqD/VLgKIk&#10;8vyUWPMscZ+bAAA7DoMDJwOeKX5y7ss8RjbBgG0oVC/eBfcd+P3jAAAAEdusrrjfJt2sQER9xZvu&#10;98j5Rke4459KNxp9DLuIPNDGVUVjKkOSrqRt3NGyyfMFILblk/vFV69c+5ZYyZkngQwW8t2Hddn3&#10;WUyOcKvyFl3TxjkHaeDwdS4s45FkPl2ohI3SCQJKkoDB5FkDR8K5+ZiD97DdyapCTDRK9zucTYZP&#10;N8qU+WGcj5GwZEVlZ1IYSKuQOorllG/yOqnK2v8AXQgd1kWMSRBnlmjthFNcvLErLiVFMnzjd/y1&#10;jkwM/IhKnBqqVeGbYqpBGzNcSDaqB/nyblU3R4+9/pKbefMGOpJ0FVZWle4UkFRHOrxn7PIrKZAm&#10;+RADGeGznMchK5AyKqzOmUYJPamZTePbIY4r6KTh3mRVkJZ4wy+bHhg+4cNyHzduax0RlqKrb2Ut&#10;5Tx+WYXRpWlUiQkoGba4aGTl1ckeWVC87mAQFm4T7VKZVGYwsa3UbjduYAMu2VQ6mTIw6BQNxPzI&#10;ZJXYK0jo8UgkEsbCeMI7BYmAWPDW8wRmlBYeWV4OMMrVlZZGhQtGXHlXFq8omuidhKxqxmwJV2tI&#10;GK/PFtGeMhD1/r+v6/EUrvCxZZW8rDzZZrdopGDFUOXxBNtYA5zDhQONuHLbiRZhgyeS4dmwqX0z&#10;AbVJ+VdkyqqKjnG+M9ehWJWgntypQy2tx5c7vBab7K7Wdm3TMDHyJMsJ48nYpycZLFGby5o4o3ij&#10;2S/Zktz5UPygb4rM7ZF2v/HbyBflRTnliWQar1Gq8ZWNi0LRyrtdoT59tEkh279u45t3K7SCMxsS&#10;xwNzKjwcKgRY2wEFwgWe9UosirEztG2XiViYZC3zkEN1+eZ3kdlxPJvwtxLPbwk+WGJXzYUKyAqx&#10;URyxE5UZfg4ZoxCoVVkhitYo4kt47WBxDErhgscQchMgEJ9mfC4OfukqA2o9DVNvVkBlEW9g0amM&#10;PKXgG+JQWYNcqokXchOFmhAz5mGxkgs1pFVlVYXkjjnMMVk0UbqNoEiWzPvYKWOJYX4A+VMjgGyV&#10;uS8i+comFw00V0gdrcHARJmhE4BVcmOWLI3ON+ACMU2hYuYzbPKW/wBEnglRwjgLve3MzIxZULtJ&#10;E/GT8m4fNjGatsbQcW9f6/r5fLqSGQKCoPmkLNFdvFidhyrTSIYxhs7kmRedrBjjPGfdiRcvIIo5&#10;RDsjWB0WTKnf5MbFACcKzwO2OCwIwSBeJ2QxO6nKlbkXs5+zkdVW6mHkghnBMc6k/Kp5HXGfIXiU&#10;QIg8pQ0CWPntFIeB51spJQbkADwsBnyy2F4Nc0oN7s6qb11X9f1/SMDUp0dXMlzp6FPndnET28ol&#10;VgCQU4R2JA4GyYZwMHHAajc+Q0yStu8txcMTsNxD5QKlZAihW2kbZAAFYLkgYwvd6jPdIXSOTTrk&#10;IEBw+2SYvG2xmC3A2pchJUAA+SSI+5ryzUZ5MBTMkkiRgQNNM6yIkJEcO8ifG+LYsbhmbcGU8jGe&#10;Spq7NnqUoqUOaK0SJrXWZ4ceS+VgdDcB3DyAbfnRsYDHCE8cEHHHIGGt0lz4lsFkBEJuHCu0RLEf&#10;LyAeuOWIHO3PXIFZJ1KS3imEhG5ojCFSQTtESwfZkFwCrYORklXbHXBiJZdc0iYPF/rU3MqrjlWw&#10;MDqR5iZLckHnjFebjJKM4JvqjvoU01K29v0PeLRgzp8iof4QhxycEAgeu8fpV+0+a/tcO0IabJnB&#10;wYnYkgjPG0Z3c85RRkAENmWIKSBeFAAUqTlMkFcsc7RgYzjuM5BzW1p206jaiTYsRbFxuyu1Qp54&#10;IO7O04Hv9K76KvNI8+pJ8sm+1z0+QXTS2hF19hje6X7XCxjBmUqyMpbJxuIiC+Wcgvk81qTNi5iX&#10;jZIpJB+8WA659gGB/wB4YzzVd/8AXRsG5jY5A4DAjkH81P1Wm2tvLHLcXNzO9xPPJggfJBboBhUj&#10;Qk7QepJJLEjJAAA+hhVjKLh1ufGSh73P5DZg7EhEL4dZyxOySAHcm+LtlSgYgkDDnk5ClAzqFkld&#10;FVJC+9CEhHJJlXgkxvuDP8/y4+uJJoyZj5cayyLalkIlEcyt5gxsboF5bPsMEHOCRyDerxKcOpJG&#10;xowWJDOcYLK4Bc7CPm+XngkbQV2ZSehbhkidFSGVm8vagZZDO6jbuUsctu3LyGPXf1zVe+MsSefA&#10;jzSqo8y2XlZ1ZkVv+BAbtucjqNpwMSBvLLBmkJjYySBn25yqk7Nw5TLE9cKxxkAYEUksNwkgFwgZ&#10;s/Z5o5VfY2fLYjaxJVGK5yAFYZyOCNHe2hmrX1LCToU3B12IWDhxmQsD3yRtI7hh1I59bHBfAIZu&#10;HJU8oDwuM+oPXjODWbDKtw8zr5SS2832e6QSBwki4JVuBnK7GVj8wLjjGRVmNWEZYOVZZNqvglio&#10;OAjgsdzYyu49+cY6vcTViwyLIq5BJjcSqMkYIJ6H86ruyyqZ40SSaImOSNZFaVQcMYzgldwyODxn&#10;HIBzUokCHL5y4DAIN/GAD9cEAHHbB45owplZHQSK8R8wOg+7uAXBPBH3iecjjgZoBbkEyl0CfMy5&#10;2sQzMWAOGw3rjdnjOehyMiAKqlj5TtIFeLHm7hMrfPgAkA46APggZxgcl+PJYxlVjRZPJh2ZURoU&#10;UKNwGM5+6pPdcH+Gm71BWJmkDMdwZQpwQwzHkDrgY55wDzkEjCSs7M6qeqsRhY1OTMoIcRvufLqz&#10;YKISQOT5mcOMkuvsKVD+9iPybynlkpudwRliDng554PzDtns9jJtZ1+8YSTiAu24ElSMkZ6H5Mkg&#10;4wfVm1ZgxDB4pPlVCCoLfdkV1z82cBSGG5CG+gmy3K5mx5lWMMxdU2qQNwaeSXBB4AO44yQQRnLd&#10;PV7BoySvzq74QIi+WHYff6gkHcSRkghOPm61vMUuCS0sbhXRgrTABAzoxKkqPusytgZOwHkrl6tE&#10;nmfZ4o1ZswzB5Fj2BUJCEDJwGZcjjHmFgeTl7EtPoPKAuNryIREqtIsRdJgUZFIZ1bOMk4BOC3zZ&#10;zy3zOFjlj8yQYYSQOFgDBi6ldzAn7mcAHG3nipFlVtuGkKozZaRDC8jKxBxlQD0PsQAw45MYLhUO&#10;drgEuCCGiGUB3N84yBtBGcHkg9wCUW1qDJHOqNJtdGTcBNCAJcgEFgyZU8YxxjcwxwMSBGyMjKBt&#10;gO7DR5yBgBQOMdASdrAmjsD5zrtDK+4KhchQpOdoBOQOemR6cVBAQgdoZXMcsnn5lna7Yg+YSyfv&#10;D8pxlQoGBnjoAFef9dCzIR5YkbylKNsMk4Hy8gHcQe+CO3OODUmDuCkDYOV5IIJ6k9R6DseDTVEm&#10;2NHnTcf4UTCvg4YhdxOMYwScfOM56UoETKJSEdHBXcTtYjjaASeRx+PXvQK6exGQ4yQ+87icsoKK&#10;B2GFzjdgc88HmolaFgZVWMblHLAoz4LgKcgcAk4/+uKcrkrFiQBpAERwvloCRuBCk9SDnHODjgUp&#10;bLN0RlxsDOFTB25JHr06g8kjvyFJ9AwEUbmzknc+8/OSCMe2AAcc/j1LTy5cMcr8u0NvUleDjj1P&#10;54pSdg5VgzHIUKZBwqoQSBx95Ryf4frTWBO9m25L4yiABs+2euMAk1Mlr6mkLXA5CMCrbFXeSVwS&#10;evHvj+dZt5GCWGVV3O3fgnaPl5Azxkjt6DmtNl3FiRgklvl5YZBA/M9+etUbpFGSATvG3HLEg4OD&#10;1Az+Z/AVlJKzUtzpoO01b+tjy3xZAktjKQgdwSELMS0eC24exBHHbJbAG0Cvy6/aS0RpbO4lEYUQ&#10;yHLyDcSx3bM8Dj/WHnkFOMjmv1c16Ay207FhwOdvGeOnboW6+9fnt+0Bo7vbXqKvmh13b358z73B&#10;HBxjJHsfbNcM4pya2PoKLaSXU/nV+P2iPEt3Ik6RAoSsMkYHUEN0U8ktu9toI7Z/JX4naU0bXYbC&#10;O7kMzDO8DGc4HTls9AMDuM1+3vx/0ecNqcMiCQyIApUlJEOQ5IwAD0Ix79K/In4paTNK15EAzITt&#10;2jhSQSQH6YAJPA4weeK4qsai95O/9f8AAPXpTl7Lotv+B8u5+dPi2F1WTZDbJuBVnlUjaRkZx1we&#10;OMc4P4eK3kABfzVKMJ2kR2DJuPuMnoT0wTyPYV9J+LtNYTyAjnZ5eAg2llbH4nAIA9wfp4Rq1qWJ&#10;LCNZHzu3rt2cjv06nv2z7VDlHn03drkz5HFyaffTuee3MIaBpAwJdMMNvQvngL6cAZ/2vWvnLxHb&#10;hNQvAQxcvu+dTyWAPX8R+ma+o54ACSQu1Iw3YM4AwOf73J7V4L40sVF+0qsf32XDtnk8ABj7DA/C&#10;vUwEnGTjfqeLmjg7cq+H8n/wbHlk0jKbVkjXfFIAoI3qo3Dk/QFjzXY6Zq5WKOIM1vuk8yaZv3lz&#10;cnOEWNf4ehYnHTHoM8PPyHkOSsY4kXh5A3YfyrqvDLTiaK4tyqzwqC11cqkltZqeM4bPK8djyRiv&#10;chKMW20fPyi7X2T/ACR6dZX1sLVrd0naRnHl6Qkh+16oSA5mnKkeWi7toBO4Y4ByGrr5J4kCnV7n&#10;Sb/WUBltfCUYUafoMYjKxvMFHITG4ox5IO8EDjjLe6ktVeULHZ/biI7vX3jNxqOoLlTIkAJ2oPmP&#10;3cMQrDOGwNJIJ5raKxismh/tGZY0srDI13xKd6FnnYkkJ8gGQu3ABwxBpuMUlO+nYuUVU+C979f6&#10;/wCCaNp9sv3vNUe7kFwWU3Wr37MLK2jy+WhHqoXChefu7R1I7KMboLK9trWS5s2uEjjubxs6t4mu&#10;G2k5IIcRfLtGOOMcn5q5eOy1TTpxBNbW2oMD9qttNM4l0rSsRow+0SbsHkA4Y5Gzk9q29MvJL6WZ&#10;5NQtDexQGPVNclgWT7EoORbadCpAGfLK7h2BBKqeW3o3rYyuoNRa0X6/16G7aTrDqeoNqU6W8Ew/&#10;0/yoxFb2MLD95BCoHBI3L07EZwa2LeaG9VoZLN4oZbZ/7PQIRFaWq5bfKxwd7c5yO5PAwK420jji&#10;ha2v1lu7m3nzoeilvMid2b5ri8UHG1QGJHJOQMgV1w1KPUrVrd5XkeScSXV+yOst4/CRQwrjIjXg&#10;9BgADAwKuaSlpv8Aob06fNFJ/ZXTa9+vcyoYHu5o4rM28Zjg32gZA/lRgkvL2DFu2c8D6VVneG3W&#10;93pPd28biIvGd2o6pMDuZAWGRHkruO0e4JwKsvHNZy3H9o24aWbM0ywfupSSfkUnOcoSSwHWoNRl&#10;+zpIbi4mjMkRWa+gJEtggBLQw7SPnO/BJ55PIPNVdq7lt/VhThONoy0VkVYJlvXQyLBbzQxlbTT1&#10;jA03RYxnDsSfmbJJGctkkkk1im2jHmi4uTaWly/lkQEtqOsSF9zbC54UnJx0wBnuKso9y3kIkVwI&#10;rmWNodMjXzry4G7dvmbAVVwpyR3xgdCYYoYpNSkmF1tvfIa2nuWVRY6PAxw3lNksXI+XcozluOMU&#10;oqXInMHy8korb/hrmatmi6jxZJO6Reda2olLW2nDO0XD9ctjPXHLYq3qC2Yt1Edy01y0oNxrcmVk&#10;iUAs0dqijp83bqcYA60y6extbWKOOK7kskuSkMEe1Z9bm4DbnA4QcEjt2HJzXgs5/tNwl08MuoGI&#10;yRw27F9L0KEgsSTwjYCEYJyOcnipTklGVlZk8sXotm3+ml/mWle3g/s2M24a2iKy2emGUST3LBTt&#10;kuQCWwCwbGBnaBVe6JNzfSG92XEuGvLu3ZWhtkwSsEYU4OVO35euV7HNJb29rKzuZvKtbsmCTUzG&#10;0tzMVJyiRAgdFHUgDAywxxoQQ2kYhaSFry6WB/7P00kJGAVKpLO2cqQTkAc/IT0GCJqo2rf10K5I&#10;QcoRd9O3pb8F9+5l3McsaWguYEbz0M9nbCXbPOApVZJeAeOvOMgcEZrIDXsdyVFxC8kYKLcSuY7L&#10;TCWJODn720NyOvXmtDUHt9rJbtKZI0EWo6kSu6RmI8uCDHHA+bIPG334qWUStcPJNbrPJOxFhaHc&#10;+WO0mWX2HzN77OvNWuVRTSM1zVW2u70XlsUr/wCx3ME62UskUWcXeo3b7LrU5CyAxwA/Ng5HQZwx&#10;zgVRmivJxFaJBFbG2Pnf2e2EigRR9+dsgc5B4Oc+grW1C3t4bhILe/8A7TvI2Ia9Me3R9Hy43KhX&#10;hyMFfl4yncgmqS3EyB3EXm2xlUv5sTRXOrEsOX/i2A4PORgk5NJykp80UTFSbemvf9TMvAltJH5d&#10;3LI7qn2jUI9wVCdqiO3QgElVBGVAwF645NWYLGEs5WYRxASNp4lOS5ACmVhxwcdT3+taT3OLv/So&#10;ImuSRHEsLpLZaWpwgLMOC2CPX7wOeBipqFjGlmL2IxLaPOkcIbDahqUjBnLgAcKuFIzx6dKU9NY+&#10;aJXKqTS6NX7ss27wm2WQ+VBdicR+c8OILOLG0LAAcsx5ySOCfUmkuGkjCujKILorCLeTDXuosdue&#10;OSVbcOf9o9cVmJctEY1YB2h5USEJbWCEqGLgkh3ZmPGBwO9SRpIJHuxcsyzOESe4fdeSk4UJCDzz&#10;hffJ68cZ3lyu2+jLc2pqXLaPnpsv6R0T3f8Ao8cssUFxqFpEHihiUCw0xSpXLkjl8ENxkDJzg8VS&#10;u9q2v2ucE21w2xrpxtudQdeWKLksIw2V59MduHSNHGq6aY5F+dZl0q2BkeUYGfPkx1xjGeBuOMZO&#10;ZhNNdx4l2EQp5FyxTdBp8aEkRhugYnpjjAPvV8sml6f8MKatJqMrfl5nAXNwXvSjurKzK0iqgCwo&#10;pGE6cngZPbNPmmeQyFG8uJ32/IDuICgjHOMAEn8SPrc14RrIYbe3ARoApdB+8bBzuYjrn1HB7ZBq&#10;k0lqUNoCHFsZ3aYMQXIUlPlHQcAE9v5xCc0ubcuXI17Pm06L9fuGWyxSRzBTmUCFLcFMKBltzE9u&#10;igcdRWddAQuXBEsxaRG+UK33sDrx2PPfNT3AO9ZpXY+UEADKSG4bGPwAoltQY4Zn+YzK8gJbcync&#10;RwAeOcmtqS+zH+mYzbT9n0S0/KxTktt7b2YbmUMQXyRkDj8KKJYYlfaygsEXcd5OTtHNFc7jVTtc&#10;r61QTs4O/r6Hj73TIka+esbyM0hR13mFCQAEfJI78ZqpGxNy3lBneZgsUsq7GCDGSH6Y702HyjDL&#10;bqUaUuJZiMoyIMkqFJAPUcYzSBzIyKquhwDI6gqkUfQgoe5AHI461lJqOvU5tbKK3vewyNPOlQQA&#10;QB9weQnadi8dDxzwamYRiV3jzHcHIycIQirz8vTnPpmkjFusrgsFtpcOwKklY1I+6eoLHHXP3qaq&#10;xyzlYJBGpUkbUITYoOQR15weT2ppvYTa5Unpb/MYEjVEYSwmSaTy1iL+f5Qxliy9V6jnpVV5Iokj&#10;eAJIyZt2BBKzbjgsMZOR2+lTTAs0ccjJI0ihIpkHEKndwW5PJPf1rP8AnRzCxwoDCNs4bAbLEY6n&#10;r19qTUZO7DmlyadCtLM0r7nyPKAWNScgHI4/AUk808zMI8xb8bQEwO+DipcQNIxjDgyZVC/AwMZJ&#10;Xpzg8imXQdsEBVDoBwDtUds+lDvoggoy333/AE/UiikYQ+UzfuwuyJWUYBYgM/P0zURiZQgXLLki&#10;MMQCg4Gd30FOPzxNBsDBVLrInCkc55/MUecrqS7bptwRxtwAoGNoHTvQ2pO/UIqLj72i1JlBV08w&#10;SEMvG75UjQ8Dkdzye1a1s8MrshCRM0G5GERIjXcMA4zgfzzWIgMsjAyokbDzGxyFUHgEdPyq1DJL&#10;EM53RbSJgqhd3II2tx39abtbkexCulodfATHIryuIhJAEMrK3lRQLuI4+8Cxzj69s1bh8uJolhuR&#10;bs04kUXDEGCFlUZ8z/aAJK9q52GZixWV15Kzys6kyjGdiZ6dMcEmtmB1vVu5Jl8wLh7kou6VsBQI&#10;wDwR9KpNo0i05Jrc3o7qWWYHS4ZTPIEgsoLePf5m1gZJihwCWIJyP/16Ecl0fnEc09rFdowQL5cV&#10;zdbSqOTyQFJcYJwfWs1EkkMVuhS0mwZrgom61sYRtwoI+YMRV4v9n+eB5LYXUS29sDcnMcOHEs2M&#10;jduYgAYyMHuBTV479dvUr41KcdjSWMTrdBi/9n27A3m5Y1ury4I4jXj5l3Bjke9W45pT5sc8AsZp&#10;iy6jLbxGKNbdR8saEjducqeD3I6c4x0Ib7LLBh44H8nTrS4kllkuJipzO4IyMHLAj5eQPWrDuRdI&#10;L+4SVVLTySIBI95O+Aqu+05C8kn3p295K2mxcJLm0Vl3/DY3Y7rUXeAWpitbtpzb2AB2JYQLtZmc&#10;YBQnfneSAcH61oyxJcmCyij8qG03QaT5aIZLu4O3fPc9pIlAJDLz8y8Y3EZCWkFu0st5qf2mLyll&#10;1O4gJlkdGKEW1uzIOfnYEHqF61cJsytsY0MDT/6HYNaRPDHp9nnMkjJjd5hRsbhkHL8HKsBK9uYJ&#10;J6u/b5o0FjUWoMTyXVvZXC2tpIpE0Oo3kzKGZxsbcqg9VyevPIBrTGaC2urK4eI21lfNcSbB+9vr&#10;qTygozgFlQbOnIz2zirBvBHaRpYu9jd3yNb2cLWuILCGJSpuGQrlZXGWEx4/UmlYWUkttE1vekEv&#10;LDp8Zl8qINwZLpnP3SxjPHQhAecVMk4u0tv+GOicryjK27/pEl+zRW0dvLbySSxyJeazPtQ/ap5A&#10;ot7NGBOxQrnIOPmLZxgAraXqtcTXGpSxPFBcie+jA8lZCSWjtFwPmw4HToEJ6AkEYmWICOVbpEuS&#10;0DTzGP7ZeuF+YgnkRFyeeDnqc8tayS1gjW1kiumt5xBbtgkXd2+CZCDklEXcqtwBgZxkmlJNys9j&#10;JpKKbautPuNcwRbJIbyS3gBdLvU3t9swcoCVtY5BwN5OD2OOny8Maa9n1G7vb+5SOJrf7ZcOiGcx&#10;yMD9mtAMADkYIHIyOpGKz0kCxRwmxNyLe7VEVpfI/tK7feztxyUQDPoc8U9VinlRhJItyL1jIFZm&#10;S+vZXCl2x8pWPLEluODk8jF3jBaroyrVH78ttPzNR5IdPmQPCl/e20u5JZbdXtr2/JJfgkbhCSVA&#10;PB2nO4NzmqgupooneIbLgiKWVgIby8kyjPNKAPlRMcZ2gIcHmmrttZrV7W8Z4p3dbe5eEsHDZM9x&#10;tzyGBcDnnOPYWLa8aXH2KDzYZVMNjBNFse2i2v8AaLog5CjnAYjALAknFVJXjypakqMYStd6a2/U&#10;z5rUWdurR3kF8LW6ZrS3jP2cXEjfM9yxGDsDA7T/ALIHIzjKilnQzxz3t3PJHHIunRja8cksgMXm&#10;kMMqo3kqOTnB46DZmggkvJ7e1gmFpJERHK0ckps7SHCNIzg8NIwznucAHnmuJbGISJMjCa+RZJJH&#10;g8pbG2Qn5VBIKs2V6DA29aygraLqXUVWd2ktvw/pmPcPcwrZ3qTR3sdohWxiurdY3uZgvzSMseAw&#10;XJ5OMgciqSz3YFtNaiC9RJTE5j3QpLNJlnfB5wu7HT0rqLtMiSNYrKzEunJPDmMl7O0xwsTD5d0r&#10;AFs/eJJHty8bugaJBBayMNivJH5ht7bJUv04ZgDgj5vzFNu0n6kwcVSUklbZ/cUJriONo5JYwv2a&#10;4K26CdZxqEgJUlk28rwvOe/vVKW5WIEXAd288XOqgkBbsElooc8HIAznn8K2bh0E9vLDDEjpF5Vq&#10;JEDvBBncZpfRm5x14H4VlubG8bcsc7JGxWxhWEE3sxGGnYg9B1H+6PeiLbvLrqTLVxlfyOeuZM3U&#10;j3EGWuAskhdNpt4sZQAduMY4ziqdysUrq2yKB5VEdrGxMRRcgbmB6HGfzrVZRFMwfZdLFOqzPGxx&#10;M+OEX1C8kjoecZrNukjDsJmaWQfPPKqZEWQMRL06HjH1xUtJpOPX8gkny36vUwLs2/myKiFYo/lj&#10;BXi4Jz8/TpwPT6VlzwlFwJA6hQ7jO07j0BHfrW5dRSjbKyHzMFYFR97wjjJYnkA4rGlWMlVKsTtI&#10;wc/Ocn5iPb+lQ1b5GLabS6r/AIBnTxEgpkMdu6R+uMZ4/Ws543PynpuKruGCoHfFacnlhHQsZPm+&#10;8uQXbPI5/GqDRqFYA4ZWAcsCCABkAH8R+VNX19QejTWun6mY6nJ2ptUdOM5z3/lUTrj5QSRtBZR0&#10;B6j+tW3VsshJL4OedwUegqswXHGewXcSMnv7d6btHVHO+ZadSIjKjdn0PGSOTTcZGMk55UZxn1NT&#10;SMDkYHBbOMkrjGMH86gKgdSxbHGD2z7d6mVmjSUYuXLEYNuCQcj7p3diD3oOCAQQMHOQMj/P+NLl&#10;QOMDA3cHjFJgADuScgA9ef6e1aaMmTV9RN3D55GMdOR/k0gOSpAywPBAx3HJ/PNLyD2OFOOCOcnp&#10;+dICFfIBxjDA/wCfepSTY276S2X/AADSsrx4Jy/mEljtwVyGwQTmvctD1l5NOniDx+WbiCOSeXCs&#10;qMCrBW5bAO3gc18+JwcgkZYkEnOMc123h7UGhgeBJEV5XBcOwKsFPv7mtIyaehnqmmfT8twZ5rjP&#10;myGbxFAkk0d27rKwWTZGoAXIYH1wQrZ+8AO9sdPe6McotpBYy+JZtOjmurF7bS1nniOTE27LYCMR&#10;kA4YcAZx43Y6r5kGpW6yxS2cslvP5p3PcQzn7pQ9CQxJAJxxz6V6DbpPDqMCyEeZY+LbfbbM6Okj&#10;TKSwk3E7RJtUYHzE45xjNKKaipf1sd1OfxST0/4fY6Gzt3vrCwtTdw2xvPCl5aQiPbGZ1sbidZUl&#10;JYkOGUnLcbVGSS3NlbiHMC2MCGK1vdO1drhY4b22Xzo1hYlGUswfe6r13ggHcM5yba+imljSZBDa&#10;W/iPUdOgZWjWcLLGssMRfaAyqXHIJAHOMgVqW2o3ctkDY6fcWcen+HLJtTxNITqKwagqvcqFCYB3&#10;ou1yeU46mrglKPMt7X9C3L3ZX0aT0+aWv3GgyabJZ6fo0WjTXd/FZ6ppeoSSNFc+ZIJxJE0a7FCx&#10;7oYC655G/HJIqssVzY3Flq2q2si3k91Y6pp1q1u+/VYBG8DgW4TJVZo2U5OGMTZ6HNkBrLUL1jdy&#10;LNNr8scTSPJArLe2vmRXKBX3nOEwzDDeXwMHhl6YJtN0nzpZGuNL8PyyyXMi3CzTTR3UkotkcyEh&#10;AxnOByQQTw3GcVFLmW6X56msHUqrleun9IrSKs+nW0a/LcrFqujut0WlW3gVRJEEhCbQVDMYyDgM&#10;xwCCDVWcySNc32q3ckUsXhuyvrIK07R3BjmMIhRQqrtHlbWbrndyOVFqO9VNSe8Cyjzdes9UkEEK&#10;unkXESb0RmfrmUR8/wB1gAcc599a/aNK0+3zOJrdNQ0Rre6SeRY1gPnRFhuJHzN0HzMX696Itt3k&#10;v6sRy3jan/W2n4G0BLc30tzZWFxa2lh4ps9TkEK3ErLa3tngxxSOx3BG27W4AORzgYqfYrm8NpYp&#10;CjxWMuq6VHcnzTMyRr56oF3EYCncX6ne/TPNG/njurKe9vbGxsLOHS9K3rYSoIx5gMUW9JJmLyEK&#10;DlQFHPJ6CC1glkuYhGojtB4mvLdZ22K8stxZzGMyuqvtONpKg4CqoBbcqs3GLk4vQmE5+ys+lvkn&#10;/wAOJayk6dEIRarNqFhpl/ZRghGuPKuSIsbtzBgFcqygj5c8lTWpbJZ218sYsjPe3Gv32l4N75sj&#10;tNDGyrxCqsymQlienlsMMzlxShLQWFo81oyyXfhfbp8rySxTK9vKCHVUC7VOTxjJLYAAHFlrq7i1&#10;qTWZLcrNNNp2t2kay3LCEjZbq6oGA5CbOThepOeiUUpct/6uVectHuvy6I0bv93phhfT2W9bwel9&#10;qFskkiWyXNtdqN0Q27i6+TE5I+95vXAYNb02zvZ9VmmvNPvrNIfEulT3dvbrNcfZIJYpEnuHTfgp&#10;tePLD7u44GWJalYSaY2q3Ml0dRkhn/tnS5Yg2wweYktxao+GJcNJFGTHnPyjPA+WKYWaWUV7qsdw&#10;8d5pWm6s8iCJZDJbXIjdWYk7UAQ8sp2kgLyCQqUtY3e5NTlinG13e36K5rWluun3NpDbIDbRXms+&#10;HbWG9hZ7d47hZBGMCXc8gaRxk/OfPDZxiqNrNp9x4duHk09Lk3Pw7JsTNJGbxG0+cfNLksoGyHkk&#10;bAp4+faV0dTu7F9cZXEOn6Ja+Ohe7ybVpkhu4kLCKIBmcs0fygDd/rAfvFaydNUXFzp1rcXaWscF&#10;vq2jq2oqsETKIpjC8jRwjJ3HsGUkgbcBiaipRvF+f4L/AIJfPGUvdeuj16f1Y2hfXFtqVsyahGtv&#10;Y+JtD1V47R7e4mSGeLMjbkjJKp5SA4OPmOTkDFKxNjY3jmKF7i6fXdf09rdruXJhuGWS2RVULtAZ&#10;cgfKGDYAAJFNi1BpIbzULhJJZ9R8E6e9teTLc3EsxsZ4YXQ/MDEqYQgdWQkNxndckkMutWlnaNGY&#10;U8a2t5HqV1mNQbm1VmUFn+eLh9u9WO7OAMBjLbg1/Xl+gpKEpKMPiSX5f5s5mGWaXT47i9ubiN7r&#10;R7DU7mCRri0juHt9RSGHegKgnaiYRsrjIODgV2gSaG41C5htwYP7U1XQFa8GQf7RsvN3NGJjtGFX&#10;aDlgdwHG6uUsPs09g6wRC5e/8Pajp6Jbuke2Syuluo2JCFQFCEcMQpAxyed6eS1spJcSbUudQ0fx&#10;LLYCeKJCjrJC7s5XOMvIvy/MfNIz0Ick5e9Hf+v8hQjKMEt1/SMyG0F5aaS9y/2O6fw6ba7W6RIr&#10;Vrq0upPKkIRxkMNzYB4ZtzEnduZBqHnXbXaXF1b2b+KdP1pZFt4j5Czo0M5jAYLl1LbRgA7hgHBI&#10;0bxFnuWtbGynuId2saNbu0KCeXZl1kWbyQUEchz8qpxz3XbWf7TaRsIkkihsPDtjfm18t3Mk1tJt&#10;nlMhQHBYSuox325GM009Pe/rqZOm5Rslf+rf8OWoxZxxSRiG4t/PtNb0eaJkjvFuE3GaAGMyBd3M&#10;ZLAhR5jc5AUUrmS2dRuguZLd9F03UfIklt7mTz45BEXuGRPlZgwxjld2AOONezOpahr9xHaaxNJa&#10;P4pnnnu47aRrcR3NuyySFfLIClxGoRRkAqAOAay7hWstEtYZ7m4um1LwpI5mhluYo7OSxu7iYQyR&#10;fxMQUIGPmEq9PmFNNNJv+v8AhzamuZ8sHpo7+d0v0OgkS3m1xdOhtYWs7fXdR0yK0uPInMa3SM9o&#10;25oMORgSdAOWPHBGI32Q2MZuHl89tJSOEutu11A1tdFQ7sECsArdhhWkOMFiDoW8cs2tXGotd/Y7&#10;pdb0jUkS5Fwnmx3UCMWYjBJ5CLjjIUblxmnIvmXqaeAbmX/iaaesaGSO28yQMisXLKVYNtdcc75P&#10;lx1Ca15r9PyItKStJ9d/8yCO8lg1ttTgtZYZE8RRRGeeKL7SF1C18zEZZW+Z3Mbcg7llHsKqAGw0&#10;e5id9PuZtX8LpYTg3EdzFAmmaikrSAsmxt0Y2EZxlkwSelKG9uGjstRlkSJ1/s/UI4RcMYZJIJBt&#10;Zk3YwpL4bGSGOc8ATm2kD75UvBayJqtioeY5hN6Z7l1WMSYVnG7AHJD5AFOL15UJU3OlzS6aHSbD&#10;Bqd1L9ot5rf/AISdQksyrNLeNqNn5crpHsOUPygjAyqrkg4UZCw3LW1rBFNPbtF4b1PTZGiaOMOt&#10;pPI2xcx4YMrSKxxtwCAOgqBRNZK1yJJp72ax0+8a0Z53SwdZ0wpRJFJ4gdGTcRtfBOSDXRR2At7O&#10;31C7+021qvj240q5nsFfesd9FJJHFkEsvCN82OdpAGcEZWs7Lf8A4ZGjcqiimtl8u7/TQgt7c6lN&#10;c3o1mwhsrbTtP1eSYLHFuZFMDRq7RBjMcRk7DlhNjeRuFE1nFd2VnY24tJbWG11a1jv43iuLe6lR&#10;2uEAYRq6qSpUx7gpYgtkhcZUd016Lq3isne5h8Ly2t1ayNdTw4tZg7PhW5KhUGO4TPrXQ51CS7lj&#10;hVEgn8R2V7KWV4oYory1ki8iPIwxfexUbsKWXglgavkXK7dtPW44TUZavb5dv+Ac7BLcX722lWFn&#10;9msry+0jVcuYomAdHtzJJPlGXdvc5Bz83ygHLDVn1K1iiu9Dnn1CXTbTQ59GtTZxkx3dxaTTNA6L&#10;52xFZtm9iQxTIONvL9Gs9S8Q3Ok6Np80cepvp8unme4meG0aWwvpJRG87jaAqqcyZBUK3OBuqvqz&#10;W0N4miQJJPYQavdvbXbl4PtEV1Gu13ATfIIz8nlk7RjJ+Y4Ktd8i3/r8RuMJTi4S69Omit8riRxB&#10;L2Kb93eyR67b7r2dncSLe2kqO0C+Yd4DxpvkwMZAwGIBmuLe7uLBL2aNlgs9LtLwylpblmeC/eLZ&#10;MVQNHyCuDtG1OMZBbNW7laF4vMsw08tjHAFht7SPbHMUO8lP4lkYEqVbcBjvUmsrahWgt4YYlWK9&#10;tGt7YRR2UYguPtNu7EMox85JRgCWPzHIZStIpdhVlf3aj2t89my/FBLJaXyR3kSubq+Ek0SSyNdC&#10;KUXEaKzqY1jIjAHQEkEEnkaK2815bXClBJBazvG8iMsxG+33ogIRCSWxuH15I21mWhjV7EX8p+xT&#10;ai8ZtReIbu5862/deZGJDsUYDYZQTlscjjRF+0dpYW1/cXKWz3Fml1ItxIFRhI1sWNsp/eOBNISQ&#10;CQGxkcGrkofYfYTlyK6f9P8ArQXTpGW0ZYoIZrIytdJbSk+Xb+dbQu8rOp5HCKCepGBk5IsWyzXi&#10;CW3eHTLOO3M4d4FKRjcjqQzAnGDnGCSBkkDNQTW73uTaNGtrbtJPc+dGU3pa3T27STsFy3HRW6Ki&#10;8ZAxNKLIWRtpLl4ri5VWiECebDdfN5L7gCeANuVxswQSeMHNx52+ruXRbbcZW5bdfVXPun/gnz+0&#10;dqv7K37Uvwh+OKE6ha+BvFsd/wCIYYZXt38RaXck2eq2iorKQTbS3GxcA70QnOBX+o/4d1vQvGeg&#10;eHvGfhq/TUvD3jHQ7bxHod9BtdtTtp4Ent7lMxFvtEMRVQofLoGLZKiv8i7QbmWeRluVENxBua5Z&#10;nCteZCsNvlkbSQ5wV2EcAHiv9GT/AIIYftRr+0f+wr4U8Nassk/jb9nvb8MvEsFuVN1q9iokutDv&#10;bc/KI3SF5Lfry1pIc8rjor03iMC42vKm7/KX+Tt95mpqhiY1Yv3Z+7bzWq/D5adD9dZVjQxLbu0L&#10;I4MZtkV7aDz3IJ+/j7HdkbQoGEb5hghSvHaxpccyyW89rPKJYvs5iuH8u9kiUqV0+WQIFEkRdntp&#10;ckN5ZG7BJX0dxK6M2YpUbKlo5AbeWSRigypkcG3uNxUDH7tg7HqSMKTT45AgS0YboUt5YZJnj1Bo&#10;o3L+Qrog/f2hT9wzM29A2G+8x+Xr09FJf1/X9dj6DDYjlaf9f1/w/m/mrxNpEhlTUIJkupBCb9dS&#10;t4v7RF55TSI9yYXWRA8Yj8u5hbOQrEh8vXzf4htLmH7QogSJVmZkzGqvGOQqDPP3i7KRkjcVJPf7&#10;m1zTHvbeZPtEru8R1CSeG1F4zoSqjV7RFLsAABHdwgbiWzjIUnwnxV4dP2Fri5gtoRFCbeO23tFF&#10;E8gR/K8whGMEufMhlABHyjA42+ZXpyveOj8z6TC14yS1tY+UpvtcLhPMMttdhJT5g2IDgncVGcY3&#10;MuD0ZmHrRHKDbyB1J2TKWCrh0AH3hjjvtOQBknk8iul1HT4rSdyJ7a4t/keOXy2LTEqNzkEcsGID&#10;543NkcHjFaMyP5jSlArYuG3lhhQVZ2A+9gbeSM8g46A88bKzkekl7q+86HR7yV44beEQ+YEHkhpP&#10;LeNQAQB1UFSFKk5I5IAxXqGheIb7zI43ujaMWZo/OvpGtgbkjzgFUgeVcLGqPhSBhTk7QD4xZyJb&#10;yD7PB5lxKPJWMncSCu/auM5LHbtPTPGcAY1tNugku6eMSPCAqLDNujUuSNjAjGx9qLnPBXrnANxq&#10;NadTlqwjJKX9dj6/8L3UDvNaxQS6gsls1tJbtJI1xrMMCrJFHbHaxjvbUjMUhYFkRByQCfbdK1GK&#10;5shcSXWZTFHrI1uzj8uG+BCRx6mYlZQCgIjuouAQ2cY4Hxv4c8QiJpIfOkiw/mebCEW6tRGcpLCS&#10;jFZIpM5GVLJuBIBr6K8OeIpfJW/lkg8+5C39/H52bS0ubgLGt6sbFVFpdb1SZQCELq5AAfHq4eto&#10;nJnz+Pwt3zRX9f1/T0PaIFbzCk9uXjlLWP2eRHuLe1e4CO9vuVDm1n4dJmx5ZAQ4/wBWNiKSJEZm&#10;Wdw4SVpruEpJINvkvJIpRQCAu2VQB8m1hya4awe3WKCKzti9uxfT4LDVo2hkTLb59IuSVZQBuL2z&#10;FjkrtDFfv9NFcSS7HieJS670a5IN3OIl2+cygKfMRh5dyvPyKuCDgV6lOXkfOVaLT12/r+v89zpo&#10;3ibKuNhVyScMiHjDBiMBuOQW/gCn1IvImZPmAYMTIAF3A42hTuxj0PPPAx04wLW4KpCHWJpDcAeV&#10;JcrPdWssihpIgzN8zBXZosdYhgcYzpwTLIsLRz2bsEjbzLWRZAwba+EGDhGCHBycquRyNw64S6Hl&#10;zhrZF/eB5g2mVhgmIcths4OOmOozwOG7g0isDuKqzIPmDEZIyvXHHG3HIJOWPSkAxtZnTYqkFcFi&#10;5yPLbd243cc5L9fVSfLG92jCjcRJkgk45GzHQY6A9FHWtTAoPbgiR4nuXL3C783842kMwKgLIMBd&#10;xJVeGAxjoRSmtVUSRK16wMHks8fnyuBHl1CM7MBIjSl1fHz4VOdoxtSZDdFZhKGIMjKqgkgeuenH&#10;HUHnmqE8YdWwEO7ci7GUKWTO1S4Q7drAuD/DIe/fKas7o3pyezMoptG+ZIGHlSlGuEBTDsC5f90C&#10;sMn7uSbB/dyADBUcsut0iyQQTGJ43CDyJ2e8gaJA4YxKW3yxZQlMFZVZQcjAE6FiY4xMm1YJHMks&#10;xDqyEgTTICnyE/LMgHEhHAGTUcqNIQmHj2LGkZaQ3d4TDucJuy26SI5lGcmQMQQcMawno9DqjuVz&#10;5ceyVigtyhmuLkRI8MKSkSNIpMYBgmw5myfkLLggDcJAQ0YjMlxvScx/Zzchbn5QJlhZkdi7BVMq&#10;HHzRgK3VtzFbyH2L9lsoIt7qxj2xRMzBjOEAjBhlDnzQT8srdeN1SIAytAYZQI28uS2dvNa2yFl8&#10;ncNx3AHfEw+UgqnGFqbWRrHz/r+v684R5vmhEWJZV/0kyC2kCvvbatzGFRdxZiBcRFhtGOmQXFuc&#10;7BC3lyxzPZtaSTlfnfEjW2fO+UyArJA4GEQADAIBaB9nMskgjiRZWvGnYiKOEEj/AErBCAKyk/aV&#10;4wxJGM5pxcjbGY4XUqbU25uyTcHbvNspMuDIQPNiduiErhMk0aPYfS39f1/WgjSpMUuIppWgfyrj&#10;7VDD5jFThBKAYWHzFfJmRSNqfP8AJuyBSoiESwNDPIHtp7cFxs+dmkgVyycPuY27HAXJIAGVEzj/&#10;AJb7Igz4uVuXhkDR+YAiTbTD8u8KEmTgRqNxI5JRRHErw4VDvMIiVkgmQqQVtFIdCGIJeBx0Udur&#10;JLoKLXXy/r+vwDzJApdLyKYKiujBVXyZA7oJXLTEhTjyXU8llY8Zaq5SMQsmwi3gUK0QSKSS1SJl&#10;ZlJ2vuktWXzI/wC9nvjdV7Pmu0cm5goSQyF1S3kR1YK5BZsRygGIqVyrKzADhjXkG2MuJbyMBUWG&#10;XymaW12NIm/b5RG9STG4O4GIbjxnKfQ0jZuyKE0Ewj3LbwS3GxxkxLDFM8iBpE3CAkR3AzIx5xKM&#10;c4rBupFSGRwzoihHF95cr3EESs32a5mDAHzIZIVjm77AAeK6a5DP+6aFod8TxsltHJ5g27jMkZ8j&#10;GULCSHnLkkgYBzzl+H+4FgNwAFWSdGFq8rLwfug+XdI0inOB5yHrjJ463WT3PQw7TSX9f1+vdnIa&#10;3Nch3jWEuI5nhmtBHJb+ad0nnwxMZCULCF54z2Rj8xzgeWarqErzyJJJDJLHNgkbmE7TyCNLgL5u&#10;ESZERGUYw0Y3HgGvRdYu7eK0LJcBViMYYti4ktI1dI42KtNnfDLvSUkbiOMYUV5Tqd4SBCzkiFmd&#10;7VSq24kDBbiH5ZWKiYhZo8DgYX+EbuKd1qj2qKtuv+HKtoYpZAjAkOSHWY7ogAxx8zSE5iwU5BLC&#10;QZxtq7dwuk0ZQYNnMFXBOEZGY5HY87gc8HcBz2oaPIrzW46r5g/esN2CPkDnG75SCQQe6HggAntZ&#10;rJWt0kMSow3KAG8yRiMsCVJOOinHT5SeoNeXi5W96K2O6mrvlZ6HphDrG5OGlQOhRizEAMDwCCSD&#10;sOepHeuq0WOSPVIHjj3MyhvLZxEShHzbW4ztyT+WK4nw4wksbXaR8jGEBmLMvzqASe/AB+gr0HRl&#10;DalGfNEEhhKwyBAFD5ViD0yWAYH+8R16ivWwzU3CS62PGxjcIVIvpc74xqMKNxVGIBbLk9+pyfTq&#10;f4RipAc/MCSyKcgHAbPQkfgMdx680yOWO5BaNg6xyvBJsOVUoxDZ9wVI+v0qVUKbsEYJG0gM64wM&#10;/TP4+tenBNT5oPRnybaSs9yCQCRpQFSUiBgVk3RRzMwRgCecZCjDc7abCr7yu55sHyl81T5koVWY&#10;JOQCAQTkSAcggEZ5aYIixfLH5Yx8kSLgqqkLll7jG3I6ge+BR+8YRsAsZLspKN5jJg8EgffjbC5H&#10;BUN2/h9ClFxjqc05JvQmQo5O4bn3NgbBlQSDhhgEbvkJBGdxz2BpjQNuJDsUcv5rElmTKhVaJTuX&#10;5Qu3aAAdxbk/eUqTHteVlIZQJM7+N25SCchsErjrjgEnnMgT92qKI48MWI8vGcncxUA/eyfvHvk4&#10;OedDMzVBE8vms8U8cpmtZoQubxDGoYbAf3ioTwCMgKnU9dNdvGMcbduCSgBAA2nHI5xn9fSjd28b&#10;Lb+YZYtl6s8M0EhSSJgDlsHGFZdysoBGGJIAyatQuSXBCqY3KSP5nycLyUGSVHB+U4xn60kN9x3l&#10;5yANgdBvMb7VGSB1AByAuARjp14FJcJbvGxnV2jQBy4B25zgEY5G0/NkY28NkdalLD7jEGRVB2qS&#10;eWDAA+nIPXHQd+KfvPULkuCVPUDkDn88/Qe1MRDOD5ZZULSD5TtChiOuBn5TnjAPc9u1IyqeDhg+&#10;6PeJNyufulBn5c7yyhD02np0NqSIOHhleORJ4zGsbriIMCSOOvQ9M/wZGMHFBU2AieKMSGPZOiF7&#10;jzFX5R8+AZMbSMFSw8zjr82c11NqTV7MeWYMo3FGbc6bldl3Ywg2jG5fvsUJJGB25DQrAB13Kuw/&#10;Z/NcJMVA8tFZsFu5YPuyPM5XtTY3lJQt5TFyk0qxkXIiz6sCpKkrhJNuQEyw64dGUU7WkZCVUKzu&#10;qtLIVZiBGhH7zG5mXBDcEdOMzTS+gxyu51Yyb7gHPmQ/6LHy+/O88ghcsityqblAySXZLqq4eSHa&#10;Dbzj9+/OVySQwOUPDkkkOQcHBJJkKZI4AZEjYokGVaXAKxqGZowCcoAScAF13DOaJJHYkGFnAYOT&#10;86xKMuytuYKN3y/dDZRhH2O4A+o/d5jLGnlxP53SaIOyqpfbs2uCN21mU8/KCCM5AUkbYwFk8vGA&#10;hgLbRt+6Pk4AyDk5zlgRngRrMzAgyQSKz+WoDmIJlgNjkM2XBOCcdWA7mn+dBtaRIgJGV3Um1ZNw&#10;BYcsVHJDdCRgtjvkgaoRZIZCHE0TiVGRsnPmgDcGjO7AG1i3AyVYHPFTBn++UkZ9rAAJtKjPy4GC&#10;QTwDzj5QQPWk1y5kQJb3V0ZkyHhaEW6YdQsgV5cjaAXGBggEcttFW/OlZSvkmNyw8v5y4B6ZbaD2&#10;IyCenPXOANXqTITyoyjvGJCASQT93JYAZ7c8dPyXdhEVVIGzK/KSBgADP6c5pM/vMiNdp4ZmcoxH&#10;UYG05PQckdDjHOUVBnJiSNnYhmRtwcjO0McAtgE9enP1oEt7saVhBYBQ0qneT5fmMD944z2zJnjp&#10;mlZFZ9mxCF+dQwyCdx3cZ/I88nNKFby9xeUlouFLhSCcng9c8n24wAopxAweMDaE5JKnnj6jn9e9&#10;DHHYqs5UOQ0jbT8ibePm4xhUyBlc7ue/OKcxUsCHXkBV52ggc4GeuCBz71KxYKN7DIUAyMQEZvz9&#10;RgdOv1prKkpaORVKdDlfkzjOB/U+p4o63ZcXZ3IVU4O4ANnLgICZDgcZwMHjqe1V51BT51xsXJXp&#10;xkgAEY6DJ7n8qslxkjA343bTnaSQFxnvywzgfxD1qGZFK42sShO3JbaByBjsTj1zz+FZSXMdNN2m&#10;rnI6vEvlOWVyCDiONGycgnAA64689fwJr4q+MunmSxu2BLB433nlNvykEfQknBHUnr0r7h1DcAUL&#10;kJGwZNhChMYG4DrwM89O3GQK+WPippayWNyInGRavtQgADCjHzZJ4AyehHzZ6ZriqWdz3sM24ps/&#10;nr+P9hb2+p30W+WW4YsyIQAgzxuGOn8ZPHbjI6fkr8WNDKSXKeX5URUjejM7EtkFgSfvY78cjsK/&#10;dX9ojw5BFNeFRbtKyt91ASpGWUKMjBJ4xz+fFfjv8YtMlYTBtoijmKPhTgk7sYJHTjHJP5A1y1HJ&#10;RSjoz2cPKMoSe7sflD42smhml27mxLlWQZZWBxuJz6c8evtXzvrKfvpMRkpHzvMeAvAAIPtx1znB&#10;PNfY/wARdF2O0m/a4kbGUDA8Z3Egkd2x67T9K+TdUsGS8fc+9GJGCCyDb3zzwM54HasFFT27/wCQ&#10;lGNW0G7dU/useYXYcybySoJwsoO0gsDyDz3C8AY/nXifjyxkkRbhC7bJfLUMQsY6EBeM8nAyOmwj&#10;6e8zWqu8gYBTBcOysmVVQW4UZzwBgZzjivPPGunJNp1wocqiRtKNoJbCdFz+ldmHnatGSX/DaHmY&#10;yinRlGP9M+X5oWi+V1GGXcS4wFbPY/nzV7SmdpoUMYbcGNvbgiNJgAcu55yPvdux9arXMZSQKzBx&#10;kqxIADc9OeRk4/OmadvNyBudURQG8sFn2ZYhRnnB5zXvq3MuU+YlzqHK7pr/AIB7HpM09/EI7ffc&#10;6hChVppIXXS9IjXaEMT4OSWZ/lOD7tyK6qze3ha8eLVZ4kAMesa/Mc3t4m4H7PaIcud3C5BwQFzs&#10;XIPLaVO9xaQOfNuHW48vSPDtg3k/aZEjUCeZ07Avt5+bg4HQnQtZbkXcpezsZ9Rgi32kkUom0nR8&#10;FkLy+r5cNjcVGwdScHdcq0l6FRnOOkVvf5/1qdBq0dwLG2jbR00XTLxG+x2VrOZ9S1ZgQFkuHAJy&#10;SF3ADC5HH8TZlsGimjjtoUN0xMg0xZHisNHjCqHkmm4DP8u4g4POCwAANmO4c3MV3ZahLHBbxmO8&#10;1i6iWWW5nBUhbWNgRyOWIGByCOatwTWFyHtNVV1tMPPbafaW6HWNZlZRgSyZPlwjAB6k+YOBngXv&#10;R5VG9ikoL94ttV8zVtbcS6bJdWokltHiJvtXeP8A0nWiVKmGFgcBdzDlc8LnpWkl1qMd80JltY7i&#10;1s0mK2MeYtKi+QEcH/Wk7snvjg1m27ys6KI7KWdEy95JNs0vw2mMKo4HmygbclerH7pPNbNrdWdj&#10;DbsN05uJHjthMGh/tSZSxEsowG8sFjt6bcevJcbp2tv/AFYqMn7znt0NeK+iZILqKBozLCILNJ48&#10;XMZEjBrmXJPXk577QOe3K3Ae4mW1jV5rPLnTopBtkmkY5e4mOeAcDAx3AzxitD7PuuTFDetczJdD&#10;+1bry96SMgH7qI9MfNt4IGfQdbN9pJN1dmUSwtbAvqE6klrRHUqsSAdWbftPuf4QGNVK0YcrWxNr&#10;xSau15nO6cLu2nubiWcW2nyRrZT3zZW6u2wV8q3BOTu3449RkgcUw6YI7q2QWl1dXExLwaajLCsK&#10;4yjXEnb7o68/QYI15Ve4eNZoEiuoUDWLMpWDSoEUfvpSeN5ByMjsazvs4aOJXvLgaVdFndo2I1TW&#10;mJGdnHygnIGff3qIycVdbMi/NJt6f1+pnBYY7ye1N/GptW/0rUoWFx9jIHMcBzywYqNy5IwSMEAi&#10;IRyR26zSxTWmnvIVsIHjK3V+cYDsR8pxx3I+YYJPNJeTxtqBgjtbSzuIYS8NioJj0xFdS0spz87E&#10;fLySTz6ACzcqYPtFwt19oW4jD32q3MBQY+4sVsp+YHBHOBgsuMU4PRPqv6/McpybVOK3e5W0mORZ&#10;jM0kEl7Am5iQstro8ZDhtysMFsFuvI445BDNQghjxdr9qNrHJ5DJJlbq/kAwBhiWAA6kjvznJqvZ&#10;6iI0jtLOBJFe6/0bSow0bXwLbjNcMOTksvy5OM9OMG4JVuZwbuaKVi7pPfD/AFGnEKCscaLxkkBV&#10;C/3h6ZpNae7r/wAEtTXLpotVfr0Kd9LvSDztr3CQBY7SOIJDZjaPmkBHzHjktnqfpTEmW3thKLhJ&#10;LRSrXF4I286dgADFGByQefTOD7CtGWOG5s413bI4yJLS03N9t1cHaQ0oHRF2g7W/vcE4NUHXfvmI&#10;QT2sCvJIfk0/T1GCigngsATnHAORnOat2V21szOlCabqp9P+CM/dzrYSjT3UCVZ7DSBlFlzg+bOg&#10;OMdznHQe1ZF3aTX1ze300rzeVGZdQuoQY4ozyI7e1TAzu24BA7dOKmczESva3ZWG5J+0atdI32q/&#10;6KIYAex24GB78DJqykl5bXNtEYQ4haP7Lpe3aEJDt5tw2c/MSox1wx5GFBT5Yyfbf8hU1JTvq7X1&#10;8zHktdPCwW8dldF0lBht0P72/nxKxluXJ+WNAVUYHJx07VrmB2KyzSPM6R7JL5R5NlbMpJdLc5OQ&#10;u3G4E57etajwwnUbjffM1uDv1zV0I3zHJUwWpyAS/wAuMYBGMcVR1RYb64YRxTxNb4gsbNmWKC0h&#10;VQyO2MAsQHycDGR6Zo5VLXsiW+aMml7zMnykvXWCyXzIUkR4rSNCz3TDdiSZuwB6DtluvUz/AGeS&#10;C5U+cn26N1M1wsgOn6SikkKj7tobJJPXkexxXsXFlb38TzeTBJIsdxI243N0275Y4iOcEt9OAOci&#10;mpd+ddvaRWxaJZmFvpHKx/xFTO/UkkjOecdCM1D2u1oOblK1GOr6/Kxv25trm2FwLqW0hWLy38oA&#10;XuqHGG57Bst04G4A5GRS6Wc3P2FoY0uGiLRafIxjht1ULsWUA5Z8FicnIqpGbmAFrN7GW6K+df6l&#10;BgWmnFQcpD0XjI5A6gY96zu9pEXnLSQ3IBFuwLXd9kFWdnHRc5A7/KR64cVGLs36FQaj7q1tfTvs&#10;ZepOizXkM7Tv+6EcbscecchQQD0GenbH4Vz0EI+0eQsbqFd1JLYZiASRj8/1zjitW4kuNUup7t3R&#10;ndTM0WwKsY3H5F44AyOnT8TilcGdAwSRIhNcuxjUD5BsJOGxk8AjJP8A9cVov+vI54OUZ+v9L5ks&#10;0is80RTesAjYO5C7lz0X1I4HHSst7yZZvNlCRRbHjQA5CnsB60Lb/aGMrSNNGDGJZ35VMA5Hqfu+&#10;/T3qzdIbm0Esnl5h3+WY1CoVVj8xHrjaf8ilBvn5ugnFzScv61M7+zi/zSzBZG5ZWQlgfeiomlmL&#10;E7V9DvyG449aKaqxSWn9aD5Kadne/wDwx4pEVmlVXjI+YzTNtAjRRwMn8xTme4YTqG2rKRI+/wC5&#10;tGdq84IHP5VHJOW8pSWa3ZwXwoYyHB2pkYPQc59KuT3Adg1yjSgFSzEKFUgYUKQO3TBrlaaukRGS&#10;a50tOvyKccpZ5SsbHemAwkBACnjPcfT3/KvebTvSTIlK+dKE4EY6KAw5HvnirMyZUqrB0A3O0PyM&#10;WP8ACXH4VC6sjrHKFZgokcuwV5CeACcHOMZx7mno3p/VjHVxUr6f8MItwnkbSJDKUBICbVRQSM56&#10;HOe9UpXj8oOgzLIx/dkYMSjHY8c/0q75qSxyruRQWUOxbaX43KNnIxnPI9azGzIxl2N5nlF5NoCi&#10;MdAMcGhS6MppcvMun/ABtrFf4FmH+rOB5eAP/r00XCxxvuUzF2wsZHESqOCD+FQTOZGjkd8krklm&#10;5CjjHt9KiYuIwVYFCRuO0cAdF9+mfekn0RTUpycutl+SFy24usrCMjJDMAWXsMfiP0pkyBUUlYz5&#10;j75McsP9nHb6j1qPzVnLAxBixLqGJVR36dqHlkVU2rG20kkSHlmI659v60JNWSDmipWkrr/IsRss&#10;cRG+R3J37TxCfRfXPt9as27szRI2FdRgLjJZzk9Oh5IqgrnzBvO4KuB8uMEA5Yjv9avwOqCPK7lY&#10;GMH7zLg8v6im3rYzTb0NdGKK+MsqSBn8v5g74x8y9cLmuisJPs6q8kYu7YTb3Xdt8yUc8kHOFIHy&#10;+1cw06yYjgUgRoUR2OGI6FiR0z71tWUWYzLA+yQKsaCRgPLTq7nsSe1VdrY0TvZROlhaMl5ZFA8k&#10;+fcShgsl42MrEp6MFPJHfH53bu4inkWW+2w3U2xroEMywQ7cpEqcEMBt6HvjHWues38wwxQxnzUR&#10;o7GFI1mWTcRumdSOvJwc+lWcJbXKxQzz3kHn5gYthppQPmYE9FBwOeMCqX7yVmyYuSjdOz2OlthA&#10;RFKC0OoXHy28SBxHpNuMfPu5Bd13HB6Hseht29hDNJbmzklltIC/2KG5haKWZgPmmdQDgdWz0wg7&#10;YrKidS4W9Nw8RmEl7NEm57wuPljA7gYOSo/i/PTS1vpp7kLbyWEkMBjuFLFI7OHcFEQzyGbIBByc&#10;sBySaSce/wDWhtFzV4T+0ar3vlhCbLzbCOcjyprNBDqlyNoO5UBVkXggrz8xPcYeTe2r3RmvgrvE&#10;JdVurItdeRAQClpAAMNyjMV4yVwDxmmafZh1ktrtYjcPC1vpsbF4LfSI9y7pm2qSr7WyGAwdo9AK&#10;fZyW1rFBZRJ59uJVkhtktzcS6rch22SOVJ3Ki9GTrvAweSKg3FW+ZclFxvrvr92hoLDeXLzLGwtL&#10;u6tlOqXJgKRabZICVhjkKjkhgCnX5gPUUy1hhu7hI7u4NjaXTiGS5WESf2Pp0Hl73Ee5d7AGZtq4&#10;bnA3MQAqt5dvJBJ9p+zzl5LuOM5uPEN0d5RSpHKRYVuMEFc56EMiS6MlxJfBisMxm1S2FwymchgI&#10;7KJzkqeCpZATznBxStzP5Gys1GMtbdfuK82oWs97L9nikWBmaz0a2mcutnAC3mXDgE5ZlUMSOjMe&#10;oWtKIQRJC1hdSySyKIrUK/zojIFnuGcjCgB2I4xgYGOtZD3Rje682Oe1a5USzTwN5v2K1BOy3U/3&#10;2OwFickL82SSR0Nst7FKba9tRYNe2ccmomKBDNY2bFZIohjChpE2ZweQ+PUU90tdV/wDNOEeZtaP&#10;bsiSwQyXDnSk+2XQhe00tIbdUjtlUqXueSoAADZPGBk8YrNuNQkJjma1jMU1qbHS2B2LIFPz3RjA&#10;BfJBO9jz26U2NHdpotkEQnVGYoGin0uwXcMKQ2VLkjOQx4GB2qe8S3vHt2nk+zQyACOJHVF06zXK&#10;hNoI+dvlO09TIx+sttpJajT1nTqS06dvX7i9NaG6tba7nltI4ZG/s1IcgyWUMYWSSfYAflYMRnHz&#10;HI7HGMZ2/dLKk1vFcIhUPIQtvawybwrfMSN7kZzyQpBBBq5OkSM8kzO0ktuJ7wNAIRBaKQyRluzy&#10;bojhDnk9iaqy2pe0uzNLNcTXTC9uyqiMRKrkWtrhidm8/Nx1EeP4chqbbb/q4py0ipbrQbNJOGuH&#10;vLmRXXabiOEuQ0YPmW9scHgZKnv1JwaqXQnFrJb3ds+/7Qt88xjZri4bBMVuMjmMfKSQMZzz8pFX&#10;XAtRIbxne5tpIr2WGKYXC3d3IVjhjJBBwq8ng8AjqasalbeXOJLfUJL25s9sU0k2YEur+dvNuMZ+&#10;ZliLKm7HJ6cHmW7OL8y6fKo8/WxzjJBFDN9p8yby3zcSGPYZ5WA2W67cghOWPGPvc9BVXbbXBkNx&#10;PNcRxNGQ8RL/AG2XcBHCCR8qISQcZxnpzVyW5ykcMFo900bvb27wyPsuLpsea43AjChhkdgwz1BJ&#10;PFLpsqx2oZ7eRRaW7tN/pDXW0G4dQoGNrZA7jb3OaV2nZ9RwdOKXMtt/P+rlNrBlN099cmO1XK6q&#10;8ZQuxYhYraPk4GcDnPA9jWaheGO5ZIYRdy2/l+duJ/saJWHQdN7cZznOT3rUnhSMRyQyi8/fhLOz&#10;iXeL/GTJcBhxtHynJz14xUd7HDDFJHFLm3gVZtWnV9yXMjfMIUOAxVSpBBxkjPYAPSLa6mCSlC/9&#10;X0/4ByswEwV12RQmIJZRRjBVcndLIWOckc4OeTxWPNsdoj5EyDBIBYkXsmQA3sORx/8AXroJ0tBO&#10;5kMcVxcRiWfyzuisIApKxjnqRj6e+ap3CtK6IxZJpyq2aFwotYOqluccg53e2fSlZXVtxJymnB7o&#10;5a9QrvVFdvnL3Mhk3K57oOnTuPY1nNGSz7jtBTJIkwYlyPlHH9a6u8jggLCBLh4Y3MNpNLGNt6+c&#10;GXd3UZ6df51g3EYiLZkaVVOZHVQ4mfsM9wCaiale1ifgg31stTnJVkEiKYhG5QPEN2PLHTcfrkmq&#10;M6lXK8gKxCZIw7e49uPatu4ibcRJMc+Xm6cHdjoRGv5VQkiaQLvIVsFUUgYiXA3MeO+M01pozJJq&#10;S/rUyGCHIKu0g5c/3yQMfz7VWkQH5W+U53DadyqRgcdu9aDqQqybQUyFiUjBb0NVHifH3wMH94cY&#10;J9qXW5Vlbn3ZRAJB6hRkKwGS3+eKj4fH5dRk1akABPYgscEdzj+gquwyR0GR8o6E0knuiW+r3ICC&#10;CVC5y2OueB/kfrTSSWQ4GFGCCegyf1qVTg4JGcYP1NN28dc4OMk55z6Yqk3HUzUXdNPr/kRkgg4H&#10;Oc9cY/z7UuNxO4ZLYJy2WJ680pGQSSDkdhgECmIxO3BCs/QAYHcfyNTd2uPmu2pbdhScEqRkjPf9&#10;P8+tPhlKbRGoAbru4IHfNRkDgBhgZGTkDpz/AEoU5yeDn+HPXgU01G1xNa2sereGdaSSC8gnVWKx&#10;xspLZzsdWGBkc8Y+jGvbbTWyb3VHkixDNrVjfWaArCqMgYpvUhiw2kjHcZGK+S7G7eByEcKjMqkn&#10;A4yO1fQPhPVvP8uRLgebb31m0e5y37yNiVbjuMd+nFdUXzJPsCaUrs9x0qSa9l0SG6luTZjXr92s&#10;3Mn2aBBs2MFwFLFC4AbB54PGaaY41ttO2+YBdeGnuJ7dbYSS3LwzK6xyw+Z0Q/MEIOcknd0an4du&#10;La4n02C4UX17D4injXTWtTFA6vFEiGeRpgSZCVPCg9BxnI1LK3ur5NLF1Pp2n2N5omrpHdTT29jJ&#10;Mh84OJ8k4IETkK7AfPznOArtWkl93XQ6afLFPnTvt+Kvc04p7eS81TWdNtrZ4dN1bSLy4lnSCBZC&#10;oaMtGNxLlnOCcc84GDurV8PXYWcx25jiaUap4fh8uSCe7l3syxxspJCIN8YKtzwrZyARgLf2rF7a&#10;2maG3uNCsbu8ME8CJMyOySSMfLyM7stu52gqOQSZZgF1y81OzSU2v/CQR2zCwuPtAZnhBaIMEwPm&#10;CkJgkiRcnqCpJQiuZXTVn5f0jZKU1zJ2as7X3K01rCsGmyQ3sYMmhW+pXImuoZCWt7rYyNjjhEj2&#10;s3HyNjIU1fZ5r28aUG0gSTxFeQLbLgC0juLUEFsKxEaBcD5S5b6YrNF4brTbu5Mstzbw+HlWykiX&#10;7Iok89EARIkVXKxFgMYTGGH3RnWudIuLTV1a+jvtLMWp6eRbQ2UoNr59sEMnlySbgGIAaQqV3YCk&#10;8MYkmve7jUbuVSX9bfjqc42kPcWkE5AMbeGIL+d1WaS2tBDcuBGQqqdx3KNpGBuGSoPHV6sWXWNT&#10;ih32+kWvi2zvVtt0l3awo4VVuWd8KWEAU7V+XLYwCGAz1efUbaC1t7eMWUemanpZnMLQG4igLzGM&#10;KzgcD5vmyW+XtVG+ZJNOdg0pJt9D1aRpEiNnFJFFHFI5JfazDcpUEcNxhiAabk4uy1RU3BqPR2+/&#10;az/UuQxwvawiK1uLpZrjUtK3SM1rNDKQ+0R5cHgtI5Ugk7lwQBhsy3t7dbVnk2T3UXhNb0XEM0aW&#10;8UttMQ7A5zIEB68cjK5rcju1ku9Ui04aZHCvjV5Vu9VsbWQWyXZfEjKyMQPv5CglRsOMZFZduyp5&#10;MMpa9Z11HSv3EnkrbMwG0oI143fI3ACrgDjBwlJX1Xn+H/BJ5ov34p69v68vxL8Muy50loliivV1&#10;2K70uVWWNZmuogjNIrKSWIKDPBwpOMYFXbKNY9LtgbpM6n4e1W1vUdWR38hy4TKxjgM45U8DYQRg&#10;ZqX8d9c2w1DyrtLq18N2l/c3z2kot47i3mSAsyvyDuDHBA5kXPPAqQzC4u9Pt7V7mUWesTTBLhGE&#10;c8d/Ckbyt8wCbmSMj0AUAkZNVFpR1XcmV4yjVWunz0sS3cFvdDU2/tWWa1Sx0nUNPTypYDcOrRQz&#10;RqANu6PEp3E4ITJxkLWkdJsnmvZp5LiWz/4WCbW2YxbrnZPkM2WcEcfMDnaxJUYPK14rV7fSNSLf&#10;ZUt28KX0ZWfyxcD7DduWkCFjggIHwwA2vkn+Eltd3FtqjXdy0TJHq2k3dzHF5SNu8tEDbShUsoBY&#10;g88MBgZy1BpNt/1df5F1Ix2fTTT0/wCCZytEyyxwyRstx4V1jTQ8XlNbqPORkCMzum/CM5K4PQ5D&#10;Zzu3V1a31h4kntZJLpbaz0XUdLto3wrFGa2lIAj3OCzsVAw2F5AAOMl9K+WzgNyI5U8RazppiSWa&#10;4ktlmCmJpGCBCrDcm9QCTnA6VImrTpp08LTTidfDjW8YYzmSQQSENEkaKCBkly+QRtO7tRG6cXLV&#10;jjR5bVU9v81+h0FlNbWOq2WmpY3Opyw+M50t5lnnWy23NtFsjVCuT8qNlSQoG0jIwDl2Rv8AVLSz&#10;XW5LxXg0O5trZ13yrA8F5uSMgyAc+cSecESD1YVJdvFdyXeoRzT+Xa3mj3TzCJQUQwIkrxguR8r+&#10;WVJJzg/KOMqsmlw3ttpFyrSQxyanp2oQm0t2GoqsNy8JkVtxLZEe0KxUfMSD8oA78rS+YKbU1Uje&#10;yt/m/vL8lxbWVy9pFG13BHr9rd29w8MxuLmK8tnUxJiTaFyBvJ6sCFJIDGCK0D2F9bwfa447Hwhq&#10;OlTXMiOzlrS4Zm2qJcbhCFBySTsOWHBNZp7029vqVzNaiB9I0jUEtZLWK1N2I5Gh+ZFjH3TG2GBD&#10;MWY8HGRmuDqclst3ZxJJ4h1PSre1e4UrCtxGVkikh8oK24O2Ej3D90SwXFS9uXv/AMMSuSMedvs1&#10;+ZY/s+f7PDJo8EEEFrcWV9K0ghhfzXDWof8AeTFdoLrl2IC9goUGpIbf7Xc2lvpkEBnk1TUtORZY&#10;ooUWS4tmMbR/OzMpRQSxwOScLtzUEEFw9lrN04iit7bwpC+pXFxMtsHaC5gWVj5duxZjnB2qxAYY&#10;DFMHTla80LWLe0sbWG5jg8Q2V7OZJHZJBcWkRe3UmIM0fnD7o4IBJOTyparmj1ehvRfLdS30Wmm1&#10;v8zM+3JJpV5dTyQoZdC0+WZZWjeCP7LqUCyOjFsnaERt24hRnBbBrTS23alLcXd5pdo8XjG2hiZY&#10;/s4u4tQhkilf/UHcBiFR5nCoRnnIWvHppu4dNsLCymSeXRdU0+a6ZpbicyszXESsI18sY2ZyvJ2k&#10;ADglmoh5YdYuGuZPNGiaLqcMk811NNK6PCrRouPuqYJFMaqdvlpuIJFaVHJuzX9afojJwhUclB9d&#10;O3Ra/MtQrp/2KC3dEYSaLqGnmA3iLdC5sruSNJpcQ5AUZG0nqDjNLG093Olxutwr65aarG9xZiOJ&#10;Vmtfs7vCWiO1VJkQ5GWJb5uA1aks1wL60uLmzvJ7SbxVJJfQqLiS5aG8h3qiANlQ7gOAoAPmnbyw&#10;xQuDdtZW8sRuoraXwzLD5/2OXzLr7NPK6xqS5QfIWUBTnG4nIJNCT5brT+r/AIaGnLFqCvp/npYp&#10;20Cm2vba4lsZ1j8NXNrbyRLbiwtZNPlEiRtLwsjh9oD7iAgIUcKBPcS2jI15NaraXcN9p8zSRrFK&#10;jtIC0jxo65XeFiUsvPy4wATVpNOW9u4t1vc2+iR6wY4obW4nwF1K0fIPzMAUWEYlKnk8KTkVmaeZ&#10;ri0u47m3czxeFjLDIJJWa8uLO+ClkUjglZHQNyf3YxtAqEpRn73l+GpN3OopNXhrsaqGBDlILWzS&#10;41S9sY1PlysBfW8mFZI3LIWKZwcnO0HAPOXFBOkdtfMC8V3oun6lK+63tg7QP5bKQJSQFd1wR1JJ&#10;OecdBp2pafa3V1fyIotH8fx3senPIImgS5hhZZHZogMkkgquBknLg5A5L7RcSQ310YpUjOh6rYxT&#10;vKTbQlL2G4Uu/kkgL5sT7QB8wOBjkr3lJJ7f8D+mKlCm047ydvz2Oihms5IrfRLEQ2EsWuahay2c&#10;enRqthDcwwv5e8yFzu38k8kDO454p3BEFxeSOLNLhIdP1MSQypJ5kWDbkEbuqD5CxP4HgVo6VeXO&#10;nX0OoW+qSpqEvieCBpjGwmubee1SOQxs0ZTBRSgRgRxnDZOcG3vftunTrJMEu/8AhHZ7R1NzIFtB&#10;DcI2J3EIR5WEWAEHGAqjOBVKN46PUVOEFOMXG12vzX/Di2dqLe2s7W3V3vxbz280Kx7ZLVreYypt&#10;nMnyOV2EuPmIYnK4+fbvWivbndH9tub2fxHNbTeRcPemM31tCFhUBShL45IY7jjJJAojvYJZLi4s&#10;pN/l6vFprzKqwxzQ3tjLHKyjyssRJHKCTztC5YBlrGuEtIhp13bXEQe1gs7++hW4R/sckDi32AKq&#10;+ZL8wbLAACQdcjC5PsP+tgqzjOSWz0/4BSW9n06O1Rbt4DZtaXl0qRGadJYpFt9sgMXmJwNm4jfg&#10;/LggEb9lbRNZI8jx+Yba8+0XasvlRyQuWQW42EHO2Ni3AHzkNjFXZdIjuMzwhrVtRiukR3n+dJo5&#10;kmcMu/exIVwEx0ByQAwNkwXMKWttqFoRHHqrTPPatN5txBdWqkiLbIU+YJIA2MjLcZyCoL+bp/X/&#10;AAQnSULNO8Xt3+YxZ7XSYorACaQATRNKIPN3RXcCSgtL5uQQcdVy2O2cCNXkNvbRRW7zSPbvdnbI&#10;QLdXVZQFTGcR4bPPuWOOc83TwWFvb7Z0luDYTIj/AL+Awv56EncpLM/mK24HICDjB40Ymkl0+KKS&#10;e1ikhs7ey88XEdrcsuTbyqQFDfMWx1JYLk57nL9rpc0dTmvGUUpaLdG1paTT3l4guozcw28kskTB&#10;bZSydQBkDcf4UXk/KACTX9IX/Bu/+1afgt+2JafCLxHeSReBf2htB/4QXfc3IE2ma7AHvNDulIIQ&#10;M6/bLd5FGCLlB25/msg8ua+V5baa4hutqTKMxOyxRMXY8cLlX28/MUBIO0Ae3fDX4meI/APjTwrr&#10;+hal9gvPCXiS28UeHr+GBBc2t3ZtHLbTFypYqrwxHyydu3cNo3E10YWrCnWXtfgknGXo/wDLf1Rl&#10;iMO6lFxpbpJq3Rqz/HVeh/rgmOWN7iCZ7ZpsL9og2+VbStOSJGCNOcRXJj8tVOSsmW55JzZd3lTy&#10;SPMqIsjPLb26i9dYdoLMPKY/aLZgBHhsSoCcNkV5H+y/8Z7D9pH9nf4LfHzT5JIYfih8PtP8V3Wn&#10;2l8by30+9uoVjvoTtZgUEyyRmP8A5ZdTtb5l9snYLO0ToGuJJDJHGqsr3KKqgupaPBuIthUKD88Q&#10;yRg/L42JoVKNaVGWjTa+aOnCV1VhGotml/X9f8E5bUbfeHaS8CRlPtH2pGS5jsmZdkd/HGJMNazc&#10;RzRbcbizEAfMPJtf0WKGK5j8hCoRrJbGKeO58oEsy6fIyrGfLdmM9vNuBOdvTft9yuEZYmYSCzlX&#10;5jdxxrJBYu5CtIquxBtrgKqgAHYSScZJXm9SsWVrYwWWJWlNgYJnKwugbP2GZgi5wUD20wPLKBn+&#10;95WIhdar+v6/rt7+BxDhJXeny/r+vO8viPxRpdusN1IlsHMDLOkgtTBc3iLI4Nyo3MA4R2WaMnPy&#10;jAJrx+8d43uo4I2jtG/eCAuIxnJ8vKj5GI8yTacZwSBxnH2f4r8Ky3Ms92t1FL5k0V3cXiWpuHeN&#10;US3a/SP9586EeVcx5PKqQOFLfNHijw3dQQSyiJRJENkiRBA1vvjD5iyB8hyjrgADdtGMAV5VRShK&#10;9tD6XCzjUim3f5/M86SaQJEs8aSFWUxyNK9ug3Y5Q7zhciQgnhT1B6UqCWKZj5ZLGQO0aJ5RbJZm&#10;4A6ZyDnoQxPtX+1PHPHDMHMas8cRkTzgrDBMTAknDb+p6E8VJbTSSLcSOJGeCGSdnZkZmOGIbGMf&#10;3QygdPqDUN+9rvub2drNfI7/AE67BktZPNVZAu5nUgs5AKliOBkK2DxyH96978IeI7q02iKSICaV&#10;/s/2lyEs3cASWjINpFtOZM9cAtkZIIr5X0/UZVaOGSFHZoiWY4YvndltpyDwCpAC4Az1U59H0y+5&#10;RmmnDEfZ1AtwkZBKEQb1AZdwDYbOQGI6Ka3p1EnoefWoqT5H+J9seHdS+3aeIZYbuaRreVZLIKyX&#10;OoQQHkKCrub60ZC0ecM6r1Pyse/gu2RUuZL3Mf7qZbxVT7NcF1VYtQwCuEkD7J0x8pORtHzH5f8A&#10;DOuJFcMLm7lkYQx3E07ytc3yxoBHHdR4DnzIDOTKgViyRYGcA17hpN9ItmjGKKwuUmWdysXl2Rku&#10;VjCTEbUU2d+QdxAPlySL07e1h68Wop+h85jcI4ylJvf+t/6/JHo8UxLGGB5m8uZ7eS2e8RGjP3/s&#10;wbzDskAfz4iBzEAvAwa1o5/MIYqzxMu9V83LsJW/dNtdtvzlRsUjKFcYAbC8nDOBMsRhvFj2PbKg&#10;fzbudYMubOR/MJ8+Fi7xtzvjHBb5jW6BIsvKsZFBDbvMjt5BI2XdRsPyzfKH/wCeJUnv8/oRl3Z4&#10;Fem07v8Ar+v67HRwujCORNjgAFJYgFRw4Bz15UhsjnsOvFSFBkgA4KqobdhzhujHuOwHPU9jVSBp&#10;Wc5WRo0ARmlXY7Zyu44QZbcNrDgAKrZ55tIqjJ2hl+ZUAYeYD1YBuDzgknPU+1dcXdXPOmrMVhnc&#10;7hgioVZgm+4YggqRjPTkgAHO4dCMGOaJ9u1SqkOGAZWcEZGSAGX1bn6HtTh5iqzSDO2UDdGykMhx&#10;ljvAC88kDPCDBJpytuQrGEPzFC0JDbG3YOBjHyncDnByp4NDV1YmLaehjMZonDmTeFicrKybXwGI&#10;EiqH+bbuVZFCjezKw6BapSPI8Q3W8qAkJ5UgZ3t3jZdwDNC+ZIzh4SCRIScdFNa80IMSBJZwYmEq&#10;lVeST5HAU55LfKpXaT86scnrWZJEFRVlgkadbcSGKGGOZd0bb1WGUx5Jj3O0GcZO7PQ455XW51wl&#10;pcrFQhjSOW3hmUma2YOkkNorgR+Z5YdC0EpVVKdRI2RwAyoIlnVPPgdRIVtvLnUSPEUwxtWbY27y&#10;2VpUkPDNtG4gmnKEyWje3klRiTJFIscDGU7SdgckQyuCjLg7ZVZsHkhDEUyslu0sQh22zpA815Is&#10;BJaCVynDxsQYJN/zkZznLPk23sdKa3/r+v68wxGgdlkEZjH2pZXhEEVu7+YTcyqrRnY53CaM/wDL&#10;QkkAZansBBMlu5nkM3yxRtcyTSg8TNE0hLBZI8742JG4EKMYyY55o7dUmN5BABOk7SuFgS2EpKl3&#10;UvgRynELAjiVy+OOHFJE2OLeYDyV3RyyebJH5LyO0K/u2y0Bw8Jz85ZuQFBK22Kt16f1/X+W48uo&#10;bBZFkWNpzO8fkxKrsGaUblGY2O0Top+Vip4zuLAjnIEU7CZ2he3UrFIVCBvs5k8wHzY23yJKAF8s&#10;bQc4alRocRzeZEdrM63SxoYWZgFa4GHGUbdsmjAJ8xlI243GRt4QHypkbiPyhEzBI4skxYw5MsRL&#10;zIwX97tUAkHKtLSzJbcd/wCv6/qwq7wclVkkkLNvyxt5N4GCcodscoQF1GTGSOu7NDRkN5jqQ2wO&#10;WuBFHIBtw8jfuzzt2xyEEjZgjBwKieAhm22wk3lkczwgLmTa5BUw/wCrnxulxjbIvqWZZgfMWCRl&#10;ZYhHvMlwiiePJAYSjbt6eYsoBzjac9SJ3Kjv5GfKkVvsWKFhtnw0cZzNHyu0oBEeYRIAo4xDznC4&#10;rmNRitkLxSLbNviaySC3kSJzk+abddv3SoUy2/HAUk5wa7G5VlaVE3RkBGDIm1kXpjjC5jz83cx7&#10;frXN3pXypN0c8TyoHLRIFlj+bG1XDD5kOXTOcoVA6DPHXWrSPTwjvZ/1/X9aHlXiWdgRc2r20jgR&#10;XEcnmJNbSEMUWXYsmNsvzxMp6PgnGOfINYuZEL+VHbIkYlRUitTGRGp8zYAGOXt2LLkAh+AOFBf1&#10;bxK37m6e1S7kM8soNqZcxmR1jbMeZjhLnckiZAC7MfXw7XLuNppnS4kJuIllW7CDzWPz+XNghhuK&#10;uEdTxhO2ARwyje9tj3qSelzX0KRnlEkaRncwkLLFsA+VQQAR911VpPZwR0HHq8SSPEw2v5bAEKVC&#10;g7UAYYP8WZFPtkdcnHgekXQS5gHkiJZJ/IZeDvxy0S5jBIGcx/3t7dzXudpcRvbxswflAFO0AZHG&#10;SMc5+Xk+nPWuOtDmhpuauS59jo9CfyDcwh2RJJBOoY5XILA/LxjrjkY+YdsGvTdDCG+O4BRJCoik&#10;lAMUEpYMgPKk5JUbQckgfUeZ2O0NGxc4MasSWKhCVUg5B5PJGcd8cda9O8Os0UpmMW6F7iKzn28t&#10;EzNtjYHviT5W/HPI2ntyuNpKm9bHmZrZQlUT6f5G9daBOs097p17e292HLgJPG0M4O5wjqUOQC5x&#10;nJwOvOTradpzWoRp7651C4YZEt1NvBHJyEXCDBI+YLnnGa0XbdIAdxVi0R2MGA+XOCOg6Nz/ALI9&#10;ajiZVmihjQL5cOWCtH8qZwFA+9tUgjoBwOSc19BTwlKlUdSH3dPuPjqmLrVYcs/vtr95ZlHy+5GM&#10;FioI7DI6c4565/Wg/nlVWKR5JANshAjW4ckAhl5CK6DDYIKsMDGOmpkY5wOxHp7flVVkZiolAkX7&#10;xwmMMG+X5ehHJIyflIB56r0nMRK4EqogRAwZ1BCFn5VjIhB+7liG45Zxz/eeMhAoIiKqdyyrvHAC&#10;5JOCemAc4Izyae5ZQ+0PuPzZTarEjjqw25wABng4HTk0wsfnVVcJt8pAilVPJUgMucAEgcgFcMfo&#10;AJNbwyw+VJHFNCxGd6bo+cDj8OAe2R1rLhb7MFgupmlJkeG3maRUa+wT5aiQtkTKoC5YqWIPU8jT&#10;kdotzMz7EXAIQMucjk8DHU5OQMLn1rPluEtWiWWLEOoXnkxo0StDHKwZgzt3WQrlWAyC/PoqemrG&#10;lfQv+Y3PmEtknDQqSdu5A2cZAPzAEE/wlhjor/OG9Fj+ZmG7hlwww20KNwwWwSDjBCMM5NRsPJH3&#10;H2swcyqVWdnB2gMSACfuKpJO4ZBycbgKI3IIkKL8xBDtF8x7AlhtyoIAwU29lPDEDkvFDcq0n+qJ&#10;MUhMKMpG/LggFWAU4bjBYg1Su1ImhlRXTe3mOrxFsybRGCjt8kbgZVRwrlsE81cAMQiTzledWK4m&#10;CJNORvI4Xau5wpJ+XGFzj5c1URIbm2kjmmt3DEXskEjJcwJHnIHKgtGNoIc8hhwQAFEyV1YqD5ZJ&#10;kSh5XjabbLKu598UeWXACShU3SAHP7to892IOQabbxwtCI4raI24AkjiWSMwEoytAwYEgqQqtEQB&#10;tWNQQMYBhlZFkjuCqKIoBIN8gICja8rHG8glUlD7WMrA8jJkdlYlpQGSRwAEUODH8u5tpViBuKq4&#10;zgeWG+XNYnRe+xKhaKSJF8yRGQIEGFcABVEhTK7QuQHAU4LKQAM4Y6IWkLW/nSIpK/ukLtv2+Yil&#10;lGQ235hnlQp604YkRmMk21Ywi4G6YMmWUqpLAuAWJOPnDr1AApnl5QJl2RFViLWRoSuxg8YXYykJ&#10;kfd5DKCp3ZGQaetyVV8sAylPKhDsnmRFVROAuXyQoAypJ6jB4AOXgAsjEOzYDLCCoIJ6kghWzu5O&#10;fY8EcVjA+IgR5kKsi+W6jbtCAbVBiZ22gFh82SZXBbgYmTbJ5ib3VgoQmGb5YmUhwuwNn+LIBA3K&#10;ygjGKAbvqPBKo0ixSlgHdzJPvZSNpwAN3XAwAO3TnmSUxKH88IYwwAMrqIt2AoGfXORg55/CmSQ7&#10;1wULAjayTIHUDOW4IOR2xxkA89CEHlJMQERZpWZwqhVkmGVV25IOcbSSO23rwKAX9fgOXMhUxyqP&#10;uySFCCkylCRtGTtBJyD/ALHcc1LlsL82G5LFduCeQTj06E4P9ajYeapR5DtIwWjcwKvUMMhu2Pzz&#10;9Ka/AMjtIqgkD97tDDLDDKflOeACfUemaA7JkmeCI8vhSYx8ojQjAxkDjOf5+lGVZSFVXjIBj5yh&#10;GcZwAeMYP+FHk4lR2O9iAMABUz0diPU8DnsSARk5CxOzIUKSQVb7yMDgDGOnB59qAXkMRnLv8gyr&#10;EtKrbhJwp4AHXAx68d+7eWCsCQ3AdSnmD3GfYr16Y+tKI8ADJPJZ0QBeeG9B16EH1oOV5JJJw5KL&#10;hXG7GPw3Dp1x+FFtbItb2QZfpkgP83UqzA9eeo59uOKgcDJOwElMoTJweQRzyeuDz2bvipWy2Gw4&#10;yME8AjJIB+gHoetQgq6Bkf5S2Rhwykbc4DZxgYYcelYysnobQVtWc/qSEoyIAFwCFQ/MACGOBwMH&#10;b09P0+e/iFZtNaSpOW2sjKp3hmlz8xHqfvHr3z9T9IX4DFl4ORsLIfkYKM5A69B0+vpmvFfGVqJY&#10;5BvK790asUVjHnK7s98IWOcdT3OcclZLW57uEnemrI/F39pHQzm6eJPlJZmLKQ0aAqwweoP3h3xl&#10;a/Gj4x6eHj1GFxMnlnEahf3TEBgXI9QTx9e1fvn+0Lp0ptruURxH5CQznzQ+5SCAPQKqj5ec88V+&#10;KPxd0SdprpCqbXY/OjAbhjO3JA/vbeR1XOa5Jq7u+2lj2MLJctoaX79T8k/iXZsftEfkrEsaM0bO&#10;3J+ZeFOQT1z1HTPHb4z8X2EgupmjYIpJyGk8uIEnaQT34QH3z9a/Rn4pWK2iXEqozsMquw44LHPH&#10;qCM/QCvhHxva75n/AHM20llKKmPMJBZeBjByWY46b+McVzxslzar8wm+W3JutG/J/oeCXNs4hZEZ&#10;tqqY5XYkMzIwGGAAx8wb8cj2rkdaixZTHZJ5joYyq8gk/LyT2bnr6+1dtfwNFPKplUxpFzgARbst&#10;8oGcYVl4z6jpWE9sv7zLMGeMGaXJMi5Ib5ew+UqR7CuilN8yUun3v+v1MJ+8lybvX7z4y1eHFxJH&#10;GCAGJIYbcEHk8e4/z1rAa4mtnWaJ3kVVI2EBkBIOSfpg/nXc+M7IWer30MRYREFmLjadxPK7fQcD&#10;H/6q4Nwzq2AFl24baoQ5zypOcZOQMd8fhX0UZe6m+x8pXd5uMlf9bHoXhjWY7SFppP8AQYJ4Nk+o&#10;lmkvZVKhXSNeSN+0j5eTz2zXT2UllJHPGiX1pA8hksdGAH9oaqwDIDM5+VFUDJB6gcAZYjz3Q1ka&#10;IiB41kiPz3MqZjtt5AwoJ6jOR1Ge3WvRrHNst/djUpbWzKOZ76OANrWruN223tQQWjxzuYc4D7jj&#10;IO0I8zUuhhSlzTjzfCv6/Fr8TuLe4urW4cXA03WL6OxWPTrV3T+y/Du9iTLKoxuZVH3Wb3IOazGk&#10;a7t7i5SaS3lZj/a2tPKDLqTbiot7NOCFIZQeSTyTjkCrbA3trJZLaXSxTXKR2nh+wkFxqWoSsFBN&#10;zNsLlcgdcDcGwByasy2E1k8Sbo2urSPLJCzXGmeHoi53NK+CrSLuYY+bB4JJBFaJvmUovQ2grRlO&#10;T+X6/qddpMMbWFhbXkL31++Z7HR7RdxPy5Vrlh0JwzYznGOmaz7uWSNoljuVvrlneC7vBEtxa27N&#10;gGK32tgkKgG4cfKMZGCc+0muIVv54L2402ykzGWnfbd6+D8rouRkKSXHGOOfYasnkNaWP9n2inWA&#10;r3EWnRsBbabHtHzy/wC1gFuo4IyB0BdSVnv/AMMLV0ry1SS28rfcbiR3GnW0JuEjVreBrvT7LyQz&#10;opVmeW4GQOdrHc3OM9q3tKvLeRVuRaxKzM0VtZwsc3L7QWmkUnO0EkjPHy4OSDXNKZJdOlBWVEnl&#10;SK7vpQPtmvS5JdIht3CMFgBnH97j5VrZtRcWsNxKZLdNQawU3Edudy2sIC/uFIJBc5wwGWwTnJzi&#10;Ve6jKN0+v3FSg5NSm/L5q39eRkvFFPPL/aNw0VhLI6TpGm+51eU7iVAONqZ7nuc9cVmMr2cpYn97&#10;5LgPIm1NHQ7fLVT0LgBu+SDwC3J17yZ3QRsLeG6kjUM0SlotNj24AXkHzGCkDA43Ekc1Ha2NtGlr&#10;c6nazahcPLjR9IJKSXTgEC4uCAcKDkYOCWyOOoprkevX+kNOMlyvZLf0X9f0jiZxA9zElrbm5jkY&#10;rFbl/wDTL794MCZ+TsBPU9Mnjk1feSb7Ui77O6vo52U2arHNpGjov3RxvDsvJzyMr3xil1Cxt0ur&#10;m/8AP2jydmoXlurSW1uUyfs0eMDfxjCZycADtS2djbz2aSrC6Ql3hsdKtggvb/LH95MQAQpBZsds&#10;EAmkmpe+t3/kKLl7yl0/4f8AMxbUeW12VlEMFtg3F0VAu7+TGAI16nPHPHHORV1pjBaxefA0E0wE&#10;9jp5GVtgCNrzPgBjnJ3HuvQDAEDRQR307mWCe+hj3y3cRVtN0JcrgqRkM4zjPYA8HPGVLf6dNMEj&#10;a7OnyzFXvZwftWqMN7SAA8ouQoAyclh06VSSjDlS2MaalO7W3/DM3lvoltGMLtcvIBBe6nLlm2g/&#10;PDbrjhsbl4zjAx6FLSSC4uP+PS5uBtUW2iK5jSZlC7ZLhiOhPzE5H3mAqOWRTHKxEC3EcYFjbrHm&#10;00tQF3SM3JZnMbEjsT26CvarJDbNdwTXMttKzLPcoALm/BYkrGcAhf5ceoqnzS92922XS5p3fN/X&#10;9WNiWezkDupt7vWI03RNHIsOj6AmcEhQMMwU4HTkfxVgxXkQlUReeI5pEYvMCuo6s7bVO0HJKkyL&#10;gj7wbvxU8lv8sFtcW8kkkso+z6Xb/upCTgq0r5G0A5JB7ZHsaU/2YRToGubzU12/bdTCKkNlknbF&#10;AuSCwC7QeAQjYHGSlZuyWlv8rFQvCVodLf12+ZUvlnWcWiWqPLArXMKLOoS1DJuaaU/xHavQ9znB&#10;qpHP54nnkuJBCszC7unH7+/YuFZI1K8Dqc+me1adtLG1ssUtuUt0cuLaViurarvBKlypO2PHXrnz&#10;DjNZjvcPfXEgdZXETRF4otmm6aCrIY1BzuZUJJPGN2c7s0cnKtdzGaTV07X6X8xJoJjPEzCP7dO6&#10;i2NzKsdvpEe/Bmlc/wDLQ8H2K596zLtYbaVhAk09o07wm8gJW51ZuNwizzjJwPYjOelOiKnMZRry&#10;CN1WK2YBJ9VkA+YNjOEViwBOfu5xXR2+nQzO9ykhTUbNN1zI7ZsdCj4Xag6Fwc4zxkcAkmsleT1e&#10;wlG83KTsU7+y+y29na3Kp9rSP7TFoSzbPJWT5l+1EbTuwAcMQcEdOKowSO32pmlSXfF5d3fBPMWH&#10;OcQQnpyDwcdyOBVm5t5rsXN0jRrYM6RXGpXGEvtRkZAWSFSfQ8g5Ock46VdsLGBoUnctHtJfTtMk&#10;PnOERXUz3ABwpyCcH2PbNUo2d15GsnJSSdk9bemn3f1tscHqMC2skRQMN8LER5+eJckYYDvxnnOD&#10;nrxWdAk2+SUzM8MbOSuM5wCo2gg8Z59Tk/WtO+ubeOWRIZYrj5XHnBWAcl2XCjHQfXpVOUTwxxpB&#10;LuupXdijSBR8ynBYjp1BweOuaGrPX7zNQTUm0v67FRIrhfLAZo0dEmZH4STG7DZ9eWH4GkuZpXt4&#10;3YsrKkhAXHzjcM8cH0FWbFwyqtxC0rSCNUO7DYIPy5POO+MdKqXEUctyEV2WS3DkoeQnOSRzwBgn&#10;jjGPU5mMnF3RmlJxUOnf/gkU5R5XbY3zEHOdu7gc49+v40VZmkUyErDkbVGSV5woBoq7VOn5nT7a&#10;H/Pt/efOO6WG5Z9z7lcrGzAhd3QEMMA8j9DUlw7bkd/MJZssW4LueWZcccds88VpwukscW63cP5f&#10;7lifJRyGOWycKR83XOMnrSzwuQJAIo9uYIZCRHO/PzOcfK3oMdq5bN6vocEOV6X1MxVdVKo5dmGx&#10;EyIzk5DEnO04qFgBjy4gm1DgtkOzHjIB+XH+P41dwfMUwjYXDNlGMJkyCdxBGOM+tRGyL5nKOQzm&#10;OEg+SCAPmbng5zRJtbFNcj5of1sUWWSBHAdygIUw8Mzlj1/PPIqFmULhCckfM2ThDkgj8CB+dXJH&#10;3naseHB8qLeNxyO49+aj+zBCzuY5EQFUVjlWYsB25pvsxSjo3LT+uhmsqKMMxmJZhu9fRc9/x9qh&#10;EoEbqiKqBtzlWzg9MY79+lacqBQkVuXzE255FAAaQk5AYnBAx2rLkLJhWkXAYbdp6E4JJqIvq9yp&#10;Rkoe0TImEqtmNhJtUnux9+noM04RtwzkAiQ47FwByf5flUyk7UaJwjF9rkkRkLjn86DcRBzkKyu2&#10;wFQSVGf58dfem1rcz3jyvv8AoOghmlMskCIVEBMgkPES4ADEduSvTualtmTfh2MQABYt0AyPlBHb&#10;6+tV9x3zBHeJT+8lP3i46hfz9fSp4Q57cjO7oDIx+6OfTn8qq6aTFrzcqem5thIVMwkkGU5kI43d&#10;cKvb06+tbVqhKJBcbBHIwludmDsGAYlP5/pWJbxB4WjZVcJLnd5uSzkgAkegyc1tK+whfmljjkUn&#10;adwuZExkZGOMjAHYfnSSurGtFylNa+n9fM2kjnjwpEKmWMyXAclo7WNMlUDDhWIH3e+TitH7NFJD&#10;YvHOiXVzatH9kaBidOhjIO9t3H7zPAHP7skjkZybW/gMscYWSQLJ50sIf95dz5yg2jgqvK9+vvWj&#10;cXDux3jPnn7RetneGAYGNCeq9TnAPI6DFVFWsr7ibhdpaNP/ACOmsfOlvLc6dpss4nuhp+jWnl7m&#10;uZSn+u5JYHJyO/bPcvtylu13BqUFzcNZ3XmmVZ0eS/uFfCRSPhldA205Tnjr0xVtpIjdpJvja8eA&#10;Kn79G/sqEBlV42BK78buCMjJ655fCwedTpg82IZtdOS6AgCMd264kGPkI6gkkDAzwKaUU05ef6Fq&#10;Lk0+u/4al4y21vPLa3V22yQGTWNRjlQrBHGEdYraQgbyXbaUPdWXsauWMtzc3k7eRBaXNzZ7YZWQ&#10;JFpFiiHMmUU7JdvcZJJ9zVRJohDboluJ44mXYslmJJdTu5S7u0qBWWRFAGOhIUk5zgTblQ3KzXCx&#10;NHi41S5gG8XIXYy2lsTGcZYAGNsggLnOM0JtKxpOVNVrR8rl2y1NVmS40+3Lzxhl0WG4hWdUBGHu&#10;Zl2kbmG45BPJznAGGQXEk15a24Wfeiyrps1ztSKOZlV7nUJSE6L82wn+6u7djmSzv0kjvrdFjtBq&#10;VspvZUDo+jWowfLhdRhHZduVOd24DnO6mR3DXT2tussltFeSC2R/JWeSztEAV2KEgbmVW+UnDc88&#10;1pJNvT+rkwinDRj3ktoJI10vzbyK3mW2glkRY31a8ZX82UgN8yRkcN0YYPU4DLC4gtU5MNzcxqbU&#10;m4E11NPds21pAm4giIZAB+UdlzxWpdXSy3lhd6VbQRWmHsNAX5LWQxoNkl7NEH+VtpDMCduRwSF4&#10;qaW/kvdPZWJe8udmn6RLb3KXUU7MV8+cLnhQofa33gWzzjnHRto1moxhrvoWrhbGOxjuBIk/2KVV&#10;vpJGIk1a7Zd4gXI3FIwGG5ehJ6ZxWIwik2ykb2wk16sgDG4lJwkaL1AXuMZGeBxXQ2UxubOG2ggu&#10;IDbXCaZo8ELiMXt7uKy3EkznaNo3ZbgDKk45rJuobyZFgSNDJCz29jJHEr/bpjkzTM+fn2hTtOB2&#10;IA6Bu6Sklp/wxLhCVouXl+Ksn+JPcxssXmuYzFbzRG5aeQSzajeyMQkMcZO8JGoYn+EYJGCQpEa6&#10;cSCIIZPNEcS3gAl1i62gs4U4VVQBTgeq8YPOHaWE0YE0snlPO4t9PZ2KZYk+Zc5Y8qFJ+bPcc9RW&#10;mZLp5bRhKl1DeLLDYQXWZ08gghrxlBzyFyCcAgjORVc8b6b3/wAjOpGSlyvoWBaX5aJk2JdDFuLk&#10;gQ2xnJAkuXkJACqFfB6+/HMF49jNcLaWJS0hitlt7S6I+yKUjaR7m6dmXJMjkKoPYAckGnwSwapJ&#10;9muZjaWgj8tpFYQi0t0BJflsMzlTxnOW61m3ocvOSyS2kzR3DQwhXZY1JW3iVic4bzASPXr0qZNW&#10;Vi1KUbRv7yt+hrQu6osyyWFst3AbK0KFZZbC1hJLXGFJ2GTDct85UnPGC1W5htp7SUyQxWbTQJOt&#10;w2baO2tPLcbxk4JlMqNjqSBj72DFb29t9rkW5jghIg+13j24WOKU4URW689QAM88DqODWGPNZlRv&#10;9IhkuljkDOwYSctFajB+78p6Y4HfpSUIa3Bt02pRe36lqz1G+EQXTiC93DLBBCP3xsrdsGRmJ6ZG&#10;fQ/LVW4ZBaWjuhW1WQ22m2IQSy3k2EEk8g64ZsN5mMHbtB64nkEEJuoJbmSKPaX1e8Ub/NYAGO3g&#10;xk9QqkqOe44xVe6s55ZI2jnxex2guyBtaPQ7bAAO7OFJI7Y5Pcmm3KyvqQ1FppLp/kYV2wiuJ5bZ&#10;jcOrrLdTxjyjK+77qseeoHI557YrMljjRvnlE00qB79yrZt8H5YlY+oxnHr+NacpFvbxGKVS0c4W&#10;0jZP9YMYMshzkYPPTBqgqSmGObdDsZ2SK3DiSW8mXo7DqBk8Z4OOM84lauy9fwIfMpWe/wCpmXbF&#10;w3mKkTiPbbQqp22yZyWYdQTk81iMwXyzFbKMnbDvGFU5OXP5mt9oYvKMjI7SSSk3tyZR5ZIC4iUd&#10;ck8fy4rLugzMGPlRnaHlVSf3IHO3HUEnsetGsr8xPMtu+pl3SQTxxGCMhI+CGVgbuTOST7Dpx71j&#10;yYbzgd3zAiebOegxtX2Nb8pwTuXbcNERGsZIW2Q5BY9wfr61nSIVEeUBXzdsOWCeccfeI9BxUWve&#10;TNZpKPNDfr+BlOuzqpI2DG4fLAuO/vxnms6RQVLEkIp+QcqWPHJH+etbc4JLhcCI43ueTI+MlR7A&#10;9DWXIu4BSpyUw+R9zmlp9noTVTUrdHYzZo1YOQ21QSd3LE5x2/z0qF1JGSqnrls5HH+cVeYKeRyi&#10;5EajjHuapyZ4J5zydxAyec8envTTekjFK0W3v+hWIwMnAzhQTyOe9MI5UKB0IBBxu5/z+VSyAklg&#10;WK4ySCcDngfz/KmHOdxwcHHXI9+3vVK7joJpKS5dv+CRtjOOmMHgnnvTSANpPJOTng45qQ8jlec8&#10;LkBRjPX8v1pgLbjtUAg5XJ61KUou6KlpJtbCH5QwP3cnBPY/SkBO5SNvHBBPApTySApGPmz0GaNx&#10;zgAdOSR7Him9fUlOKaUtxgxnauRyAFHAGCOa6/QNalsGNujYM0yETD5mXkk4/wDremOa5Lv1IUHg&#10;DoM/z6VLC5VmZflMfIGcA96uE+W1iZJcvKtz6q0LV0YJeRMHnXxBb3CNIRGhYLwXZssSCBweuOa9&#10;U8ON5q6TqM0kV7HDq+q6W1h9tiSdpJrWZ2baEJCgB1BwUVtoOCRu+SPDutuyRLIymT7WjD5yPQ9M&#10;+36V774Y1s+fbRn5nttbm1Ix+a4ScLHvMeFIyCw/HJHpjVtdOv6WNINy6nZtLf2el6UzSQrLP4Um&#10;ud8JlkkvI7hwrzYKBAV/vdcYIx229NuLq31K2sJbdpt2uaTeWIaRllSQWm5YljaQKFcXEznePvAc&#10;5ANctpdzZtYXD6iUllTwtIllADFfxQpJfBh5xd8RqF8z5zzuI45zXRXMdpAZJ1iklksbPTNXkHmx&#10;ZjBijeZfKQbgr7gqMWDccEY4JLmvGT00/r7jeVlFLr5ElnZRWdhqBdY1juLHULC3muiTFDPazNJH&#10;5SLL/GhKhQQFwm496k1O2tbyHxH4lRzbH7Ppd9DaQCPAMjIs0srF8BgyryN3DKcDIAQrYJdWNjeQ&#10;vNNJ4rmudvmQeXZwXARfKZQjmRmXgoOFJZjjJVs+zkxZXU0kccMcXhhoIrYSwp8tjc/vHkIUqTGO&#10;xyCUGB0NSqacu73+7U35m1zv56dHb/Itw2twdQjh2WDWlv4jnsVtPMhSJWu7MModsjBZGcjoeCGx&#10;8yjKitIrfTLZp2upra+8NS26PZSRyWgmtZxIgdguAgQYZiPlOzAGdtad1dW0667qsE91bRWuuWFz&#10;FBdStdOS0SqymNIsLuKysNx6AjORVaz/ALUAjsbYTC3TVL+ysoAJhdRyYd1JfYEBAKgLgAjoAMGj&#10;lu5Jv+v6ZDhze7Bej89P8hdUmmgl1Ga2aS9s7260rU761hlZn1ISQKZGkZV3sIzgeuWXJJq3pzCH&#10;U7SGHTjf+T43nuIGga6RGadFVEUPgBeDncMYjAXHBrPW7t2gkKz3Yu9V8KW4H2qIvHD9knBgRW8z&#10;JGFznj+HPAqzqdzfadPNDaNbXFvd6vY6ob5rOOe6V7qyLv5DNISsa+Yw3lBkleRxThaM+V7f8N/k&#10;KStCKhv1+61/ncfJb28NrbJLcxNfDw9eaQ9u0KR2bGNpZ2LvuwzqSu1WPDAAkADEWqXLZNzFLZ20&#10;Ntp2lXsMiLEv2dsxRsQwJDMGjcDI+7nHXIsmGBLqyNkqXAj1bUraIxhWtXjkhKTqAoO9/my44A2n&#10;jJrKtbbdaagJ7WdUHhyCLybhpJ4pEtZ0cthIxk7VLBPUnsKUZJpNg4ey5pt31tfstP8AI0dFVZds&#10;Y865YxaxawzWV19nuH3Ik0bNKqY2Zd84YliDz0JsSiKW0llkt7sWd94asriwupI7p5mWJlgcq3cn&#10;Y4I6qEPQdc2KK9tzc3UcZTSF1a3Pk2yyBHWeIBo03HBIyAW525XGeSa0TtG8dneSyLGdH1Lw+IoW&#10;33EfkMJIoIt75Cbg2WfPPUkE5q65LvsioaVFBLzujatJ9SsdSs5iLOSC38V6d9rOpNK1nvmil2Fj&#10;vUugUuH5wC+ByPldHp0NzdR6fbm0drrXdYtIW/tC0tXnLmAoGd5MCIMYwpLBCHY7xzjKvr3Smvbz&#10;UJbSeZTpen6hYiSaFEt3LeRO8kiA5+YLyMliRz2boreS426XF/ZMwsLPxTFIZAd00AuYMR2szLFg&#10;FgjtxwQRnOOUoq95f1ql+guaU0+dWTWvy/4Iy81OTUtOu/JnhtrRvDNoz23k2aXURtJo4hHbqBuZ&#10;mVY1aRlb0XGWLWpkkgv7iS01L/SovETvFI7b541ntJYi2+OJIvlBGTtX/XKQBms7TdJae2S2MNzG&#10;x0zVojdTPKFultJXm8pzgAkBMAKRkDOMVaupGaTUnWCJrE6bYXdxDZpJ5ViVCIzEuw+YmQ5VDtLA&#10;ZbrhX1be2hajKnFwX9LYq2DiS2jtp76UT3drqOmyQyfaHlgitUM0JR2I++SCGHzHEmAeM7UtnIiS&#10;32mx28dtZroWuLcxSSQoyTPHbSJEWcA8qSxJGAoPc5zIbZpNVm1EQWO0a9dWljFcXEEUMazWSYBR&#10;pCxZSzhQC2DtG7JXMa3El3oNraoLF7KXwbsd42ihe2e2uyxYnYGdkdDgnIUSHb0AA03BX301JjJR&#10;bilp5+bRNPFNNsshMMxa9q2nSw+Y8bpFKqlJBKzsXYtEhXnJA9CKtTm91DStY1e6upbiYaRp9/Yx&#10;3JPmKkFwLV0WR5dpB3D7o6Qgkj+G3DqUNtqq6tZR20V3Dr9prUDSGHywbyBklzlCBywYAAkd8DNZ&#10;UovRZu4tkaafSr3QYEk2Xqr5EyzpIA0SqrKXlZQOF/d9SGJTlLlVhRlUnJRh3v8Airl6KC107xNZ&#10;6ebaaG8tvEqhPIbfI8d4jPsVmfAbcxBOfmZyONpqrskm0f7XbBry9Ph67tUWeOESF7S9jeL5S3zj&#10;YZTtORukbI5GbV7FOs+tahf3cM+pImj6zEUuI5HVm8gneqLgN8pG0/MSo5Aw1aukXN7p72enNL5s&#10;mma3qtpNHshysVzDkcFDww6c7QSATkcJyaj+8ev/AAFqdLUvaOVLbS/y1/HQj1S1im0i6nFxtuPt&#10;WjamqRxoDL5hBLE7y335UQE455wCMVnKYbie2nv7UG3/ALcv9GgTz4PtMG6CRo7dDvZi7bUypGFK&#10;5fbgCie7t/sL6he3KXuoL4UF3IsF0/2lZrC8dJJGIiwg2iV+BkjJAA4GlJLff2q2p39/NFbaZ4qs&#10;b5pYLlw6fbbUNI0GYiAT5v3Rj5kyc5+alOTd3szJyTleOjf4f8HUylWVvs6JLbQ2Vz4dsNTuobiS&#10;H7QnkTtG80sm7Gc+YUPRQRgHJxo7lRX00id7tru8soZ7i4iVVjlgM5Qy5UpkEsfMJOEJOOao3MNz&#10;5dlJHMzLZ6bq+iyQwzO3kSW7m6t2lZ4wNxZMqGPJLAAkrmzqNvqPlx3UKSRpFPpt+kgVhHb/AG+z&#10;kt/Nl4IHNtcAoeMjJ6gAnycqlF/03/kFONSEeWOml1+CZnqsVzcJe3M0O2O00yQ2yxIlrL5RjR8K&#10;WAJ3OigE4JzngGtgQ2i3Fna3C28dnc6hrunGyeFAbWSWHMTS7mPz/MGBJyGiUA4AA5uCI/ZZU8+4&#10;jVdNMt0WXZJcTWlypfcNuRlWkKHn7p+UBga1bS2tJdZQl7m4tT4jcMscuxnS4tWAHmNGRvZtjHcO&#10;SpycEgk1dc3lYimnFXWl7X9Vr+LsVmkFzZpLqASR4xpU0MVu9u8c2JXtHklYydBtZgo3A70ADblN&#10;bEtlcvDDFcyWAC6prVtOsEMdvbxso86EgI4Dby5+52BI3AgVRufK0+C8sYZLmazudGljhkN4XuHN&#10;pcNcYc+VgKrlcMBgFeF4OXRW9zK6PfQkWqeJLadmDKjSrexHywp2YB2nLbQRhe2QKcFGSXLuVLmj&#10;LvZfntYfb3u6G4itorqWCO60m6eJw8TTtB9oi8yRA/yIockjn5WIOf4omtLrSri9/fSQib7XprxF&#10;ZxDC3nlwEKMxABG7K5clflB7yxyWGmwSWs9veGR9IdREt5a26RzWl0ymSSRk2hUiMRCqwAKHlsqF&#10;uSXkUN6tvPZQTiXXmvt3yS3LLc2oAVjwyjiNmIwSdg28ZqVBxkrjUFKo+df0trejLEdyRcWlrd3c&#10;cOnWbz3M07f6GALiyZ5FkeRc5Zto2j73mnJw2aqxW1vdTuNLaaa0kg066uZfKHmhpvOiCOygA52R&#10;qoHQOAOvGeIorlDPcXLefLLZXdtHDeAC3t2mMO9hv/dBirLggcuGwd2TdsIbk6bfSwSeXarpSxXq&#10;rczySv5N3HhxuciPa8hOFBJ+dmwAcknzbb9PPYn2s2lTS91f5/8ABRpxXFjDYExxR77Pw4rSSeWo&#10;ktZLa/CKsZV8lnVnO3DfKpOTniExyG7vDIZlPny3UqI7iGBraZJNsgTcGYpjauSCXGCRyX3Vu2nK&#10;0F4+oR3DNPAVu4y0pQlLgs7FejSKFXBbHlgnceastcLftcajBbuFF00UUcI3JAs9m2ZTKEXc+YlA&#10;zz0xgYNF1KHLb1N5uMXyb6R+/wD4cWWULfW8NjIhNlcNGouIT588YkjYGU7QvKOTg45RuBmvSdIu&#10;IBLLeypppu7qN4WjuERFgmQl12QoCF3iIKEXA/eckchfK7KZhawiHEZntw1zeysDCWaJUYv8/wAz&#10;F4j243fKPu46qxurqzjD2sCLIYI3mH+s2D5GDSIeoJc4JPGF6kgGVHnVuhNPfXq9enT+vuP7rP8A&#10;g2j/AGrLrx18GviV+yl4ncxal8J7ofET4ewvDkw6Nqcyw6hbxkhiVivGYkY+VbzAyDgf09PGGLJ8&#10;7ZVkZYJSs8vyEqI5AU2ypkbW6mPnJPI/zFf+CWv7Tmu/sh/tmfBD4sXOv3umeDh4gTwt8QFtmM9v&#10;qeh6w0dnfCeL/lp5W+GdUGAGgQgDCsP9Ot0srqGJLd1l0+dYriyns7oRW06YWaEwOjgnCqHVkyCi&#10;Fc46b5ilUUMYnrJWl/ijZP71ZnHhofVa1TCv4b80f8Mn+j0XlbYzpI2kEjxSafdwtAWhjkJS3Mjj&#10;ySrnzH/cTkbAgT5WQk7iRjEuIkS23COSaIuIfsTEwXEUKFWezQxKMS25VjAwJLcgMcBq6pzwhkdZ&#10;nmSLY0SSmNjLtBIUBtkUpjIIOfL+9nJzWdJaxeWzoLiWY/uSQY7a9uTGfkX7qATRAZjPRkHUg5Hh&#10;VKd7ruezQqq/vv8Ar+vT9Ty7VrOe7hXa7XrNi8tb2OJGgLzbY0uSpdm8qVAYZwcYkG7AyNvh/jfQ&#10;71LR0aGKFFaWyhsmXdLpsrMzNYSzkojRyfNLG5VuMgEZbH09qKw3akSPbNHIqyLPcSxTadO86LFH&#10;OkCtIGtrss8TKejANt+YtXn2v6bGFMFpbTtIfNtIbMh4Yr6NF33OlzZ8vc8bQrJazdSvToxPl1aV&#10;9H/Wp9BgsU7Qivnp6f1t/wAH4F8W6dLa3zui+ZvJYzOhXcAMv5nbzFOxXUAAFeM/ePO28qyGZHTa&#10;Zd/lBwFaE5Hy9s7Srjp0Y5HWvo7x3pkDSSXPktI3kFHkBXM6IpH2gxqGwckLIp5LZ6k8/PV3G1rI&#10;Yo4HDI5AiD7pWBwdu/ocYyCOGD7gTlTXmuPJUcJ7O578ZSnFTsV4Injl4ASSBlbzFyVJ2vlgQeW5&#10;2g99xyeAa37BxiJAR8iIIoEbdJkEKsSYGFxk7W4wFxz2xV1hZreOEQJFIiKrRLN5+45Ulw3TJxwQ&#10;PUZwadAy7otmyTeCxjUEsuSWB7nnqD6rjgdaaTkl2FL31zNHu/hzWbqKaFLd42Cp55uI41m8pyQq&#10;zeWxweEjSRTkELyK+j/Duq3U7mBiixFQbaxu42VP3gE1xpjkhY1iuCxkgYnjYqjABB+LNK1KezuI&#10;p7OeWAqjxyTQnblZEZXCjhVRhhGUDjzBwMk16t4Y19GvLN2XUNkb+RcRrdohu44xG+xCykBxsDox&#10;J4VOOue6hPlkl0Z5WMoe0i+Xt/kfZVhcxvaW6tfyXNmkG+2uRlr24tomURXJ8xiwurJhsmDAl16q&#10;xwo6K0kCubedLOeXeEufJiDxlrk4VwFiK/Z7vYWcnISTjLY3L5P4R19J4N63a20qvHLfrFMYjGdu&#10;I9TjiMrYjkcNHcpjGGPzHaDXo1myBhF9ltosiTTY7C5I2Wksi7nsGk2MBbT7Y5Inx3AAIKpXr0qi&#10;krs+YxWGcJOL2/r+v6s+mtktz5jKJhIrJJDL9jWC7Xb+7Z2UxKVl2ERuOphSMjrW5bShoF/dxqyI&#10;qGKBg0anHAUZ+7jDLnHyMpIHQcrFcxELLKku4Kt5BPIixyx+WQjySnev723BZJxnLxAD5vmSt+zm&#10;jnjbypLeVzgzKkqSM8cjPIrBg5ASQMHjB52HHBPy91KS6ni1oWaZpkO4KAYZPlaXfiVeOCvXrgdT&#10;3PB7u3KSVRt3lE+YrBtytwQOcdQWx25HpVVblJthQxOrkHLXGwgMCUZcA/eByDx165q4uflVlJBB&#10;ZnZh8mT90dz6Z9utdByNWKkyIDIWAUuCUk8qNmjbcBGw7lt3KdhnnnFZUkKxEITD5avGEIWKIY3F&#10;UhjHGOWJiIJOc5OSN3QSfekKsZHSPesW/Cgktgn2JXvwNvFUriMMJEVWOFZisUrQs2QCQCHGCdwO&#10;7gqeR1zWc1rc1py7mMJV+TY8O4neixzMkU5lIRXCCTiOXOz5lOyUlsNnJgYJHsiWBpS6bPIaba7C&#10;FtxVSEObiEACL5hvUFt3y7hoSCZvLOPMMrlQ4Z1RN25U3p8w2vhY3XHyn5sA8rTeSRZnMUJaRj5E&#10;qJJFHc3BKgsmTs2zRKdybuGjyRycrzNtSOum9Lf1/X9eYwmbdG6SwGR2JjnicvAm9l5KBl+SYKEP&#10;HyTZYZyCI4lDF0NockqPMEASeUI2wI77Btlgz+7Ykh15BOSyy3B82KbdLBcW0wQupLTW8/mfuyzA&#10;b/3EwJRhjEZVnweorBN8rIxlDSRtagBkS5vNisfJziMLNGQTExPMeT/eInSxsrWv/X9f15j0JBH7&#10;+0W6Um6WVEkljid1MS3Pk+aP3bco8YAw5ZiTyamMchjWD9/ENpg2ciQhSrbDIYzl4g2YWB+cjk8E&#10;muLhnbzFkkliylzLcRSsLeXdGVWeIBpD5bn908RHyEF8D5XZFIjiNu0DCNA0K2fmMGR0JbyI3ZE2&#10;sh2m3fPzDIG0BWp77g1fb+v6/qxdZEDsqCKKNrh3eEvEYLgNyzkYDAOzHcMbhPjqCS5FKxVpg0eQ&#10;Wjn3uZ2tgCwCuA5Bkj3BZRnLDHzHHKxsH+cXUci+d5izRTKYWHKtIAJOVbPltnpIS3piURtG+6J5&#10;A21hiR5pnYRfIMliQCrSEE8mQHPOBhXstAjayTZBcO5Vv3CKIwPMaV1kijBXbLk7xnZwWOMMrYHQ&#10;45y+UqGU7kjDkkJuLxKqZbo/zFCwwAPmWQAHg10CDFuqiK4jhjzChaV5p4vKLJ8g2EsE2h4y2TJu&#10;HcjOddoQdwZ2UAErFIWMIAYKVzydu7zEB6/MucCuWuly3Z34WfLKx4p4lVyQRZvJEGMbyElQgcCZ&#10;ojtkbhvLikjfjDOUySUx88+IlZ59tyA20mRpxBuCM2FBIx92TcwYdFKIOd2V+l/FMELp8jGJ4mKy&#10;f6UUcRn94UQnqUEhZPukliM/LgfOPimONZpjGkbvEjQBnG6MeaTuOCgHlSKAcknDMwIByK8yS67n&#10;0FOaa03OWsnkiuYU3CZbdfOEY+WSOMyFiinAAZS+5TycYGSeR7tos/2uxhVnwVkXbOXwZThirjGc&#10;b9uSe2cHHQfOKzot0TEj4kV7l3wY5nIZ0y44HmKXXPGCh68GvYvBl+0yLHKx8qSQhN7+UqgEsCAC&#10;cBvMLccde+aw5eaNjaSleLfqev6RcruVWJVgvllSMZHseAc8HGfT2r2nwqqubhwEZt6K0Lty0W4F&#10;HYY5Kt5uPrnPIrwDSZwzxlnO9iC6n5WHK9emPXJOe3pX0F4Uj3qsowJFudwYnDFDBGDGeM4G6JsZ&#10;HUemK7crV8Q5I8nOXH6nJ/10Oyu4UuraWN8kE9gG2MON4BODtzkbsjgHBqqtoRMgaSOWNXXETWwV&#10;iUVV3sQcEAblCqqgFicECtBQAwjQlwAVZnl8xhjsQc+vWqyssoMWRIvzRpgo6qyEjaAWOWTBBJ74&#10;98fTHxJK0hRhnC5YKrM+BOeCSo59Qozg8EdMGhmOJhjDAn5lBkbAAbdtBySAVHHO7GODxGzeSsao&#10;Eii+VY1JKoinIKldnygKPlyRljtyMimqRnJ2eazAO5zNwGJ2htoJUbmAb+Fnx6ggFhVI4Vm2sQNx&#10;ZnAAHT5ieMYBI6ljwDzTV8oICFLKYxIzMjSMwxj5ieSdvHc/1rRFSpMYdSX27FnAy4J3J98gOrKd&#10;38LE8k5NSq8oQnYQy5K+ZKSo5ONzKDgHbuOSSOnQ0AOyqEh3A372UNIcAK20ndu4GNoAHTk4OTiv&#10;eO0EEbpB9oRZD50MZYvJuO11CEENgOzbSeAnGcYF5gSAQoc55fcqn5WyB07c/iB2JIYT95QhbMhP&#10;+sVWkYE9OnoAMHvg4waTV1oNOzuUrWW3Nuxtmb7D5YNsEk88SwhU3NBtbfgA7dpG4HG0Y25tupjd&#10;X3PICXLI2MknaAVyOGAAUDIBDMTk81m2SiOJRbyYXz5vNtnQwRmXzmc4YAlPmY4BHzBhxV7K+YSu&#10;d3JkBkCsQE4RurADcrYAzl92eSCLVajkknZD41YMC0jBlwpCsVjckgkhSxwCSFGRldpGcGosygxt&#10;FGjQiTy3jx5OUZvlkT25O5WxuPIOAN06nguVbchyFzhw/KlRuwO5AbODuPsaqyI88aja0o2lSsc5&#10;EdzuVWJ3AkoQ6na3YoQGG4UySv5MEbNDhIHhB8uNx5irAm0Ep8ykxqG5U52u4IyAuUCM7tIEMUjL&#10;tnib5QzZUBmO0FyuxVX5wGVn64qWZZk8thdnyBCLd0d8zK6ncJdwPzMozlMfPnmoEeGfdcWy7fN2&#10;+b5kTRzTLhWQfOEYMMgAn7jMwxnO3GSszopttf15Arl1Ro5I54XlXZLGXulcbmYEt84wfmdGyArB&#10;Vz2LiVZ9qwySKGK/uz5a9C25gXXksCuMfKwJIAJImZi5dsIjRDaJSVcqN3IPBAAIIbBGNgOR2Ywf&#10;cAjKzJxP5rku5KYCnD8HBQEbcHeGANSaf1+Q4HOxHZs+WpeSQ+XJIG4AOFXn7x+UgqxHGCKSIpcA&#10;Ol1bXDx/uWeCY7RhxkEByAQyY5yQVYdCciynBnVphEGDS52QopViGfLKMgBTkg4KAEbs8h2qojJe&#10;dXUod8hmX93uX5lJJODtDYHJIOPvYAd+hI37v5iyuok80Q7UyxBVQiZwMluQSeGbr0w7JCsDwSfK&#10;LbvL3YXlxhuBgscdR+FQS5xEfNkBhIaVnmWGR1VDu8zG3pvBOMAEo2McF4KqQVlbc0qxgmYtG55B&#10;Ay7Y4BGBg7kJ7mgFrqSggRFwkoAbKjzTM5AfPUE8EAcA9DjipRgbSQucDJxgk5I47jqarsyq4Thm&#10;kXcNzOYyDuBJO0gEAdCegPAxy9VWJNyRiINKMgdDlgMn68DPPAFAdLBuYRKccKgkAb5jgDocnqR3&#10;JPXvTMxkFguwrKYo2ZdjFidhIGc+gyPf1zTlOQ6ksAqkSM8wOBg9CDnGB1yDz65pjKW2tHhipPze&#10;aduDklcBh1Ugjt09BQCsgXADAYIRNkSSI4IIAA3Mev16845pWH7sgHZtKjMilyDhckH1wcAnoQev&#10;Shjj5Q2cg4JlIZzwWx83OM/hn0p5wWHGFPIXaQpLep/zx+dLZXZS3ItwPBZV3AKAXGR17Z7f0pkp&#10;5GV38ESLgjeSMEY+jGl8zGFJVXJHy7gXJxkrg45A457NUUgRgQoG0bmBIKA53AgtjjJU9Pr6VlZp&#10;pvqbR31KV4MxMfmUoNrhckjBG8deevc85PWvJPF8OVCqFVUz8uNwYEsGIwcjGevB4TqOvrFzlVKD&#10;K7trMiDII7gkjgDBbjkkY6cHzzxTEoSZSp2mPaMSABiFC9c55Iz+J9K5qqTdmtz2MI2lyv8ArY/N&#10;n47aQJLWeWOFWtYleIjGGXCKw29sYPbnAGOa/Ez426RIZ7ySRmSNZXjCeTnhgSjLxjCgAFjyC67Q&#10;cMV/fn402gls7lJGLbEZAzSlkRiCqZwSCB09COmOK/GT40aMJFvZJgBCxJxghVIYA49hgD/6xrik&#10;lfljuezQkou89rn42/EvSTJcXYiKKN5mi2sQYw+7KEEknHynueK+EfGNoXmvftMgBgTzU3cyAqCB&#10;8wJ4JUAdvlNfpd8WtI2vcTwmNISJMuG3Eg4OMAE+gznnntnH57eLrOFjcGV1eMSbFcZJIweoPup4&#10;6dcYyaylzbxX/DnR73wvb9D5G1ezSW7lQIW8wszMqEqrgcY9c8/XPWuca1KRlZAwDErGrHcwO0AA&#10;nOeff1I4NeleI7ZLZi+XG2QyRlX2ggLy3UnoOoPQe/Hm16+ZWjBw+Qi5bALEjBz2wckn2/OoWldx&#10;ei/JGFeEoy91ene2h84/EnTPs+oQSxb3SUM0hZQqoST0/wA/WvGp40VpY22hi4OEG4pw3zenX+Vf&#10;S/xLs2lsmuVSQGzzG7hyFkBc4JGTjA7c9znpn5wuY4w7uFYlsh9wyM8YB69Rur3MLONSlFnzGKpW&#10;qNt/11/HU1tAnU3ESQWvnOuGitnUGCPY2fNlz1zjJ9vxr0bTbmSKJ7u18p7hTuk1u+tS2n6KWwGa&#10;GEAl5PmGDj5d3AJCkeP27RrKchiZG2ssB/eT4yqp6heoxXo1q+o6iIdNNul7NbPm20+NCLGEttbM&#10;rA4BJKKecnPJGBXdGSUbvY4uWHNJw67evn5HX6fqAtLcyyXRtLa6ikF/qJDNrGpsq7jFBjLIG+YF&#10;l/vDdkVfiGLVYr0qYXiRrPQ7Ni87ggFJ7tsk846Hkr0CjBOfpfnR3N3JFYQXWrWkYiXUiytoegrj&#10;IMZBCmTcT84OBgdSci55Np9klZjJY2kh8y+u0kI1XxM4wPJthjasWQOTwBknJCiqp7NdDRzjy8ye&#10;rWnlp/VunQkmvGtLmMW90L+8a2WC41CWMHT9JG3PkW6n5TtC4yMgH7vvp5jjsk+UwWK/vprqGQpq&#10;WtOeCgkOSEULn0ySTk1lSWbzyRR3VhcWk6BfsOhWRD2sCyAMZLyfAAYDHynk552jbnRumkeAm6uo&#10;p5YmjT+1IHY2FhGVCrDERlSfuKCpA4JXPBFpTlJ32sRzyqRlTirX/LQ2rC+vLq9ne5hK39pA9o9w&#10;0fnadpEIXCKhbjfhu3zBjkEnBq7BqFxYhRBAjyyS7beORCqSuQ3mTyg54GCeDj17msm2hx5dmrO0&#10;MpmfT7EyFri+kDBpLlyckjLYBJOACOnNa2kQwvcTW1xcKssL4vHEbyCVHDHZGScZztHvkcYBKl2o&#10;+72Li5xajPZP/hyzaqPtqXBCXCxyqTEoLfbpWb5j6bV9SeccCtaV5Wvrlo7qyu47zaNT1CFcPGq4&#10;ZbSBmAAIJZWb2wDtzmRLm3N/dRB7a1vEtQqFnBTTbdlIjXaekjgcN1545IIypxNbWNgluk8iRzNL&#10;ZQTqyIiEkNPKuQcnbkhyTyOhGTo5JWmunQ6bXjzxV9vIy7y4aCxIVdPhjeVksdIRGMluM/8AHxM+&#10;Rz6BiS3lnjAwKOoJDJZpHp9yD5sYfWtfmYKxLNtW3t+c84JLHB6AdyNV1t71IJmDtYyt9owAqT6q&#10;yhC8cfUAfdGcnAA9hXM6hHfNfxRwW6QT73Wx0RAotbIEnMkxyTuAJ4OeA2cVCV5Wvtr95zyhJQtv&#10;zNX/AMtfmZz3NlaBbd4GcFDHp1ggDtekkYlmI4wu7dgAZ4AGOtNbK4uZZL2KW3kitJSr6owVbe0X&#10;DEeTHjLHBBHcYHGQMXFiltG8yKR4Tbq6XurMvmPNK4ZTFbgY4ALL19eRVm0iNobO3ZNpINzaac7k&#10;4jAyJJh/tZOAfQ44qEpNtp7F8qoNp6v8EtL/AD7lWZII7OKNZpbexaVVWLcV1TWXbIDFQWKxAKOv&#10;GRzk5JktvtaCZIp4FuIoQHMrg2lh0bC9i45+Xv0xnFVprcNc31w13FOTCrzX0DhiGYbhbwAAjC71&#10;Hp8pGeKitrecXturQfb5GYXI0WJsEIF4aZ+MYwCdxzy3IHI0tyJOPX/gEQi5QlZWb38/61/A1VhZ&#10;ooFgR4rLmOfUWBjvtUY8EIuBtBbGAB0xn0GdK5jnQCANdRLvttOhYm1s9wUpLO3ck5PX+EdPlrWj&#10;l5uvNP2m7V2ZrlrgLp2lAcDZyQdox9T65zXO+e0AmMEj7JJGhWZmY3mqSA8hgRkINw4PofWkotrl&#10;e3/BMKLs3Nary+9feRbbVUkkllmE08nn3mrSHjaoUFYUIyCSuOOpJFZ0nm/u4oEkltjxbWTKFMoz&#10;kySMMN6Yz68Y6npNZmuY2toLpLBryO2Vvs1uoFnpETAFUHUBvlBJyTnr6VlxMbaQXVpGIoWkaG5u&#10;5AHudQyc5ijP3VGQo7gHrSV5SvJaMurBJyco21v+RTV3nmmRLpLUmKOO8ugOLFMFmSEE4BYDA/iO&#10;786F+UjWGGJJls0YyCyVyk2pEsQsshXt8xPOe3pV6a4Bm8swIWkx5VuUWLZk/fkfjOM5y2cDuAKW&#10;6iWSZ2tLspFGgjvdTcM8ZIJG2FTgnrjt+tOyT5YEO84qpJ66floXtNj85ljjWN9QjTbE7gPY6OHU&#10;uSV6blU474yDg8Yktb+C3t9QG7dpkjlLjUZCbe61GRCCVQkA7cheM9wcYqg32bykM6NbRuVSG0BJ&#10;utSX5gpYdlzuGe3oeac/2uYvcb4Gls0A3xARWeixrxu4HLDJI6kt35pJ3XuLX/hjXm5lzxe2l/xf&#10;3f8ADnL3oWaeS5ZbZEETNFDEAhjBLbVC8HOOCehPXNZNzJGyttTyXkkZXBDHcm0jnsCcDp3/AAq+&#10;/lgmKGCQrGrFsnLErg5yeQDuPr0ptyh3tPLbJ5PmFkKNsVRsOAD36/Wk5Sik3v8A8MRNRjzQp91a&#10;/wDXW5RhKo8DEFVUK4cA4GBzg9eeevoaZeJLPJI0RUQMsrE5IkmXdg89wB3NWSyHy4HRlGFbCPyM&#10;Dv3GeeKr3MawwoYmZfOtHcKzjcPnO4jHPbipveL5t0zKpUaTg3by7shMkxOUiZkwNrDABH480VGz&#10;Pn/XTJ8oyh6rwOOlFSlG2pusRD/n2zw1pHGQjKAX2Rur71WMYzlcYzwD16n61bd7eSFIihQsPL+Q&#10;4GwDaCFIwMnOcH8qoIYnRI2jKqiksj5dgo646EZwMfSot6j5pxtibkA5kSFeygE8E8Vn00OC7hKy&#10;+ImnZY3VoyCiN5Ue9SdiDq2D602eKRFRUuonaUF444ZfMjjzjPXGCefpxVWQJIiSb90LsCQWJjiH&#10;93PUetNLRFXChxI2Wy6eaqJjGAe31Jx7UlHTQuMmpJLb9dhZpQdhhRUKy7FX7w44LEnnn60hBSNJ&#10;Q0U3ludgdcZbqfY4PrVVnlQFGACuAsbYyEBxVVd+1trDBG04IROQSzbe/f8AKi7auiJJzRM8gZDv&#10;8sbmIjRBllxjLMOMdT0rMlRG2jKguQN3Xy1HU/XmnSMY43KuWdXIUBtwAA+9n34qOFyd4YY+QSFi&#10;3PY49+c0RS5tNyouOgGMbfMlJLE5A2Y5B44+p/WkbIUYYBmbEm0cIc/Lj656fypsjEbA6iRtwJKj&#10;ABPGP5/lTcK4BAILSd+jMcd/bFK9n5BJtNt7kgG1irgsFfkpkGTv07gf0q8Iwqoc79rYRCcrk4y2&#10;OvAFUFdnDLwzbjjC46Dk/wA8VYgMYch3chwSg3chRycH8uPeqesfdIVlFo2EZ1CNEvzfNtXAOf7x&#10;yPStC1SSScvE5iJXZHGItw24GXI6D6isqJQquAkvJznZhkUZ+X0wcgVqxLJEgWcBonYNcuX2iFVA&#10;2oD19/zoju2jWVpKPK9ev4GxZs0Ji+z25Z442ihHk7sZPzuzH1J4P9M1uZm8yLZFHO63BWMSk5vr&#10;lyC3puUEc5HGR0zWRZQvcmGJJShcB2eSUJ9nQYJAY8Yxjg+taUChpPtFrNPuU/uZNg3WkYYlpHXj&#10;B+7yMZ/ShNNpMiEVGPLLX/hzo/ssdrI8062VxFHM737RRFzdzk7zDsHzADcFyDg/rV9RqF3JNMsk&#10;Vu7WTjUIrWDbDZW4YJ9nRsfMXJAxksd3XJxWPZy2r/OwkvII5iNNSR/JS5LfL5+7qAc5+bpitMSW&#10;tpLI7293JZQXSveFJzN/adxklVkZAMoAM7h05PXFOatZv+tDWCnVk47Wu/Mlt3uTcfK1tbBIxFbw&#10;PBuGl278G4KnO2QgcMMgZPXirFskN5dvbWFtcTxRTpHo1mLQK+pTsQrTSbRh1BIIJG77o5ySKrxG&#10;4S4lRhDLOd+qyzXpaFE+QpbQnaDjgfKTwOOxq5p8D3Efm3NnblLyB7WKSGFo00y2jUF5WAAKlwfv&#10;sDkA8ZwaS5nqt7foaOCp29de/wDW5Z8iGB72G/vBPYwTedqcunKjSatMyEJHDuwXRDxwQMrnsrEt&#10;XnubmZJtlvbQW4GpMYAHLZwlmuSCxwo6YYenHKyNbJYG6gtIEnI+xaNCbdrwxgE+bLMm053ZIEgP&#10;UA8BcrSYWbwh4rmRZt2IYnkeN7+8chmmZAuCiA8OTkfjTdml6JMSaje/XT012+46GO9lmt/IukhT&#10;U5g0V0Ut2S10fTsjECkEMzuCScEuBjk5ytWR41lmkjslsk8pYhDu2vp9vuAWRmIO53HU9TkjBOKh&#10;dLWOOHbdzXlzAAuq3k0hnjv755CsEUTrlWVV2sHXPKnIwBSyLbs895JPe3U8cjTX93LMbuTULnos&#10;IXIUDJLbjkcN3IBubalfqVTileMXfT/Iged8iS1WSVpbaSO0aWXyU0+2TDSTKmMhpWUDJOW2EdqL&#10;GeORYZLcSRSRWQsLTLMTBGA4mkbkgbmYkMcYz1GFxoGC4tY9SjghjkU3cdzrF5DaCZLdl8xYbFXG&#10;QoJJZ0zzhepUkSwW1yglF1pltO9kU1HUrdGa0eRVJEdmCwBXPyswUFh3HBFJykne4RknUik+u/5P&#10;y3KU0gFlDDJIvnXtiAgmQK+j2UBLtjBG15SjLhgeH7k5VWFo62t6rGCW9bN1bqN0dhp8KmNUwRnf&#10;ITjqeB0GQKjMtzm6ae3WGzSRFubdJgsk8xdmigVOWZVCjJHTcBzUgF3JJJLewROtnJHc6kkYjiFz&#10;MTtjtUAAwADgoOnUnOKSb5k2tb/5Cqe7P2cFd6f195FczK9vbyX1o8crRm7l+zY8kxkRi0t2QcZ+&#10;+zMcHg556yAR2clw8qxJPGFeO3SEyoLicgRopzgiNWLEE9FPerLsryyo4ee7jf7Rcyh0e2N4xxBE&#10;jKf9XFlcnHVRxxWdKIFd7C4a4vbhrma2huDcg25vHZVmu3wSHjQMcEcZIIzk04qybSLlFQ0m9X89&#10;ixNIIVs47aEE2jvBa3KE+Vc3bFN8rMW2kRgcDvsAPYjmYX2hxETLPHOUtpk2yKZScSzk46qQef4c&#10;DAwAK3JYUmn2aZcJBYEtb2Ekk+WjTafOuJOeA2Tj2PbAqJ0tIpGtGlm8h1NtaXyRiDyrdAFL5IyC&#10;5BHOCc+pwIiuq/rYKkk48z73M8JbxQ2xntwHhdxpaLET/as7FmZ2OQVAwecEcL05yt1p1pB9na5e&#10;fybbc+qyRELLeXbElLZSSQFypXPI6sAcYOjDZS3WoWaWMluNQ1CA6do6RKIxpkOVDyspIClwed3Q&#10;MccDipOyyQrLJD56WqyR6TB5xZrmT5VkvHGcuqsBwccgAbgpqm7qyViZVOVSh9lpL07f195jXisk&#10;7z3Eeby4jUywrhYbCMk/LtHAJJxjgdMe2JLaTbTLiZr1x54EeHgtoFyPmPUHoee1bzRW6xxOHS8g&#10;tmX7dcOu06pKz4VFGMlQSBgdMEnHOKLusm622xnfLu1TUUBEkvTEIII+XJXpyT3wKatbTQy96Tce&#10;W/8AW5kXaS/Y7eRIXEAk8u0JAzNKA26Qj2BHUHHtmsOdICXG93lALIWHFzJz83uB711dzDciJT57&#10;RXE4dHtVG42VuOEYn3GcH3rCkWSSbdbxCGH7OUtzIC22MEh5G9+Cd3bNZJ6XG4rlt5fk/wDh19xj&#10;SrGImPnSSSL+9uZSg2zNnAiU/U1Sud7SF23K+Of3Wz7MuOB9TW3MVkNq8UYK2sYht4X3MbmXPL88&#10;Ec5xzwOlZ9xGVklR0ZvKk826lAz5snGEU+gyaHf4bBGUIp83kYs25wh28n/j3gZSRGOvmMMVmzpu&#10;jKgMEjOSxAU3DZ6DHPet94gZVWdwssoHmODkQIeNmex74rNuXUoxJBYPiFUyDsHO5vU9eaEoszd4&#10;rllrcxTG6rgv8/8AHwAqr2UD1qo8angnG4Dg5yO+c4xzWs4DKF2lgM7mCkl26AfQelUZAwD9AS29&#10;lA+VQTwB+tKTinZig4pLl3ehmMu5lVGfZ24+8c+lMYODg4IzwNuCfXj8KtygbQv3Gc43EkHANV2B&#10;BDbic5A5Pb6/jT0at0FJSik+9mQkFyQxHOASONtRnBxgcgfLxyOc1Of9XhTxxg456c1DtyclTycs&#10;d+e+OnpSvbSRMm5LRaMXbk84G4kcnAYcVCOpHIAPy565zzU2Cp5KjJx8xIx0zikK8r0yCQoyQaEl&#10;HcLO2gw7QNxGAe+Pm4/yKbnIPrj7wX68fqKdgkEKcAj5SSTz9fwpo4wCO3zMOp6D/Cm1ZMUryt/W&#10;pesLl7W4ikVmBR1bgc/4Yr3LwjfxTz6bM0gSVriSblRtxhgQSe54wK+f1IyuFIB5Hvjn/P0rsPD+&#10;rPaXVork+VFLlyOVZcciri1ZRkKMpJ83Q+ufDl5Yzw2dm9vd3ST2d1YQrazwW6tJwymV2jJcj5CO&#10;UAy2OSc9ZrV/eQ3epzJcssV54RsLWGKOVx9qFu8Ns8UbBd8sSvAcFsAhSMDGD5J4N1qDZpCfaWtj&#10;DdXMkLxSPudiMxSsRkfKcrgdBGe5zXoRuG1SyiNx5ySSeGLq3s7RZJVUuLmaZsFn+UMzM23/AKaE&#10;k8kVrorS2tv9x1UJw1t6HWTIYNRvby4uZkltfE2mGbUoreaQO9zaSrIIWZeWaR5SHyVIaPvUMUaX&#10;2kaRbXFtM16tvq8M9jZWM7TFo8uqyybtpUlVkYsm4KCFGd26u18DZa0Xgtm1S9TRjFP5CzPYKipx&#10;DIz9doTftACsgxk9b8c0cVzqM+7z7u28VTq7yS2w+0G+hjdY5GVgTvcM21f4eAFGAZdud8q0v/kj&#10;qjecFFXu0/wX6mbawHVNP1W8jt/sOlxWOmXK2vkzGAxC5KoiODkhtwBZjgKrF26A3tQbVNXvNatL&#10;dY7aJPiCIpb60g+zQ2klxE6MUQttCttT7qj7o2gDIGPMJJtF0hWeK2Nx4fnRHR7bzL5YrmZ4IpEV&#10;gFCtvU5wFAjIzniA6tcXFzNJDbxWFpPqWm3d3aRJFa+WZIxA7BmBzuYsN4+b94COhNLli52vbp+R&#10;M5L4ZL5Py0/D9CmGs7aKHR2sbcTjS9Q068vpCuLsIFkDLliR5bR4AA78k7lpq2bXa32qJfyiS20T&#10;T7vZJMpSV3ZYxHCIYtm1NjMM4JCrgjgV0j26aokt7Yuy3M3iDULSzUsXthHLGjpEZggU5jOHEYBB&#10;jxjoawriRfLvraym+0SpoEU96ttBI4jEc5R2lzhSuXIOPvb8sQGIDfxKPb/hxTjNpxg+n3ar/gWN&#10;K61KTTHs5rZJFuY/GUgtYUeaS4t1uLZVRY1BBxIo5OB83ALHGKtsYLcWpuGSG6ubC/0y6SeGZ1sS&#10;64QykODktxxyNv52dRa1OsaxrEMVtEg1HTNUit1ieYWq3CRRKkWSMkEyMWY4BGBjIFV4LcvLa2tk&#10;to93aeJNRMk8tvFJbsksC+Wsm7LyEkSEKejKp5yKzUk73v8A0lciq07KPwr/AIL/AF1Kk0zz2OrP&#10;cWhEI8PWjGVHSNke2lQM5Qt8qhPMOQN2ScjOWq6kMOnaxGNOsmuW07XFTzJitx5v2yNZUV4gp+Yh&#10;2BDE5XqBhhWVDDFDYiayeKNLrQ7i3vII5PNljkSc5AKrneRgqBkHf3yDWzcPe6h/adxIJ7IrqGmX&#10;800F3PNeXW5IgJzCz4JKP8rcIowQMkltJXkrr+tf8hKdndR0s/y/QoWguYNEgiMrKZfC9xah2jkb&#10;yljvUlEYwAXYlQwwMj5wvGa7GYTtcPfi51JWhn0nVYrOGGSW0v38iFHklbzlClSsi7gpCuCFxtIr&#10;jbIR6TqzWd9bT3Ytru+06K2kEc+/7RFIIJHBY5xhWKjls8YGDWimr6pJbSN9otoTeeEreM+WbeO4&#10;I0+coibx9wrFvAXjCrgZypBC3JbyHGo6loyh5afLX13Oz0ltBlvLPS57q9M58SXXkgWcMEYivIzu&#10;UyyMzo24OD5Yy4fHygsr8ZE1sliosp1d7zw+9vOZreC4EPkXIKhV2sANkaLvUtgkn5iMVtQzSxXl&#10;vf8A9owWsdr4ktJlmSDdLFJcRFxNlVz5aFicYPXJ4xhsF00i6Faw3M12sEerwXAIuzaoiqZANoCD&#10;lcsUUKSAAAoOazsloiua0nO2mn5/8Auag9hbSOkUa3Nra+JtK1uRkne6ikWW1C3KsyLncromQD/F&#10;z0ALNNh/s2ZSbaS7EA1jwsysrIWlLK8ciEptY7Rw3OAhIAYBhjy3FxbWE0cwuo45tBhvLVPKmiW4&#10;2XDo+7bkMPkXC9WPByMg7bSSf2pLaXN1HGsXjm3uZb8K8y2zTWsu6QsXONzMzZ5yEbAOSTcW0mun&#10;9L/Mnmck7LW62/rz/Az4WuNTsb+zigunt4PDtp4ga8gjma3iNvOLeRui5QRui5zyAM4yK14oprS7&#10;0+C31C7nmstbmka6KMkEi3cKsjYJA2vtILv2YHBGSOdeP7QLtmjeeK48Kan4Yt5rVCZb+eCSOaKM&#10;xM+0AMyAx8L93IODm887x3SXGkCCwuLe20jXkiZ7O8hSeBxCJndS6/NIu8jJUcKAQOW+VOMo/P72&#10;ODgnaP8AS0W5LeT3U2ii8mCPA3htdGjEFlNayTJZTySxBUVwSR/HKRuO0hiK7TVEuxZXXi+Gxntj&#10;Ff6ZPAUs55LG4YxpbSyS3DSbScyoSgzt3A7SSoPGx2OntexWsmo2kyWuqanos8Vsltb+WGEk9rHj&#10;gAdTtUADOScc1Yu7m1/se9YzYkuvDWltbmKNTMrW1zIk5YHKlgrhySoXLnAPIUfNNd3dP/gGz0cr&#10;LR6aeqHaJZebdaUNRtAJfJ1uC4iu7aaQXzeU10gfEm4qwKghdpZQNvXi7p2pXVrAdTa2W9aPwZZX&#10;jWux4rcmNhDHKWMhGQWQ4O0hgN27JUM1GfT01jVNRvGWeyg8SxW1tFcGE3PlXVr+9lZYQVLhtqhO&#10;CPMIKjHMR2RaBFYWRuVN38PWllj8uC1a9Nu0s0Mcu1TlVCEscnk/Lnbkzyq10/X8xQauqb0Ss1r3&#10;a6nVwW1/r+seJbS6sIJE0u/mU39nZQ6fFZhYtySOFYbi+5ULFiQZAOcYrjmnspPDRgeSJ7o6NDcB&#10;l2l1azv5Njklsni4OI+VG5jzkq1i5vvtmpancJJLDNca5pl8/lia03Q3dqIpTwmApJU5yCQoIYdl&#10;tohLLDYPfQW0ltFrtiDcfayLba6zqNwGAwd42Bxkb2+U8NTtv+XoTNuTSbsu/rr95DNplw+t3Ue+&#10;MbNQutNiQPGJc30a3atMchmxvwWOcbWDEA4aXU2t4b2O3sr2a+tLlrK/8+C1a3CE4gZ5Y0cIWQyM&#10;uGygJ4JO1qvrKLuYvI4dI7nR57iaNrpbG/iZZIZVij8neqt5SkMwQBtu7aCoXmriGLToJLe1QXsl&#10;za3llMu1ZVhkiuopllRGQq5RPL3PjA25HbAk7ryFTcdY9Hb87mqluLmB0ke6mSyk1bR3N3HMb5Fy&#10;s1uMhsLvUBVUDIH5VOupTSS2WpWolk/s6z0i+uY8XCwS3MEwVvL+YhVUJxwN24g9xSW0kDQQQTC0&#10;sr2DXYNTNxCVC35ubdI3dnLBkG10yWPRR0pfKs/7Ju7lJ9OjW38Hl5J3mtbcCeC/VGjQGQhny+7P&#10;8W5gGYlQXTUVC7X9blVZU3apbv8Anb8rWIZpPJmkjuFczSNrGnSvJbzXP2xpEjkRMkrkliq7jwhU&#10;EKRkFBb6jFi81CS4S8e60q4QpDJc3Vx51vLuYbT8gUxqOmP3ZJIAAOhJHbNqLedbRPMNfiso4JVt&#10;nhZL3T2Ul3zhVEiwsMgMSTkEDJybzzHgjleC1uIW8PRTxtdywWs0S2d6IJGGyQkrtQxojbl2SMQv&#10;Kmpu2+aX9WHC6jzNXbf3bIkkjjhS0mR01GSK0ulis4ldmVbK6W4EspK5YgIGBzgYBwTg1o6w+jfY&#10;tNa0UCa5S4fWLWWWIpJL/rgqwgA+WoEQALEBsngsBVAutneahpzfZklSfUoYLq5iSYyGeJnZI4lO&#10;VBERQEAbQF6AcTQW409o72WET2sFpbyy2898bdLoSwSwu4jjkBypG07yOdwA5zTXLHlkt7fcFOrU&#10;ba6Lp3tbcvxXiaq7XEThYYtbtp5LnUo7WIStd2W1yBkGXDFQgOc+YScYGW27yM+nw+ZN9mee0uJj&#10;E5ElxFHM9oSY94HG9yA2AowTwMippk5t3sbtbdW02GO2vZbeR5ImAWeeFoueWZgFZj8zYAJIIcVP&#10;cvazFZTbzpbW9nexyojyxRqHkaaGRd6KzBQcnKjjHvmlK8ulv6Zmqbm1D+t0bVvtitZ5UiDW8MMT&#10;yieELbxSC42ZZCrZCiRWOSMnptJq25S3s4xZ3EcAe1dboQW/2ea4EbmMrlWDFPljYBsgbsjndnJs&#10;ordonsf3dtbXtvJG9sZI40jQIlwo+Y7tz/M4PTnAA4qEQy3VzeQKJLc3JkjLgAsn7oMuMAqAQrHK&#10;jkgY4BpVJWd4vR6nRNwi+d66/f5s9D8HalBaXRWVQ/nQtFKxVkMDOGUqQR2LMcjpkHII4/0uf+CM&#10;n7T5/aq/YR+Fer6zrtvrHjj4YW8nwv8AHNit4761DNpjKun3d0RKTtubVIJEdlO4hwDkSKP8y7Tn&#10;isVguIZobhFMmVAJt/MXaAq9GKgnoR0HvX9Nv/Bt/wDtFW3ws/av1D4QeLPEdxZaH8ffB8mj2+nr&#10;cmCxk17Ty99psku5gEV4W1CNHQ7i4hGMdeqgvbUamFlu1desb/nG/wA7HBjOaFSniIu/Lo/R6O3o&#10;7fif3YMJ2imaYB9jMJZDkWkvDx73yCAkgQLLGAfLI3f7RTyWLzOA6eZIyiKJUt5JvlUB+QP36BPk&#10;JODERn1FqeFldo8q0Rg+ZJEVAW3MC/8AqiCJAxWYE/IqqQBnJpvGEaZ08+YMzQ+TbyGG6wm5xGnz&#10;IokjLEoRy0S/xcMfDlvax2wldX/r+v68zPeMuMRSeY6KshXc4tH87cN+wM4EE+GXnPlsN2MiuZ1X&#10;TmeOSRdPklV0MVzC8ZW7uo4nJMcZKqftEBAMLg5eJSecAnq5nXYFd1mtplQvdW8jLasZ9i7uZX/c&#10;TncgAGYtpOeVaqk1jaqpaNJg53LI9vAy3srW6lFZX8sBZ4gdiNu+eInqACvFWpJryPQw9aUZJ3/r&#10;+v66ng3ivwzaSm4tZbi3SFnMz3CYleFXaMwakIsv+5fKRzp8uJI8gcqR8r+LfCZglaJ45DIJSksK&#10;k+WkyKweLedoOQ5eNyORuz32/fGq2EEsMUU8ltGOXaWNEOnRy3KSDzwGcj7NdYCHAIR2z/ex4N4u&#10;8NT3UTv5Pnvb+ZFBbGVZL3ZC8rz2eFQZkh2lonYszqQNzMrZ8fEUkveaPqcFjXOHI3f+v1/rufEe&#10;pWsWm3kbon2uJCWdBKcFQcYJUtkgoynJyrA55zmVVNufNgEoRyrJnjPyrxnnHGMnHU7q9F8V6Qm6&#10;6aExpL5nmrcJhorhC5US+XtIwfLIaPqGwfY8DbOqwR2shj8yAjaTECB1HJAAA/vHkfKCemRz2SVn&#10;sem25xv8v+Ca1tLCIoJI5d0U6NI0bRmAqzqAw6/xDAY4HQdeK7PSLvbMXMIkQzh3jDAjK7Tu7ZKb&#10;VGc5wB6c+exzQ+Uk1silYTkoz+Y/yqRyoAXIDMD2+U5HHO/BcrIlpLBH5MsZVJCGCknY58vA44yD&#10;kdiffFpv3fI56i6S6o+nfCfimOC2l85S8sNxGti8imOISShN8bhiMxTiNkdRwQwwRxXu+h61DPbx&#10;osZ1KFrIraMqrE13DbmF2tJMIxFzZq7SRN8pkCr0zx8U6Drcyz/Z3hKyu2G8qZo9y5AMRPHythWB&#10;6g556V9BeG9esLmR3kCBbmNbspY3Jn1AxoJRHdwM7ORcW3nAndk+UG3Ljdn08NXaZ4+Mwqnd2/r+&#10;v66n0RBdqjOEvZGJgiuZr4RYikBX9zqaj5Qw+7HcKOAME7QCW2LVyRmX7Z5kby5s3vSsdpLOVYWz&#10;N5oDCR+YJCu1FO0Fcha4fRNakngSaFrNXXb59wgYafaXErFY5RiMf6LebTuOSEkz7EdPBKqkRhbm&#10;bzFmsIrRGMV0Y1AMlhIzTgCaJizxTZ/1X3D825vVhJNc0WfMYmlKMuVrX+v6/wCBv1kMwIjdjL5h&#10;iyUG6JV84gLmMtgFmXjOdhDDIDHOnEwwGUghyqqQhCqAemM8dx+I461zUJdk3okjllZkuXaWF7oy&#10;+UQ+FU7EkxtfgGIjIABBGxGw3TljID5qhd5JaUYRDwRwu8NwBgfezh+eyE9EmeTUhZ2RogFtjFSG&#10;zkgsNqexx16/oKhmDKRIoYsWC7SFxJkEcnB6dScdAcAnFKrxhSrbSyOsbqmSqP8AJj6feQ/j70ro&#10;zA7QkbiTeCCcNyQpbge2R6d+Qa1avoYp2ZjTblE8cxh27TO4meNoiob5yT5YwAGVZMj/AFbqQd2S&#10;aDtFNuhEhMbuLYJFcFZnKR7zGjrJkzIE8xW2/NGQo/iNbrqm3Pmqsir5uTPJHF8q7s7Q2AnKE9QR&#10;kc8GsW5VWGRLK5kARIYrl2mdIyH+U+cRvjY+bvAJZNq4PBrmnFHVCTYki3DkOWWSR413bbVvs8rS&#10;EhTzExVJwFEq/wDLPAOf4mrskRQhUvP36+VLCrJZ3cxQErGHEiFZ0C7lcYBjA68MFa3hujsjgjly&#10;plWWe0JtpDcKXOWaHaY5wD5oGdj7Rj7pASkUjoyKd7RtHAJBFPd+SFJHLL++iKht2MNGFHOBtxsd&#10;MdYr+v6/r1ERSS0qSKbd3F0bnc8gfeFxMoKMvlS42SxjAQZbIzkP8shjm3AcwGJY7dj522NVLQAg&#10;p+8Ay0LsM7Q33cnMG+NjE7tbyKwW5eZf9XtdionRdjDy7kACVQQE68klqtOJJftCiO5+UtDhJmt5&#10;J0OWeCLa6YmjK7kkx/q9oBJLMBd0W+Zf1/X9dhyPJL80cxmeSVHe5iVZkJwEMqR+YxWN9phZMfK+&#10;W2gbmqWJZFM3E0WY5EjWODcwVGVVPKFd8RZkQch0O75u0McpDAsVEfmpI8yN+5lEuAkyje2Ip/mQ&#10;qRlWBbHRyxowitgzQKFY7YIIs2xUqnmKDHy8CYReoeJM4Y9RW6gt+X+v6/rzJkjOPKYESKixlreM&#10;MYduXABEWNqc+Xu67iDyazL5H2MvkzEFQf3cJZoSArfINnHJLITg5LegFW5Xljk+V1jidfKUpIqK&#10;2SoMag4y5B/cY4+/nphorqIsifOcKytujWIyEDkuvykjLAsM4IJfnoawqp+zOvDu1RK6PI/EsU8g&#10;lka3kiViRHPbwlk+Vd3yMUwSpUOgwM7mGeMt86eJ4ZEfzIkVoCh+Rn/dlW3OyqFUfI6ncoBwJCMk&#10;Abh9MeIYSsbgxqgzsiEK7RHhRITFmFQMFC8Z7qzegWvAvEcKwTzbQB5ofELcQRCbAKAcYVw7GADh&#10;Mcc7S3ktXev9M+kpu6T6aHht1dvbzFYlIDRF4mZixG0Y3EZHTadwI6N3GM+oeDLiQPIjGJZIsiMo&#10;CpBLbgPvcn5SVPAy4HJ5rzXVZkF00skiRCDZOs4uE8sENGFkALhQqljGUYcvz0Csep8LXIN7GB5I&#10;ZoRCRlWLskjhkzzuMZclW68qOflFZJt+pvNe6nc+htPAWaFlU/IAxAyQ2CVz0/iwduedox24+iPC&#10;AdbWNWOVlneNiATLE6omCSRj5hGc9OdvXJr5602NJJ1ZWGFEasmAoUqg3HIA/iVnOc8NjpwPobwi&#10;A1rBcFysjW22RMEQyKJMI5bBAbiQbck8k/TtypSeJbPGzuS+pctjrwSZCf3mSMku2dw/3BwMZPYc&#10;gcmkZyX+QEsM7EcAB88Ak4JA4IzgDDe1JNKigs7cJKAY1jaRyScL8oBJ5IxgcYB6UM/yBmARFBkd&#10;BE8q7QOh4GcqwO3HGCO2a+kPiyGViFxLCDHNuEjKpRYFAZ1dyxUgAcHb912HqSHZEaNJvwqwsZJJ&#10;YgwQ5GWb7oGOTIowTgEYNK6gRuS0UEm7zfM27WfaU3NICFyPlAb1UDBGRirLIYjK+4nc6pGqykys&#10;NrPtA8wjeAGkPy5aPauG20DSu7CPKGw0ZT7SdsZ3A+VMCreWryAMRGx3MsnUHjruUzeers21JJPL&#10;Lth4CkhIypQ5xyFye+9MEZBDGp8rYMBfzMGaBgzOkgkO4L5m1yIXKjOB8mBjA20KZNzKv3oQUMH2&#10;nzLl8oQUfLYDtgMj9dq4O0E0FOKtdGssilQ6AEMC6gDIlByQcjOQ2VPGTyODnFC5LYLYZySiNgoA&#10;M4boCeGXg8A4HXk0o3ZgsgYsGBCvzHlSclseX8pZhh0P3Qpb1qcPLvClI42KgIzSGdXPUAAlckfM&#10;7dMjGCcHAQ1bcz7u1lF3a3Nt5sb+Y4u0BIguEMT4WReBgFUCybSwwB0q5HG0sasv2mFnVEVZJJFu&#10;FCEuqyMC3IyTuyd27awPILrxPOEaxSmO5gf7TbnDOCVwCHXPzKQ21h1w2Rg4NZmnzLLa2ssdtFC6&#10;2zI8El15r2ilgiqMBswsY2IfOMIMZGdsJ2m0aWcoJ22NcS7WMb7iVUtlGCmQqCHKoDu4+UkY6uCP&#10;WnqRhYWQsWAjYFmmCfITliw5HAG4/eJPHBrMyswbEpJVyJGVj5sPlMWx98jzI925gQd69iOKmTy4&#10;xIEKQ4mVcNuhgbeUICEAAhixwwzh2YZPIqlJN2RLg0JGgmEscscUkqPtcRlpAkkQVoiWcEE4CsHO&#10;MMO/eKObd9plAdF/1o220jOBgDDx8YkBLllUZYFSD0FTTXiKXkkb7NJbJHJI8mPLCvvH7zBOEByC&#10;d3BQnoOWs5EwhjbcfNCBRJsCkJuMcx3MxJH7wNtGQACeeZmtLl09GObf8hhhBZXKyxyjykBLbd2d&#10;hZsAbcj5WXODwKjdZCCNz5jYZCeZ5owBycEB8dQGHzDg8g5klaUlmEfKKTsiyXmXL/LkqoDbQMZY&#10;AMxBPGTDMBvkcE/OVjPyvI6bNzrgAn5jvLIQo5CqeduMvI2iPxKkgMsqKzxkrmNXgMgVST90N8oB&#10;AG8kqWz0yHswKJKu9xuDjMjMMckkbQ+SFbKgDB3AewGMgKBQflYF/mGCCVO0cqOTwCR2YHrgo4jk&#10;hSRVMq4aZFhhU+ax3OCNwIDbgSCSPmIz1oDpd7CGNUEjHyYmBB3hApUhVOC+VLbQG9MpgHocyBfn&#10;kmRQzgBGR2IRSAOpweeF6Dpye1RmeLdgldwlPyxMpaRkzkgBsn7pGMZzEwx0FSNGhXDKjRqDJkp5&#10;pjBHJXKnJxnj0YjsKBrXYCzACSUNv+55cLecpO4bgPkBJygzkY6+9L5jncQMsoOcHeExwR05ORnF&#10;IUBIZgBs+ZZM72Gc7ugAA79fTIxxTlXEnzMm4jCJ90rwcnPOc45zwdq8d6BqyQ4by427AZFDDAJJ&#10;z16joOvb72OKjBYhZdu85JLIp2lc5XAJPY84znjmnFCYwpCncAAjgMigL0OQSehP1P41Hg8hvLfo&#10;fnQA4ICnAwNv6HgZoHFXeg/aMYK7SpL78YAb2O7gDHIz2PrTQSzkkGPDjG4+YTyPY9RnjPT0PQdj&#10;s/5ZxMvyxbmwD8uB355wO3Xg+qhwqDYYywfLKD6njccn06+oPSlZMaUl6saAxJ3hizsTtzvVeQcd&#10;vU/n6YFRPlckEMG+fOOMY6jA5PTjNTLtCqo5AJBJydwy3f8ADp2JH4wOclug2Nl88hTwCM5OAAR+&#10;YrN3vY2hvYpTDadp6AHCMhRRnIBxjPAxx7muL15A8W3y5HDlliQw/KeSAN3HG4cnI612c+0FuWwG&#10;ywK4yBgHGMdR/L3rmdXRPLKhhI4GMGM7VPOM8c5I6Ds56d8Kras0ephW1qfFfxStf3Fyio7h4t24&#10;puZ22lRkcYHJIOew6k1+Svxv0QiO+hCyDDFAww6D+9x7ZJxxkjqBzX7P/EjTLaWC8Zp1yqFwwhfD&#10;KjMM7iuOQxJyRwntX5afGzSYGN/FKoich0GRhjywz0zkY5z6jqOK4pSl9k9ilzpKK33Pw6+NNg0a&#10;XUO4xuJMtCF3rGFBAOSFyRkDOB+HSvzh8aW5jnuG3MF/eIWU5ILblDDHVlIDHOcnbxxk/rN8YtOh&#10;iXU125jEpLSYGAFO7aCOmeDkc5Az0Nfmj8R9PSCaaYvu3kJFGZDEoOVDEeuC/UY47dTWCShK6fU7&#10;nKST5dtPzPinxjasrSyI+EYnMTQ/PGAcAKCc8HcTwPxByfJDAEl81gXLuY41xtKfKxz6dQBxzll4&#10;xkr9AeMLbesjBUb5mRir+YrkHK4IG0EDaPfA5JNeGatNJGwIKhyhTBHDLuJPJyfl246jASkouLv8&#10;/wAkcuIUXLnpbL9TiPFunPeaReMxlYNEwAjUM/4jHXIXPPQGvj7UwsPmREyl953gBVOewH69PWvu&#10;m4WKTT7hS7TMyY2JEwRQqMSOMfeYqS3YJzwSa+JvE9v9m1XUI0TEMdyXiWRtzHIIOf8AD2r1Mue6&#10;n02PFx/LanJbdfzOZiUecWG1MoWeVlOVxksQOmWIOPX9a9K0Zo44C80jWNo1wPJtIJQ2o6rgMEU8&#10;nA2udxYbRjOCQDXmZh3FAsoVpJVIy4VCVPAI6ce+a7HQ1aN45PtUSQoxM15OhlkYkgfIoHTocD06&#10;HpXq005Nxm2eVyRfvp3X9fmerStElnbaa9nKbpg82neEbZx5UEUSt/pN65IDFi2Ru52gklF+URXg&#10;uXhvbozpIbbEEusiAGGGRDvFtZIvDBVCqAoxySAucmO2v7m2s7lZ4DbRazCDdanKc67rUasNscWc&#10;siDYANvB4yTxXR2l/HqsFpaiGGC6tInSGzuLvGn6XG5UtJMTgFyAflJ6jnPGNmoQvZ9jWEYSvGfp&#10;/n8/Uwo/Pg0Ca0S4uLSwuQkn9nzR+ZrOvyKBtLqfmVGbcw/hfAPOeLJivLi0s7Z5rNfK2Spoyhor&#10;bSyuF8y5YggN8wxjOdrYPJq2dOCLqN1FLutJo2fUPEswaW4u9p3LDYxkcA54bhsEZ2jOMqAMqW4m&#10;g+zW7tujs2uTJrOog8hpRtwuCw5OM7xgEZIJKHK1F7mXLUhNci1Z1zzxack89s6TI8i2+o+JTlQW&#10;XOy2s0K8KfnPYngnAG1mPGr3DSW08iTtGZbCHaV2B2B8yYHr94tjknP1pY7uwSCVLlZJdZSSOHTo&#10;7CLy9A0EgM7By2d7DBz83JLEsxNW4rWKS11Kae9km02aSNZLtV3XusXCKGaGMlixRXBJYcHbuPVR&#10;Tun7t/dByiuaEfK/qamkXtokMaBILq5hujFPKIDHLqdwybQXPIIXGc8EjPPIxbmnkEF0byZ5NNgl&#10;f+0Z1UkXR2jy7S3I4HUcEkjoTwMc3p1tMbqSKGK2F1P+4WRh5cOkQgfMRgHdKcAYwccE9q6eOBL+&#10;3+zysZbs28o0qHzAbfTjnLXMqHgnhj/D97JbHVtptStojT97Tm1J6vb8LeWxlXkF1OJo1gW1uraA&#10;B7cqYLXRYCpUB/8AbOcAZ4O3kscDlpkKRROtysNsrMRJAiz396yhN3lkj5V5GR05HJxXUPLLGLwz&#10;JK8M0gUQTxBW1WU8tI5IyFGVHrkDPXFQIkNgLmdLeCS+llImvSjSabo0eMMIgM/PwFyScYbAJ+7S&#10;928mtSLWpO7vtfvfy+/+mY8TK32dZo4rm+Wzc2lg6jydNV1YvPMBg7tpJGck5BORis1kSSWaVHZ7&#10;TzPKvLlQft2q+Xx5cZJyqZAGMdD0OcDRvzYzwW1xbw3rQSzFfOjPk6jrkhA3LlhuWJQ5IIHJ9elZ&#10;WpW8r5mgnt7eSEmC5s4nxb6UhOGYyAkM46YAOCx5PSrhy8nv6Pb8jOVWtFStt0/r+vMghb73lQW6&#10;XKBjZ6eECWWnxtt8yWaTG4nCgBOnU0tusEUX2d7m+htrgH7bexJi61lgDiKIg7tgJIAGOmT6F0sV&#10;tPa2yQxyKk0ggNujFr3VnwpLEA4C5PoBx3IJqBLme2v7e4ea3jurU4LTqzWGkt0K9CGYYLcbjg+v&#10;FTKpHljBd7lKcJQTqK+34GxKLVTa2dzb3sjRsxtNHtgttBCgCiN7ptu5uSfQ453VjXdtLDLcyw3M&#10;UskRWPUb5IgLSxUbz5Fu/IJOccY3EDg7Qx0GupbeC7jF9LHZagqLd6i5D6jfvlmZUUksFztyM9hk&#10;9KhkEN75bS2TefDBs0/R4ASsK8sZ5ecg9Gy2c8cjCisnKTikzKMuWySsr3f3a/195Q1H7LPbWklv&#10;bYtkhDCzjCpeazKWAZyCOFJ3HJ6e5JIgmS8tTKPklmiTybm5j/eWumRScbA2MByHRcjnPPBqUWFq&#10;0KXdmsxAVv7T1slZF+ZsiK2UnO4EMCQcdDnrUb2k9tbwWM6yBRdfaE0oOsl1KSo+e4btgcjdjGT1&#10;AzVOa5+W+prGpO37z4f+Cv8AP1MKe2YiK4khMlpeEp5scOZrkjG5c5BwvyHrxuPB6G5PJbI8KbJJ&#10;5tnlx2KRAW9gON0jserD0I75OcFTHdK7eZLHcPG8JeWedcLbafCQAEjII+YnJPtmpBZwJAZ5Jp4Y&#10;TEFjsgAb+/d23BzxlUAGCePvcD0dk3r1MnKScnS0j5j5gYhO8UYmhYBG1S4JYkDBKwDrkDA+jcD0&#10;sDyLW23okiWr4MGnsxNxdNgHzpTkcA7iRx0wMj5jpTvKlvp8Ys4i0ECyxRK+6HTFwAzzHoTwOT1x&#10;3JAFKV4fsct1G8+yYGOe8kxm9d3dmjh6bVwdvHQHngiovFyVuhrWajpLay+9PyOB89kunnldpIyX&#10;UDbhQQQQeONuAceuBUizIQxJZoXlKhTkmXKFVA9Me3pnrSXFuxEjttjMokEUI6oMkBfqQR9c1Vjg&#10;uInjMiq6RXPmqoIAB2ZGCD0Gcc8HB45zSi7692ZrnjJLuvnd2JYYxHiReXwiYbDBwckH68/rVJbS&#10;SVpi0ZLwxHAYnzAWkPT/AGuox6E+2JWjkP74oX+4E2txj5snjpjJ5P8AU1JBctGiCHY8ku77Q5Yl&#10;Uw2c5z29z+NVCKT16jUYJqnVWnlvfQxrmKZLiZJGkjkWQq6bAdhBwRkEA/UUVfu7W6uLmabzyu9u&#10;FDlguBjGe/Trx9BRVqCtfnM0sR0jp6+h89TCdfMadW2zETShXDcMchA4zjkfr1poQK6SSliiIXlS&#10;Xkpgkqu4Z7+tWZGjjG1WY5cqXB3LK2Bz6YHHT3qlcmRCCmW3Nlw+ASxyB93jHsa4mrrToc/MndrV&#10;kzPlC4RA2BcSLjBfOcDIzjg+2cCotrbRJKAUAMsjFdhU4+Vdw65HY1U82VEMTRLgYckDbI7+g7Dt&#10;+VXGKyRuZWeMpgpCvDO+MEen/wCurWqDmU9ba/5GXM6uCSG+aUOecsTg4AHT0qLcIkO6M4DYkGQN&#10;vHHHv7VaRUkZyyECMrt3DClm6E+wz2pJFiRmLqCFw7v1VT/CAevPFT0tYabfvNma3lMHCFlIxKRn&#10;nHUAflVcSyGR2jHBA3ZIUnjoBViQuGlYgB2B3sowWP8ACAfTp+VR/J5WQ4WQNnaRuVs8n3/GluuZ&#10;EQ6wb0ZC24tGQ53hSCMjapz6+lRkk53uxIOMhgCx7nHtkfrQN2Auc7i2SR35z/n2pkrqWwqhNrbT&#10;gZ3DqTn1o3kEm2rv+tiyrxAsgTc3ZiSdoAGSAPX3pyySBFfy9gQAu0YG4k4ATr071CFaN5AoIQgN&#10;5iqMsCvT/wCvUkYbd8xIGDkg/eOe1F3omVdJPl+Zqw+ai4bzG43PmThmbhR/WtWF2ifZIrMAN0mH&#10;w0jHJQD1298dax0KrsWIsct8jMMFexYnof8A69bcUhklhMUSyRoQkAkGY5ScAuR2+uaq9mnEqHLL&#10;bR/8MdJBLZC0cyy3i3Zm3TFYd1tOQchBhtx7DgY69Klt5rWaVpWie1aSTdcLs2osan5Y0b/EemTV&#10;GOaS0line3MsIVlskibysyZ5kHrj3q3LJcM/lnDkJudWhwZWIXlwOmAevv70KKbu9wknyvlei/zN&#10;q2muWuC00pUyW5WUKFb7JaAEAFMgZIBxjrkVp2lzsIjtIYp440MOnW9yW2RqVO+dWGSCOCFPy5Iz&#10;wuDk2cUhWWCS4RkjKTXNwjACVgMpbo4GT9D1xjODV2xila9ljaZbT7QjLPPM3/Htb7SJAyKSD1PI&#10;5x9Rmmn8MnsaVJKSc42Vnr597eppadLdEYS1W7hhuzKbOO1Ek15dSAqhKbSXRcnOMjBPHrqvp93b&#10;iaA3Bu42RJdWu4JVkRVb5ktUbABJwVK47kc4JrCsJb2zltrhAvmGRodGkicyrb5ILTBgchhtXluA&#10;e/Fa6rp8jvKrSyC2OLeR4Gi/ta93KxM5Bz5a/N864PA4+bcFG7XmOlKSk9P+G/4a5JPZ3966RhoN&#10;HaU+Zeve/wCjHToh92JGbGGYA5U9cgA9w5bO1dtPdds6TWrOght2U6bADtnLoyr+9KqOAxQ9mNW5&#10;LSwiS5mvr5NQkt73dqU9vIt2mpysu9Ih/DJGpIy6/wAQBGMKShtZ7xbiNjYLPPCt1d/Z7n7SLK2+&#10;UJaovHzMwTCAHkckDOHLV+8XZTkmuv8AnYtCVzqVrBoNrd21obt5PCwurQ2UqFWKteXUbFlV8ckb&#10;iowdp71QlmmuGEVlGi4vTaabMx8uKUD5JbghiAQWycv2U4OCK1ZZJ7aIxXxayl1O2kibyZnKaPZI&#10;AGjXDEgyPlju+bDcZyMV7yeZ7qZC9rZ2ksYEcMkrzDTrNDnHXczHBOfvEseueRvlqaarT9Cpcy5Y&#10;z3f5eXoVZJRGiC3MV9ZCc2mmSvMyDWJWDZuGUgHZHnOG5B4PJ21bE6PFA6tLOlvKZZlZ/NXWL4uw&#10;zkFWZACowTnG7+9RJK9+baeRmg8+1Wx0hUjQrYWSKyySuNv3nwBu5OcjPo5LNYxHfW4nSAOYrYSx&#10;iOW1jwyvPIAFwSQCAvYgjoMt1JNXmupFOnzu6fS/3ESSx5jbzrZvsT4i3RCOSW7YtvlBCgAIxwGJ&#10;OM45wTQS8imC2VryWOX7LpEaIxOoXc0mZpCwJLeWCGGc5znjGComtn3LabneINZ2t1GBHF9mAKzT&#10;MpGcuMYwcnPPXirI9h9uhMaPY7keGwdZZITaRYUNcuMna0m3jbyN3UhQBNm1a29vvFTcYSSk/wCl&#10;sWV/s+UR2Vm0tvDGTZ288qFZ7lwp866kAPGcnGR6DvVSJwtpHbxmGyeRJRAdhR/s6kMdwwTmVlVc&#10;47n3oWytlkjulmltI0Xy4EMhHkWyNgKqno020t83TfnuBQBuktpGmdrkDzrvdEWe1yxNvbgggYLE&#10;nHAwM46gONmly30NXV57qK9Pu/r5squu2Wcap57yxoi3SpsVYEJjaKNdo43ZUFup3etS3KtNDLJc&#10;FZY4XjZjzsQyKTFChHJI2OTgfw561cc3d5cSRmOK8vmd49zMSb+5baFcOM4CA9fu5Ge3NIxpA80d&#10;vcz3IVhBaoqPJDeXLK3mPtyVIUllGM/eyPQj8jKE4355bp7PzK8axiSXfdm0eRluNQuraLzHZTgC&#10;2Tv0HOORjGccFl5HN9oZ4jBbf2jbK0iwkKunWUa/uwcnkuA44w3yjhiQBK6W6wwSLE95FGzQ2qAK&#10;rXdz3lkOMmMc8rg9B3OSW2iZZoLkxx2EM3mahfp5hl1Scp8sEfT7vTdyo3c5wBSXvLzJ5faatbdD&#10;JLWvl2s0DvBibbpVk23ci97mQ4xg4ODydwrNmjdoFiE8i2ccxS0g80JLevkAzOvpnHPQgj6jY1aO&#10;LzJXnR4r6W4BlSKLENlb8COFT/eIC9D6daoywHcVYTNeSQlLYuB5OnW4UtjkZDFQDRzvlt5/5Fyg&#10;46xfRMxLmdtzREM1wXH2u4LbS5BYJEuTjAwBnPOT+MEybiLe4uo4leMfamj+UwryRCCPwH51ovEJ&#10;EDRQgwpJ9l02EsFe5I+VpX/u4O44PB4+ozSluzorKZzCwUsr7muZQxHJ9iM88cUWu7vuZThKEHyf&#10;f+hRe2kh272AkZMwjf5cdrERguV/vYxyOayblnGBGS8Tyl7ViPmlfhTJjvj1966OfK/aULxPFEn+&#10;nSlCRuzxEoz1z6cdayp45JSsLMkE8g3sNoUWsAA6gHgkenP51FpXvu0VB8ys7W2MOYggAkmFTmS4&#10;BxJdPjgfQYrKlVkDgtudlHmORuMIPGPbtXRTRMFieOJSoJjtYVj+Z+OJCPTnP4VmGNUgyykiNsXE&#10;mOZ2J6A55HPeqdkuVbkJXm3Uf9eRjtGcKFwv3hFHjKyHPLY74qlJBJtKEAjdjeRuY8/0rXfMjJk7&#10;Z1JBYDiGMZzg9s/1qnKhKgKSR91M53KDnJ/pUPRaIFSjJOa2X9XMydWzkkn5QGBxzycgf57VXJ4U&#10;qpQbcFRjoCR+tXnAfcU3DYcKCcmRuhNQSAqwDYYL94KMDPOBj9aaUbtIhuSSu9LlIqSMY2HGRk7u&#10;uc/59qg2kMDngjoMHJz1/l+dWjvVmJG5WIGWxxkY4HaoSMEk5QHGMDG0dRn9KEm5WFZJWT3ZFj+I&#10;jkA7hx+YpOMHls4yB/IVIykdi3Hy5OaZswgbHTIyP4jnihXa94La+6vXzGckEHI4+7n5etRnIzgA&#10;fLt6EgY75qTGFIwccjGCSfp+VGB03AZXPqaE0rtkuzUZXItwHThiAxwN2Pw9/wCtSwytETt+UE4b&#10;kcfj9aZgltvcKDxwOTn9aUcAHGBjAA5zyKHJqNyE73dz0/wnrBins4nYMI1fcS5Hlkg/lySePWvd&#10;fDWvJIbIYhidLa/gOAheUOjJjBzwNykDGBgMea+SbW6ktZkkiLcNuz0Pb/GvbPB3iCJYUg2s1xcQ&#10;ShpEUbocZYt0IJOQOew/Gt42kkx05KLcXse8xXVvJpam8mjC3GlQoHRo5PKNtOjgLFtwGcRbdzk4&#10;yQM4JHZ/brWDVJZyTbeV40sNTgsTIFiWGSJo1MkCRclNwBZmGfMO7Ib5fMNOv1udPtVhgdJ5tEuB&#10;cXE0hlWN43kdHCsQAf3YO0cnPHG4Dr4rBr1bvV7iYwWKQ6ZNfXMJ867ZWZURlUyjzOS2EBGcEn7v&#10;DbipbaP+v0PQpSurJ2dt38tF+JeeymsWnZrG7uvKl1nT/NZjb5xs8lsldyqvmyMFAJwoHfdVC70u&#10;VNLs757ponk8MpqAhmdrd70W0rIQIwxY7grFSDjKEFmYMK2oCFktLuS4kuIpPHb2osJJLeK3ENxC&#10;5dpcSEoXXyv3eTwCfkG3dl6Vpck9rb3OpXZK3NhqmhQwxSQ/aJ2tmuysKKBu8tWBLYG1flOVOAIi&#10;oufurXt8i5O81O91b83sWxeXerapZabo9vd3VgfHMdzEkcEjyA3SSRonl7wvO9gAMA7cKcBSWNBH&#10;Yi3eGWC7u55dS0K9hW1RlihRxJCHIYuCWDMBkbgHGSF4jVmC2d7b3NhHHcafb+Ip7a0jVhZNp032&#10;VwGKhjK2/cxBwQeFAGK2tNu9Jint9OsZIVtT49vEOoxNG6yxXkQ2RKiwMZCwMob58AscjcSauNmr&#10;S9PyM4xnBvme/wDlf8NDk5EtoP7VuI5W+zS6Np9xapc3kF1chFmgCb3VOo3q+QoB5C7cHbsXV3Da&#10;alq0mnC/RYfGUFy0jGSG5iEiM0gEqhSuS4JZeQy5DA5rEmhFvp7TPZrdPfaLfaYLS3eeN7KW2uhC&#10;QTu+ZgsakIxx8x4BBNWZ/NguLqW5mluhLLpmq/Z+G8xpEI3uTJj90pAOAQC7Abuam0fd5Xq0v6+4&#10;TjGKUFva/wCCX33ZJaH7INLVbP7ZfNc6tpkFtPblLVoVCTRTsokyZSHbGTjCgnvWbY6lHHY6sbiB&#10;/wDiY+HIPs7RRw+XA1tMjeaqH721FPHRcnGcYrobmU2MyxQPbpNa+NJ4I12JCLdL+NmG9AWKDy9q&#10;lSTkHnqc4OlySwtG7LFeQXWlaipiggklaRIELBjhdmxfmOVY8ISVBUNQ/dVm/wCrFQfPGE1F7q/n&#10;qzT89nW/nSWG3kn8R2jJMkUcj+fdxMFkd9uWBXeWLMPmYZ71BpNttS90yZkmtrmz1axt5md1cymS&#10;QRPKgUAE4JUkkqAcAgkmW7tbljLMIJ7S1is9I1h2QSvCEDRI8o+6D5nmOVUEdYwzDPGtfW6WsUlz&#10;Yfale18VPFbCW1iWR1vU3hp5WmB8vahYMA2TJ/AAWoeiSl5/oWlGMVOm9fLfu1+JBpxtp4tS1TUL&#10;abytKtNMvoLZUkYXkkM0UKwHMi7VYqGlwflC5wc4rV1fUb59bMGmQaRdXE/ju4vY0t4D57SXyAAA&#10;M2VhO5y27JO1cBcHfys8kjQTS3MtvLNdaPdRt5a25CNb3L53ICBGFVDhRjuO+BLG6xTXKjMMZ1LT&#10;b1nklUTCOS3lhdnUAHDswbcMt+6UZwAKUeXZrX/hjKco3koN8r6G5p9reJY6fIo0mWdfCWqwK00d&#10;nMI4oLmUbGRiTG42gqxAyoB3Z4p326IkqsMNwb+70bVLi2jjijuNqeXuXGCQeuWXkgjKkEUllcxa&#10;eqJZWN9eeTdapps1wJCIJiiy7YYIjCSvls0W8cDKvwWJJbfRRSWUM9s8ltLN4FtL+8laGS6uZpUv&#10;x86kL+7jYLAwAOWBK8LkG+l27p/8Oawhyyu1butl2GzRWd/Lptp5llK0mv6np01vH5MNnHbtbIjA&#10;psxlmK8A44BOCDi5aXPl6P4gSa4lu7KTwOsttHPem0JNlfqQFjVMZBkbMeclZGx92obCxn02+t47&#10;q7inaHxRHIFuLmSJLhLlS8phAAVmKliMfKuOWGSajjN5c3ljYy2aiFp9U0iFEeaSBGyMgvkfvE8p&#10;stkbWkbAXjC2s1on/kSo2lbqrfdf9TptReK1uGltiL6+uNY0zXnlhZpLOOO8tY4vIEJhG0JIy78n&#10;LEEszdGxmhEFnbWN8oW6g0LV7CJ0jmmu0urO4WRYQoUBVHnAqXXPyDBBAzQW4lOla3BBp7vcTeFt&#10;J+ztFFKNhgu7YFpmZsAEmTI5GSuSRwNXUbewtdWvYWimvLq78U3cL3qbZLJI7qzM2AchjvmVMjAy&#10;q9eAKI3S93Xf9B2jyuN9dNe9tPyMebyr1bhX1gPc3OsaXdWkEJnuXiQRRLIVCBYztdCGV2XIP3ie&#10;a6O6ga6SF5727gujJq3hK1SSN7e6Z4keRI42WQsvmRxHGCdq5KlgOchWjlsY9RY2drcReGLaRYBH&#10;DDFM9vc7JGDcBNscJYvkjhwSScjcsp4HurKG/v43H/CZwzwxxWdpBCYbu1XE5yCY1OCpYncxU7uH&#10;YNKXM2/T/ISuqfK90v6+4ivoJLa01G5ghvI47rSbHUpoltJWs91tPFxJK0oyAke4IPlALEjB4dd7&#10;Li/eb7OEtn8b4fSLaOTz7rzLYSGZ5fOIO7fInKEDHHLc44jfUbS4s7yeN4LbRtS0y0SN47lYpLK4&#10;8w7oS+DuDfLzjEfUla1b6/VdUvJ7aKykittR0jW42eO3VLIywQwFXfABKElCHPVGXGelcrk48n9f&#10;1Yyqt6Rd33/L8ypl10S2061cGex8LXFrcRYmE+pTWV6yJu2sQv7qFHCkktk/WrLOLme8aGPyLz+0&#10;zcicQOsNiJrVlPlKH4O6PAIyM4wMgVLPeWlsptIdokgvNaiguMQCWXLGaTaqpyWQM+S2Op+iW12h&#10;v0vbk/ZrG3/sW7mkltbe2ZA++J5FaG3wOQ+MqzkS4JPLUlaScur/AOHHGnrzN6Izre4cJBbokpkv&#10;NKsdxXzZJY0t7uW3bI3n5AY2QE4xuYEkhSb0cjwSNptvbC6njm1PStR1FpJt7JLH5kSjePLUR43h&#10;wAN7sAW2DbZleeG3W1kgVCbPVtNiiaW3RxGkz3MBdvLALqrrsHI+TB3GsyxuYLOWK6vxa3U1zq1t&#10;fSCORSLtLi0WNFySFUK6gMcZ+fAAxkxKMkvdWpcPYztH7PX5IvKmTqWp3iulpayaTcXUmbi4hCtI&#10;0HEYj3ljIq/L0+6DwxFVpWup47jTlmmaGOz1HT47JRKm4o6zKvEe12w5AGSFYn6nNh1PVLizSyki&#10;D20+iNE8ab4oJUivmYCPDDKqWTk4PGcDgDbWaSx1JlijcX8uu3NvBK52LKZLQsUK79zlnmRBgnnd&#10;kdzfuqzv/WhSnCVRRhok1+lieO0vrq6nvrbT5n1I6jaC0ht2e4e1hvbJ0D4VM8soYgsDljkvg1ma&#10;xFPa6ZJqERAjexjvZBKHjE0thehyInKDcQIgQoyOOM5ApdOuGtgpfUNQmt7iHStRmt877EIqnfIW&#10;V+hyiouMBSwJ6gyanDKn2yVYIJIo7y+sbW3RDKsO4xNGEUyEhW2SEkfOdnOAcUOUYON/Uqk9ZXer&#10;3/A2tY0nT4Ly5voJ7aG1v9Inm02zmuo2aG4R4J87SqBUZ/NZVIOBjJyQKbpGoWqauPtMjSWjWeoM&#10;0r26ySs81kWgJZZBx8pABAGZOAOQaMsUXk2xnj86R5LRreF2e7WWOSABcsWyAm0qEBwNuOuajjjn&#10;uo7dpooYrq6WxliDgxwxhrpLeXcmw/MvQDkneMnqCRW/KvQtOVrOVml+N0tS7aXJtJ0mZ7iYy2cL&#10;zzMWc3Hmx3NvO8kgJAC/L8oBBEi4PY3FXZEn2syXkn2WyjlghkYm3L+fbkuSgxufyl4OfnUcAnFK&#10;8lMUrW1vmeHRbQW4uZ4k8gvZXao5VRHwmNuFP3RgDOTlZFvJY79JZrL7c9w1o6yuIZYfLkjukfYG&#10;UhWVgVzlmAjJ4IZod2ueWxTp395O7ff0/r7i1YObc2+YLoWyFhM8sJeOJ23RMCwyCAYydoGPlPI6&#10;n6O+BfxL1f4QfFPwH8SPCst1HrfgvxPYeLtNKTiSV57G6hu4VjycEEoVK8dDkgZr58e5mEctm5Vr&#10;eG7kdI50821kdXDhiT1AClV5wQehIzXTeGpWggMm61i1D7Skdu0k7SBFBIZiowDkMCORjZ7kHXDy&#10;9lP20fs2Zz1o+2cqbfuyVj/XO+CnxV8N/HL4OfDD4x+E9Sg1nw/8SPBWmeKdK1PT3R0la5hhe4IB&#10;CgBJDMkqjOVhOM8gejlndlWOKN0ldSZUuhHHMhAIRGWXPmY/eoxXBjG0lSSR/Nb/AMG2f7VOk+PP&#10;2e/Hv7Luu3xXxr8Jtfbx34YtjjE3h/VUthM0GTyLe78zeB1S7UEE7s/0rhNsaxmNgQTBFbozrbsp&#10;csPukhFYRgxlv9X93PO045jQjRxLdL4JWlH0eq+a2fmjDB1JypctR+9HR+q69N9/mURLui84SrNa&#10;3Kq6Es3lXDTHAZlIcrDNvIPGY8E9CcV5kCMJHjmhYqxzGhkmfylKkh/KBaWJshQTh4tx+b5saE6z&#10;qkm2IEvJuZFDPbuHchS4aJtqyAYlX/lmFJGCcmvvEjRK8Rty8+JoXEccweMErCpVlO8AK0bdGiBB&#10;ycGvPkrxsehCbvdbGPdQswmCgHcvm4mmJs1MgVWXaZMrb3SjauARG6scVwuu6Wbu1uwbSSVWjwcR&#10;Ol6ywByqllQYntWWNY33nzVyeTtr0w7WaN0mEtuds2YZW8nMw2qgBdlaC4DHaOkZHGSQVxr2Dd5g&#10;O+V5Z9jFFAvJjCjAAFgoE8Wcj/nrFHkcHjgr0lsv6/r+ux6uDruM1f8Arb+vx8z5E8beHbgsZWa2&#10;kn8sSzzxw5RwVPl3qOHYYkkBSaLja+B/dNfNut+H49NmeRcBY0CmMr57x7ASMllGSCuM/wAQwOlf&#10;efijRbe6iaItp8UqP/aXmQQBooTcu/lXSH5z9lnUHzF+Xa+5gMFhXzJ4t8MTWZFrPaSLJA4tZICC&#10;roUYebEQwU5QFXRyPnO4ZxnPh16clPVeZ9Xha0KkVd/13PAbOabT2njjka4im2soZt27AZW4PBYB&#10;FCjPO4jGQtblrcF5CqJJHAZA5jimKtIC3AOQePlTbknDZ4PGefeNrG6RGj/0dgZF3sVQl8Ecg8A+&#10;YOucfpVq3ukSdN8gQ+SybVRCIwELEEnPAyDwRhsnI5NTCUtGjqqxbV7XOxtprpZomfZP5TRyOpfa&#10;WDlWI3Y6EcA5+VlYHHNereE9WiSWNUuDEwuS80s2TFbkncs5Uj5gGwGUr2PWvGbdwy73IMgY5zHt&#10;aPB2HtkAttyMALzwe3V2U0Ec0M6xjzftAnB3uEPUFXUHO1vlUgY5IIPc9FOXLK/Q5KkYu8ep9leE&#10;7q6N35caQSXHNlbiZPJsMSQo81o4CL+5uxEskDOT5TMw5GA3p9jeo011blo5Y2iUJC1y0d3fwwHb&#10;KhIkIS8s2BDbcl1VOnBT480DXnjuFhCxCE2sdtcQSIrzXMayq+zcdwEkRIdHGOEA4GM/Rej6yspa&#10;a9nMVsXh1H+1LYi2WzYhY49SVNy/KS4iuBj5t5Y8E16uFrLSC1/rY+cx2Gb96X9f15fmesxzwSwl&#10;nEFzbtEson8ktaXguuIpSywEbLgEifBwm0EjBLVuWk4DruWRS8zRBHgdWGAq/MTGDkZKjJH7r5uc&#10;EjlYNzyDz44EunkeE2SlZrLzZgzPFuYMfIvFQSqTnayAcnKnSsnDRKfJupoSN8ctxYkXaoCYWSVT&#10;D/rYyxiIOSYQTliCT6kJa2Z85Wp6NnVrId68NtG5Su1huO7rk8DG1iB6YIOMVYIDtjczbZANskeV&#10;HGTjgZBBIzzyayrSULEMJIsalhDstcBVjcIEUKmNmGHlkcmM+oJq9DlMoW+ZmkmClCCfn4A7DGR3&#10;5645rri7rU8+cbajpo2kTiSaMEcFCY2GQQCT1yCQcHrjGKzbpA/lbJN6H55QZ2XcGYSbkIfggqZA&#10;MEFV2cA8a77nUoEKuVwWVtu0E4yGx1HXH+TQaMNGAuYVif5EQBQqjCKFTaemCQv94D6BTXVDpuxi&#10;hEuQyC2huARIkvmAvDMLhgygfumUw3ABdyCdjYGDziJMYUiaclYQq75wJZdhJLbdy4mhwRIMZdcA&#10;5+6NGWErIGlSNy0rxFmwYAXXaEz5ZPlSnazddsnGTisxpY13SExwRsjXcjAFrg+Tn97hXP72E/LM&#10;pBLgAHONtckkk7I7qTvt/X9f13JFRZP3ZSJpvnLqihLO4MxLBSxjf9zdY3PtLbW2jk0wPCI1LTSw&#10;2iqRLCxa0u12BZACQysrxBGOMYaIj73GXvFMpKiC3ZSX2QOBMAzMX8knYdsUwG4En5XCr8wwtNm3&#10;+ZJG7ywSFUnt3aXdJIFCHzXUMpMkLcSAHDRMoJbIAV+xqm72/r+v68xjBmVdzpM0uxd+SbUtNwRn&#10;cR5NyqgBRny2OeSRtmVVZyf3kwiziR0LyRbNyiTYY8edHu24By0fOTwDXWIvFLEEDr5rwPbmXMUb&#10;SqHeBn2v+6myHUjlC6KMDABC6xsQo8qIOty155BjknwBF50nyKRNGUKzK2P3Y54yFNd2VZ3dv6/r&#10;+r7liYgRhlb5JE8sQwvGglOBtSBty/MdoaJjnA3DIyuIpGLJJl/OyQsUiFIVAGMyAgnG48cjllYY&#10;wQA7zlUNbzZDb2SeFZQoibaHKqfM3fvMNJHjHC7TtOaacSgPHIkrSwrKkqsyQziT5g4C5AWZQx/2&#10;WUH+Kspp8t0a02lO7/r+v6ucH4htgYWTaWZmKO1vcJHdEhJHKBsYyC5aMnOAhXg8jwbX7aNmuvLB&#10;lCRu3kxzKXIl+YbJODyATGcjbuwMDGPozWIQ6F1YAS/uYwbhoCxkK7ULEgZJ2kHqGGB1APhWvxok&#10;jSBg8cxK+bk7pCCQSx3cFiu7B4Vtw/vZ8mUbyPoKM24KJ80avHIjyGVkYGMlkk2rHIWQpuUbsANj&#10;sBgpu64xc8Myu9yZNrIsCb2jAYlAm0I6nnLKSoK4G5c88DOl4msVXzV+ZgwZGJyoDbcrnHPzscHA&#10;BDA8gkmuY0dlt545GLmQyhmdolLBd6qvIHJ3bg20fKmCDjO3m5raM9G7cOWPofXeiMpht3bBEibM&#10;qMsrDaMj67zz0w3XA49/8IOhs449xRgksluWbKyBpCXBHU7CYz1/5agcYr538IyCeztUI2lpAioP&#10;vKw3Nxzzw5A5+p5FfRng7d/ZsWfmiE0mwMuHtTkkgE8EEMenQ+vJHoZVFrEyv2PAzt3wd13Orm8z&#10;LujhMKd5ZOcAjOBux0yMkHoDyBgoshIZisyhWZZMruOMdVXgNng5AbowqSQoVBYYRsxnJ2Ek4UHO&#10;QOvHGeoxURcx9RmVsAAqA8n3yoBO0ZO08Z4J/E/RnxwDcFVFDRlUQiNBhI9hB2BsAFRx35G7pUDN&#10;ISpLDzCWBijbDyDax2bt3AYgujHGAMcZNPcbGeQyMi/KmCqoozhQI/l3E5bK8tkuV69FQJOpXzEl&#10;SSLLNHlhtcsCchydr4Yp/dC4z0FA1o7lJ1LLmQ74igYh4WcFmJTeyYyFO5hIh4UAdATSGMrIodi+&#10;5tqM8gY8ZYQTEklhlmaN8AgDnn77gmJ1bcElcs8aRkRzbcrum2lAxPzIsik42gHrjLGkJU7BGCUS&#10;Ft8T3FuBKd5XdnDQycKjAEJuIxwVXKTfNqaLoOSTa7gyFZGJDyOogdvkZgcbf9aAFBXPKKG4BUVd&#10;iCtEqZY+bg4WVmQjk7oypO0cErzwMDjjFP5Q3yjb8wT5mUS3DqpITduBEgUcMeGRh15xNA2TI77n&#10;LvvKgSS27ZZlDBmQ7cqvzKDhSoHfLaJp7ClrqWNzbVErs0gj8zdHH/sjdgc85OQDzhiOcVnRLLmI&#10;eVBBLCZLXMYQtGiv8rRg5JRgqhkOCMcYIBOmQhVgRtXbulOArDPIJbAww5Jwcg4PHWsm5D70k85i&#10;EtJprhI0Iu59hhKyxRg5zGVUMvQliNvIBmW6Y4WacWaEkTmRiJJIyflbDZJUDKEAHG4Nk5wQVypB&#10;4xArhZIi+8NgvGQPLRVYAcHaPkPBcEkq7KP7pqwyPLErHE0rRiJvKGy0mLKCzbSWwpIU/wARXBxn&#10;J3I+UXDs6PjdFKVAcNsY7mC7QzcNuQZzgcVVle5F9CvKJYBHMszMkJeC5RR5kgDKm1nUE7nQKhz1&#10;KlsDnFNmVZ4kmt4YJmljCkMQ9teqAzrGGwRsIYsrjIB445FSqkm0hI9skQQRBh5kyFckJn5QRtLA&#10;MWwTIVbuCkSpNFP9nWJ4HxJHbNiS1cAkEb8EAHBBVQQpHAOfmGrqw4yaaIop1mkAkaTDAyRormJs&#10;N8hyMKepIIP3XIOeV2vYu7EfKSEVRvTKEtJl/my2PugfMMBlXtxSkkNCQzoDEDidNhAOGLEEqc4J&#10;DcHllPGGFOmQMSv7wsCH2FA8bMrIV3HY2PugH2BIAIzWB0pp2aK6hCCyOxi3NKEBEErFsKSANpGS&#10;ZNwcZEjE8Y5EdNjITJJHIQGm8lgd7lvmwRwSVAK4GCVwBnAHMofEq72aRpxH525QoUIHYFlG0BlD&#10;oFI3SBgD1p6qS7kyzngSnzYk8qL2z5Y4xkMGbOEQ980AnpYl8xpVRgMHeTtDMDjcNykBh8wxtwc4&#10;YH1NMAEjKArsGI3P5JXB4kRiGTjox4OAzEY3Hhhl3gFGH7gfOHKO8RDL8rsX4yFKsME/Mp4wcvAm&#10;zJIiEhwMB3VUbBYKrYQ8HdyevA6jqaLcF5D0ClYzsSUOpI2bWiGSzbgcDgYXkc/d+tNGGZiSUDqW&#10;JabAYNuB2jOFxkcnnkU4hQqcfJGCx2oWDBlYYXAAP3iABjqPYUIj4jYswGA64kZGGdrAYPQHGNvo&#10;aXMtGy11HlzsGAu0jLMB5i5Kk5zjkZBGcdTUcyj5AY3kBTGAFxzlckED+8en96nYLhgzYwQf3ZWR&#10;pOvHI4yCDxj7557lrj5lK7DgHDGMbsH16e46en4i1s0KFubQahbaPlxwQ6q4kVSoBIDHkjPH4dBS&#10;7lGFbK5BZwSuDnGe/A5J5/vGlTcThwY3LmNd6gtJgZDAg+m7j+VNUtlyJPkDBO+5cfKTuzyfw7cZ&#10;paONuiNFe9x4LBA5ZgW5IA27R1JIyeev+c1FIx/hfGSN3GFyW6D+o7A+tNQbI2jDGQ8shctO+Sc4&#10;ZmJJIOeOwOOBgVI6M4PX74YD05Vv5qDSVuXme5SSUryKFxvVcgn5lyrggSE7cKM/pk5rm9SUPGUR&#10;sBR5YyzKGBxg8fePIPPoRj16aclgCu5gRwuDlwcn8OASAff0rEvCUVgoBHVsZJbHUZyf4sH8B6mu&#10;aqnyqx6mFauotanzn47tS0dyFAUsjQjCeYsahnbkHgkc/LkZz25r81PjZpBDXcgWZlcSMUJwCwLE&#10;A9z8uz06/TP6neMoPMEgaF2yHOCMg5O45ycAYAOfYZr88fjjYExymJtjmRkJIyCTuVcnJ44H8u1c&#10;b7tnr0ly62PxT+M+lCRbyWWJ4oiWWKKNfkLlsHI6jOVHc9a/L34o6XPvnhaPapXBVMZbJbjdgdxn&#10;BzjaeBkV+yXxa0OeSC73xFolhJ2KfmLZY8/y/L8fy8+K+niG4miZXWRZHE7GLYV+aNUwTzzgDkDo&#10;OuTXNJuElJHXGLXuX0f6I/N7xlaTIJl2mEsQ5G9V2Bi3BUAdScZCn7vbAx896vaySSSG5Zdj7kKq&#10;ASN2cBSOV4wc8nPNfWfju2IkuIXyrPcl0YNhdhZu2QcKCM5OTs4PIB+ZPENsqPPJGGG0h3XaH8kc&#10;KMe5z2BJJOcVpGSkk/v79xKDhVWvyOLHlukgdpMNDtbEgkK4XDbiOmTnivl74o2FtDq+bdfKMke+&#10;VihAyOMEck8Nng57V9TKJAswVSCM/KYwomJwABzwAOARkV4T8VrKWdLe8jQARoIphgMRhSA5PHUI&#10;OfVq7MI0qvO9meRjKc50eWK1/pHzVNAoMbuVXAEa8hdmecjrngfSun0C4uZL2CIoJDBGMxzgLZWo&#10;QApvHfG1CfoOvSsGfG5MgkhyFUplRzxyfoea1bB4niQzRvMTIUhto0+a5b5c7ueh569geK9pN81u&#10;nc8JU+SaV7f1+p6Xc3TQXKXcGsT6g6QrLqGsXm9oUYLl0tIjk4LFghBBIwAoOK6S3kt5UgtbtLvy&#10;HX7Rb6bAManq0rbCJbzgusaysdqY/hHO75qx4F+0G5WeyiuNQEIWPTIHa107RTE4BaYsCSQQG298&#10;DLDoNKzlnt7G9u4b6PT9MkRrXUPEEjYvNVnAQLbQKw4VDuOAeAEboVB1hbnbb9P6+RXJyRclpZfn&#10;c0by9ltLlWlZdUv4Ih5VoiMukeGUbCEmMExmQAnC+vDFiGxSLqiSXVpNcujIZdQ1GeQxy3a42yRo&#10;Bk4Jzuyee+B1SO1bT49P8i0WOCV2uo9ChcXeoansWR1e4YjOFCFiDjliwH8VXhdNJdW1wrwNqvkm&#10;4DsDNpnhyIkAknBUvgn5TuAYjAZsYIvaVrf1/THKLp07yld7L9fvNCJoWS2hmtLq4llJGn6Daolt&#10;IiBizS3kmSQWxnkdMDAHXQsYNWuNQ1C9H9nW1vp8C/afKmCWWiqMBRE4ba0hxxyxOepIzWNpsNkh&#10;E11fahaWsm6S+uXbzNU1pndhiDPChmHJfPOfvYIrqoLrRxco8um3VvGLYrpvh+2K3EG5Itiz3fAJ&#10;IBJGMfNub5QBV6pR1IbioqO8tRkk0aACGO5S3nw1rB5bfaNakB2hnPAEZPAI4+XHPVYNOvX/AHi3&#10;AUSjJ1ScqNqj5cW1vjIbgE5B/LvUn1C5lkl1KR7ieSS5Frd6nNbrFb26KNotrODov3sDAzxwFwa6&#10;CztG8yKeGKBmjQiytGJb7IZFw1xcE9SMscHvtwMZIOZwXuu6/wCAbOnzR5pdtPz/AK+RkahObkG4&#10;aR4pJipmuSMpaxM2BAuejfOuACc7skk5qg48kpZoJPsySxz2GmSzMrai6ly0tywwQOBjHBGcep2I&#10;bWGG+hF7Fc3loxzYkQtGmoSMCHlOf4EbJ3eqc9cUy9tYozLdJMvlSDNzeyoDKTnCwRfgPbjuOtOC&#10;aav9owipcvK9r/rbf5HN3tze25e7muQ15mOO5u4gzWtijAgwQKoxlhx6AegyarReXHBHPcOXUzl4&#10;tJAYvct/z0l7ANvVSCRnBx3NXdSh1CL7AXs44Ymia5stNbHDZ4nuSrZxhQeffB6mo7f7He20zSxy&#10;20Me6a+1Hygsl3IxysMAJAwBjlRtAyeAKU3ePNe5XLyytpqrfde79TMiaWO7muIrmO3uVgWe6vy6&#10;29rpwYbBFbjAG7BIAHJJ4BJzTAVkEMMsJnsoZC1pZTsFlvZmGA8mDzwAxB4CgjvUtxOp/s6CTTVk&#10;SJmFvZxxKvKlQskzDnALnAJGNp6bjmiHkluZbdVhW1kcPfajGN05xJuZIfQZyo2Y4UcDkUWjFK6M&#10;3ec2lsvytf7jZeBFvpLezdbi8hjMlzeT4FjpxYD5I05OQWwSTz26Gs5iFjuQ73H2WVStxOSIrrVS&#10;MYjizhgvU/MM/Q1pyw2lvemM2l3GwXzLTRrc7Jrhj8yS3D4yWbKnHo3AAxmvFdyTubZ1S4vYCD57&#10;yhbPSYwABnHHy71Xj+97VUn+75UJNyjfsjRu7T+zrTR2QpLfXUZnt9FtpGS10obT+8nI4JCKHbOc&#10;EjIGCFos008Fx507nTkdvt+prMYtR1diw8qCAddrEksRkde3FUW89hnzzDo73HkyusudQ1QnGRFz&#10;93GDnoB2JOavMDB/pEMSPNa2/nRrj/Q9KyvyqG/vAEg5HUjqTUqUXPboNtcsvaO7urf1/XQ5e6im&#10;+zi0MRikDBobBRmOD5X3SS8nDABCBzwWPAC5qW0M+y2dbp47Z0lin1K4TLT8srRwHg/MuFyP+ehH&#10;QtWvNPE9hK7RqUnu988rNuudSYDIQeidMn1PJ7VDZZWYuypqeo+V5drbJHtstLICgSNztJxlsZxk&#10;c56GeTmvd/8AAQKShPmlrH+mJHLaogt7q3vre2uGZILG0Ie+vH/5ZNMxxgM3l57AdCT10ZcbXtmt&#10;oTewFtjyMsdhp4IYtyxC7huzljgMBkgjhslqBBdeRqEckSSD+0dVVSZp2IU+RbE4IBbOWXJOAQMd&#10;at08EMUVvJBPEiBmsNMgJcP8vE90+QQD8pIweM9aqKgk5WuU21SfM7PT+v1OUuktZCywXDOXkZBc&#10;Srl58kZfB5685JHAFJFHGpZmZ55CS6vuHlhShOCRzweeB261QvI4grSKTJcB2kYtGAg3DAA5/TqP&#10;0q5HM6LHJt3lnRCiDaACp5zjt/P68KUXKKtpf+vxM7xkk29UZwSYRtDET8xXcwYI2AxJDDp0xgem&#10;eBiokiNrueSXyxNGysq5HAckj9RmtlRbwxIIykk03ljy1GUQ7sAlhznBpl/YQCB5JJPMn8p1jiiH&#10;z5yQTnIxg445znt3lqV1fe/+X/DlVGru0r9b+d+hkyCFXKokrKOFJlck/XmioTNNJhg2wEAKqkYA&#10;AwOjDrjPTvRTUqdtY/gP2UZa834o+fxHbyiVm3FwTHDlTycnc5AyOw796iFwPIEcMSyskwBYP5is&#10;SANxQ9COPyNSW837uN441kdQ9uEZyY3Bzkg9R9agZXdU3qgJYRwgt5jqD99iw5A6dq5XfXscCqcv&#10;QYoPzvwFCZOFJQu2OgPIx049KfIUVoo0fzNpJIdsxMTnkA8jH07UIikSKshlj27f3p2Rs3dg344A&#10;9xVVPkcMkK72G1Az4kZjxkdj0xVPSSRTSSXKRSKwMKQhpCrBCVBCu5OePpmmXn7qQRt80yARbDmL&#10;c2Txx171MokZnjCmN0+6c+XIW9ffB9KqzOFeUyJukIIVx+8wc9SD3FCdmi6nKldf1buZzkbnCSgM&#10;WxtViSeOfwpkcZDjOMEExuXKgnk8fTJFSSRrhnIZ85VWVvukjB/z71TYyAxggYUbFIfHBA7d+3Sp&#10;StqjFavYld13KxRAqjacDjGD1/OoWyN23I5yO4xxjGf881GAwYszkktgDPT0zTimWG9yW5JXORkj&#10;im91YqK50OWV1DDO4Nj5W5B46Z/I1oQMgUs23JiITB5UDv8A0rL2hjtBfBwrEN0x3q7E0A+VUyWz&#10;nLYPXgAfrRrZJkrRPUvImSCrnysHksQig56nrk+vvWza3AtxIsj+WUCrgDMaKACQpxgk471kwLEF&#10;Ku5UB+QzfeO3gH1Hr9a1beKGQqYwJUAL4P8Ay0fjqnoMYxTTWjuaNJuyOitLma4MhjSMJ5Zd5HYq&#10;tvGfvAKeATkH5cHnHerVrcRyNtyA7QlYZJCVSBBy2Sf4mxgA56/lX014oZ447pFnsifOubcuUE7k&#10;fdRxyACentVp0WXgxsiGQzTHcgkdicpHGO4GO38qpW5rtaF0vehZ9P6/QvQQrdMiW4ZLkcWVnHGc&#10;tgkGV8ZB659avTRiCScRSm4VmUNMsDIlzcFf9X1BCqflJ6DH0qTT57uGO6CTRW808Wy+mJAhs4wA&#10;xRDjKEBc8en1qzaTmSW3ZB5kiF2sIp5Gl5YGPzWOfn7MAfQDAGKLNS9zb+rlU+SKcpK+n63LTR3B&#10;JSa+khvVgI1Z1RVt7SFAqJFGAcOWGc4wenUkkalzc3M9pBGYls7yWAJaiOExR2Nm33i47yPtDYbj&#10;LHkk8c/M7tK8ZuY57ONt6wK7SJfz/KVLMCSgypGenU+9aSCRpLqW4ujcOYvO1No5PtLysE3RWyYy&#10;GBKrnbyMd+tC7ImNRSd7a/8ABX6FiKYR2sUUVuFit7sjSdPlUtbDOFaeVRgq4GTvGVOxQRjJrSiU&#10;BXRUmDC5QI0gMX2+8PG4sBhVjJH7zjFVPskqIzbUsb69jGo3stuRD/ZcAJCWkWfvFs4KHnhRnO4C&#10;SGdtw3wxRG4iW100GzUT6fAWQTXCISMSOVPDDozHsDVJxbadzRxpwsl6fjuakourZLy0uDDfwLem&#10;8v7udvtNzqsxGyKKOZCCYgwU7kznqdwC4zjbxsJRetK32OVWvpIZEfz5MHy7dWVsFRj74OMfmXSx&#10;QrHHLbaoVtkumtdMcRyQtNKcmWd4W5UKAqn12qOc5p8BUSRQ2UBvoLc+TYFy0B1G4crmZY2LfKDI&#10;RsJ56ZGd1LlVtPxFT5pSune2y+4bp0awSS2t2t3HDPD52vXAUmWCPKvFbxhuhkYLyDgjjnkVtx3M&#10;JsriO9ltILq4Q3NzsMkH9lWkS5hgR2ITLhl+U/MdoA6kNk3t4yxRi2gllEEwk1Wa4f7Ub27+cCGJ&#10;tv3BjIj5xsPYACaOOKdp47m9trYxWz6jftcyeYuo3PytBZK4++z/AC4JXCnOTgDI22npp/TNJPkc&#10;XPffy6fqBiSVBBNbfZbZpFutT8uYSTxweYRHChHGW43HODv/AIcHLJobt0vJbqxjNnIkcupOzNcS&#10;6bCHTyLWPqdzMI8tyWyQScsKSIzLOJWChdOUefbyExNd3TMNpOAwIQMCy54wcEZ505bh0lumvbu5&#10;uBaEXhskkE5urpyAMAHqA5GR2B6k05SjfR3QOcZSacd3o+xA5vIDbzyI0V47R3KRIomeAEBLS3Dn&#10;pjCblbkdOMGrFxZGwjeWaOye7j/c3CCdZLh7twAT5YyQIt3Kjcv7s846Up2uWCtvWO4FzHctJK5J&#10;a4b5i4PBPl5PTpkj+I5kuJhI8M63UWnWt0TFp8hTy55oQXWeeRx94sQ43McgfLnCgDNJ35P66Cjy&#10;u1T028v6uU9Phiu7tIYdUGno8v2W1uLuR7GOGIsVnnYoGK43DOATgHrVPVIE8hVeWMKtubSCC1Y7&#10;I4ImZWfK87pGZmyfmO706wRyQJtkvh5ixxEsifvEt4dxKhVPILYPt8xyeKknMzS3TbDANsdxLAmY&#10;wiZXyolHGD8y/Lj+I8YzVvltp0M+eTcr9fL0ZJCL9/JP2NGudStTb2LXMzFdPhQqJLhQBnJwcsfl&#10;JY46UlxczC2+xw7XWMCHTreThJpsAXF0QW+XOMgAYIAweOG28sU7NFcapNZxSxAajcKQxjQHeLaJ&#10;cHJYjAQ4BJ69aS02EzrEJZNUnhP2UT2rxDT4CMu02X5BA4AGcsTzxRyytdCi4wjyyWv9WOc1G4S3&#10;+zMqwXAt7j7RcTyI032+bdgKrL0AHBU9cAgDAzDeK7W8l7EkEo8zOq3SJJCwaTASFCfvKCRkdfwF&#10;aZa0B3RCRirC1s4nJjt5SCFeQrjJXcX5AHQcnipp9rxyeWVXTrTbAlsXT/iaXbcF9vcLnAYZzgZ6&#10;1MXfXvYGkvd/rf8A4Jy374RqrSMl00bvI6TKotYVGSAffnqc1UUXSzwvbDZLOfJtC7B3SNQQ0h9A&#10;MdT0yK6r7Pp6RS7blZQsQl1YyEGR5yxEcCDuOACRkHk8AZrGZUNxJ9qmWyeWMm7YqCtumCRHgHGc&#10;bRgGlKMm7LoVFU4wuu/3f8OZFxu+ypIQJLaKQrbswIN3MTnJz1AyOGGenOapSRWci7JJGVBiW8nA&#10;LGZsHESE8gexPb2rVmUFVkjCszDbHHuw8MYXBlK9CMfjmqLmMCHeu61V91jbsQzXL9CzH+ID+VCa&#10;eqfYnklB36rVf195jNmO4cbjG8qjDr8wsoyvHHUEjt71T2s+x0RDGo2wxjjfjo7D8j+Fa9x5G2VI&#10;8lmffeSFgNxzgKpx9OP51lGMjaN3lSSKEAAysUYHUgepxz7Ur62e5MkpP3Nf0M+Zg3mbQrQ7v3jq&#10;hG88naPbIqnMF2hmfAZAHVEz5a44AB7mtSQw7EeLIjQmOKLr5zY++ePX8qqzxGPPRypzKEwVLZIA&#10;B/KnZXTRMeaUlFvR/wDDmRIiZywMbMAFRRjaOeTVV0UuCMgYwm35tx+v5frWjJHIdyv8rE5kZTnY&#10;M+vb/wCvVR41JCuPlLYjG7/Vj+8f/rVFmn5Cunpbr+pSZFThssuQQFJwST069cGqjBSxU5PBLgdT&#10;9K03QBfkBRBkAYyxOOTj8KrbFGW4YAhcFQdxOMkU0tb3Bw5ZWl3KO3GDkDIzknsPXtUZymCvOPug&#10;Hdt7fzq2yqCd2Qq5DHjJI6Y9uaj2gLtJOTwSB97HP9Kb1QrX0hoQABCQFPTAJPXJ4NM2/MMfeJI6&#10;4Lf55qUgtndkMOeu3/PWo8AMCB8zNuyy57f/AF6Sdr3Is42uRkZxnoMYVuOc/wD16dtC5LHKgcMO&#10;SMHinMqswAyDjqB0HeosEDkHaScc4zzj/Ioab1QmlF80kOHJ6jHOST+Vb+ham+n3MbdthBXPBJHQ&#10;jv8AjWGSCDwFOSAcYAx61Gpw2QcYI+YN8o7de1OPNHqO1o8p9KeH9Sa7NmsSIFktJIowUVhPtB5Y&#10;NwVLAdeOB3r1R75tUsITNLK88WhR+UsDl5YvscsaBVCqMfIEyQPpivl3w1r9wYoLDcAtukkibNqu&#10;QwAO09+ecV7d4Z1QGODzzZy79AvLNg7MJiJEk3OGBADKCGA7lQDkEittW+Zb/wDDm1CUm1C133PV&#10;4r6dHulJit7Sz1TTtYRog7QWvmRBd0h2gmRS4DYGG8vjPBrdhmmmnTV0vGeOz8exQQMjXMbTxXkb&#10;q0SZAAViZssAOWUfNivO4kuZ7S4+aWTHhq3uQYpI4UneGfYpwXIOFPXBxxweM9OZzcaidN08xxad&#10;H4lsLu8u5Y4iqXBQLFIrZOMqxxlu46URklPV69/n/kbc0ZSutPytv+pckCW0Vkb25uCyWOsaFbid&#10;Lh57SaNeEVQ3IV5LbzPmDHGDgGmRXtolzpN2lnCosb/SdSvporov5Jto3tpEWMy+WFdkWRy3I+UK&#10;QGBbVsrmQaTY3yQWGoNq/izXNHiW7t0nAW/giLzpiPZ5jPGTuU4BCHBJ3Lkrbpcxour3rWsd9oIE&#10;4khkklVo5JIyqKsYHmBQVOeWyg2jkhKK5rLtp+DKdRy95u19PxKtnD/Z97ptpALZZv8AhL9RtbdZ&#10;WimtTHIrgqz5JbzQUDKvXIJOOlGzlGkWNteLHBevd6JdaWirh5I5bRgyzEhMEr02gYOwgYAxW5b3&#10;qaddBrC0me3stT07WoJrrdbjT45NolRo/LO0ySZIJb5SDu3dq8VjdfadK0+5lW9t4tQ1jQriW5Wd&#10;rNA7FI081yCML5bBcBwoGQvzClZWtbfT8CHF8zT3a7+Yt2stpeTebKLxrnUdH1Bpdt1FCJXs4z5h&#10;RgpIDEBx90Y+9hjmXT7mSzuNLaBZLiY69qOjrJLF5rKlzvIEaFmO4hm5+8PMwSeKwEM9rBd3F3GL&#10;pr3QbN4Li4RRte2uCvmSu0hUYEeBgEfKBhjmtWO+TSp57QKE1C01+01yC9s5ogsayoCqqwGdhLlg&#10;wKHcOhwBSsns+uv4I0UJKUac3bX9BukQJb+H3mN2/m6roV1axW8aRuIJbWRZIIyGPK/KzEHAQAkk&#10;8hpLm80y8sNWk82UXs66Zq0E8Bge3DRymGbBXcZHP7gBlPQkAEYJh021jddMtbW6lWH+0NXtnikk&#10;jtojGqK7p5qqRsk3SuzKTuXdnO45juEk/sqGWW/hle58ISizaQ3EcKNaXchEEXyKGZmCkNjc248A&#10;LkVJxaTQawkpRXV/i1+hfurOysLqWzV7nUdUh8RX2hPLA7CJw8LNASFTlQ7Idvfy1OSeapTz3N1Y&#10;3MlxcXPn3OmWM8VwyzWqaiLW4WJQgC8IFRztBzwCevOjfz/6Zfy6e7XMFxqGl6iki+dvV/s0FvMj&#10;hiM4kY7sHaNp5ODVS50KQC1nuprmOAS32mxWzQoIXlAJtrZV3sZPM2yllwMKWJ4HEJ8klzLTT5Et&#10;twtGd3+a3NaKWB54VedrqGPxUWkvbVZlaD7ZaFpdsbsgO9xIpwu0hQFJGCX+H2gliudKnt7iNk0T&#10;UNFuGuoZ08r7OvmWylRJwuIwgjHOJAD7TXtxZz2GrX0Cw2Nxd2Gk3ryQ2sMlyr28jRSIs247/m+X&#10;cm0D5/vFQWtNJfQ6wLJYrC2ksvHV15ccjWk0cX2mA3I86ZmbzDsjOFYbiygMF3GrThF36P8A4YfM&#10;m2n6+fcra9BqEogmNvewRL4SsdSRJUeCXfHcGORgrMCAqo6EZwNhz1NR6Hqg/trQ7OSRGsoPF09y&#10;siQJcyJHeQL5rQxPIFlmcNvBwCTgArndUSCWbTY5tTvbvy4vBd5DpUAuFt7hYbO4Q7X/AHZGEVXC&#10;IMc8LngGW+Dm+1DWLaGeNNMutFvrD7MZHSDzrbDhHMGxT/EQ+SpwMkKxoukvZr1KnT97le/+SRRl&#10;Eceh20kqsiah4UnjDxNbM7yW+otOMvj5gqsgyRhWVa2k1aRtR1TUbZvLkj8RaReWdusryKXlilhj&#10;fy0Tyw331HmEMfNHDckT6dJJfR6PpN3qf2lEi1WxmhkdooYnljDxSsyoF2xkK4wcDawwc5rJdbuF&#10;Z0s5YprW90bTdUuZmhmgeSW1upLYxLH0yqK/J5OWzg9VFxpz5Zbf8E0UYtc6jq/+GNqW1n08ww6h&#10;fBLiS41bS5yZZZTAsyJcRtJvjz5jNKjDoFViAWyMNkaVdNlvYojGNN0/TtWZN8s7ymynWB2jcR4C&#10;gb8hsDBPIyq1YV9NXxC13d3xgth40t5oI0tJrqzUvEkLSSEyKzgeUq7cj7y8kg1kW66pHoz21or2&#10;8dzoWr6Y1v58kL3C29wLpeS4baYngAHOcAkgbcjSsnD+uonOeijbX8Lv/gCzWsl/qEF5OJIrS78T&#10;3n7uUSLeF3iLyAxLFtRQpPHQBDkZwDn2yS/Zbsra3Qs5NHVNSieWZxG8N0o+0SFUDHBEQCk7iV7D&#10;rtQNDHe/2hIDcWFpdWd1dSYMUAa7tTFMqxmTPRlAboxHGPlNMitrO70DTrCUy24utP1bTgihUYvb&#10;Os0BlO/cynzEdVk5YlxkYJprSSu9tgkr07ySsnt87l43iS6s0krG43+LZLi6Nx9pkZEurVYQpdvl&#10;RP3cTAdMliM4JOJdaxq91YG0aa7kFv4fNpZh7i6Vo/sdxGV8v+LcVGMg7iRkHjIIYEv0nB8qVT/Z&#10;F9di5MaiHDwefI7GQBQhYpxxlxxmrt4kDTQ2ejyxRz2V5rNoZbwKGl8oGSOPAkwseGcb85YMxPJw&#10;aU9WraW/TcxirJ+f9fmaMluula5ZRQalFdSNq1vfAxxzTGPzbCQyod6BXfapYDJQ+avO5Pl5prV3&#10;gtb5GvXFjo9tqTTSxyRyQR213HDLsQjcxCuAPlByGyMLxoWphtrhZZ4xKofSZzaafLbRXVzG8GC+&#10;47liVdiqx2n7w+U8irVrKb63ZJbaC2tLDR9QaOCFYopAIpkuZS8ZchgQXHzEj5hknGCnHVP5jV4y&#10;dKe+l/6/MptbBbS8WOd7OMRahY5l8yOSRTNHKsUjmMgeZuUbODhWx0zW3DqUSXNsHYXkya7FD5rZ&#10;t47dLyzaCZkLL1xEqhcnIdsj5ap3MWmO8t5FFdLYrqQitbQRoIdt1aI9u5ijIBfKvgjlioI65rPg&#10;JuBIsvkvd7NOuYkt7SdgwiBVirhisQI3kAueY0ySSMxTTa5ktCZwcXzy23X3D2tXgs4YTNDJdW+g&#10;PI9sY/MPmWl6BGsh8sByViVlUkqGlbvxW1FeW9hPdte+XD597eW16IJ4VS1keAtG8pCA/K3zYHXC&#10;A8A5qxRos8tpYKZnlstWs7mOGaV/3iiWaP8AehiwVRggsNxC4HqJ3sbGO7sEuJbiOwiXTnukjSQR&#10;6fJKPskhc8kENgAAfwHPanN2k1y6f8E0hGEIOUH7z2v+Bk/2kpsJb28u7O8hOmWdrbRLHFIkCRXD&#10;rFGV2hSygk59NozgYGu9vGnmxTTJsjub61tBDHHbXlw6O115Y24LJuXAAwcqhIGFUUIbMzadFDd2&#10;SxbPB2qxwBTMkt1PDOW80feAYxxOuQOcuQoxXRXV/NcXNvcT2DWwGsW7hHnkBjjurQrgAqAzDG/a&#10;x4ZsEnaRT53a0Vp0Zp7KPNFy1k/u6fqVDK4tJY7Jrm1NzdSzW32aaSGZ4rmBXAlmVhuzIpJwoBCg&#10;AAnInt7KdommkZbmKS6s2QWIkFxM8ti9uYw7LvbAWNScf8s2OSOapGL9/o1/c2TgiwiuSLtzJGi2&#10;8rWjb32AAfvB67lC464JqMANvbJb3MU8cmbiV5GSXctlcMnyqhCqqnOARgDqTjlNRlZSv5/eQ6k3&#10;VjGnsr/oaKfaQsUEytHcLeWzOjQpFZxlY3tnJkyG34BGSFUEk9SK07dkxJPD5FzcoohJ+V1hHQ4L&#10;jgjZncSSR1JJ5zNUuUi1O5aK6laO1knSO4aRlESKvmKBEpZQzjBByOnHsls1kRABO8TuHIRVG+4k&#10;JimV2xgY2vKOOQYwTmhJtJX0NIKUpNPS7/r5H6//APBJT9rWT9kb9sv4U/EPUNWbTfCOsarF4K+I&#10;1ylvJfWq6HqUiQ3ckkCMpfyC0VwMEHdDjjk1/pi2slhe2UF7YyRXem6nAL63a3zLbXkN4fMR1GD8&#10;k25XLHhBnoM1/j++Hryayuw6syoyBTLESHIVjjEmcjPA3DHOee9f6VP/AARk/aSvf2n/ANg34bal&#10;rusWev8AjH4bTT/CnxLMZhdX6jTkthai8UlnH2y2ZG8xuAB3KYHTUiq+BvLWVN2/7de33P8A9KOG&#10;pKVPMLy2mtf8S8vNfkfqsIDxJkySxIJvtVzbLBktvBkkzENrOFEcyjkJtPyk0u10fa4kIyyRoLwi&#10;blVkMLEuo8wHcyHGPKBHAJqXy5J/NeWNkiYgkXKRISQGDMQI8bj80LgkqYlDKx5zCFYSlprhDI7i&#10;COIXIS5lBVnEO4SLuclN8bnB8skEA7i3jep2xl1KxmgnUN+5umIbaxmWW2mS5IUbk3t+5uGUjnOx&#10;l6YBxHdQ+YiOftiyNl22W4+1RsuU3oxjwZYdxCk8PGD9/BzcKmdiGaObzBubbIRaSrICpOCzYjlx&#10;tK4OxgTznLNRY3KMRdoVLyqv2cm4VogF+b5eJVDFRgnzIiT8/UZSpppm8JcjTX9f1/Xc4vVLZbiJ&#10;oLjbLsPlkCdY4hLIrIUKtKQ1reIxCKchGBJ5HHifi/QIJYg9pbXBga3a0ht41lF2dkkYeykMceDL&#10;ZuA0JJHmKVGThSPo64jhZdpJXcxgC/aAtkRMwKxsN/8AqpygETAEqSQCMkVyGs2VnOknnRXMimLa&#10;4tkMl5cxx/u2wyxsBd2+VCDOXVT17+XiKTas1rp+h72BxfK1v/w/9f1qz89/E+mmGaZ4rSIxeYu6&#10;baNkylQPM2lyRvZhuHAVgcAKQK8puFWCeSNrSOBlBVRJEsTknCEv8vJ2BxxjBZTg7AK+zPGvh4Tf&#10;a4ituX2tLHcufOtpS7yfOsnmeX5FwWRPnQlZWJLJ8wHzV4i0y8byoZbSSCYO0A2wkAsCxVSQmNyI&#10;ATu5baeSea8epBwd46SsfVUantVeP/DbHM6PeK84AWWGNSFBc7wvADBmI+YcZJGOx967GMttjnDR&#10;ndKIyWTeSq7gSVyMYCBSTxsYkHjI8ztxc2ciSOsiQ+ZugkfqyAE7s5GcAFuw+UjPXHWaXqG9FQth&#10;GCJEjSAxw/fIAGeQflZTgDKsOc1rBp3McRCVJ2S3PSLW8kXdITBCufmZbdpZIWRlfcq4+8gCkDqQ&#10;SD3A9w8O60ANOvY71bSUFjPGIwkQlkTMisqrgwzD92F6BznAG4j57tNk0Lo7sp2iSHZIXkJVWOTz&#10;jO3cQ3ORIR2rq9J1K6tnRPLMsKHZEJGLZWbzn8rcVJCuxdoxkYIJ4Oa6KcnGVn5HFiKaatFH25ou&#10;qRToLGC2u7hESSyis7x2jvIBExM+lzSMSxkiyXt5CAWEZGc9ewt5ILiQXojjMkkaahHepG589Iw0&#10;S3SIY2PmqGWKaM4Ko+d3AB8K8N+IZ77T41a73OdLVHkdp1ub5IHGyYF3VkurP+EbQzqMYLKor1vT&#10;7yKTzJ7hbWKWKdbud1VTDaO4+W/iBDFYbpdiTIpym85PzE17VGrz7s+XxdDl+FW/pfr/AFfbsrYe&#10;SXK28UZ8n7OyW8xjkLbs+QG2pwoYfZ2OBtY/cyDWzC24HJC4dCskI3LKM5GFxwhAA5zg7hnjceQt&#10;mg3IiQGG5eNreeINtnnZMF7YybFAngCg2zEgmMZGAS1b8F0rPvJLWt0VBLny2R5Bs8wkyAqhYCMx&#10;BdyytkjBLD0KckrHiVqVnexvI6OB8pCvnhgc8c8jt1zg+vPNQsm9UmJBBxIqum0qDjAJI3d2yDg/&#10;ORTYpAu2LcwP8ARcY+91A6ADg5xyBgDIqYsThirAK3DB9qr91fmyRnqfX7vrxW+6OGzRmPG0ZTEw&#10;mIkDSMEjWMDYwZWHHysw7c+Y4PTKjIuZogAksskJiVZVla5SSYGIKDOoDnd5buIpVK/MXGRjAPQX&#10;KbSf32yMEmSORk+zybvlIkzyAck9fvEH65UqSwuP37liPPjkmuD5cTKjRq8yiVQ6gFUdRkGRlbg8&#10;rhUh2OqjPWxnhUDGOKGMYcQy2aKzRQHYJLi2LrEeFV/NiHdyQMDApUmk2Kjb9ybZhdSI6KVx+5um&#10;3PHgKo2zqoBy+CMHmZTut0WWNlKRrczLJP8Abp7cxv5jRhh5hea3YqR138AZ7QtGsZYqYYZHuWKu&#10;4DQoZzhQwCLmG5xvYk/65sfMcAYpbHYtdWQxBGMEb2htg6mAW1xNBMXLB5JbKTBkBKqBOh78DIG4&#10;FymWPyyspZHiXZNNAd4lZgIbkqsacSbmW4U8rhPu/MS4su7nOTEqooZEZo4n+7y7bp7U/MzYAcMB&#10;83O1MvE6jz4hcJISVWIGGR3zIwP7slY7kAOx3fLKgALEYpN2ZpZfP+v6/qxIHJeGACWEuWjRUkkC&#10;qVCNJDzKv7wH95G3/PNGA46wkyKs4SKRCSzGN2AWQyy7mfALfLNgv22bCCME5VXlcQpHLd/ZQvkN&#10;EGKXsgODzL5q7ZIGVy4wd0Zxg94mUsWPlmcjzGVS8SQ7nwTHvO5ljmZRMrc7SgXPRTjPXToawTUt&#10;V/X9f8P0MvUFY7h5MsolLAxSsribLfKS2MLvwck52sBxk14l4lgErXDRQXUoVmJhmUIt0u8b92Dl&#10;dw3qeQQ205yRXtWopJGp2mUsyh/nkjV3IXAaQCEjD5PmhcbWC7SM5ryvxDbx72CIqbZWXY8SRTK3&#10;yHD/ACLhwgCHgZKbtx4z51W17I9vCq6XbT9DwfWoI2xIIt2xTv3gbZBjftfGPlf5Vb0IPYgny1Uj&#10;t71IUjZVaUu0kyhAxyV3FcE5GUD5JOHHHDbvbtbtY5PMLRvJ58m5/MUFnJYHL/LwxCqPqq4OQK8p&#10;1G3aK8LGLO6MmFeoHmFAWyBzuXIJ6DC9wDXC0lI9SKU9D334fTl7RoyrfIA8G8sWGdxaMkKAdmFw&#10;T1DD3r6h8FtLJaMcbGW6AfzFIEi+WM7OeMMQc+n1r44+Hdz5E7RASFBEEjJJjL8SKSRgfOoUd8ja&#10;Op6fXvgyYtb3ESoZjFcrI5WQRLGzo2GYjkqcYxg4znHHHo5c2sUm+qPFzjXAyils0egYRlkLFiCM&#10;jzAQihgOO2R1J/XsBGAWU/vGYNIdrtu+YEgbWwF24ztHcbQxJOasAbidpZedytu3ZHGePfGKhKl9&#10;6ksN4BkUEHaSPmUsMc7SO4IAFfRnxRCu1CQ23eR/rZE+zsxZjn+EYyeSQThmHqKbMwBkjYxHhUKG&#10;N5AyyyBcOvzfI+0qTj5cMx4JxKd4+eQKgjTzDJ5vl5453ZyAvBydxxtB69ItgZnbcqB8iaOOIPOD&#10;lcq3Lg5QRowxkjBBGBgAh/1R+dndVk3NcY8qYlPlaRsIFBHCkZ+aME84INdnCjayRCMFy25iYf3h&#10;JJYAsPJl5IJ+4eoPIFnLmUTHzIwSySLujD7+CUYbcl1AwhGQyZzn5SYHjRgkjOkoMQVPLjaeNftB&#10;CnABbMEm1co3C7c5wAVzmuprC27IzllZdiTBZFX7MzhJyFUOITyAsqk7o3XqEXkffq1vVl3Ky3O5&#10;WzKYTNG+0GNm2qmN+7CNGCOAxGMEVA2SrRojthTBMgm2SybQ2YVOV2t8yuj/AMSjqMg0B9+xnj8x&#10;FlW7S4AeG4lUK2WSJULGRRiMx8EqTnutTGVmaSjpcvwybwEkGXR8ru2Et1PAJ4zgtyB8mOhBAinw&#10;0qk+YVgia4t3h23DkgBTjIZtwHHGAwlIOaVHdpFc/MMZ3RviIrlQvBfB3sSysBwFKn/astl0GBLy&#10;2AVO04YEnnqMZOPQgcgHnVq6sYaxehQspY5bePyWaJ7hUvC8MJKHBRXDkgqG+Uo6bt2AxGDyLqOT&#10;KRvUk7dwD7io5IPXPzbiQ2OQhB9syFSSmG4SNmkiMRkkVlJHnwgglXJLbkZcls85U7rikooEMilW&#10;VGgXf+6RWAGFweEYKAuAdpYnGMClF3RUo63RP94o6ErIMsjMjIWyD8p3LnaSMlRypx7VAInhmcxN&#10;mKaXdOqlvNjc7MbRyMFSd3TqCMZ4aYnIDl8SNKVfEaZbDEtgNHliwUITkbkTIwcENnkLSxPGjbjK&#10;IJ7cSh3VQXdZgF3gn5MqG2/KxzyFAbaSuyYp3Bo2jT53mndSFbbLl5VXADN8yqpwAXAwG3dOcBCA&#10;UkA+6m4LgNLKpG7gIVbON2MgHIY+gBmlYExywkMskYkYoC4lXKlXXDDhfvEYJZeBnpVYxMw2CeSK&#10;eRADdQW6K74+YL+8RwB+8JUEk/MwzkGsWrOxvFuyQoICllllKhj5ssy+W6Mdz7+qjCqzAlQSQV54&#10;Jo2H55JA8WybzZXQKpYqR8xPlgsAq7Dg8ofXAD2kyq4VlJQeWqTKkZKEFCpDDg5z0wQMHHQwuiSO&#10;u+GAyQ7WjkUNPLEyo2ChKc4EhwQfmV396Ra3uyXdHHH+8VVCsAiICY0A+QDAJwCGHP8AdfOMCjKg&#10;M0pGxiNiSRbdpPyrwy7izHGck8gY600sygsgZ5HbdErupCcKMMSXPUk8DhXPpUpDOZUbcxcESL5p&#10;hdR82CjBQx4yM5/5ZjFHkU9Og4FXlU5Y+Wx+VUKIcgEZPfAPGDjLdMgYYsmQimKUOU+fLjcpAX5T&#10;82SeV5XIOep4pD86qQHRvM+USTMcAFlDEbhww+v3hwcZpgMi5eR9seN0pkDocjjcCZMKu0E7QMdT&#10;n1Ss0CvuyYhmLDeUYcxqBlVHRcjuSVJ6HGDikZcqv8ZU7S27a5zk5IAA/hU8Y6n8ZNvmABwSSF+d&#10;CVZgRgnHUfe6ds02VVdRuIYlsoHxuHGCcEHByx7UKMUtdhxepXVWXjbtDSE4LE+WWGTz/F82RnJw&#10;AMYFS5AA+Ycj5U5bkBvX6d8dMVGryOyBlSJCAQBKcnIxjaUGOpA5yacGZ8nCbm27SjfK3HXcOo9O&#10;h/Oknyx03NWn1Hc/LubOThcpgr0zkfp/jSSNggsD93a/ysGYHdkD8x6Yx9KhR+GYlANpLSlsBCoT&#10;PVjjvyBxxz6zFguRtYAYGWYn8jyc8dfr6VLjZNvYLO6TKki7iy5Y+XtZVDld3IIPB9R0HrjGMisa&#10;4WLG12Yt8qgAsrNlwN3yngHDZwD247DacAkgRnnlSpBDdyQCMZ/pjoKyrpQi7SXQMMvucPI5IHyk&#10;8cjd27k8isqlktTuw7tKyZ5N4rikMLoCGbb5aLwV+7t2k89OnHHA68EfDvxc0w3FvM0sAYx+YVTY&#10;x3yBWUE8dAeQeOB7EV97+JoUEDYVwHJLrvMhbO0Kfuj/AGiD2Ar5C+JFmJLK/iZDsEZefIIY8ZII&#10;xnGecH+7j2riaUdOp7tGTSt/Xofjh8YrIsbtQ+EGWkwSxjIwo3BenbGR1f3Nfld8WNHtpLmcRP8A&#10;xsGZUIChSxA69M1+x/xq0qCJ74GLccFwyONrgSIAMk4OA74wDkjsK/MD4s2VvEL9I4xveRlDKFYA&#10;dT9M4P1BFYSjHRx6nVRqTa5ep+U3jyztluLxjE7PnynCs8isQDznkDIAzyDyMA4OPlLxCHt5JPKM&#10;gB8wJKqmPZ93J5GCQckEc557Cvtf4iQMk04hiWFpmdoicgHAKA8jGRvHTt3xXyP4oge1nImhGA21&#10;QykxqBnpjsvQj36DGa51FJtdXcdSDspSv/XQ8kMk7OHCZQHCJjbgf4cHGOmfz84+IFtNNoV8HaON&#10;1iO3B2hgoDEKPUDnA7HPpXqMwaNZEMiqry+VKU6gjPzLngfdHPGcVxXiWKK5sGUJGUfJjcMJfNDA&#10;qGyeM/ewe20egx10HKKjd7HDNJ07Q03v6W/TofE1wrRnaV2FlIBY4IwTg4/z1qtDcrHcgZ8sA48+&#10;NN7beu0DqfTPStbU4iLm53bgIp2Ta4+6Ax/X6+9YW6SGaOULvZmAUEYSJwM7sc4wMDtzzivoYSi4&#10;272Pl5XTu3p39dD2rQ5bGW1mSSX7Fp8zhk0kSl9Q1aRQwDSHk+XnOS2OuAOTjcs2IY7bewurrT0a&#10;eXUbqR20Tw9GfuQRRfcMnPOc5aXnJ6eb6JduweSYrFI7KrXjkSXNzk42RJjhsbzkntXZwpDJapBK&#10;9whQvLpXh2zY7JpAoBmvJjktglnIJORleBlq0hb7P/DDcZODcXr5+upYS8VBHPeK0GnXEskl5qMs&#10;Ba81QgEqsRxkrnauOnzZJ4xWvb2q3FjBby2rzSGXzLTS7Uf6RqDOFGblx820BOO+WPIyTUL2Ud3J&#10;HFDqTXF7ZWu6+1OYA6DpUcajbEufvsuOQAM4OM5ybJe1i02cadeXkOmtIIb7UzAbbVvEEpYAW1so&#10;yyQ7iSzblBU5JYEKNE5XSltoKLUYuUtV087G1HI0fmyqLc3flql/4iZ/L0XTMgYtbZCPn2KwUFcZ&#10;5wOhqJNRktxNdW0qxRXyy2kkxIk1K9RRyVUHKAsQCSANpPXgGO8Yh9JQ2wa+sg39n+GEJmgsMRur&#10;y3cvA3uCQxYknodo4FhDGZZLlbuF75bczX+qum62tNxJFvZAAICN+cr8oywA6kPVNp9EPlatrpv+&#10;Cf8AXqXIHnRbWN1S61JHzDbOBPBo6kKQ0u7gEsdwDZBJGQRwdixvmWS4iF2YotQmVNSvhEE1C+2L&#10;sMUCDaFjYq4yoAOfTFYNvJHH9nMdrN9iuG3G1d3e91iaQkebkfMqqS2PTAHYgWRFcWUcd2xMeqhz&#10;bblnJTR0iKtnOd3mfvFwe2epyACLVuU6JShOd1e6/T+kdhcArfDTp1aGeS28iaeGLzk0S0XBkRh1&#10;3tuKkHHLYPtzl0gv9Q+w29iYrKFmg0y2kZUWNCFH2mdug+4pOcA5HooqWS/V7CCC3tzBawOsshMh&#10;e41N8puedxghMJkD0Hc5NDSyXN5NI8rCyjhSS8nXJfUW4Ihh2/N0Yjp/Ce23NySVl6anJUtF8nVf&#10;8G35GZfDT4IZwb7z5JJAl7rJdpJLsAYMVsDjKkKecYIc5wAQc+4jmaSzIhSG7aFfItQ4MWkQ92kA&#10;Gd+G38nggccCt6W1062vFm1VAss0YdbZG3R6VDgZeQEk7iF4HGSMdSAcOV7NL2dre5uLrSpwrnEm&#10;JtVKrlOnAUdRngbuhyaHC9+VaPU0vKpFKbXTXsZkiFYZfNmvfsd6SGvmk3XerPuJCxsRuCbiM5P3&#10;SvB6nGEwiuhbC1RZJLVPsqn5oLJuD58xzyQuCcnj0HbbaWaORpisb3MiqpuvNLQ6VFjKqhB+/goM&#10;fwsT3GBX1K0iitl2MI7e6YSG3Ehe/viuSMf3QeMnGOVHPGSKceVNX7+orpfvP6/pkzXMT2rTre/Z&#10;7MyKlzfndHfavcIE+SAEbjGuAeMdATggCsa4gjLBILcu1wFlg0q1JBXYP9bcNx1BZjnu2PlGMbFv&#10;PdxytE1nbz6slt9ntFuAj2WiwZDFyuMbzwSc9Qc4JrMe0nK6jeQXJW1mdhq2qiVnnvmGFaCI8jbn&#10;d04wo5xUyjaHMyOZSqKMOiflolp8v6RFZCe6klnUJ9sh/wBFN7LuGm6bHlVZoihwXX5sADqBtPzV&#10;ZeFntlhkaQWTSGG1gMbCa/kVSwkbtt6kenQE8VGXGpXVinlCOOFUSx0GCNniUqAqNKccs2QzFjk5&#10;4I6CjcC6Y37PcKn2dGM0zOWFwRk+XCB0OMIGXGMgZHShJTs/66CtZKO6si41hdNbrKZIiICVuXjP&#10;mQabHtAJB9ctj6+lUmjgjtlmWJrSEwmG3sog32q9IQFpnODhW5Ayc5yPQ0+C5u7LTkmKm2jvwsj6&#10;YreZK64P7yQ8lckcjnPUYxkrHe3Mlve2sLwq9wA17qLsrRWcS8mOJslcnnleSAcDrVQimrvruDlL&#10;ltFbbf8ADDrjyVNr58SS3ixCGz0mDAsNMQEkyzNn73IyDzzk4xiqk0jrDcNE0axeZ5d7eyL+8v2J&#10;UmKDPO3AYZA4GOmRUNtZ7bd7kxSx2BmKxTM5E9/Nks4VcbiuRlh6EDPetaeK485c2sLz42pE6D7L&#10;pcGFP3RwXJyxYjPLZyeRnCUYr2dtzRU3KlzN/J9P6uef3EJuPOOxo5N5LRKSzyZ5AX6YA/4CaYrS&#10;GBFSJFlMvlBm+XI25PfgDdjJ/kKmv8xXc0iu2HuCqOG2zvgbsjPA4Oc9eneq0dwCYpJGLliCI1cS&#10;LxnPPX25/LrVP4b9mZSk+dOWj0+5Fi1dhbsFADIVVnVfmYB15z0xkdceuOtRXQe4G8oqy5lGxchQ&#10;Nx2YPcck4HcDtUcWZPtHlI0e9VAzJkqC5wAOhBAJ65GOgFaEk8enFIbdVnmeErIZCQse5j83Q9u9&#10;JO8uV9NQh7O95/5HPy2V60jHcvQfxqOw9qKmmXMrljMzFskjBBzRW6jB6sydpS5lBa/8A+eHhmgS&#10;EP8AI1xkxSAlDs55GDg52kAexqSQvvWWEFCIwPMjjChUO7JOOC3ualMcMSBllkDqDNcKVKiMZ+RR&#10;1B/+yqCMNO8j7RGrfvZEWby3kHZTzjJz+debezsiIU5NN9StHK6RCOPbG0gMSggKQpzkkdCeOo5q&#10;JUmCqpYp5mFDLg7FHVgvGPTr1NTyOxfeRHbqq7CEHMa9OexJHpVGSfO8RsXWT5fkTlB2z6dqq19T&#10;N269P8v+ANupCsxSNgVH7uOUjb8oHJIPI/OqMkj7lCgtK5yrAHZjPOCfQGrEoluCp+VWijXOTlQM&#10;DPPX8D6UwQuWDPLKuIyMFeAuM/y/rQtbJ7lqMrebsVJXG8v5eSW+6OhAznHbmq+0SHeyMik7mXq2&#10;P6VIyZZlEm0A53YIIPJxj/CoyCMEs6qBuGeHc9qXkybybuVpPMJbapTBBG3oe3Xr0prKVUFWJwPl&#10;ZeScevpUzeYr7iwAAwoIBLen5/0pm8kbEAUq3ODnI/8Ar0ldPXYc6aTaBPlLEKwACs425DYHp+tT&#10;Rk+YjyAABi3TYWPYZ/pVbK53OQeMEZyCeOB9OasxqpVAwwNpIU4KqCDyT196aVtWyZNXUeidzQhW&#10;N8jdjccxMVJUdck/SuksNNLRs5uEjnjt99tG54cYBdgw6fj6VzkKq0agnI2kgNklUyeAcd8j8q2r&#10;YmCCZQ6xtNGEdmYFlTqFGem7px60nZx90LVHVUlv/wAMasDbUBhjeSdWMMOZPkXBBaVkPXvz71rQ&#10;Rhp1kLwyDcPs6TMxVzxucEfdAzn39eKxYUBQRFQjGMLdP5QaO3TgjaVwQWGM1rW1vKvBUozAuCGG&#10;YoVzzgnnOD+tXrGVkjSMlLSOx0NlPpYjlWdmW0EryXDQRLJc3kjMp8tcjDKSBz6ZJHrcj0+7fdn7&#10;T5OBcX1yIgIbJCSEix1R24HufTHOPawRGOOeWNkBmC2MJUPBK2TueQAZVRyR9MVsQSSFJZZJ5JYb&#10;f5kSJA0t/Ky5UYIw6qTghgepznhS01e60/pDlO7aav8A1qPhgkN8sTC4t7ieJksDEFWWyiySzsek&#10;n3SNxGTg/SrpgtEt7SLSpryWOKYJp8yOYTfXJ5ac5O5dobjIAwvTk1WN3JLFMJ7gyRbfM1N4Y/I2&#10;uRtSGNsZQnOMDI+XpxWlY3xuJTsiOntcQ8yXMmYdMg5GWUth2GQcgg+x4FOyfux3NUlFpte7/nbQ&#10;V9gS7l1O91G5jRgkjoyzy6td7Q6hgTnapPLITnPOcYrUEVrZJK00yXN1cwQ3upzG4ZmtELF47TG4&#10;YY7VzgZU4z6VQlS3Lxzw2j3Mis9tpXmSSRm1Gdz3DMHweT91s9BzVOCa3RnaJJiFZvsuX3/brhiu&#10;6Tcxxwd3XK/Nz1pp3g7/ABBBRp1OWe138jWu7uyuRfStb3CXs++4dpbh7iDSrNm+aJGzud2Lnk/M&#10;uM9TmmNPqEE8LxTz2DnT2ih3yLImmWb5Vg6nIUndgMBvyeueTK8zxW0MFskl1cNcfab+63fvL25D&#10;sYIVUOVwp5IXg9DnjEX2tRLNFqMuozGW9STWSh8m5muMERwZJ+ZgzAf3MknnoVeUnZf1oErzpKpJ&#10;aW+7X87GjC0x+yW8EbxRgedpEc1isZuZWjkDXUhxtbAMmJOeWxjIOMmEWzIbmOeGd7CYQWKvG6/2&#10;lPvLSXD/ADYwqsCBjDBlxxydCSO8tLm8trlpI9VlH+lSywBI9Is2VVESQsvySSFnDY5A5UhiGWtf&#10;x2yGHykaxvLu2MatMpCWNsoJWUA9SwxkAZXtuyKht6aaf1qNcsnKL6fj/wAOizFIrwunlRzPGH+z&#10;CGQjfI6jzZmLDGMKWznp6daqxpFFPHIlrPJDh7Ozjb5SZD8zXLc5wNwwCCCACM4NaEH2W4byYoRH&#10;PdRz+fPEw8q1s0XcUDkcSzKNpIPQ44JAaCR7lJbi0ggaCKSNrh0gLO2nW6qp+UkkgMMYY5PBzwQT&#10;VlFt22/QtU3ZxW66eZn+Za3dwIrRdtvDG1hCLhiONg+0TM55DEoQDnt14qzPFELEzPHut/l+SFjJ&#10;9mhJYxQ85ALjBxnvz0p99NMYJJVMKCYRu8KQsjWsCrGY4juAO6UDPv5g78UNaYxHJaQ3jx3AN5cL&#10;P5cUs8quIoUKkgBACx6Y2nj5SaTk3Pm9CpqnLST16bb/APDiSPLbrbzx77mWMrcXcpUOhZgpgtWX&#10;ODsI7ehFRy3M8puGmuEuLj7S3yIdz3F1KTxnIAVAG6cAgDoeKNqnluYopJNwle3tRM25J7lwd8hb&#10;GCsYKkHHOCfpZtvs7IIoniV2ZreJ7pfI3u3+tuGYHsGYe4Rj2pyVpJdbf195lGpTs1q21+mo22W1&#10;Rree/iuXhsC0kim381b66YhQzAZDIgYAgHOM9c0+5it4ZruGW4t0it0361eRuFllkHMcCbT6kKME&#10;8qc9CBNbySt/Z1wumW92mDZ6PbPMyAfKVa5bdnkbWO4/Lkc8DFVpN9tarFDHc3ulWN8UgjaLK3d7&#10;KWMrc8DAT1+YIOPQTcXqiH8Ck9XYW606aVbG6un23V8glitVIMmj2iBRC8gwceap3ADnuQNwJzJE&#10;hZbHeslsZgY7COJCsltGCfMuH9HwOuPyIzWnqUUNxdkS3EkyvAlzrV1FE4WSSQRsltG2Oo3MCOhK&#10;jBwcmsZIArx3DILiVNlzOCdmnWwBZYEyOCcYIOCMjIpJpT5X3HGLcE27q3+RlXqtEuLayllsY5DB&#10;puS3mX0vLNM/OeAenIBx6805nG6JFtJLtUmEs8szhTcTMSF68YBycHqK1XlmmuFWW+bTw6m2trcS&#10;tKllCXyCxLegJ557/XLOo3i3VtHbvG1ukrQabE7p24MjSfUA5bFVtZdBL93JrdW/EW7WKG4voLmU&#10;NcLIw1afy1WJSCp8tO2cnGV4yeKyBaRMFEamO5k+VI5DuOnxYOWwem4AYPtWjNArqHkune1ikEVs&#10;wO9b+4wrMAc8qp4IPQD3rLvUIup4bx8uJQLy5hlxGgAH7uPuCe69+lRyKTb72J5qkZJt/wBMypoV&#10;iMUsdsfsqnFkjLukvmG7L9MEAjqB2PuaqusSvsmQq6DfdyE/Kw/uKe2Dnj2ra2GeQNFLvlbcltFI&#10;+1LG3TIV5AANrbVHIrP+zLt3kF7ZZRHCxG+4vmJ2lj6rk0pRUNLGiUpNzk+xgPAfMbY4AZT5K8Bb&#10;dSeST1HAzVWZ8blhGyOEfu5Opdu7GtaZdjSRxK7tEW+0OVBAZ+Ai/wAsetZUwCIMx7C3CxlC3lhe&#10;rY9zmjS2/Ywa5muValCXBLYZsE/vGxlZiCAAPpz+dVmjBYEkNyTJubp6CtCRmcRyOhHy/u4wuMnr&#10;uYelQv8AOEITdGj4GQQZXOO/4VOjVr9SVG1ra9dSg69d5KEkZBPyxjHH4mqrBSDwykgFTgk47n/P&#10;pWgwOGLZYZBcg53EjoPzqGQFt29FByGfJxsBOMY69KI2eoJv4YepnMjHdjHAIUFcDrnNQMGOWA3b&#10;TuBwCScdMVf++Xc4TBIdh2Hp69qgCkNlMgnBRlGSgJx0/Oqd0El7ysymw2ng5PO7P1HAqPhSCckZ&#10;JOR0OKvFVYA4AJHTbnOSMmoGjTAC8nBBPTdxyal+6tSZKTTktyuQxAbBB4yR1GeetR4PRmAIHXqQ&#10;OePyH61KQQRHkkAjaPUkDn8qRlBTAJ6nG4/MT15qk1y6Cab95kW0kNn68Hpx1/UUwkgkkHG0HhcC&#10;pd3zHJIJxnnHJHI/l+dMZVIPIyccFsjHpR67DSvFtPUmtpnt5Y5Ixwc4YLnB/GvTvDusSzvbWquz&#10;M8UqKNm5VZwNoPHT6eteUn0HQjIHXjitCwvmtZ45VbBQlsjKg8Hr/wDW9aKbktSeaMFzx0Z9Z+H9&#10;Wne2jgL2xP8Awjdys/msNknleYx+UK2COFUcDdtOAcmuvsru6FjqlooljsZF03VrpFR3AeNRGksr&#10;BeI1LMNg9Bk84HhPhHWoBLYiad4Ld7OVSV+d0O1uQue59SO1er22owLp9oke111HQGhmMy7ozJBm&#10;ZHYE4yzYGDgDb6nJ2TVuZLU2g4ezvft+h6hbSwm702DT47iS207xSbiE+RJAL/7VI8kflB9q4Qr5&#10;e8gBgBgZ4Nb7FJIlnMJmtru5uNc06OzMQhktpobd5sAF9wO5nYFumScngVkrqbRWuqWUJhQ3kema&#10;sTKkREBiwAVkALgEMwKcBsn0UjSj+wtf6Hb2hE8sniS9jacRzyRYdQ0WBFCHY4wh2KR8ny7+M1tT&#10;tb0/BfodPMm72Wv/AA/6mXPfveWi25gtdNceGbWU3EU8az3KxbGVjuZsyFosjgbflwC3zVvLDbQX&#10;9t51uTbweITbG3vJIMRy31mheRYQNzZKhtwOPlQsRlRWTDo3mppD3tvdBF8O3dkxisri2S1e2mZo&#10;1dyuBkGQAMd7YbOAp2z38EOqHUtRtYNiweHbG7aS3eRI1HnKqyuGwAoEsuNnADAHqQUmn8X9f1YU&#10;ocrlbbb8v8xxxcQ6Lbm2gjR7PUdHuNJjlhaN/Kd3UriPBKh2yWLdeOi1jvBOscmpX3mywS6FbXlh&#10;dxh41kDIFBRfKwSuxfmBBILYyN1aulyPFqNhHeTia2Gqzu0jJL5Srd2yDz5Crc7h8mTyTjAyqk6M&#10;Wlxz6Ppaa2ly0LeGNS06CCG2kS2t5LXzJ4I1YzLxvMCupwVTccFgFKfNa63t/wAE05FzNPtr5a/o&#10;h2mKbjWbZoDOBb+LLeeRJJJrh5VvoJUZAegPQHjHDcNgZorpF5De6ZBqrx2jx6dq0SQPbS6hKJYg&#10;7BCplAHDKSgCks3JBrBkkgM91JeXmyW2OnS2RsDAjTgFUlCZJO7DSjKIRnd0xXUWVlLZNpcUkcKT&#10;2fi/UbOGxRoHkeO++z/65+GKghNqkjv0ywqNLrl3/wCGGm1Hl/q9jh1tZrZruGWK4ffosOt2stwk&#10;cb3IgdMkqzYXYPM3c4G3nPWvRJ7q3g1K2tAk91cjxHZ6tOiy24g23NufNVUALF3Dg+YWUkqw2gcD&#10;nLCDzZNNsJ1Znl0u+hgNwkcEcUKxzuoHBYqjbX8tQFJUg5O01PZ63C9tNcW7zLdJo2n6qgsYXUvJ&#10;HdrCJXkCbo4nK9d2W2hRjIFU7KXKROkmk33/ADsVdR+2x6Vate3sLxTWuoWJYLCskYs5xLtRlTbn&#10;liMgAcYPatu2vPtpuZVtrqFW8XaXN9tUu7WiNavHcfugoDtJKzONxGztkcircXCwXwa/v5rm+/te&#10;+QKfPYRrcxxtHKvIUAgkA9dqDGBkFkc9xcwssDPbabLY2esTR+cRHMbZ/LmYfvMDJYpuHQtjJNEZ&#10;xUUO8qlZyXT8VoaNuVuItCtJdIkuLhLPWLdpZRcXAQxybpHcllQhDGAcKDhQR8pYNPHaSvpcy6lH&#10;BbW7eF4L23BikmnuzZziNrgR+YSzgsvyjCkhuCPlp0SWlhdx226S4to9burC3guLcyGK31C1jEck&#10;km/5mDfQMwU8gkVnpp9pPp+kmXe2pjS7w38Sw/vIo45rqJ7blgmSY4pcZOEkXceGAp8rjddP8gtL&#10;2is1e+n3/loaNxNPa+IHvjEIrG112O7S1jilWHyrmE4d2D8qVk4I7kFVyA1Gk6cmp2mgWsdncq97&#10;oeqIB5s0f2i6tYzKAzNIG+6MgDZny8sBms+G+GpaXqStbMLm40nRZY7s30UUUD2k8VuDNvIJUCJ1&#10;yoyDjhiDm29zBa69bRfZ5hp9jqs1nI8HlwaldGazcyKkvlkRrvZjjk/3snknJJpOWq6fgPn96Tir&#10;NL8rv/IjhZPMt7rR5hey3TaPrc93epALeHypVt51QyMY1j37XdiMYOTzuYbET2D+IWgv2iubJfGe&#10;saObFzbx6jdrKpclSQV8vcE+b5cYUNkM1QwTy32ni2t1lfyPAs7QfZgjMY4NRjkkUERgsqkPynA2&#10;EDhiKulrSx1Wx0+3YH7V8QNOuHeSWeB4ormFZtmzZnYw3DdjeRKc7sKAOOrh/WrsN1YShGcb8ytf&#10;zt/w5zkV5HewxW9tbuYz4dtprx4Ps6W4ktJxiVWKY4wx3N0K4AGed6VX/tS6nmlgstI0/wAS3lpd&#10;SSvApuJbu1jljkCsu4hiFPPy9Tnsc3Zdm3maaG+tdOu7LWNBhhiFwTIYnMoeMFQFDmKHoOQQAMVb&#10;nuJfEE0SzXFzc2Wq6zpt3M0s0iQ4+yR2rKsRZUTa7qqluCUySS3ypuPOnL/gGclKTcoK92738kZg&#10;WVNLtktJIjban4QtdVu4YkSebamoxlUdlRvnCt91ewJJx0298NvOI9Olt57jUPE2ox/bSZfKhWW0&#10;DdFXYAGCMF28AAc85yI1nW01J0imuLWz0nUdLtbsQTmYxxXb5fynZdowwLOcEErkDGa0INNittat&#10;LeWNkht7mOVSFjkhV7qymimaQM2AiHGZOobaQByVE42t06f5Dip8vNL5rv0MFJ3/AHMbWs885sLP&#10;fMkMu9mt7llChBwOUA2r/dx8vFaNnJbT6kunwxK9y8l/ZyruuJPtZkjyiqhwvO6Q4yy58v8AiGKl&#10;WBZrIPEgVG8NXllJHKyPJKILli8pQyZViA2ASu5MZ4ANXXtrc3ovZWgjjtdXsYxaiIwywQ6np5WR&#10;hMu1lCM2N5PAcbBkEtMZPk95G0klJTnp5dP66ljT5pXtfNV99vPPpOqsRuidkjFxBLHyoIXc+OOu&#10;1eRwKwryyhED3UqyLbW8F/BHFMyIrvZXPmqjNnBL7nKj7qKWyQQAb2l2N8LGONFZI18PyW19JFZv&#10;apBLa3aF3RNwLlNi4HJKJzxydJobqXUore23T2n/AAki/ZrqfdJHEbm0jLqyqx5DSB89NyhcEgGq&#10;UrxTjuzKynU5Zuy/4BWtbvTvsNzLp8SzX0mtsi2totuXeC5tJTEqRIuV2q3zSg54TO0hia9s8R02&#10;7nurIxyDw7ZmUW0sUkZMF0WUJmT764IbaRnC9eAatvNd2twmq3Goygr9mZ5LlZ3bUY4iLZhEAN5B&#10;A2hQpIOMkcYsWDPDA1v/AGv5kTx6hFAIpX2Q7GWaISN5ZJO5mRVGcE9OMUK97ev6CSlVqpN6rb7z&#10;qJ5LRrq30+RFggjvb1LYW6D7VILuyiaKB8v+7AIyRySFAAG7Jw4GhbT5r6+vxCy6bpOp20pAnt5g&#10;JDDOVRWySYxwwPJOTkcnTvp7Wa71EXU32tbnWNIv44DE4muJZLRFcyyMpdYzuZTGxy7J1IHzVJLX&#10;UbDUNX0W4axVrCxudJZoJoLmzdracSJHBKqOjIAqEN8y/Jj5s8tObh72nYcIOXup2Sab/wCAPnS2&#10;Ns1zNbuIWjv7eC2kMk9zGc+fE8yvKp7HG3G7YMAA4oQzapO1vHEq290gSQTKCv7+ATCMbs/ICrBh&#10;93hhyc1qIfNvDdRJZXVmmrwm5ijMUcrR3+lzQ5klcEAK8RcYDNlh93Ias99RRZ7eWzCR3v2KJbaW&#10;3hjxbmymlhkK4xz5axMMH5AO+OIejSNYSinq/l2/rqXUtreCye2SISLNqdpcyKYoLRIpLiDymeVm&#10;HmNzvHYkKnoQZbJWmtjPOlmkMSRwQzWyLjOZFCMc8sQOnA5Gc4FUrcR2sGp3TS3U97p0Z2QyFv3h&#10;tp0KPnLHlOf75LDgDJF60SK+1ONF0t5pneZ0sI97xxPHJHKS5dCD/GqoCGJXqCwarmlpBoUG6a9q&#10;t2/wOusr6NLSwtSVi+Vrdpo2Vrg7gG+cFQRgiTavzD5s4A5H9OX/AAbb/tYJ8OP2ldc/Z21y/jt/&#10;Cnx20uWy063v4XmQ67pdvJNZISoKqLmH7TExcc+THyADn+WppxcSXl6ZIopLeYwvp2wyyQgSnZkK&#10;cIpEvU9n5A5r3n4D/F/XPhF8TvB3j7w1dXlp4i8K+J7HxDpF1bSiKBLiynWe2DZGMeZGqnPy4Jzx&#10;iujBThGr7OfwTTi15Pr8nqc2NjKvRbp6uLTXk1Z/5pn+t1IrIQwt2lY3LN5ItlSeYqVjJUnYAyqM&#10;DP34U75yIGZNo8vzPImV7eKOC7W1EqN/q4o2WcYaTmSFxjao27lyK8t+Bfxh8K/Hv4Q/Df4y+C9Y&#10;0/W/DfjzwtZa1a6jYyuLgytAPtsDxjGJoJ0dWXqVSUbcDLesGSRkjljiLtFG6tBCFK3ag8LGDLtC&#10;y/K0Zb7gQgkAmvIrU50qsqdRaptG1KpGtSjVhqmrkRTzQVjkW7xvj8w8xyPlopCyqGDK7Dy5BgBC&#10;pYAcEB3RzRb4cPcN5yqIWSR9i5wGCbTNEFVUBI3xqx5A4sSB5lVw0xWVo2EklthzxhjsaMlSwAjd&#10;CBhWZhjDZrR26qrRBY1Kr5SPBt+0quwhFUmIbmjUsIm7qWz0JbPqaRd9f6/r+tCGS3jjiMH2cBUT&#10;7NLFlhG4kG94o5C6Da5dVhwMIwYYHQZk6NNJM6XDyLJHIdkSJ5myNwpmC7W/0m1IEW08MBkgnIXc&#10;IYh13R/vgWSOOcmByzFSRghtku5ccHy3DdQQTDNE7sPNkcshZ7djH5ssbKBtdEOR5ibipU5Dgbx3&#10;Fc9WD3OmjNxf9f1v/XU8f8TaXeXUUsSx20bs7RhJ5D9lUzIzPDhjGDbz7SY2wdkqnPRxXy7418Oy&#10;s6XDP9pmCGeKRJFlmHkEKAQN372BQRIpOSGBHHX7ivdOidHt4BYwtCpj8hNqWnlzK4EJKFSIZN2Y&#10;2/gkXPOMHyDxHoEk4aWaGW4mRPOF3JmW7RoACZUJDBpoimxh0dCGB5R68PEUXF8yPrctxqty7f1f&#10;/g/57n576xbpskiVFbyZVkjkC+Wr5ZXUqCQCjgA88ggisqynfekbzspDhBuIWRdrMwBycgbpCQSO&#10;CfrXufjPwf5Fy/lNbB538qQMUhtkQ7WheNAF2xvkA5+ZGJBwSQPCr6BrG4kkll6v9plYoMyMp3Nv&#10;B4OSOQBjtnqBwRk6c+dntzcatPXbT8z0GxuVGIo5mCyAupYAAqNgGDnksdzdeCBwVOV6NEKxtbGV&#10;zAX3LECYmUllLHGONwDAZzgn6V5jpWoxMwG/a6SlW3MygrxuUqQOg+Utk7gwOMEbu9iAkEbNNtBJ&#10;KzEbVIKpuHTB5YduMhs4rpjJySucMk72PVvDGqNDJBHtC742mM7yGAxuZHRLmIAAMSoZGTI/i56G&#10;vofwnrSGG1iGo6eD9pl06FFtyYLG4lClrWZ2Lj7JcKEKA/N5jls9K+SrBoktoi6k+RK0zBBiNRhl&#10;DRgHuMb8k54J7V6t4K8QWcFw8T26SDaB5ckyxpIzKVeFiwYEliTGx+6WJGCSa68PUlCSSep5uNoq&#10;pHbQ+ro7u2lX5jeTJJbmcRLCTdy+QOkbbV/0y1ZQMdXj2t8xzjXjuGkZHjnHno63CzxzPDYSiZQs&#10;dwsYlwbebaEK/MUlcsAeWrz7SdbkJh85ZTBOCPtDo0N1GIdqrdBWVS0tsZBHOCfmQKcEj5+3guQs&#10;wxJBHeRyeYVW6DW8TSjCyrlyfsl1hUAwdkmCASNw9ulPnjdHzOKouErf1/X9dkdPby5IiEd48Pzx&#10;y7p0mWI5LOpIctmI4iK9y3AwGNaSqjSFWUkLmUHytoXnjDjj7wZvUbgflwDXOxSoFjKpIuxRiPDm&#10;SPyCUdSMN5kkIB6cyqxI3bQa27dy21SVT5EwqFiigEEBScBlO9ACAC2cHpgdlOdzx6sLKxoyqSuF&#10;B3KdwA/iI5HcDnJHPqKy5HgYI5mjaGHLM6TK8ca+Wc+YS/K7SwPB6qeAua0sN/AoByFDYwAAQT7Y&#10;xj6nPTrTWGQoG0FSOWQ8kc8fTI5+vPprJXVjCEuVnOtEMgO9zuVCyTMySSxBHIUqdzZktwSDkfOJ&#10;CDvO4CkYUiBiSwt4maFoZIYYZDDLy0lxbq2xNyssrvEc4Ll+ODW2zxOF8tgE8ozBoM3CxhBlWUKC&#10;CQGTaP4gSCOAKzZ48Fo8SrlTEfs9syy4jVmESSGNV+QujQnIz83XnPJKNmehRm3o/wCv6/qxSyhY&#10;vC6gTHe0x3STRBNscVwVeXAaA5jnyMvkFsBSpURT7ZFNsRHGSY7FBEBFux5lsMISBlBNHIGBJbHA&#10;ABsxs86RSJMGG7zYLlJwsc4ABWYKJOUbIjkTA+Y5A6MYPL8hlKQzRuYgqwRxGV0WL5hC7YdfMiLl&#10;4sEb84AwM1mbxs+v9f1/SK7NJ5v7yUB2t0ufNldwkxjcCC7UL5Y4VsXC8bQYx0wWScGQmPELCSdg&#10;9vcDz3lQkSyQo3m8MzMs0bYICkLgcYe0ZSZ1AtTIjM7q0ZWGOWaHCzBQRuhlIZXB6SE8nGRW8w+U&#10;u2ORAUAa2IZpYPL+/EXDHMkTbXQn7w4HGSOec9bf10OmlBXT/r+v60Mq5bbBE8MsM0ZWKYu9gj72&#10;kLEybghAWfcokPHlttP8QI4LVwk0cAMAS4x5b3RtDvkA5yz7MF1BAZQPu7Tjue6vtsts0yS20km0&#10;zoLq2dbZjKADIAYiQs29i4c/LIFG5ccea6y8cc1yVlctLvnSOcvDKyxu6SKAyqfNhC5cquTG4PQH&#10;PHUve562Gem3n+B5/qKPLFMUeNXCl1H2eMKMKByuCMEOAzYyevvXlurWz+aoZEE5kXBktAWnUqyE&#10;5K7dpIyxHG4jGAcV6xcvHM7qFVWT920YdSJerbsZJAIBK8D5SRjI44nW7FHBnAUshMZPyFWEgO7r&#10;nIbA3YycnPQEjjqxsnc9KHNo/Qr+Db1k1GMuWwoH+rtxAgVWKhhgAA5JDY5xjrgV9leBdzS3X75o&#10;phOkksITmZPKRWU9MbHz6nk/3q+KNGC214JHB5mUAH5s5yfTGRkA+v4V9ifDmfdCWBVA8QGSm4mT&#10;cvl7mBxzhhjPOQOuBXVgG/rEW/M4s0g1hJpPTQ9gWTM1ypUlkiQ7l6nO8beeMjBP0fpwKVo1ALBF&#10;kbzAy8YHBxkZz82NwzxngHAxhN20mYMxVtpePYwfgHDAAZOcgEe31ysqBwASQgX7qKHCHGVZQVPz&#10;KRx256HGD9MfAkUkbYYRsu1GCBEiEi/dAwy7WPPyg4K/I3bGSw+WDsZp0fYSrNIJmwjHdtQlhwCM&#10;nblg45JzQ/ksdrosoJBkjmL3EhwJJMKhzg89O4JHbg8xlZo2YqC5YP5o3buTsAB3EgAsoC4KjBxQ&#10;BRKGMhxGIGaDyhBbOYxIMLlEYIqlk2qIixBK7xgfNh0rRzIwV4fN2CSMmPzECyFgXddxPlSY2sMc&#10;ckjjIsOGcyKU8tHIiEgZonbJYEDC5GBho2U/ecjjAzBI2w+azbAknmrJ8zIdyqgcKG5QghGTscsO&#10;zFSV1YqLSI5o2WWFHDxrKuxyZvllzjMLvkNvGMxyDnCkEj+Jq+YrySLFKZMGb93EsSXII5dQVKrO&#10;oLLgkbh14xsl2m1t0QRiJBEIhaIyxJCWdVECMFTgbisRG0cHJ5BEZzKGVpd3zSN+5gbzsxlQrqxy&#10;FmTGMHO7BOByBh1N1rEkMoiSR7iS1tUEvzSTTZimGUGUBf5A2MdtrqTht2TbZWcsXTyyJcRSInmM&#10;6FkyG+X5ckbeOcANng4rI/yJGyQ4fcf3ChI5xIwzIvzEqrFgrjBIZs5OAxkUFi7COUps2n7UTAr7&#10;S2A2VLEgqFJOQVIbLcZ1i3bUz3dypPIkLrKIJ5J/sscstuyia4mjjJBZB/z1jMgY8fMCFGcqRZ8y&#10;N8zLKoYt5jPI7MqDiMsELfKONjrxtYknBzmOaRmcuYi7xEND5M23zwCS8fXO9QC5H8YK8nBCqjuw&#10;4kjimVPMj3P5wugoX96sSlTtJcqy7Qd23GMAnPVPQtpcqJtoWRkVG+VTyo2zZAf91gIFXaGXyzuy&#10;QT6HcR5UZhdZZYx9oKRSZ3b2LPhWkON537OgXaRnGaiUKrbfK2p5flpFGhRsLtPlswGA0ecxENgh&#10;jjpuqWNzjBkEwkVSZS58ictGCrIBuURuA+eeCvQ5Bq4yb3M2hmQBNbgIWhcXEsC5mddzCRXiywOA&#10;fmwQfu7RjgVFIUJbzUZQZwCxgDxS7drR7W2ZJy+5MHiQkAnABlhhEJFsiJbQJu8qGICNYgTlXABA&#10;29iuPvYOehMav+9mKjzF8zCokTIEdlDttYIMowYvuJwJGxuzgCZX0ubQB2hdhFLOyLPGuyMSPaSn&#10;B5KAOHAPyjA6FcfxEU9wNqOwZk8xZAFQuRj5jt+UnC4yMn+Nh6CkR2AkYFwDh0RIPs6kuSV+8/U8&#10;Kc4G8E4BIpCCV8xIo/lXzFAmWPeSzZyyofUng8mRx0OTJok3axHhDN+6inmRmT7PJGNkECgHB2mQ&#10;Bgu4nKrysigZ2nFnBDK4hYlRgs2CMbeQuFyeccHGSAe1VyZleZibeFM4dnkeUEKPlz8wAAJbPAyr&#10;D+7TmWMkTKqpK0nlGSCDzJNoLblZ9rY5QggY5CjqQKV0UovT+uxYUx7mRSCykI8alQyFgxAYYyuc&#10;sf8AgXSlHmE7h91X8xk2kPtwQB97AJ5z+HFRq6yjKvGQTg7ZN/mKG/I5ynPP3iDSrnJc7QGTJSQN&#10;5gByMqd5GDkdP607a3JelyZQVHmlmVnwH81jtHzHGF3YB6DPuOvSmsDk4cjjIAiHy8ggZI9yMds/&#10;SpBncdyDaMKjHJI5wck854/8d69KYqYLMECuB+7HmFjg4OSO3IOepPrk0Ere5C68sCAoJ+YmMOem&#10;M7enG0DHuKQAMS29GYOvmAqC0WBkZAOMj1/+tSPsDKywplAUWRlCugBKkDvj1wO4POKVfu7pdgYM&#10;cssHlZVSTnknjAHU9VzjkClK9tOhuu4iqm/cuxnAyCzhicgDON3sv5e5NLtOAWjjYBeTkuFIHHBP&#10;P8PNN8vhvljD/dBVdwQAAYxkcbgTjv8AjTxtQkRqoCjake0KPlwMAZ7ZHpUqLd1HcbfYrun3wVdc&#10;qAWTBfJ+XOCOTwvJz07Vm3cZcIwQKfLYbxgSD5uMHH8x26DpWs5GPuDgnLjIPGDgHp69fwrOnG9C&#10;QIwqDHzH5WPAPBycHGByeo9MVlNJJ8x10Je8mzjtVigkGHijWJgG3NnaN/PC/KeARyGzknpjNfKn&#10;j+zfF1sjjZDEzS8ABSGUY7Dnd19vxr64v4YzEVk2OU/hTguv3TnB7Z5+p9Rn588d6eHWeJk+QB1Z&#10;wcBuMdfwPI9q4qj7bHt0tYcy/rY/JL41aRJIXeKK3gCqzSRBWKHAIJ5bOOQcZ47YFflr8W9IupUu&#10;ihgIIYgt6AdE45OTnv8AxDviv2X+NOhzOt00b4jZWM6soAA254ycg9OnXfyOhH5NfFWxhjF8kZBD&#10;swZkAwqhtwzxz8yhjjBPvisKqTWnodtN2tff/hj8n/ijpCQLI8jxrukMnmkCSRgQQQFBwMll65Ix&#10;2JIPxB47h23E4DO+ASoJALke3qQOenOfWv0O+KelW/2s78KplKiExdxy2ee+Gz6EegwPhP4iWogL&#10;m3t3V2DeSrxfOe4zjOc4wM9QAMAmsk1dJd/8i5z546dT54CRXJbeXUMSoJ+ZsgkDJ9QP5Vga5Zwz&#10;vDGq7o1i5WP5QSPlA4x19D1IJyB03pHMVypdokkL4ET8KewJ6dQDnHT3qrqNk7hpGmhOOgTGW4yM&#10;dOcZGenNauSi+WHX+kc1VVFGUYLVJfp/kfGXjrTWstWuoWUGGb51ZGxvT1BIyOO5A6dK87uI1CyO&#10;AA5kIwijJJwAi465OK94+K9isFzZzPIhRozFtRskseST+JxjvxXhM0BLyBcKzOWAJO5cgkZ9/wDG&#10;vew8vaU4vufM4tqlXkpLTT8Tu/DE/ltBKrwWZg3GW+uWMdvYL03IfvM+TwFGeB1rv7C4gFms1nbT&#10;WekICgll2pq3iNycAKxBcBgvbAAHzEnk+PaFPI19CJWWeZFAgSbJt7ZVOWaQDk/wgHI78816sGSO&#10;2XWEmQSW+xr/AMS3lu0qWzjaGSygAOMBCBtB5GQoABrrpe57st9LGMHtLpfbv/X3Gxc2+p3dxZaf&#10;LpSx3zWYSy0S22wQWKSlRHNeEk/OwY8HnaDuKgDfFc3F3Bdy28d5ZXepWMCWraqNkmkaGzl2lMSB&#10;SjSddpUdiAWO01UstTVRctcXWpRWOoLvvmkkMuu6zIwwgO3sCN57fNncxC0+10y3AMtxCFjR9lnp&#10;0khXyCFLC5uuR1JUjdgc8YHAcpyaXIhxipQinpvf/L+uurZ1NxJYW2i2Yklmi0WYvcL5UZbxD4kl&#10;J25B5KpxjI+RQzYBIIJezzIiW6WyQXBtzNF4ftEZLXTUfIDXTEkNJjcx3knB5xytUotRWNZ7yG7i&#10;N5EViuvElypNvCuwjybGNcxsNh25A6AhdoBJu2dzZ3bLbz5t9EedfPvZYyNT1Nz8qgA9AxAI6cnJ&#10;B7NTcErdibXlFv8Arb8v+GLLB43V4p0t7m4ixqOtxqVtrYDAEUA4JGDjgE46YAObliYry3is7ycy&#10;2ivJd2emW8CJqGt3BCqJZ5D0XMajqBjjGckR3unrIi7RaXF8GK2OjJKPsGj2cYJMsp6bzn2YjJJX&#10;5RUkDx+XJaW9y1vKib9a16dfmdWcsYbXIGFQcfLye/y4y7+7qvP+v8jV8lVcz6fhtt9wRPpcc93b&#10;DzC7ssOp36yfaY44QR+4hj6ZAZhuJz8oHAJBfLdCJrOLTYoYAFaGyaQCOW0ThBLOScbiqBgN3AcY&#10;5zWfJiFzOkAeURLFp+lW7GSRlUZa6umxkHDn5QeSM5AAxo2lrZxEPO7XUCTrNqVyCq/bpMs6wQjG&#10;BGm7bnBIDH6U42unf+tDLlhKLqS1T/HsVXRTDIr290LSSQA3DDN9rb8hghLYCscYOegDc85atv8A&#10;aZbjY3kThZHumaMsmnRAkeWigAAsdmDnjdjFdbCJb+4uzJLFDqUMCB55iRaaJb8ALGMAb9oAAGcb&#10;gPvYxlTSG2mw8UEkG9ns1MYSW/k2MDNPx90Haw5I4OOtUlzLzQNRnFUnpf8Ar/I5IQC8kW2srXZE&#10;m17KxlIUXLIGDPKeyszA49BjnFZM9wUubuSeYSzQnypbuKMNDbIXyUgxwCMMBwe/FaAmhhju2a5k&#10;jEMJkvr6IgTXj7l228Lf7R2nOemOvANcW7TS29xdl5JmiItdOEu2K22NlfP47EkkDng5x3G48ycX&#10;q9/vEozlq3ZL7/6texEsVndLNc6jJNY2Lsv2O2Qhr7U5lIKvkH7u5Wz688E1VklubQ+XbSCWaOJo&#10;rfTNzLYaYBgC5mzw7gI3UHG89c4rQMstxqF0z3UIuJS63Wr3iiG0gBDYjt1AyABwD2xjAAYlsBhe&#10;NYXjnltPN+1WsdufKvtYwTxIxU4jyecA5AIHJJpVG+VcjFGPtE6nXX5K39bHONqObRD5nkxsryX2&#10;smUm+1ZyzhlhGMBfm2DHAz0P3aVJHk8lbRIzcQo1wluTi20u1IUpI5JwWcsAAc7uuSSBV+4iE15N&#10;JBBaS35JknlSQppekx8AIqnO5guOTntySeMvayR3MEdw9xDcTBkUMftWsyAth2zjEa/eGQOG9SAE&#10;nLRyWtvxuiuSKpqq976f1/XkNiKGGf7TLKllI5L3ZiElzfOnG2Jcjg7iAcgAnJ9KlWWFRbwjdc3b&#10;/u0tE4s9PDFd0s5GASN31+XnoAWGe+glPnm2F3cQGGC7wPsNgirt2gAYLjAxz1z15xD9miIhgLs0&#10;QyI47ebdf6q5LAM79QuT1wOoAzg4yVRp2ewtY1rrTv8APXT7jTimdbVrmBg93AzmbUbohrOJB8qr&#10;BETjcSWOB1IGACOQiQW9vceY0sM9x58Vk7j+0dSPJaR1/hTdwAfQ0ixGBhbusd3Op2raeZmx0SMZ&#10;VWd/u/ey2AemDySBVpGhK+W11E/l3AFzqaZjaUBcRwQKfmxw3zcDB7AgCo3nG4uVTl2i+nXc4rVx&#10;cJfXJMCO7ykyqvzRxn+6CODj2qglrPNIkCJ5ZKBUK4KqOSCe3tz+IrX1nKXN08ARbZD+5jkZvMiG&#10;ScY6bjxk9PTFZOZLpVTckTFY9wRtqqFJYucDvxx6KMY76KXRbsiKUH+87fh/w9hlncR28jLcxQuF&#10;+XdKd8T/ADev4L0HGTUN4ZL65+0Ei2jmUyNhCC+GHO3qcEn07UhEIWKOCKaaQfK2/wCZDh8BgMZx&#10;9TwB71YikkL5njZlCspLHAJ3fNx6fnwaiNm1fczS55Jy+FJ2+RBJbWwdwWf7x74/rRVC8mskuplN&#10;sHw2dwKjOQD3FFPml1I5Kv2dj5/kuJxIEeRDGh/eYUMJCcj7nbqP0prtG5aMeYYwPOeRWwjycEDb&#10;wQAcDjNNFuxfMcgcZCgyEbHc989cdfzqUCKCQyP8yooRUWPcjyHvvGOnp3xXLJNRDm/eb+f9eZVk&#10;KvtJIUIN0y7SqlieFB9s45qB2jDuYiTLu2shBBbOdvTqB71KzqCxG8EZOSQrSEnJ46HH9KqtczkH&#10;ZHGAZdhlReXbGCTn6dqaabSM2tebt/X9dhFlkHmxsI1eUjLbcc9MDt/+qqjvskMcmCWYPKVJVTgH&#10;C7T6HipyGZSuwcHG08lm6Egc+pPWqbIyqqBWYggks2CSff8ACld21ElzO0X0/pFa5kVJASPvHJA+&#10;YDHQfhTp7n7QYC8SRmNBHGIl2byCcM3qecn+XYJMzsC4iGM9V+Ybj1H4Yquu75xuIC4BLHhTjNTe&#10;K0B8yVn1Gys5cKxOMZUv90GmEDaVZip55ByCeNo9upNSt93Dc4bcBnDY5AyO1QBBjIJGCfm45PHQ&#10;00227rQUlPa/9aFiGItyJsFV3jzG2gkDn/Cnphiu8yEspkcs2QACCAPr6VCNhY9AxHzDO4NwABir&#10;UayFFeNgoi6YwQ3IAp31sXdKzki3DLJIfJXKfwsJMhDjoP8A64rVSI5WJgG2ABN5DBnz2PoKzYZB&#10;vVWOXC4SQdB1BOc9fwrURiUXysvJH1LAfdx8zHjsO9DSs0NN35o62Zoo4j+V3fZs8ucwAB7hiSQD&#10;zyP6CtsTvJC0k2V2tvZmYlXIXCxDpjgfrWNan5IpEjAdwzRozh0THBfpwfQH1rWtZAXjUESOSVto&#10;0i5VscyOPu4HPJx34q07O4nyxs43NvTbnck0NxJEpOyW5umcLPZxAZZIlJKsx3dDzkVeaOV2t4oh&#10;uW5j+zW8oU/ZrNTlmlkPRWI4z059hWMI4FL70F1AswZpFy8d7P6k7gyjJ6fStq6N5FN9nurR7eRV&#10;SW9lhcF4UPIjRQSvIK5AyR04qXHmlfY2TSbjZaW/AtWoaNYZrjzBbW7m30606yalJ18zawwwBweS&#10;au3TNbF1MjzpayiTWYWItormeR38u2U5+XaIj04BZvQCqhEkZUW0MRu2t/Jt45o/Oj02DB3SF8fu&#10;2IOQ3rnGelXbSW6lNnFZWS3H2S4WHTbW4tU1FtSunY5lljdTvjU7uzDAA5yaqN+e/XuKLcU7t27f&#10;qXLa5vLl7ryiYr2aF5r64EiIbC2CFyhDH+7xwS3J7nigoilkaPMitNaFLFYtpFpbRFRJNt3fvCxU&#10;k9+vc1o3IhkVPtdxb+QlwztcRj5dUvHjLeRFIvRR0AbjqfSnz2t1bLqckws2ktCiaqGn+zllJXZa&#10;RoG3Kdyploj/AAn60StfuaNN1VK61f6f18y5pXk24T7D5jwXcR07SXlgjURmXKy3rxmQEFBn5Ccg&#10;kEHuHRzWM0qtpDzXNrYBo9HM8JT+0JtjL9tdGZs4PzmMlgMYDetCW2vHvpPtcIs7iWCEy2UYLx6R&#10;ZuquqpySWkVgQ/3jnJyTTggmjWK1tZ0d4xLJJtRoNItlGwEkZO5vkJcADnvkAO65k49Qg27uOyt8&#10;9v8Ahi6ttaGSVri+lvI7G7RJZ/JeT+2b0AMseQMsiE4zn/lnn6QXVwHuLuTUbmS5kiDG/ZY/PMs4&#10;GIYEbAG3O0E/wjOc4yZbWO6+yWjS23lQzpLHolo5VpM52XF3IV4DKoIUgYLIBzgmqpD2iRmzkujb&#10;5kj05Z2C3Nxk/PcyID6gNjODtHJGck5d1ox8rUuaPTX+vwJjZJA4N4n2m3hkR7z7MBCJZzH5iwoc&#10;4PByVB45zyK1LyK4tjJ9rupJFuvLu72e1mF19rmnHmQwmQHKsgdhInOGyrAEcYlk0B2RiRdRmi8x&#10;bCNg8f2iWSMhrhuOisSAxPAIOMHFMuLmSMJAsqsj3LRWE0gMZSRhmeXGcED5eBkjKmoSVtRyrNNy&#10;g/d2+fkMurp4ZntozJKwuo5rmQQ83Vwo2hUY9kG0EnoV9hU8NrOTctbzxysP3G8kMZZdwM9wobkB&#10;SWG7PIzjgg1JDLHIbR1j8xX/ANC0kxjbJLJuPn3TnIJwc4PA/EU6/hZ1hVnmmt209bbTmkG9oLWO&#10;TMsiZOd00it82CSCeu7NOLd0pf16mUuT4lqtN+jKsD2s626PDNbSHFvatFcZCp8wuLgnOfMkU4BG&#10;OmOasXEazSRx2wZIJVKJau6j7JYoI8knI+aRl5yedoOOgDBpoVZ57e5EVzHCJHjaQZKsdscCg8bi&#10;wJPcAjPWlEUsQCyPcyTs6z3pW3EhBcKILVMZGBznj069KuUG9VurFtQULXuun4izWtxdyZKiwnmQ&#10;3A2N5SWNugVY0RueXG/659TUqokdnKsElydTuHa0022TcFt7Xa6z3EoyQGOCQCM4ckYxVm6Eennf&#10;eo13ap5V5q4tyiebJN88Nmp2hflOwsQBznGNoYwPalSkV3O1qt7bJeardxO8hs4nBMdsMfx5wOOR&#10;nk46L3lFqQRlFwsnZ6ef9amfIk8UKRQq8OlpII7OSVwsV/PhczyfN8ygYOOMDAHJyaM+LgTJHMv2&#10;WFx+88tXfVbhs4Xg5KjB5AwO+MgVs6hLLJawzyNgeS01haRxo0VpbKA32ic4I3e5I6nIrJmu54re&#10;ykMQWJICdHgFsJGcgKZrmQDG3JXPAw2BgjGAX1u/60CNRKSt8LW3mZkpfM0k8QMsOZLuY27BtwyF&#10;QZOGJyBkdCDxWfco7yQm4ISe5twxJjJS1hOOGOepXHI5rbkle4js3VIUso23RQG4cXGpT/MN7KTw&#10;u7PA+X5elZTyq7oksSXRMn2i9CM0AvJDkrGmD8mCTyMjGPSiPM1ysyu+Tljtb/hirKifuLiFTEdx&#10;FhCgLLbrhhvbsc5b0OTnNQi2kktUuHTzY2kMNmhJMt/MCCWz/dGRn6j1NbF1by2zT2l1Gttcyopv&#10;GaZ0NvCqho4woOFchQcjrkA9SKjjEtxuBRorxrdDbWv3I7KEDeXl4wSwPBGDxz6VLum4mkXFSimv&#10;euvn0OdhMhiuYzatGWBbUZ9+RGgAUKrfwgnt71nSSCRlWKJZHSL/AEWJnwtumCQzrjAPv+P03mWV&#10;4LdpQTZJmG2to41WS/cE5JwPmAzyTnpj6Y11CEkmjY+XLvzelQY41P8ADFGcc8cEH+VPmStrcXPK&#10;EJR9PuKphdIizhXgRi8SghXupDgAlu4zn8vwqrcxiPfvMNwu1JZGE3fG7ywSM5HQ1cb50kQZSbqU&#10;PK2qAHH069cVSufKVUWFXeNxsVnIzI4PL+pA96iT1uJSd/dW6M64dyZNyRhpIgWIb5Yxnpjsfp6i&#10;qhSYkYVo1IzFFuGI1Oct+OAatPGojYJg+TIGcsSwmw2AB/WnSPglWkUyFPnYKVUdSqD8T+P4UtOX&#10;3RJfvFCe+hkkDywCoMYOFJO3LHgtnoRUckTx7tgWQZBVtvDtng57Y6+2KuSBm3DG0uAVGMJAO5x/&#10;Wq8juRwXAdMIozjGOWP+e9NJtESXK36FCSNwXyuW35Y8MHYg5B9veo3R1YAnYA3IQ/L9B/ntVwpJ&#10;tjbcoYHEYB256cnH4dfekfcpGAu7zNq4IPmHuf6VC95XtqEuVTT3RmmMZ+VmGc/d6KB6/wD1qgaJ&#10;VB+YcDj16881edXDL065diMK3PQCodjDO/DEnOV6AjoDTau+Z7Dsl73Qouqlgc4IO1SGGBkYz/Pm&#10;osM4ycjg8k5Hp/n6VbdMlkGAQR9wZAAxwKhODkKCMnLkDAOe2PwprRX8jKTd3zdCvhskqNuDt3Hj&#10;P+eKjC8sSG+790nC8d6tFPvgkncckjpjHb0qDG0n7uQuST0AycD69PzovfRgrwkpNkQ4O4j5lGfr&#10;6YpMghsg5U4PGMH2/wA96l+UjGCCwweOntTAAw3DJxwMDg59fyoTT0QOKjFK5taRqMlncwPvYhGx&#10;tzhQO49vrXunhPW444PNkaRpDot8sSKwYvIyMEXkYHV+f0r5w5XG0Z6FQR1712vh/WWglWBnCq8E&#10;kTO2CFBBBx/nNaRd1yvYm3LKy2Pp6C6N3DMftJlmm8M26BrdHnkby3RtpJxtVflzgjGTng4roYJm&#10;sLxL23kme5s9ds9Xtbq1VUdN6FXZGJOwZZBvIPB4B6V5P4f1Hc9v5LSFZ9Fk0+eTZkjcG+VAcqPu&#10;hh3LHPrXfRzztpOrKJYtsOiWqyyFo1ZVEsKqXYDOUCkHvyAOpNVfltKXT/M6IVOaMYP0f4fgdut8&#10;1lPp9hCscQTWdX0q/gtow8sAeJ/KbzGlIJfeMZUkYY781NaALY2UsRsfN1XwE9ta2TCG5t5GsLhR&#10;Kk4Em3btJkCMMEAgKw2g49leRrdNsZFu7bxPaKuqSvEIreGWB4FRgIwCzSOz7QvRcFjyK2NIt5Zp&#10;NF0u5861voI9etrlvNWO6PlxvPHHKDGSqfvHUr/EHkC8jNUlLVb6f1+ZsnOXvS2ur39f+BuWJBbq&#10;2s3Fin2iHTLLSb66u9SEL26mMCPKR7cb1MjbTuLFUzt+RjVm0a8h1EWEk1pcT2d1qdnEFkTylMyR&#10;4KEjaUd25znJVjjJGcZItYn0hUMb6XbT+EkvQgnuJo782txLuVNoDHA3jjDZVuBgAas0liL6+16G&#10;4uNto+meITb3cb+Zeu3lwSRcE5ILA7QMchj2CpqVn2/r/IG4xXLLf/gL8zD/ANAvNK0yVHSbVG8O&#10;NB5ML757dbdzIgjXYNrFcqXycBD0waittSn1K4nuZbGaG3g1Cz1eYt88g/dR27R+ZjcDIPMfYAc7&#10;XJOFYrv2+nyy3GipeWM6T2Emt2SNuud7mOKa5XCqdpZBKB22pEuMAlmxtT06W50y2aOQRPbeEItT&#10;urt0+yPsivPICOrSEl8SRsSTnEoY5+aojKzcvvHJThOz1a2/ryRsaff3Fpc6PHpZM01pqOr6ar5N&#10;ykCyWzx4Lsm1mAlYDkhd7Y7GuejM99pk0scdyktl4BFzfNclt0sMeoyXCTSs0vzBHWTKYBBXc3IJ&#10;FmKe3t9UN3pyFLSDxbNLZNcOss0MDWzpDuG8jc5Vhuzn5QcKACdDS4IotJtI7W4lgvn8J3cdwXjt&#10;Y4JDayPN8gkTJXAJIYsF2HAzkl2U3zNOy/yRlTqyUrp2u7/1/mJJYv8A2mbyOCQ6XY+I9ODTSQQH&#10;Ylza/uJJFLfN92RgM8qB2zSG4txa6Tp2prNcCPRr/SbmFby3aYTQMGMkkYBKiLdI4T7p8xvmyTjb&#10;e5T7BqTDUYrSDUPD2nXRitZIdX1DVprUx7ZFVF/dQquxWlY5IPlouPuRzfZn8QwTrLDdQnxMlv5+&#10;82wmjuoZC8Y2Lhi+1jn7pDEsT0Uindv+tTVOPLCcXaV+nl5GRNfoukW6WtnLMJv7K19ri8eL7SjR&#10;ymBmldQW8tgx2kYOFUdADSppN39uf/iYWRgfxRqFhYRW0kbPbPPAZ5BGR1QnyNpC9PmOcGqU1k8W&#10;lIscU0KT6DcmW0eacTXAgumIbJUEAny03AEb0GD8prQhP2fU9LRp5dYeLXbK6EcJmtmuI5LdBIEk&#10;4I2srKWwfuA89h3naKdlf/ItpRV4u8tfvWunqUolu9U020MDzywQ6JcyPZ29wzSYgnlbzCQvO5i2&#10;DjG7PGc1uyzRzCS6e4nvrp/EGnGCGMMJDE1siCdXYqiCPcFJ4QLGeelUdLt5rOxtZpLS4EVzo2qm&#10;Aut3HbXDW80xdSoOclEchDywPIxkG/dR3DwyzafbINPt9E03VJ3lhiha0C3QySWJLcTMAowMYO1i&#10;OXry2eyI52vcas+vmtCtZ3z2cr6Zb3X2eaHTtX0EbZple6UXInEQ5JXIyrMCMhGHILZu3Il0+3vN&#10;WmY3epC30LUEHlORp0xAjAiYynn92SQM4GSeTTYtMg1K9gskktXfUfG9zpZMMUEErx3SJIoKryIv&#10;MOzIbqVIOMVX0/UbeXQ7priO3MR8H2aRTSWsVu9tLYTlHVCWLO2HKlyFOZiPnJJpqMlF66/0y+aT&#10;goRS95temqLFtYNcxaVbXsrnUr/xRqNrdSXM24l2txMWa5eY4LAsSCoPv615r6+vbKx1AGy07S7b&#10;SLCRJwsUF1K9peyQlgygs7biSRjHLcnk1qTaVBBfTSiJngPiFTIoI8mX7baLvVRt/hcSITjJC9/l&#10;WqLQtd6foNlbSRI1v4MvJBbRMzsXs7qaWZZBgKpcrHjg/cXA5NKD+0vi/wCBcUlKmuRrp+b/AK0L&#10;Uc1rPLJoMpW9RrnV7CGUXMb28sssUtyjK+0lgsikhehPLZ3fMkl5b6jp+s63AIBIlvoa28RmS3d1&#10;UrbSGKHbhiskMbbh2JI5202ywJ4lsNOS8kjv9Nf7TbzyBbWOaw2/Z0yoBMrSBi54UqQCc4GXdQSW&#10;2mWkaSOt7PoVxNdSMJi7SW9zIcLK2di8qBgAkA7Vzk1SSfuvfT5Ewc4JSl1/4Fy3bvPbXC2m/LGb&#10;UIk3MhQi7RmjTld3G1QR6Y3dRl12QdM+13jMJJ9E0i+upJPJ2bre6gilONo3BUh2ZG3buyM4xWjH&#10;JNfG81awgVb2fxHpxj2NLcXEMtzb7myNpCjIUAMdx255zk5l7DqWnaY9rc6hNcXB8OXlrPZxfaGa&#10;MwXTSRxOoGPmcA4XOQV4BABzblzcvkVKMatpxd9r+VyxNHdWUrIGZWkvtZtE8wwGPaQrsrLkhnmU&#10;DnopAO7H3dCItDKun2xs7Jmu9O8SNJHLCVXeFt53aVipCJvjJCHJKKADnFSXt1ZjUHuYLu7FvceL&#10;bbUwdkrSeXe24jumOe425EeQoz1JDE44W3/s2a+uJTJcw6dPbWqyCUpGILh8Z+Qb2ZArKMDIIxgB&#10;RVLS0ZPTX8iUtFHrp/X3KwqWUd0LqE7WTTYdS0y2YmG0Ia3mlnRVJYsy/JK2ByMhmPAVr1vMLnbL&#10;Y2dusM967QyXUC4s/Os2IWMF1yz+SMEgHIKqDk5ilkn1O6+z2H2mMXuqNNJdzB4LqZbqxKSBgVIj&#10;MkruGU7cKOcciqloWtnnQXq+U2l6fqjAs8cJktpioVlMe4Mm+4yQBuIxnA3BwTu9en/DlycXKTa2&#10;276v9C6tte6PpUN5exx376/pVtqUFnNKbmQLa3aReZJJHKArAlisS5CiUZPStPUnuoL64ZLYxwwe&#10;NJ0Z0LlvKvNOOY3JclQQjON/A2ggNu5x47a1MV5Z2bBxbwagqGcx7wkMr3Me12UZCxtuCnnpydoF&#10;Xra5M8NruhuzcX+s6Xf7VjhdbZXEUXnEggucqjKZOSQoGTg1Mm5vlWif/A/yLjVlGfvLp99th0dz&#10;usLyO3t5nmXTrFn8i+nM9o1rdOXKFR94hkYgcsAcEFsG/qUktjEumxQMtyZdRtk1G5UyKAV3nbEY&#10;uis7HJPyjHy+uK921jZNZQxSrdPLexSPvWRYpI5AyByGGFPyofvFthPA6dfblri6/sh5pbu/vdUe&#10;2t9It1BtLCK409ZEdZFbcJCWzk8lSOQeaalzJ23/AOGISipXj3b89Tnb68urp5RNBFDLeM2WEe5n&#10;a4tzIGUAAFiVDYHTkdgK19PuL2Ge5TT4knmnhFraRQEK9qbuCJGZ8PnIZPY4wAOecGwRJLiG523k&#10;y2sVkJZZYciADZA/lndgBA2Nx4yPYGtWykNiLN/sxklju4jsWXzGdoZmMhcv84BEm1sbSVAAHGDa&#10;1jzX1uOnJwcVJXX/AANPvN+6iawuBaapNcJeNDD/AGhbzr9ljtXMRXBQ7iwDxbgOu5QTjFS+GNRV&#10;pboQWkV49zM4txNITsWUBlYANlT+8Vl3HjAJDd8S4v57d9Q325kmYtHGqQxoA0NyHCjcw2rtY4Pz&#10;EEEGux07yhJbRx+RpjWUUkU0MIzKdoOwsTnqSqggnPmZ9c5tvlVlqNyiqvNJ+6/udrH91v8AwbZ/&#10;tX6X43+CHj39lvWro2uv/DnV4vFvgq0nmWE6xp+pgtqaW7M4LTW16klw6qCfKuIyOQcf0wIkjmOR&#10;WhmcpsSXzfOVhJJyS43bY7kRgYAxG0a4B7f5rP8AwR4/a3tf2SP20vhh8RvE8sqeAry7uvAHjRYG&#10;JFrpuuRpamdt7Km6GdbW4bIX5bZsMOd3+lKLm3uLYXtvc2+oabdWMd5a3qstzZXqXCKY51ZIypin&#10;3nzCh2hUDAYYmtcxXtYwxiXxKz/xRsn96s/O5w4NOhUqYR9G2vST6d9br0sOhk3Sk+Y6NkZaVMNM&#10;drYdsquLhQMFQfmiAI6rtQPBhow5BmURiOK98rzFflREUmBXzNpMLHG0IVyuQKQR+VKySopjE6zQ&#10;SFR9uvHiQqWLYUeYojABO7fCOeN2RZtrfLcQ7BF5hggu9gcTsVjxmXhZ+TGQR5bR4yRuFeW99Tve&#10;nwjoJGkxO4llCyRypI2Y1YMjL5wj2sUyxMciDG0KXwuaR0CnaVlMrqY5dj5mm2qDhXCj94oyYyBl&#10;lUjryJP3jSna+4yTrvaOIOH+faWC7W25IMMq9l3Plepi24ESPbSwM8DxCG3DI6+WHV4YXAQKV3bo&#10;X4ZkD4A5qGpSSRalZ3f9f1/VijdQGaNkieAF18wIZ2MMsczMuBiVflmGFT/nnJyOCMczqOm+eS1w&#10;ZigxNhAs8sZQjEgLK376HaYsfxREk5ywHZsRJL8skchKq7LGUMDq45ZVLkiObaYwM4V0zzyxoPsm&#10;CvGqyQK4C3InWSU8mOQFViYbovlhKk5KbjnK88mIpXhod+GxDpyV/wCv6/pdT5g8b+HFKXebjYY5&#10;PJSBJiIbV5BG4Kglf9FnOSuB8sm7PIO75W8XeHoozcM0RjXJfBBWUbApZZODho8uGKnlQOeOf0O1&#10;zTEltJoDbpAi5W3SIstqkjSASWZI2EwzpjyTwEPTGFz81eNfD6ywzPbxteiOJvvRbjcLC6JukUMT&#10;5sQkEcoOSykMMb1NeDiKMl7sdj6/A4vmgovbz/r+vPc+LraEWbXCszRNHMBAyAZYEBuQy4OPmx1H&#10;UEcYPoGk3nmfufM3NggGRvLXB3Y+bBOMEkADkHHFZfiXS4/vRafcWrCYQzRTSqVUsoZTHhUyjtll&#10;Ybuu3JwSMbSLswymNmAIkAADbiwY8A54BI24we/PXAzozsrS1/y7nbUjFvmSPYrW7jihUwyxFQu4&#10;SiYFVDKclm53AYUjH8LA4GDnb017qyuFlgWPbcIVuFMnmiE9TtOQwaMgsjHB4PvXG2NwoiiLIF+c&#10;SR7EwRk8MwPODg9D0HcgGtttQZJt0cY2hvLRfmQhiQcqobGVOCGPXGBnAA3TfMpI4ZO6cGt+h9Na&#10;R4qM1zatNdWpu7afzhfJKklk8hGxbhvk2kOiiORepPzHLCvaNLvfOjtAkZQKTp6W94AzxT7W+1ab&#10;M7SDMc5AeB8FMqvLAqtfG+hayI40jmWBlcsQEVZUxJCI2BBz+7IJIAzhjkEEAj6C8K66ADBNNd3r&#10;tpsTm2s2/wBNvbeFhMhVioH2myDLg5+cLxkAbfVw1e7d9n/wDxMdh043irWPZrW8jZDIl1OFks5L&#10;yK5S1825kiRljDMNkhNzaHETK33gxJBOQvQWbOjFTbeQwdrdliBMEDDEibH8pd6EEujcgO7pnsOS&#10;tLtZlB+0SGMEXsuoLdgxIBzBqMas4UROA4nQAgNJ8wxuNatv0IFrE5imES2jIJ4oHRvOa0crCQqL&#10;hZYHYj5nVQBwG9OE7q/Q+br0rOzOygdDhY1ZV+RgGjMJUFV2/KQCMZxyOCCO3EzDPUfvGUhZO0Yz&#10;kDr7AkDrisi3nJJVhIJEQSr5iyRNKjHgkeWAWA2F1UfK7EHAIzoo0bxAuCodgzFlMW3efQjIJB5H&#10;By3bNdkZcyPLnDl1IjG3Ck+YolUpyVCnncV4PAHIXnkYJrMvIkhUORsgjTy/KgUO075JG1fLJDx7&#10;B5WG++23AIWtqSJSyMd26JW2sD+8PGCcAc9Tx0yAcE4xXmiWQMssRkKEEExxyMSmCrDI6/NkHAww&#10;9DzM431Lpzs0jDlw8heKQsQyeXIAGiRpF2KwHmKpimA2BQOH56gERTMoQFo7pI4oi7qypLMixMMl&#10;du9jJbnbt5O7ccFuomlmSFt4mtolYbZpbqbcLWSRljZXj3qCjsDGQp+WYng5cqkpZBhrlYCoLRze&#10;U07JHE4UEgufmiLlJG/iVs8duWSsehSndpf1/X9eZSmLoyB4o0ZXAXdciK2Zn+QwONuDHJuDR5z+&#10;8YggEAVnTNcqxzLCWRXAlfzPMSKFsxy7DLkyW7fLLwpcOPugcasizxsSsKecF2SW0KApgKHaFH8r&#10;lkbMsJbGd56c4zbncoZ1u5m8lkmknM7RGIqGRZmXePkbaI5U243DJHBrlnHl0bO+i+aS/rf+v6Zg&#10;ahBJLHKwtoGlcNbjZFvi3SjzJ7cyeXzFKJPORs8SOBjg481152aITy3UrRMRcSXMiRxyDbiMljhW&#10;UodyyqCcqo5G0lvRL6FS/khJ5Qz7UF1PJOJFWfzWgDOS29GUNDyQTwOmK8s1szxxSSRqrFf3xBtd&#10;rTIVjUXHT5VkxEsyjhWcexPnzkm0l0PYoRlFbnIzuVYmQssiFswiWJjCeuMgg/MR5g3ZPAXPY5d+&#10;puIFZG2NuyNxGPXBUEkAbuw6N7HDLkoxVSWDG4a0QySKx3AFjASHC7gSjqwzhU2j7y4ngkWS2Rcr&#10;+9CkTtuCkhS+4jPGc8DHXjknAwnZ/FszrUtEpLU5LyJFuINs0ixRyGSeU4V0IHTOfmXJAPI4PtX1&#10;H8JrgSs8PDuLN45I5GUiUHYJADnj5sEdiPevniaBI3MilginBZY9xG7CjjPQAPxnkN2r234T3DW+&#10;piPLQpMhjAYlhGzb3UnnHYoPc+mBXRgpRjXin3Mcwip4WbS6M+nFcGPcMsmwqrICWYgc4HUjjggn&#10;tSMySBWcCSPeAAoEqs24bHAGTxgHjoCSTxwsaYVwFDrM7vg/MuD1ySTkHoAMAAgYwKEVWAf5XKLs&#10;VhtdsAgMM/8AARkeo9q+nW2p+elV1YwyoxifABjWMBPKGQQ+GLcoQzfdP3cbeOUd3RofMeGBzw5e&#10;TeG35PlIdyEtkHYxX7qNkAk1KzoCqSOsZJC5WUQh/MJA2gNnLEfKepKnGOTUW3yVxEqReSRAiCJE&#10;SZMDbGhyoG7IxnhWyORigCN4hJGrIJ5EkPmxwpGkIwAGxnCkFjl1LEESE5YYwGbwxjjCys4VXMkk&#10;iZ4yCxUN0Bykm0f8tPTmpt4ZQI2ikG/BdFxEZScZyobaCS+STkED15hLvMiyxuIklQyGSWE74SMA&#10;lgz/AC7FUo6lQdxz2YUPQqJCBMh8vytscaFUDzuYomJUvAclQylSBHJzghuB90vG6WGQq8rISxkl&#10;iIWZcEqWAUMTIm0IR0O3vUcgZGjd3aCJpBAkbLHFAekawSMBnhgTE+Ry4GSThmLGVJdpJnxuIaON&#10;rl28sBFk6N++QZjYA/ONxAPCrznRB3STLEU2ApknSRHy0rrKiwuoXHmqNx+UkKjL2Z8+5lyDKFj3&#10;h3IkkYQEr1VBlym3K/dxnd5fPPBqpbghkCMuJf8ASQyyhYHATmeJA5wjEjch7ylsnkm0djQmOeCN&#10;kJ8qeGY7l2YIYOWADAbX653JzzuxVw3IkkpXQ2YvsCQn53kDwlHIfoMbeQcqG3FMfNGMAGo7V5H3&#10;7jGsjM5WEFZVkYBFaUAMMK24Fk5++pyKmkVw8QV0hkOYUQHkjGflBO0smA6nHC5XAJJqpamIOzxQ&#10;M5huzLdbG3PbSSxl2mXJ+aNw+MKp5JwvBAm2th/YaJZIHGfKjBcED541TZGjDZ8wBO+Ak7RnDLu5&#10;J5VjKzblZ4ZY5hukikuf3ZEvyYwHwY5trFARwwP975bLl98ZlhDiFjOjGMXFwpAcEL8gAZd6hDkl&#10;gX9MtFKoEYUPCyylVMaofs8xk3DB+clUcsAvB2sDyc4qlCSaEm7WYxnWS9jEqDKqLixnEzW52OAJ&#10;A44LHcozGRtxsJAIyCQsjmDCpGXVuZ2KxO5IeP8AhO11ZvLOSN/UDAFTyRtKLeUFlukV0juXj8sr&#10;koWjZDglX2rlR/cU89agcMzW4NrLE08HkTOWMjjYdwjeQDOQGYxyFhyTyCeSUXZjg7NJCl2bzQNr&#10;r5ZjUG4DG4AO7AXftH/LSMludyjnHNTkM5KhfMZiShI5XJY7uhHGc59iMDOKikBaQuDlY1Hy7Qqu&#10;CQ7DJOCxADdBho+uDyzbgAqiyI7CZysQODkP8oVeu9lkBO4nc/oDWTbtpozpUU9R8paVcxSLG+GY&#10;B1dirqSvIDrkYDg5PdTnAFJJh1k8xmCSBVJXKsOp3JhSQ2cEY6MgxzTWlXcys2yR1YpF55jldARu&#10;YLuXHpnjBxyaWMptEu5lTDOGt4g6lSMh1AVjzkuOvLMOamzg9dirK1h4bzArCU7JcyRNFMQsq/w7&#10;cbSBgbgASNoJJNTAqx2uHDfeZRIx3dQBuBx/AeO341XNwmGbdsSLb9p3AxxqOT8rFl24DbycHK5G&#10;OAKfAvAIadEijCi3cxzxqVBHDAM2R0zuOcDvmrTvozKStvoWUwcvHkrzg84JHcducduuaGyATvwr&#10;KMhsbM8k++enOT0475aAU2KVY5bygSCWYHaWJGOB19unSpDIEGSsjAtsLBeVzuPC9T2HAz8wpkry&#10;IEBKFS/mNu25ZlEuAACSQuMn5TgAdaapBLFTGwBw2OG3KFxn0xz1p7TxpIUZpRhtqEwMqBjyFDbc&#10;dBjGTnP0yzKrhRIoc4IjHyHjCsVwOQOvT64pSUmtDSMnYMFFc5U/OcbjgdADx0/P1NAAJfKjzFXJ&#10;cDZ5oUfdyOeNxI5/j9jhB8jEEksEyIhzCSxJB3bP4sEnnHX8XNuYMPMZGWRlDIN5/iwcFevQ4H8W&#10;AacVpqU3fX8SJkRlOcYdSeU3F8jsD7Z4Pr+dKXAySuC2H4bI5JB/r7cA1fIwdwccHYwKZYdSAOPU&#10;/p7HNWXa2AFUc5bIznONvbnPH59amcU7s6KUmnaRg3MauuFCnB2Bg20sSAAQScDoxH5fTxzxfFHJ&#10;ayNszID5aOVwsRJZWDLjO9WKkqem0gjsParpCAshcFEQqwKbVOOeTjsd2cDjC4NeZ+K4mkSRnOdx&#10;L4I2qM5Y84zn1IwTuHTNcM0m3F7Ht4ecuWx+cvxh0yL7LOpiYsZC4KjlcgZI9cFRjBHYcda/I74y&#10;aWYlvwlv+7jwyZXJz1bvklirc9MNkjoK/bn4oWQZJ8hmXcQ7FAxUl+eD15HI46DtX5SfGPQJmlvh&#10;JGZXeQsEUbVyvAOQcg8kcdCTz0rlfu3Z6EHZqa/rY/Gr4naUwS+naAjAMkJdVjEuMjI7njtjrkda&#10;/P8A+IVtNKspMTDylMZiLgkZKnIGeT/qyAM4x7HH6gfFvSyrPBneMPkKwwigHC9OR9QCMn0Ar84v&#10;iLYTy3khit4hGuY2OAw42Elmx9efcHOeuLfLGz+TtfU6KkW4KXb+nY+LPEFuIromNNjtMDvZ8uhI&#10;IIAPTg/TmpI7dvLQFyRKp3bcYHygjHIx97BGCSR+NafjCN1uUWMqoBcSEMHLKOcAcjrjjOflrItJ&#10;Xe1lDHYNpOOPvqRtJ7H5SeeeuK0TjBWl2t6bHDacajtpt1PAPivpoNn9owVNod8Y3btwMiqCF79R&#10;07DORXzJcGQNlm2tkplT854yP5gfj3r7G+IOmm702WVfNWJo3Zd2Q+xSw7cdVIr5FvYwrB1j3Esd&#10;zZGeByp+vSvWwMnKjaelv+AeFmdOP1iNRrfsV9Fup4bnEIWTdlhAX2vckYyjN/dGRnn39K9XgvC2&#10;k2ragkOo3UMnlWukxkLpmmJnmRycKxJ444ORk4rx6JRFPE7kqk8uG28Oqcghc9zzXqdhctcW9lZS&#10;2yIIiottMs4x9oumIwHuHGe578hcgYHT0oT5la+h5tSEqfwRd1/wDrdHXVWuLqfT5rUSSbo7jxPq&#10;MQTTNOLbfM+zuRsZlV1A2lmBYFV+7UUNnFJdXkUV1qN1Y3lx9ngUsY9X8WXO4ZRNv3ISytlQucAD&#10;dzU8dnaykaetvJr+rkNJpemwKY9F0SP5gbm5kDAEgAsFPC9SeCtU7C8ewlkKX8TXbxzwT6xccRWa&#10;vlUisUGHMhXdyccAnjDGiKnJJvTf9DVqDaTej2+SOgsFv4rmC3ggtr+WwV4oNDaEvp2lkgEyzMDt&#10;dgQq4yThQDxgVaWJrq6CC5XUteUfaL3WZSLfSbIxqHcQR5CkgJgc4G3C/wB6o7XVbVtLTS7pp9Pt&#10;UUeXplku3UtVY8tNLMD8qtz8xBxxgH5jUV5a3yXVnC4j8wkiz8O6U7SCBGBQvM3XOe7HcAmSQMZ0&#10;jpJ33sE2pxi+qd9f6+ZDdeWn2d4oL+0hd9zxkltT1+YuoHlRgZ2BiTkngEZGSRWytpKtxcW99JIu&#10;si1DjSkcfY9NifBkeYDguM5Kn5uDk87RFa2cctzdC8v1ndAtvqetW0hls9FiCM8kMBU4eQgFVK8E&#10;g4yMtW1p2j2V1pMuoGW40rRt6fZogqza74gCtlFlXltuFxuyF5wAcHArNcqTt0+8OSVSHtE+vy/p&#10;7L0M+Cf7FHJYWzSvYzvm6vvsZa81eQ/NHCvJIQEjvjOCR0Uayw3kKZRT/agZWTT48NFo0Q+aWSdx&#10;wrAKTg9Mc4HJz47+VbtomVF1RQ6G58sNY6FGoUICQQpkGSD6Ec88CxYTxwDVlbULn+z5gIbm4Ztl&#10;5rcoIwFC8iPc+4gkcAFjkKBceXqtf87FSfsUoRXd99+3l+Zctg1zCkqgzWVu4FlCZWV9ZuEyxaSP&#10;higypy2du49MnLbxBeTq0pie4hQjUtQtLcxWqKDn7NCzEkscsCcgbmOAeasWzSW8sK3DQQXFvArL&#10;doha10i3MZbYMAjewkAOOm855yaYt0zR7JFaONv3ml6ewxNfSEOBM+BgglyVBPJZdoPOJV2lNK39&#10;flcbm1yxcdF+dv8AgXOae0MwaKERwPGCdOtJkEVvbbwd1zOTznAyBnA3FiSAKzpR/ZJt4BLNLZeU&#10;RMYmCS6gxILnPTbnGMjALKcZwK1Tcm6ik+1F0jMscbKIljvdUm2/OQ3UKGJ6cbcZ3HAGBeJvea34&#10;kvbcCSWeVlFvpyMoKqqAn5+Gz1PTr1rRqV+WOn9L8Tnc/aU+RLXuWoHkkkL3EFpfak7EWFnHs+wW&#10;EbAnfcEDLvlT8vPbIAAqAsZ5ZrpbjfPbsy32tSuFsrSMIqeRCOpOAMBcZ24xjOasUC2sMEmpwSvY&#10;GZRHYQP/AKdqbMdoJyCVAx1bjmtG6jeIm2CRQXGwG20dnElrYBwG8y4fJAbGMrgtxnB5FZzm5eQ4&#10;yjFuKd+np/n5oxxNLK6wy28/kFRJp+kwgmVmztEsx9W5bnO3cR6k4E8IR5ZkmjUorfbrwyBfsu/g&#10;Qwc9RuxlSec+9dDClzPdXJtr5Y4PJ3ajq2wwm6C7CywArv4YqBtA654FZs9os0lulvbiWQgf2dZk&#10;bbaySNcPcTccE4bk/wB7827uPM+gmlpeWi/zIYmgu7a3trqMSpErGxsYmAeb5dwknl9Bx17DqBUN&#10;tDskNxaSpHdRIGu9UYfuLVjgLDbqe64xkA85POMmQyGFbsKhJnUrLqWDIspAJMUS/dwep78Dp0qa&#10;xhu7hUQwi41BoSdO0iEhTEoYBZZR2Jyepz8vSohKMnzJfIaak1d6a79UaWwRadZ2yh7mzZ2nMUbH&#10;+0PEEysBFHIdw2xgbjjJ/wCBVlXltdC9COLYX0cYaZIMGy0lSTtDMcAv159XySTU9tE1oxiNy63C&#10;8X2pMQ9tbAknEPXIAHcen1rKvZkunVZRLFDcPvihUlJ9R2Z/fS4bIU5xkdh0JySXXTqOU5aOK3X9&#10;feZV7BjfMrS3MkzARmZgu8fdJPfseKr+YEhMcahZy6gTK2zA3cnPX1/A9qsXhaGV4lR5GX5ZeBJ5&#10;ZPUKD0wGU5z1B9Khylx+7CNhFZhwSUO4fxenoPrUySiryeoNSqzcVHXt5JFGJ2EGNkalsAM5CHAb&#10;ODnrnJ6entVW5nuVmXy1eRV3blY5CjOe2eufXoB9K1keOWEwLhXifBDrgnBx/InrnGaqXqSb5DEV&#10;QszCQDIZgFUfQ9M/8CH4NKSftJPQzcm43S3tp59TPubMXE8kxgzvOQWdMgYAA554Ax+FFL5E3G5o&#10;s7QTyG7etFJxu72f9WFet3/I+ergwzyGRFfzZGIj48vyo8feDDjJ/DrTJFMSJtYB3dWWPzDuA6bj&#10;25xVia5hjMtuMyh4wwmjJQIMH5NpAzn/AB9KprlFVmkELOQuGG4Inrjr79aw1iznirTu1rf/ACGy&#10;bPK3rEXJYo237wUZJOPw6iqKpGRMV/1edsScs6gg/Pj2GattNGu9HYbGBClY96onceoJz3qCVY5M&#10;oiNHu4Us+0up9+3Si7cm2OcXJ6borTFhtNtxlQEYtyMdTUbByFfd8+wcltnA4z6dSPyqWZP3e9QV&#10;TO2M5BG0DkA55zULuWQhgSSehbdsGc8j0wO1Kz1igtaTf5FN5UJ+4drZfglQecZz70wsu1SRgMck&#10;YBLdsdP51M6LtDvs+U4xyG9f1/pVYuWAJRjgjbt+7k44P+e9NeZL5m7dtiKVTyd2WVgGycD8TTRz&#10;lVG0B+ARyaaSxkQBlxnL5+70/wA8VKGcH/Voo3YGWyOMUr7WBWVpSQ9WDOAflxgLj7/TuPT/ABqW&#10;POOQSHG3aMkRgHHX361AC5PClTyNw6Aev6VYTCqN2WGcsoOGbtjPp3oSUrNERbavAvJFE+SOUGSQ&#10;GwdqjPI981fimAX5mRkMYMpxuMef4c+/Ss9UcEkbQmeCrDqRwMD09K040WHAXaoP7yMkDEhxwMc8&#10;Ak1XSxTi5O76mxYNnzMobVW6gnc8aY6D6n9a1YNwlO5/K3KUKsQVSLOMA46nJNYSmRc+YRIkAyX+&#10;8JpW+VVU+nP6VtJGJY4xIdpicyXDqR5rP12L69e360K99SndNJM2ot7MpMK9MWETPtlt1XP71lDb&#10;SD7/AJ1pFnW0gR7hY0jmMttEWLC5uNuTg54IGOPwNZVrJHunE53M6K13IjMwhiUcIpxlSeB1A59e&#10;a0VltY2X7OA07jZaRTARtaK4yzyDJzwfvA099y24pXt72v6FyH7MS9pNNKS8mzUrsLl0PBEKqCQ/&#10;OB+Fa8tnNaSWIjvbGxuL5EcXAkdl0m3VnRQ2xWdHO0sQQeGGAdwrKjWZBZeXBHNpwuf+JfDCSY7m&#10;ddu92bOVySDkkAAYAHObV7dW6TzQX0VxJIWxqs1tAJhPNgrHGoH3gOOQfl5ODjlqVrxW5rCNoTlL&#10;W+np1JYJ7ofZIY4tQmnnQx2QiZo08vOWnlhP38kEZHUgHJwMadstxKtlPbPM7xXHlac7tumvroqH&#10;lnRmbDCPK/Kem3vkGq9iZrx3YukhhhWO8vPuxaZb+YoZIpip2sOAR0+uTVIvDPPBFNO1nCxeaLzH&#10;kVLWEscyTFY8h2J4wOc9fWVK9rhK8Pfgrr71dGupZL6TyhNfTpdNNcyGRjJrly5GEVc4RUcybuzH&#10;J9DSRT3ElzeG/njme4uTPfzFSJ9QuHJLQIwyCcKfl4X5ScccteSRjbTHzLe1uIGt9L8792oj3sst&#10;zIwBLZwSuOcgDtmpIbmPzbRIZXMDDyLO32efJeYb/WyqVBcEqcN1AJHQYN6rWPkEIqE9ddVp+hYn&#10;WQNdSSxmFpwstytp88WnWoHMQUrwXyqkdevOTmo7N5NYu5GCR2MbQLE627MEs7UE7ti5LfMdzHGW&#10;Jc9ehSS4UNdwWrXNxClwsmoTSlZGvpiGRIY5B1QYZiwP93rwTXiaaKSdr2RAXdW1C4jk+d5AT5UE&#10;bA5HzHBx94jpgYqk7pwYSqXfPHS/4/1uX/O8mSNrSK4t3mthGLpxlbO28sBsOB8zsSpxnBD9egaM&#10;rFqUkKXapCGCRW9xGv7qzsowd5xywdzuYNx0Oc7iaju53VZkvITFkl9QtREyzlguYLcsRzjKjAJI&#10;AJPbdVcyTQuJWkNrEY7u4hjGDHyVggLBT94ggg/LzzjtmtFYnmSknJa6af15Fm3WPT/tEqAL5yO2&#10;IJTJFptupAMe7jJk74bB3d+RUszyS3iyyMjCYhrhNglS1KkR29sgG4knhjjAIPOT1r+YtrIltNFc&#10;Ww3i41CKeIOj3KsfJiX/AGVySVbuT7YaYWNyVg3Xc4ujGjiTy/MuHlZXkwp6Ipzt9h2pwUWveKUO&#10;aNRPTUrXfkrvtliuJLkXbeZIowLm5dhuAOcBY1HAHAwavQR+fNHawtDdItyLaEs7YuZjwzt6rH65&#10;xleuCc1rlYooy7yzSLKGhs4wMSqpbMs20c5YkDJ64HTvYhjvo4rV1lMIlgeHTTcfILC3IYTTNweX&#10;JkGSQTggdBSVS111L9ndptbokeYhba3twbkJcPHaRyr5gv7hgA8jAk/Km7jPTGepokubSKNVnkXU&#10;ILaRTPHCrRTajdOC+xMdUiZthduAS3GAM1MpGIDMRCZGaOJyxi8m3z/reuQDx06/SrTW9rMsK2Ms&#10;pkMv2HTZo2VlwwHn3IJGQVBQqSMdR1ArW0pe81/WhlGEWuW2q1/r5XJZormQ3EF28AdbSK91ueOZ&#10;vKtIjta3tYwOMndCvAI5CnaQ2M67tRLIsNtOqYsDfXM0xUR6dbxRiRYEyMh3UYCfxEgYFSiOzUQm&#10;wSaWys2bbLdwFZL25bzI4mePcMY2khM4GCaIIoAs9pNOltHAHuLq4wBJfXAAVY1yMsu5VBXnYu4n&#10;J4ON220kXZKEUzNlWUSG4g/cXtwpSziXyxDp0EcZ5TcBtJAJ2k/xEjkis63NvEIZVEsu6Mx2cZ2q&#10;u8ABpNp5z1PTHzZzxWrJbMk0z3E8c0zKbzUJ3hZnVCVCiOTo+d6gjjHcnnFCWSERpcTSokkyAyRy&#10;Wpk+xW4ICJww+8McAqeOueaq3u3fQys3dJbjJ5QtvGnlC4itz57nzAG1C5bAC5zuG3gY6YB6ZOc1&#10;QVaWCV9oUCbU5JGIKcYECnOQTkgY49qnleylYyiNYY1RYtPi2sLi6OAGmJ6YU8nuC2AODVdIYZo2&#10;mto2ngjkU7fMy19JzwQeDghjjpg+lFn8XR3HKc3JR6iLKUASJA11c5Mabsx6ZFtYc7v4uh3dsetZ&#10;t0YlEDyoJ0jY+Qqj97cO2f3jgn5xz36c9Kvzx3M4uLLnzB+/1O4hIPkooVQm7qOvI6E49OM10ZUj&#10;eE/v7k+XjG8WkKkAsR0yQTyPWnoml6E++mozehAAZIbqFW8uAS+dey5EYmYAlY0bqp6jA4rLcSeT&#10;mTOXTekKKP3ERORk/wB45Nb81uXWAiMMsRIt7fA824lOMMexU4z/AMBNY8/mNPMGMYdf3k0yyHyW&#10;c5xGeOvtnGc+lJ3b02CVkrLp/kv+CZ8sCBUkYhYwh8lH4lYZxubHXrVKVFkjgWMCSCE4LDJE0vfn&#10;05HHtW5JDLJGjEoJpVzM6klbeMf3h6n2xxmqLq6JEoUYXcsEattKr13n1xkc/rUKxLknbXsU5UBi&#10;cFf3W/bJKfvSeqiqc7bmfMbphQWVh91RyAMfTH41bkLxwrGEymS0TFuHJJycdD3qLy49zK7JJlBl&#10;lJYSOTwoPoKEmry6DbTXJ16+hn+UJHcFEjIBLOr7TGuOx9TzwfSoAm2RVRVDuMLlSWVccsT29eK0&#10;Zop0c7wmA4E5XlnOOFH0qJiFBYho3KEyu3HlDoMen40N80LrYXLGzaWxQkiKhcIBGSfKLZyfU+//&#10;ANaoCuSm0Ns+YJ67uAWPPTjv61pthk3b2UFTsWT5CqggE5981XKqrNgYIBwAdvlgYPXPf/GhLTYG&#10;+WKTM149mH2AqxGBjljjqPzxUDRYCsSOWyTyMnPH4CtJnVjkKUbYMAn7q8c+gJqF0CoCvXH7tW+U&#10;nsTz9Knmuk0HJe6RmOnLZwRuAJAyfz+tROiIHDYbABx/eP174rRZD7EY2j5gF6ZJqAqAQWUlWGFX&#10;djcec80neKsC5GrSVnrqUMbQBgAMSSMYJHfB/GmBeDhsKOpzzg9BVl4iC2SzDOAM5H4Go8HG3ggZ&#10;4z97qP6UJKLbRFuaafyRXAONvTnCgk4xU9vIIiuQFfGOOoHQ+34VGQcc5B3AEKehprAjGRnIJJY8&#10;jnrj8TVxcr3HyXV2eoeG9bhHl26AxlYpssyhwodANwzwCOfXr7V7Do2qp9jeSQuzz6CyuIrgozyx&#10;zho2LKDwojPzYJ+bgfdI+Vre6eB1KFgGG0BWwT9fr/SvVfDuvTx/Z0EgDrZspLMMEZIKge/HHuau&#10;L6kJ8ui6/wDAPpG4vYraO+k8jMk9lpNyjJHI9pZvH5ILMxwMuZCSD0LNycgV0kc162ty3l/DCb1P&#10;ELME1BQkE66jAIw1xscMNxO+NevzA9Dz5JpGomaCWOYRut1oKlEhhEpj8psoCGb5n4xk5Vd2SAeK&#10;7y0v4rWHWL92Zb+GTT9Vtm+0rm3milAV8qC7MdoCvldrYwDkEbXcXyv1/I6+ZNLm1a+7bT8/vOn0&#10;yza4j8NWbGJrs6XrWmJFCVsjb7oRLbrgyZRI3lmLDjJA3elc/OiLbRSyok9reeGrXVFYwWpAVJV3&#10;iFSzbWQxshlxkjJwcEN1sF3DDqkMjw3MepReLLzT3tLWaOT7Omo2gj3AbPkbLhNpYDAOW5NR/Y3b&#10;SfCcDyPNc6r4K1RLH/SJp5VaKe8ZkZxGoCZhAUxgAsjEAZqJyTjd/wBaDlUTfs4bf8ELtDY67d3k&#10;skjm38QW0b29rdQzszX9n++QMJCTITIwVQfmGeFxg1LCSaeG+hlhniW88C6laRuTCiWk9tIZkcEA&#10;4U7hhR1Oep6XmkhfTrjVo4bq3tzd6FftcvE0z2xw8KRwQ4H3pCA7H7vXI5xU8m6sNTafU9S1AWFh&#10;q15YXFsjXUaRJfRSTMqIVKKz4YEn5eMKWAOJaXNywWjv+i/Ub50lNvVW9e5TvtP8u3MOmJDBZWq6&#10;ZrV217cNsupHRQJmlWPIUmQ4jHbHrkLJrEtkVhspNRsYovEt9DJDaySSWginglBjDvEQ2PnCnOwq&#10;/KnDA2Pts2p6Pa2cIuopF8CG2Gy4muo55bGTzEb7qkRlQ6jv1PvSXt4bG9lsNOhOrxW97p+qxu8U&#10;tuXa5tmjcsjOF3Hcq7jwohUL2NSm1Jx7/wDALtG3LNXSa9dtb/eU7ZIYtLQRR3D3ur+E7pjDb3V3&#10;B9oeOZZQRLGvKAJjHzbtpwOObUcc4uvs9tdT3LCTTLoWU9tJAbMSKjMm84IYMwVVPUsPUARaTaSz&#10;6jYqIFgEdvqGnG4cyIbmRYmZly0pAdgcHBB54Wp0sYUsZZ547d4ZvCunas0cohNzbiCSOLzgplLf&#10;wh8kbSVOCxVsaa8uu2n6kSpqTco6b/caUVpHBaxQ3JYyi/1vw5M8xOJblEW4gRi0u8nekqsBznHz&#10;KSKqyv8AYbA3dmLe1nk0/StXdxbRPLaut0sK4cklWRmAZgQoDE/MQNtm4kUarJcqLT+ztO8T2qPD&#10;MYGWd7u1lXaZWwN5AY7fvMVYYyMHJlt3jX7LYXWl7brR9Ss5JmiigN09jKsyqBg7AuCVO0bQAo+Z&#10;gGl7817f56G1KjKUW4u60t8+nrodDZR6VPqVpBOoj0rT/F2qW93qKTRrmO5snfYuWIBkU5yv3mmQ&#10;EisyW6SbRr9bdreNbvwUjoS8EaI0WooqtcZyUKxoWCD7gjBLHdznPmK8jvoY5wU1TStSja2cnatx&#10;FEjwx4jBJkkAccc7+oqxDi5imsJDc2CeRq2lzW62811GkaRxzxr5ccTZmG5NxGNo5xjkW5L4l/Vv&#10;8zNOomnLVbfebrRQaJeW66abq6a11HT9WvbaC7naOSKeARzNKBFhXLxxsFUsu0qSDwBWs0v5LCwW&#10;SR1ivrTUlu7jyZHntXtpC3kYKfeQFSQq8Fh9azIbzV7iO5huHmt1ubHTbi3upC8s4XCxSAjkEjbu&#10;GSB+grp3WOw1Wa1tDIWstZ1Szgt54o/tTJdacgjcsZQcyt5w3OMddo+9tzsk/d2/4Ybk5OM5PVW0&#10;+V7jZdUF1Ya+9nM4gj1fQNZBDXN3C8sTPGcSNtMeWJIRQUV2QMzMSGJnuXu/Murm4jWO/wBf8PTr&#10;exSS2WmyzKzopTcWdmVo9pALZU4zjJ5mzMS2sVpMsUVveaXYakoKRxSulncmRyrAldoeU5J6eap6&#10;gEdBJq1vPq2EjMsFv4ydrKWOO2FoUmt1UTCHOd8oZSepYREnaoXDi4qXOjNzlCbjJ3/z7j74STaf&#10;dRwWTRLb+D9N1C6i+zxAwNBcRw+dlXG59j7hkZBCkDqTlOdI0i8m0uztbyW4iudQ083DuJHitbhI&#10;5FWMh8+Y2SS3XDZzzVKSVPsjMWe0mbwvJZ2oG2BboW91skeSQryMswA9x1wRW9asun6hc3mmqHk0&#10;zUdI1mOWZ4p0xcRxwMLlDGcq0k0cflg9GcP0IGijzSut/P7jSbdkrf1puURawpGsEby20MsGkeId&#10;TSSaKP7NLCojQoAxBxvPfrzt6GtG6gisXv55YUvA0+raBp0ghWOVzIsjLc4EuEONxSRSXOGCnA4y&#10;dRhkWORJ7u3vJks7/STCkka3SS2FyziWVSoUs4JWPGMKpyATUloLeDUodMjhi1BH1ey1Ka5kBVDJ&#10;cWalnY7CVBUhOBliq44INKV1F/1oEp8tlsnq7f1+BbiVJrX7W8KG2uIPD19EltIkUFuEM1tOiRvM&#10;N+SkjE7WAJbOK0INO/te6s7We40PTFmvNZ0yUvLbWzQMcXO+VlZnLtyAeSMMuScqOdg06+srOC4Z&#10;4bxrvTEkWTzlkhjNlqJMjFmQAklmwoBbcOAMHOncGGHUHiuEkEw8UxXg824DTFbq0EiM8YUqplBj&#10;YDJOSCTjAEvlsuv+Zrbl5qi1WtvkRLcm1gEMkjSNJ/ZWq2rQgTLsUqXDOrY4MhGR8owRz3WeKOET&#10;LeRPZzpDeW19bv58ALW5W5Ab95vKk43hGVmAbG1RxnzPbQ2xtYrQtcPolxYNMBE8Ub293Hcou0gE&#10;gCMYJ+UKcc5NdFBol9dXNxraRi5Wa7tWmd7izjv5lvrRlQR2/mK5DR7R8oGSduOxalbXoS4pz036&#10;/g9/yK108ovbi+tPNW0lvYlikCSq0Zlh2sUJyvzeU4AOdq9c4OIUaQ2LeZPJ5Vjpdk/3pbq5SQ3q&#10;x+Yx2fLjzpM5OSMADAOGaet1Hp1taTW0MLTnTZpbxjEgtYbO6niBZt2E+VSwXGfu/ePJkuMGHVhb&#10;2iQQx2mo2000g3X0iQziRUGHwXCoDtOecAk4GXKUObXbpbysEn+9birytZ/16GxBp0rQ2q3V1NLJ&#10;e3WuKlzbwTQxKduIpRmMLnc5QY7r0xViwubiwlS706FrO7tJrDVEvILiRblWAMDsC/zYwwxuJLED&#10;POc1rya7mubOOGG3gtFvVvrSa4lDSganbkH94JCCpkG8yA/eYYOar2sq3cNvYQP9mSXwZNBezJDL&#10;GzPY3BdUhQNkqqK5LsSSAQc5JKinFOy/r+kTNJcvMtJbEsz38ul3OnWSWzLbwX5ug8VuZwllN9r+&#10;YEbtynLADgHb3251ZrSRdSYrJZS+fOWkNneeZ5bXkakFZoyOQ4T5lO7KkDBGRXhntl1dLCzeKS1l&#10;1n7TGkkcsZeK5tGTcXBYkAyH92pI3EAkkMDYtk/sTStIOpWskses2MF9aJb3KKYJLe8mjcyloyxY&#10;iTAVT1VMDnNGi22dvvGnJxagv66EM8Vw9uZZ54Jp5ZPKnjlEsryNPb7HwmCAreX908guobHzCpLO&#10;AXSJcz3Fy11eTlwhmKzZaLzVZHRRksyEszNkhsDI5p19Yvpd7DdxG6hMt088eCWkVI5gxLEgDGx4&#10;ywB7454rWZ7SOzthGbcSW6sos/tAMkKxy+Wpkw2VGwk7TztQZB4pO66bPX7wU1eMrLl7fPb8D0Dw&#10;7q39nXVrNZMPtEcwj3FdyuSrNvIYEE8xnIJ59ckD/S5/4JFftKWH7UX7BXwY8STXttfeLfhvpEXw&#10;l8bqjm4eO80eKK2R5WZWIS7tfszyAjCb2IzsVj/mM6dcXF3NZWXm28dzeAXbqY1tliba0akSNghc&#10;qTjIHBPbJ/q1/wCDan9p+18C/HPx1+zP4j1aV9E+MPh57zQLG6lNzYx+INLwx2wklcXVoZVkkQYJ&#10;t4dwwdy9lNe3o1ML1tzL1jq/vVzlxNSXtYYtPSOkvSX+Tt+J/bFgAPHi7kJO1njIhnTaSp2thSZI&#10;xggj78Sj73G6HzI5FiYmN2dTIJor3MMwmdfLaPMpwlwUURj/AJZsvB6GpzBE7IfL8l5JnWVGP7yR&#10;41JXyz8oEifL5bZO6JD2wRGC0lurNm6DR5VIZPOiuxNuBIzKw8mc4CDpHjqB08G2ux26N3/r+v68&#10;iyVjcxS5dnISRSyb2ZgpiMpRUOX+YRuoOAnPGKZFsW3dUhjyE8j7NalI3QKBsiR8qAcNuhPy/IR0&#10;yDTfK81S4zDukaZp0tsyo3+r8wgxMS4AMLgkAxlmyM8DGVXVliw6wGGSOMsiy/dY28bHywTz+4k7&#10;YkHy85N9ESnryr+v6/qwnmCTIWaGXYEdTH8kM3m7hvU72xHIcxbcHaylgOhqJjvcyAuh3GN1VAXc&#10;LtiZ2DRffQgxnBw0Z3Z6EWo23NO/mxrCsiyq/mAxSlg4ec4lI8txmPYVG10d8HIIqyZRw4QyZZnM&#10;xAkaEKrR+YB5Z+dMiIjGWQ5OecDSa0NoSu/IybuAoMraqxVGiNum9ElU5D24YBV3HJMDHA+YdOK8&#10;o8SaPFJ5srqFyv2xL5VQqxhL+Vdqju5OwukE6gKGXkhgWx7bPbPIJUdWKvC0SrAcOEwCUU7R86EE&#10;wvwdpPfNcxfwvI5dHDsZBJHPAuY43cMEnU+aBscboZBjiVi/QZrysRSalZHt4HFcrSltp/X4/wDD&#10;vb4K8ceG5HSQtaJE6Nh4Y0KW9u+AXt9xUFlwweNxncVIyDvA+bL1J7W8VooyygfO204PzYJJB9V/&#10;DFfo94u8OWV7EqHTLwwqjbY0lXJAKs9sXCNtlhJ3QtljsZ8E4NfGPjXw3NbzteDd8q/anQOxjlVl&#10;VmmTAwpJX5wd20gZJJyfDqRnSnfofX4WtCvG39eRi6DqLS7IJJASyqSwO0jbwDjPG7BGAR0B+nas&#10;0b7XQl5A4CxhfmYAMSCRjJPDL6EMoz1rxexu5LGUIzuGQlCDlg+WBI+9ySF259COTXp2j6kk8RQj&#10;fMqhdzMGjViQxV9oPQZCnP3lB55x0UnHoZYijKErr+tjr4JjAtvNZhXaRR5wlcrEg352EZxzgYBB&#10;2uVHrXqfhLWJY5Ued/J8p0lMgG+8iJZts0XAG5QGDqcAhh68eU2jwtCsSr5km0YLAbgGJDBz0Xru&#10;9iQehrqdB1DEyQ3D3BUgSpIMZB3bS7lVOcEEMOctgZ7HphJRklB+hxVIOS5lufXGiawl0kLtd28I&#10;jZHgeV2isbOWdfKKNGzljbXQVWYDISSQcgjNdvbooKRvBcsJYXjjtbmUPJMI33m1kADAXFsTuhfO&#10;XG35+dw8J8MXE1yVit4YWkMVxD9nkfMVxFLGjTWQBkXAYRIYyRw2MsM8euWE1u1vIrzzXVqIoLhr&#10;lnEl9JBGRsuwg35urSTYknchASp+UV6mHqSlaLPm8bhoxbcX8v6/rfzZ21tOES3kmkjlikR7lrgo&#10;LRdpJKyzLsXg/L52PuybDtUHjoICoRFDBlUlGYgbmYEDLYHMnHPfOeBXH2U/lSbsmKUXaS3Iso2a&#10;zWWcDZOmyH5oLkbnkYsQkm09QzDet5SihpjIVV08sXMg862BQkpJ82PMj3sWP/PPb94gmvRpyPBr&#10;QZsnazFAxYgBpAcgjL/Ic4xxtbj2Gc05wGyQQGxuDEEkZB5Ptg9j3P1qCGXczKqBApb5S/lsWJbd&#10;lQMHkqffzAe/NokyLtwHyQ8YeM7OMFc9TkEA57da6tGcDTizJnLgI6LKwSTf9oinCqVBfKld2WyM&#10;K2RyzhgMgYrSsqvMXkIjWNkeLc1wGWMhSzJgnKh1Ug/eVgxzgY1nUbpAsj75FzAAxCLtGBj+HrnP&#10;rkA8YqvIqBSWaYLEC5KyPIPlC5IOCXOGxgZ3fNwSOOepHojqpSOelttkLRokvlxoY0EMRWaJUOdi&#10;KIjuaEqPJb+IA8nkmrKxiYF2hQ+YWE6KEglLuGVgokH7ufLRsGAHmHOTgGtOaCOMuWhYRJ85WKBr&#10;lz5LBoztEZO6MhTGBnKk8HCms+ZRGpMRjEhVvKs428qGQlWTYhyAIZhCCmOQwJyc8cU9Hdnq0ZbJ&#10;/wBf1/w5yeoND5F0H3sphCNHnz7pUtyRkL8/72BpBjG4sqcAgAV5TrazxI/KloWxv8pzCXlCht2A&#10;MxTIgA2sP3i84IGfZtQEQ8xUuHc489JvkZMB3WKQgsSxiI8lwfVjjpnyLxCjpLO8dm8fDQyWph3i&#10;IqpVoY4xFyrf6yIj+I47gV5tR67anu0GpR93+tjym9kjJfe8oeKIKscjbZ5VQgCIAkhWgLKT2IUj&#10;J+Vg22kmfaokUoECB40JEgxuLgHBIYKSOnzEDC/dEupMkkkior7ZCFDszeaANqpNgE852q4x7kck&#10;DKtbl0kmVmQtb3BUKeEhM6EuijJOCC7rycdM9SMql7G8W37zbOiXIPlqdwIJwpMbszIcAt+OcdM7&#10;hxmvSPhlK1v4jtkjO5Xgf5D92QALjPXkDc2R6nk448tz5gjkG4ttOBGCxmYElh6ZYBjnBIIGAa7r&#10;wbe+X4j0qczFGa9EFvI4eTY0qHkjHTD5JOByRxmnh+X2sL9y8Sm8NKHdP8T7CgZcBIyzKsfDEMFO&#10;cBQGIwSNpBwcjAyDkVYK5BXOBuwOTxwMZ9fWqqAFQ7pG06SBCVxuLYOMdcAhi2OoDk895Xk2uw+Y&#10;8byNhZU4OCT3ORjaOeR65r6qOyPzqWkmRTiIhkkHEg8tkSTbuVyFJIBBOchcnoT+Jjd5DGZo4muC&#10;yFxHzDIwwnyIrbMFsEgu3yuwBODkWcZUNskJUFlRXMZYtknKkgc9s9PUVGAm9t8LBgGHmZZyVbnl&#10;8YGSnIB4KrzgimSQNKN0cZMryMBtmFuZEkHy5DMEZUDEFWyR93gDggZdqrjbK0e1QPM82TgKpkIy&#10;ACoZiwUZYEY5wCj+YAhM8kcaP5smQGZkBXAJbeQowEk6H7zZHJMJwqJ5jXTHarAyztExCP5h+QFW&#10;dl25PyDcgA55BBp2dxGR1EnlpCE2pEiABWdF4MSnap+UfNGxbBaU9BiqiHfIjLM6maP5yyM10RGm&#10;VOPmxPGWAZTncMnHUC6IwxcyRq0pjWGY7DHFMVG4LuK/dzJlSCSrMRngiklDNC0zStJGmcxxZnm/&#10;d4YfKN5MsZVvu/ePYkCspJXujaMknb+uhUllWJkEaSoBOJ5FtgWaEOceeFJGY/mIkRVOC7HggmtC&#10;JXG1DF5aKxjjjyC0AB6AKu0KFClck5DEVULxEIEfAiX7TE0fzLCCsimXYpy6EsVdD90nPAAYTqkc&#10;UgESpGysluHZCB5YORECNoIw37tiWw0jehBIXQp76IdJHHhY8AK3IxJ8pbcJQVBcL8pG8ZB+VGHA&#10;60ZZPssou937iSDbfzwArFbuQDHcmPOWVsEMecBAD0atEyM6GeJoWQAMEaPa7NlgV5YYJcgYbkMj&#10;Z5PFO4Z4JY7iPaYoizTRRqgd42fEj7m4wCUZ1HIKe4y5aO9xw1TRdQKg+YRoQyR+WD5duMiPb5Z2&#10;c4x8ue5xkcYAdxlkwSDKY/OS4zH8qbWOA2cK2UKkZDgnHeqyEOqRR+WWEaJJItuY7WQSBWATPVWB&#10;fbtLbXwCeoMqyTEkq+Y42KSAPvkTG0dmbLoN25SMEsCDkYNRd0Q1qNkiWUOksKFt4nti8PmAyJjD&#10;HcMB124zn5lwc/3WYNxbuZIpEcEteWpk3XMGVZjCsi85Vm3IVb6EDGLMYO7lVUsgYlATKCF24VsB&#10;RjcApOdw3e9Qwjzp5vNQpP8ANbSSW85y6D54ywHC7lJKnORyN2aUkt2OLad10I3MhKP58KZDKJAj&#10;tEScHI/eDjAU4Pv71CYy6+YIxG8X/Hu0kpDADcAc7G7kjjPy7SepWrxLyorIqqGTzFkLHbk+oBBw&#10;evXsc4qrIJQ7bCwYtmMJGpLErIWJbDkZCleg+aMDJ3YrncW2rHbCelloPdSFZAGaNvkZkPlSqMkF&#10;sgrjAA6c/KcAk05JN7hkUkqwGfvhcnDjPI44ZSCeSw4wRSBti5JdmQYDuxjeTgE8YUFio3cDhlcZ&#10;HNRTop2b90qvmXy5A0jMVYSBhGVYhk2bkAxzngYGTlukhXSbFLpCNnnwwkSBI1ecRRpu3MsZAZeh&#10;VivHKjHPOLavvjljCb1wVLHdscscnGRgjBB+UkDkDpg1QkUPllAIjMoijEP7l5RhiEQEqNy43DP8&#10;IYYxnM6ookMh2NKSGky24so3AFeWIBbJUdvmHrV9CJNXJkVY2IUcltowCVU5YkA49ufw9qftyAv3&#10;cgnKMQckEEj8T3pgw7K/lqSRhmIKOow2cZAJ/wDr5pMrgrnLsqgZG0jJIIHGex+lBOreorENnGcs&#10;NuCAAMcHHvz9OKixk7iThDtGE3SgnbkYIxnJ/wA81Kxyc4LBSNwBOPmIDc9/4hjHbtxTNpIC7WBC&#10;Do20NgDnp7/jg072Ki7IY+N6qflwxJxHnd0O4dcD5sE+uRmlVGJJ38Z6OvykdORjjHX1464yaa6e&#10;aXV4I2Lpt5YszrnJD/IABhj3PLHrT8KGDbDtABVQ2V4JIwCBj/8AX6CmuxSb5eUjQDaNqZJAwWTa&#10;x5IbsCDwM8d6iJ2pnKZb5hh84GQcjgdRznHrUo2M4wQeOSGWRsgL1I74GfXDjpUbA8bQoIUZQYQ+&#10;mBzgZ4GfYmoldq3Y1i1f1Me4VVRw20jaAwUfKMEcei42jn1FcPr4M1vICpkZWYN5ZQOwBOExkhQM&#10;ZyQQM4wcEV39ynnZRSWVo9xZXDMQcHH/AI9n8enORyGqRBjcBkXa4JcKwVhnaPrzu68Y4NcVVXtc&#10;9rCSTR8Y/FKyJt5VgX5VRnYffl74xn6t653LjkV+WfxvtfKe9cKrtuZGJBaNSR2bjkhs/lX7CfEi&#10;yd4rltqTSOhUj7jfKcgkY9M+v3vwH5c/HK2ZoLoLGqAsVETxkliwDHAA54bp15rna11Z6KV1ZbH4&#10;x/GSylaa42Ll9xIUDBGV5xnptxznruA55A/OHx9YTQPO7upjG5WSQFiQ27jdnk8HjH8Q5r9XPi7p&#10;yxf2hIPNIabiSIbRC259qgjvhiCR8xEQwRg5/Nr4i6d+9uXneQKzDYVK5YngqQegBUDcM/nWDl7P&#10;43v/AMA6Gr0o82h+evjG2Y3NxHHGgRFbzEwHVc/eJzwQTtOeoyfSuD09WTz40ddsbBShB5JDEYPf&#10;nqAcj6EZ9h8cWMkEtw26QCZmBY4kWQbl3DHfhkAzjPIHQ48WgAs791XPlzgjbIpfJKYD885GMjd6&#10;ZPU1Cg7qa67/AIa/eZNJSXNqlsZfjG2lubGaCPEjLEVjBOxFBDNx9SCcDHJ9SK+ItSga3nuYZUZP&#10;KuHSRmbB6kncABjkcexr701pkWO4t1iyZwWdwxbbnHyk4GMHdzxgr1PWvjfxtpv2fWLyMLmOQtKY&#10;48fMOvPuckmvVy6opfupPov+CeJmUXGmpxVld/pY86Qea0cSuxcOGSR/mCgAbmPHQYz/AMCPpXoG&#10;g6jM0FzEJraHT4ZEaXUZI1Gp6kygDZCQN2G3FQBxgknsa83kR0LLsPlq3lsFO7IJBwO3YDj059ur&#10;0kwTZdI40uYl3yXszbbexjXCkIOmQMdBk44FepCMW0vPqeT7T2aVONrvX8j1Izkac9m942n2V2A0&#10;ulWGBrOqH5VVGcAttzvxuAGSeGOKp2wjjv5JEtEa8ELeXaz4+xeHkw2TK7fKXQLk57sOMkU3TxdW&#10;llLqOnWhtVuYSt34ju7YtqmzKqy2YOCrP8gyATtA6cEXLeEzWVpYrHI9tNMLqPR4XV9RmkRjtM5+&#10;+FAZQc9Tk8EA1tFz5rPUpKSg29Hs/nojSsJSq3IsrubSLS5f/TddlgkW+u1PL/Z9w3bQc4Kcknkj&#10;la0pZrazSZIvOstKvQwtC2Z/EWtKQyMqnoqD7xXIBLEHO0VWnW61DVoVjmtNZvLO3WS7ff5WgaDn&#10;zCkOBiPIDbzt+UEdzzTmV7IXR07N2PJMF34plGxIUGGkislPz52sRuIBAbgAE50SfP8Aj6Fpycvd&#10;Wl7f5b9P6RZmDPNp2j2VusDIA0OjvJthtwApM12xIXeSRuyRgdguFrWW6nlglS2vLSKS3KQyawXx&#10;ZhmACLCv3m2/N90HjntXKeV5tssgkeyiWEvaLFmfV9ZYlfkkc8qnDDPTnpkcbWmLK7xWk9pBc6lb&#10;g/2fpMpZLWzkLD57gtg5AODk/UilGNo8qbVmZRlJykmtP+D/AFqP+wNI1nC9pNcwRSLNY6XAzRz6&#10;3JuI82cgbvKz2XHHyjua1dNlvmu7+U21rNqVufLuZhCEtNBjQhvkcthST8vzEksf73NZsFy5mutR&#10;u9TYTJIsVxq1quEKgBPItRgfKAuB0+6MYFTxyG5jSwZblNMkcSWmjLEwvNSldsCa6cNzkMAFI+UN&#10;gAc5IxSinLb8yHUgqav/AFr/AF/wxtQAS2aWsqyTada3KzHy3LajrDyYLF1JJA4GWB6bckEgqQXM&#10;Vjq19/aDRpepAxv73l4tNhdCjW0fTOVcHH3sgAd8wWt1FYR37XEL2d1I7C/voZNtpapkJFBCR3wD&#10;nHv9SsNtDFbW5CSxRz/LZWrBprzU5W3AySg9hkAHpngD7xFRmoKz+X6/ibylKM4xeun5me2hW94H&#10;YtdG5EKNDdgfLaQjdlm4+8wzzwcgcgDFYH9nPBHGGjeX7TMVsrIsXe4LbAZphk4HCgAkE4GMDBrq&#10;7qWaGZ7C4uNyIR58dudy3cq5IQMDggE9s/ezVC4h+221zFHcRxeYFa+vWyqoVZttvHIep5Y8cZ79&#10;6pSfMp9Xb7ybvmttskvK+pjeXtF5bwzq1wApv9Zwzx2Xy7fs9q3c+4zgDsCTWbdwyW9haTiItAbr&#10;EMz/ADarqD4XO4dQn3Qe3ynqQavwWrM8Vv5ZZ4EZrWHzFW0tk5/fznGSc4yfQj0ArIa/dpb2GF5b&#10;mRttxqeq7WEIG07lgXGWyPkCjG48Y6VDSjLma0vt+hlCELaat/8AD7gjXF1exm1jtby9jsxPdgOY&#10;NP0tUOArc4OCVJwCCXz3IqsJBbiSKF3NtdxyWs9/GGW71BgF3JFnkJkeg4IyAeKuXVtHYot3cxXM&#10;FtfYWy0y1uFF7eqTzNO4XKK7Mcbh9OOaWJhLLLMTC1x5Ytg5dja6RGm4ttA4Lnfycn5uoxwbbTs7&#10;Xb/4A6sLK0Ftv/X52KCNtRvJjMl4sSm1sCwENmpyHlmboWA6DHOM9KgH2WOz3x3clvEIgLm/SMy3&#10;mpvht0aADgbt3BIGOTzmo7QRebqTwXappkdvmVyv+l3kjHCxIM9xgHOAOeT0rathJLHBFp1tbz6o&#10;0fmJE42WemRKBiQ5GAzBsHPHIxnOBjZRbSVmRySm1zPX/gmHDNLNFNp8lnNJPGweCFHIa3UkEyTn&#10;gkAYznHDe1WpJbdZZIysCoI2SbUYczKshCBYYWPXABXIPYDJ61cW3ggguvOia2tkcR6lqTP5l3rM&#10;5batvANwIQKDk+pyc4CjMaO1jWJjC0ksR8qysVcLDpwJUebLxzwM9sYGeAaIxcpXj2NKq5YqUJaJ&#10;6eV+hzn3ZLhShi8yNoxlSxVSOPzHzcdsfSnkrbQmKFATJu3SY+QNySO55x2Pei+uEM74lljVtgLH&#10;Be5c8FmPGVJ6Drgj61Ut2d5pdrSMYhtYvgDG3uenU/r+USs+VN6hFSurPV6X/wAxot5123CqJZCr&#10;Eqc4RsBgDz6c5PqKiuLeR7iPMZVpmLyA/MWLKCBxnnBGenSrDRuEmnDuYwcAMuxizKGbB689Dx9e&#10;opbC8jjjlkdpJLhpNyAN5jQnByefY8fT6U0nPSLsjKLhpy9Ft9xXXT2lVZBGWDAHduHP6UVW8yUA&#10;BSgVVCruLAkAADP4UVXM07W/H0M0qqSVv60Pm6WO6uJXbEcMR/fSiPBhRf4QCOh7Yz2qKbA/dkbt&#10;+1mdk2uoXIXnnjpUsqxoQ007MgG9ljYjznONq7uhHB6+lQtschmVmIIMib9rOey4HGB/jXKrrVrU&#10;G4qOnkU5VO1nfh3O84ODGOcDjj0pk7OygyHDAZ45wMDaoA4pHGHcSBQyZdkzt388ArUQLAEgxHB3&#10;OACwAHAX1FEdiHJ8+nVMY/mAEbhjBYpsJVPbHrULiWNBIyY+YEnv6Bc1bZiYSG+Qo/muQ+4MTjAH&#10;pVQykCQPh+dxGM/MT0HbinezuL3XHchkdiuWUFgcuHHzHnjNVixTO0fewMDAxnmnSupZmIcnG4kA&#10;kL17fnUCsOcnjadpAyW7f41CWqZLvdiOF7FvlOfu5J9RSEFo8ZcH1PU9M/WmEkNjaGHVxuwPQ/59&#10;qVDGpDY+XPzI3txkf5702ldIbtZr8RcbwdzMPmwAe/pirkcYABUltvIGcgnjPPoOfyqths7gFQhg&#10;SBljzyP8j3qwuSqpkrkZznBHtjPSi72HJbW8jUj2hdqyAsxx+8GM9MnIrSAiZIicbmJCE5AjA561&#10;iQlEJZyBtX+I/MRngD0/GtJMMoBWQgAM5HAGcYXHuf5irutiot3jc2raS1VFd5ZWcjEaochGBxvZ&#10;PxPP5VpF03Qq2SpfEJ27BnP393bPXn0rDhhkA8x40G755sglYEyCAGHQkVuxL5kbrFESA6vcuu4l&#10;F5wBnjvz60lzW8xNJySe3T9DaXybe2mKJJKfM2sVkCTXT8bRgDBXIB/CrZtnEG8zqkakR3tw7B3u&#10;HbLLFC2Bt6EH/dPaoViSKE367VxGIbW2kC5t4wCPMx2JIxz3qSzmnmCokUvl7dunxFFRZ5hnc7Aj&#10;kY3cjsQM96b5rNPcqUk9Hrb/AIBp2mm38m97e5ht7mBTLMPNPmaXCOSTHu2sxG7pyeOeQKkkspEt&#10;1uY5k8sTFtOtG3MpUYWSYsCdrErgqw7cYxzBYSLDc/YJnkNskgkvjFdMIrufGRErnkEZKnrjB/G1&#10;NaXclzNHPNHbXQhDanmTzP7OgIVUiKhss2CAcc9OOcFRSVlfQtNtLRa/1/TJdPZvIlMchWCNxm3m&#10;BVr6V8hg8eCroG74z0IwcGr1zFLJc3T3aRzIojub9rKASCLONlvBkAEDk7SeNoz0qmttOi2zTTld&#10;QkIGg26os1vbqquPMMgJZSvDYx1z24NguZYLe3Jsry3gfyLVHQql1MznfLNgZPJOGI5498aNubLh&#10;H2cbSW//AABUtmuGt3uJZdrW3nTyRRKv9l24b/VQKykb3GPl6nd0OamktGe8t4bB/sX2jdNZi6cR&#10;yWlsFYmR/k3K5jY8ZwSxOCcYh325DTQyw3FrEwW7jkjaJdRuVI2RlV52KcAuDz16YIm+WW7lfVru&#10;1jWGFX1OSOd3kmBUeVbrsY8Y2jIIztPocS1JXXT+mJezave9/wALWJ5JLmOTTRaIi2r/ALvSoywL&#10;SSMFWe5ZSeCAqbgR/BgZ25qCH7EsJXMtzBBcMtg1ujYubglS8jAnO1Mk468DHpWhCbyz8+Oa/sfO&#10;1KzXKkm+/sOy3F8rI2SjtkrkHeBkkcg0za9zbPPaWRto2j8yOSdlleGPLqzucAhmGWHr9ejV3Hmf&#10;U0SpJLm1a89N9ClLeK88UxlbUJ4zJFAHkIe7uXyhk2kDIXcQGJ/LOKc0bRTSxRxys4JggZG2rNOA&#10;vnELk5SMsRkHjkjriq0UEaTQywWtwshhc2rXUAjS0t9m5rgyAj95I3SPBxnkngVcFzKJIZIFESmM&#10;wEKrFrCBVcyXDMynBbLnOecEYHBJBySVjF8sZtT6f8C5K4nCxo1wstraMRauz/NdzOq+dcBeC21e&#10;hPYDPAxU9tPaGUNLHCjXNuIIZ5F2pZwrjzbnOSDI/PX3Hc5iiu45bZZIZY1EsU0Jj85VOm2Kv8wZ&#10;CflM/GRjJ3nqDzE0MTXErXZLNPAr3kS4TyEJVba1TI+ZmwhbGOpPaiLd7S17mjcYt1Kb06enoS21&#10;qbu4nu4JJp2it/t9yiyho4LYOI4492QVDHaOBkcHFWpbyceZDcQSRR30MVzdr5YhFrDG4aOCIKDy&#10;3l++4E5PY50kMVtHfGOR45k2TXrJugBld9sVqhBIO3OSCMHGe1acPnwxJi4N0lqYri+knKzQ392W&#10;byIQ5XdhMqCqn5QpOOKjT0v/AF+gVK0qivHfft20+8qSS3NukjagzBWEd1ewuwWdEUqsVsrNnYef&#10;TjjjGavFo7szNdq9nHPGj3s9lGAdMgUDEMEYIXey7gR3Yk8HJqGWa9g1OW5babm0v/t93I9qHjuN&#10;QLYhgWM5BC88EYIDA5zhrM7RskCSJFKtpeG71VNxiivLuRFMVsVYc+XlxtGMMx+taJS5U7ke0anz&#10;vfR/qQzTwQ2S3KJIl7dwtBo2kBTILC3jBVbiZyeZMlm2kAjOcgAA8/FAXS3vnR5yiLJp8YXat07S&#10;AM7H0B5LZ5IOeK6nU7e5jBe+Qi+uLeG91dnl8uWxtFRVjg2h9v3Qg+XB/d7TgZFYrXcNyrzCZoru&#10;6jBWHyjLBpduNsYWPurFQzHPBx6kA1oopodSLpxu/wCtiQyRxafdt5kUumRzRG+KL5M+oXBDFIQC&#10;xICknlflO0Er2HPSQiOCWKVWDqRPeiBtwkYk7IgQeCT3z3Poa27ixMlpFqCXUPmKfsGiWh2Bpnyh&#10;mkdeqHBJAI5YAAHBxky6jfRNZ28QEyWU4WyhikUq1xICWcKeCcknJ9eKhWbukKztdb2+f9aC6skU&#10;lzDZR2tza6lbRYuxK6+RZQ7PmJ4yrHB56YHvxQllmS8jhjjMRjiWOxtgQxGcgXDD+77+/WtS8S4j&#10;Wa1SZZLawuAbi5iUeVf3D8FI2+9gbQdp44Jxk4MVxC00UZeNP7Se0a6vLqKRjbrHlgI+ThHwPuc+&#10;1KNkm/Urlip2qP8Ar+mYxSSO185pFltoTslygE2oOeW/31HHJ6devNUJ3SOBvtAkiuH/AHl+5TbH&#10;GCV2xo3UH29hWnFaq1vHOqltRmIWwtJQfJtogDmSZCO5GAR1wTgjFV7wxS7ftoWeOCR13xcSX85b&#10;qx/iA5Gc9/Whttpb/wBIzs0lKT11KGyNmNxGx+2zjbZohJWyh253t6H/AArGkFs+N4laMf6vopnc&#10;Dkk9wDng81vCOOOaSIlIpCn2m+mQHaiDOI4yD948DHt9ayru2uQ8UhjCM6ELC2MRRnOGYDv+tTK2&#10;i7C5rpxm9f8AhigD5Efk+YWDfvp3C7y7fwoD6HI/KmXMBH7wtKZlHm3EinEcSDOEA9TWjbRxwwo1&#10;xG2y4jkSwRTjzZCQoduMlV3Zx+oqjcGMRkLIZYLdsSjP/H1Kfuqv054PvRfqV8Nordmc8byAfMdz&#10;D5VAykCf4/SiNEj2xlZBID5aKecL/FIf/r+vWrTM/khInAUOrzMp2KzHOFAzxjp9aZM02ZJLwBJP&#10;IHmOZOkeMqqj1OB+dPTZETjq5L+vkU5YioJSR5E3ssIYfM7cAtj09/amJbkv8zeaxba3IYyPyAPo&#10;OB+FWZgXjikTMO9NuC2UjReBlj3PJP1qARqNk0bZ3MTEpYgMMHc5+nTNJtxdkXT5+VTitd/xKUgI&#10;V0Kh343tgEZJACD0xzxVQ28gMm7IUAvIAuMn+Ffzx0rSY/KhjRC6OQgD5Ytxg++KjcEGNQ5JQ4Bz&#10;jzJPr7E/pUWd1YUlFLnS6/5FKRFxudcnyf3gAA6EYXFQupcDdhS0eQGUjYM9PrV4gnzGEe5UG92Y&#10;bTMx9fUdOlQsgAVmUbj8zlScAkEbR7CqavG3Ujlk2pvqZ/kkEpgAFtytzwAO/wBariNnJ5Pqd3IU&#10;E4wPqK0nUAyKwJ481wMleMfLn3z+lQupyGzhdgdsDk+ij25qXoldEXSk3Yy1jcgEjbwfl6qnqf8A&#10;69V2RiSB/e2qRkE+pzWo6u3+sAQFCxCg5I5x/KoHQquMDBYhiSQIx3/lTUnd3HZWtHb/AIYy2TIw&#10;AWXICgLkn61GFPYqR93GMD0wf1q80O0csF6Nhckgf5/nVZkXeMqMn7pB6DB5oTUndArKKuVypBG7&#10;pnJHv6fyrT0+8MDxHIBU7lySRzwc1QdAD2wTwCeo/wAimKQCGU555Pb86pSaJemh7loGqLdx2dtP&#10;M0Yi0+WGJo0CbvvOik9zk8Zz156CvW9M1K9vIr6IS+Q0miW8+6O4ESssNxEo2Mi73kIjYkHGMsQA&#10;Ca+U9L1ee2liVXAjjz8rLlcN1z9favbNK1lDa2ux2lk/s91mjhJPQ8YK85OT3HXgitYSW71KjLpL&#10;otD3O9neO1vxFJOssPiWz1qOWTzpJZVubZ1VWD/K5yVYs5KjOckHjQ0yKS1uYrjUEme7tm1HQbSK&#10;fa/lPMkzxsIw4JDMZMpnOGPPJFccb3T7u31p7TaqwaDYXDRm3DRhkeON9hdyxIZ2Yt0yF44BrY+0&#10;ImpSyPPdNEPEdpePcyLFDLIs0RIKoGJ2uWJY9T7DFVUdnyvtt+B0RlJwVRq9tP6+86r+zVlt7C1l&#10;e4FvqHw+nlXyrGIXTtZ3TzCPasp27cSAKp+Qsx3MM5nvbq3nu9T1S5VDJcrpGtIoCGO4ZIY0lMoL&#10;4Ck4GFwAN/GSSM+CWztHsrrzmSGDU9U063tFWIxMrA7Y1kALNkO7Y4A579G29sq6Xpl4Y0vjeeGp&#10;fs9nFcqt/em2uZQuCqElVOd8jcLgdsZfut3b0/plqE5zlUW2/wCSL1qxvdUitLGU/YpLrUdJ/tBn&#10;VI0gmtZGhWMM6qCQ8pBDfMzdfWldRudClj037BbW174V0u4ulZLKK4vWS5RnEW8uyKsipuKsOjEE&#10;ZbMms2WljU7y+urmSaWHVLG98gxyrb3EVxExljdEiwCD5Y2/L03N7TaWjWUmpLdRCzsbbStT0q4S&#10;9kuoRJJGA0RjRE+UK6BcDHUYBGTWTvtNaoceVzvHZta+pNBJp1hqtnpfmx3MOleIIk1K+S9iurKA&#10;S2irMhjVCXbf83LGQlACAeuZbXZhstObUZVvTF4bvtFitBPGiXDREFUaTyvuouQDwAyqQOhrWk1E&#10;zaZr1x9mWW6Ok6Rrdq8t1dm4sIllFsdgjZcugj3bMHGXMg44x7zT5ND1OLT5A15qkev6jps1kfOT&#10;bDcW5/dhyeCfmB6cgjvir5rXi+v/AA3/AACY3mrVNlf/ADJJcrbXWoyxl2CaRrNqr3ZkhjVSLZZ2&#10;YgEOzo6qnA2nJJFa+i2cGo3+kWl+0Vy03jC+sp9NnMnmQrIEG6ZwoXyVAKggg55AYcjNhj0z/hGH&#10;23c9xqkngdY57V7ORtP0/wCz3sfktAfM3SOXYblYBVwmS+40kMk8/iL7XNHBHaxa9ZahqERmRZzN&#10;cwAhiA5LlihGAcAEd6q9m0vg2/IaVvdpeV32Y+7eaziu7fY6PNpdrBc31pNIsBGmXqo8lqGYFFLK&#10;ow2SQoJPaqYghs9Ru57mPUSW1eWJLN4vmmiuLb/WAsWYM6yA5Yk/L3wcS2wVrG0tIs31+2j6tA1p&#10;tQx2b25kkUzEREHBWNt4+VVB9K1ftd213bXcsq2FibnSrqK4uALeadZYvKPkOVAI81yeSC29MnDV&#10;nGSVmjaKU6qae3T7l+rMOe5c6K8gitovsXgpWt5I41UrPbXzBXlXJwwVtpJKALF1Lfe6qK+u1e+1&#10;J5xBqMXjK2ura3uJLM2+yaI7WeHYzMQrjagOWBIYdqxtMsrXSFvw+u2oe60zUbCaC433MxZmJWGM&#10;tH5bSbkUh13Ip+6STkNub8z3MOoSR7JGu9E1iWMtI8Mkm1YibopGGAH3CFwTyM8gU0uZ80+v6sj2&#10;Lh7ye6t/XyJ21D7VBfNJexSN/wAIlq7xo92d8z28qTxb2jgyis0Q2pgqDKucYLCZbm60l7Od4wF/&#10;tLTL0fYyUjkIt02xgbSMgeWCTn5tytnGK04jdXtxBJdWUFmnibW9Y0aSSWCS2jtvtVr9kYiQOpUI&#10;wXYnAGRgfeqCzuLmDTLKee00+eGDwYLmOO/tJHiimsp/sshQpKrrIghGxRlcYJVgRQoS1ihWTtzr&#10;demt/wDgFKz06HWoNL024kcXf9salaQJdGRIWLwvNGXkK7eGVSxOeX2KCxxVR9RvBa3d5ZPcos3h&#10;zTY3uod5imWK7XzGRgvRWU7TwDsHQ5FaFvO866YfLdp5PEAuLZJGlD3cdxCcSF94REAbIPAGW5Ys&#10;Kz4tOvYdGtkUytanw3cyusEQa5LWl2paMjzANqsGJORwACcHlyUnK7Xl6hGMaklyu3f0LFnZC58Q&#10;zrNZtqUj+IZrGO3lgvbZWkaz81XdoyARmXcEwWJxkYNTX63UWnTXDxXKC40rSrtL6f7Ql05guBZF&#10;4FO0bGzgZBPGTjac6Ntf2VtNc21pFHPOviLT9QN9LAilYLiExSAIG27/AJ4TuBwBFtAyFrKmtNNt&#10;IsurSeZaX+hSpbRuFaa2uwUigUNtHylWCKcAnP8AEKn2et7a/wBf5krn9mqcdfz/AKsi7DAktxpO&#10;nPM7T2yatZW+nGOYeVIFJSYsBjcUDPuII3RY5xzc/tKeW0ma5l2zpfaTdxyTTOouhb+XbB0IUkKk&#10;cEa85JB4I7pqFk224vYoEZZNctb9mS08uS1gms51KjDMWy20724Cqcjis8xtdWqW7vbzNF4ZvkaS&#10;Hz9iC2nmmX5i+/dmNMLwxJA6ddYTfVaXX4DqaTcOn5GrbR2MN9Np0N/dRXceuaqkt7H5kiS262/3&#10;oovLA+Xa4yWx84G0dayozpd3Fa3d350b6bZ6PYreFZIo7cBJYykG2Lc5+QF2JGduBtBJqGczXuoJ&#10;d2lu7/aPFam0hCmKaaK6tHQYYuQADLgYXIOQxJxi9cae8dpY2Wz7Xdw+GYJBAkYTyJ7S+CmIKznd&#10;t2vkuOjZYtk5wt1/rYcJuSals9rd9FbX8yATzf8ACNSRR6jK0UlnclbdovLWGWC5ZtgdkZn5UqNr&#10;ABsgjgitSS4+0sli9vcQXd7rNrJAqy/NHDe2wlZmhKEPkom1SRwCSD2rW9pFpWryRapDI1pHrr6f&#10;LDF5qM66hZ+fGIAG5Vn24ccYPHrUOixvpcL6zOiwz6fbWep2Ec6XF1bqLe8jt2RW3NlsHfhiAu3B&#10;2jOHHVNW1LlKNNOCenXz/wCCIHdvtsk8kckkWl2t7IbhoILhWtL1lLSPIFEZ2EbenHQcDG5bPpxu&#10;pWsrYXduk91awQwwKbm2t2tTO8Qbf91xsBfIYD7oJIK1bu0utT/tG609Jx9o1nUbFohK5WElA1q0&#10;0kiOjFY9wxkgAEhQMCqVlEsV1b6aoUifW7Q3M+4RCA3FuUlMjsh42xsNxGcp1IwaSbl7s9/+GGml&#10;TjPda2vv5fcXLeK1nsZL1VhFwmlaXPPFaiOJUuY7kWqxlNxZgpl+ZRxtLM24K+J7OWeG2V3ikuJb&#10;LSNTTTpI5TNdWj21zbyzzKhkGwbZkKknlgTheQKaxRz2iX11fw21zF4UtZ3aNJSFkF8YngaJI8GR&#10;d/zFc/ecgjkG7dwyi/ljsnVDcXt7Zzp5G5maa3admZ2j2qq7ANoIB8s5zyK0TtHUiUea8ut/uX/D&#10;lqG8kQy2MpF1dSxXJluLgPcGISQxSgbjJtLSEAFSDgKABxilgUW1tHcywzzXmps8konjMlyweASM&#10;7OQV2ZVwST1JPriheyOkEyrdQRO9zYXlre3UUYnjJtFsmUBQQQfmwAM5jU471OxvpLG1maJZLewi&#10;treVYjFDPBmaRU80qOSBlieij1wBTa9zmfWxEozclGC0Vvz/AFudJby2dvNcTpbiR3hKFYiryzbh&#10;GyojFl2qMkt1I3kgHAWvqT9mD4sa38E/jT8NPid4fvVtdU8E+LtP1uG1DYhuzBcQeZEydPKkhEsR&#10;jIIw3oDXybpUflypaxs9+tw6RpGF3zK+WgZVAZgeCvJzwqnHNdroVxbJcsUlEmozXQubx3X7HbWp&#10;GMeWoONo2HkgAYYDjJKpz9lVhVXSz/I6qtOGIjUozduddfx+fU/1wPhV8U/DHxs+F3w++MHgqd9R&#10;8JfEvwxZ+KfDsiSx211NHdIJvs7bnUebGfN2kEbfJkBAx83dqEkZZIGjnZ4hKSrMYis7KFcJhtsc&#10;/lkNwdpUsO+7+e//AINzP2lJ/it+y14z+BHiC8mvNd+BniJbjQGlunhmuNC1lWnt0jjL5VbaeOaB&#10;HHQqOh6/0JeXKhy0rLcGfe11HDlR8yh3VGLlY5NqpIoOV4Ybc7hhj6MaGIlGHwPVejs0ceDqSqUF&#10;Gb9+Ls/Vdf1/zJCNrwsUmKiUuzlHa5UIoXcP3OTIpxHtz88RY5foVV7WNIMSWsSSqkUSQypHHceZ&#10;kRxRuWBw/JhIxt2nBwcUJHB5ilYhEY38zEcBclowi5LGIHcq4RDn95Fuxn+Gss8iZBhE6yxbmht7&#10;sPEgl3EhWMiZjm2hYWxlXYjgD5eNas3SutNyeFuYZhILlVIzcxQkJuYmMyxqA33jhJE4ClS5A6mZ&#10;QysyrC6sx3yzbG81UUbCdwjKs6fKoycvHzlsct81ZF3zSqRC0kzXK7XVNi7HfYGYZQEwuvGWJYAD&#10;pFPbxbUxbrEYRkLb2olePylVVaI+UcvGGxH/AHldhjI4a7sqLT0/r+v60HbV2RRyI6mRWQRw7o4i&#10;RglUIUcgKfKbg4U8jqaVwNyyFZYmkASZWL4tfnTZ5o/eYEUgTYUHRyGxk5N7yjEoSOMiMQCONLUt&#10;CF+XBEZVAuACDEcj5mIyOzHHlOD5gCs+6SXcVjR9qormMyABDho2QD/WndtzlhlVgpx1NqUnGaaP&#10;PtcsDNaXCBriMRo0bG3l8y88uBDtdMxvme0I+XIy4ZuuefnLxv4UkWa7f7OjC5ldp54y6WdmZyqm&#10;eMbVAtrhJCCnO1+mMLX1rfoAvC3WFRWLRsjXEIjJU3BUud0kGVR+pYPxuwBXn2u6Pt8lrawt0aMt&#10;Bb2qn/RTuCeZZvsjwsUiiRojn/WSkA8rjxMRQcd9j6bL8WtF/X9f12R+Yuu6Ncw3N0BDJGSm/wAm&#10;5jXzYxnlSPMcHHTg4IHHao9L1CX7Q++PbIJiElbc6nPB35Yg4UhSOjKOhJyfoD4ieGkgvTNHDuja&#10;FkWVi4umjSQGLcjSBi0QJR8fwspxzx873sNxa3Vx+5eExzYIjfCxgsT8vXJyBgnsX5GePNjFxla5&#10;9RK1ak2z1jT7nz41iQ4lVMvvcsyjLZDNgkkdcrn5ST2zW7aTC3LAmRGBG4CIEngkZOOOCQRxlT7V&#10;5Vod8IVjEbBkZgsbg5RAFJjTOST90kewI9K9PsZHYxSRmN358uR8KRgjI9DkNg+oYgjGa64ySSS/&#10;rY8qcZXae3Q7Xw1Ni8eVmvI4x+8ke1kSKeQIVBRWwDuXcWzzlVIODg19EeG9Wa5iE15qSwyzSQ30&#10;d0k26SLezP8AblAkIaKQKyXEW0ADHRW4+W7aZo2Hk/ulRPtMhjQyt8mdu04x1JAPdT9RXqPhvV5n&#10;mtESS3eSS8MjLNLtgEkruzpNlkUxT8ZLYAPpk11YedpWRxYqlKdPY+pLK4lEqBrZop95R4IoGe0t&#10;ZSA32UyGMhrW4yZI5D9xmUdcqNu0ntplWdVuZEKLMxuLNvPBjdoWDksMTxdJSwLPGgHOK8y8O3z3&#10;dnEihrdZfNtrO0WPPmQqv73TZ2G8rLHuZrdmbOEHUbge5sbs3KQM968ybDIZ/wB5EbuKGX93dBAg&#10;xNG2EuF4BBbIxtFexSqaWifMYnDtSs1/X9f1uzqre7hURoJkmBXy0czIyOfLaQKN0mTvQ+apycoD&#10;k8VrFuSNxyy5ABGRyBlc+m7JJ9uvSuYjkdgxlWWdmBQQQTtEwdtrlIZWmXAlO2SJ+NqKV4+VRs2l&#10;zFcMrRkTCWMH7VGF8iZVxjb8xIBJl+U9CrA4JXd205dGeRWp2dzRYZEbFsbjwNgYyAqTtPHQdeP7&#10;vWq4jZt0YYxgZRQipuTCkgAFT03A/XHJyRT1ZW8sb5FD5WPg7jlWbB3dOMnoD93PGQXOdm3Bc8E7&#10;y2SOmQcdSQWIGMfL9KuUbowi3GWhkPCAwZgI3XAKxwKyIQBzHmM5Kbjt9d75HQDKkQNC0ciq8UkX&#10;kbbeXy3BPDQiQbSAfMDQkYwT1AIrpJomcLwpZE2s6na65ZQSnBK8Ke/51lXUZAclAQyFGjVmjlnH&#10;zFo0O4YPdDnjDDjOa46kGro9LD1E0rnLX6mZWlVxIWYTwMz74XZo9i3BTcUw4do3Tj+93BHk3iCO&#10;UNKy2s5VLcxMtvDi7CqGJTcUIDRPIzRseGVz/eAX2S53MzM8sTLIGfzBMBHucLH5gQyjEcoYRFcY&#10;VgT3JryTxQrRvMWeNF3BnmK/aJB5TkbwQDlomVEIGGZNpwQCR5FeL5lKWx9FgZpqx4xqayC4LJKq&#10;Oly0qN8qwl2fCOflXMcgEW5T0Zz6tXMokaXMESyqftDm0KI6yIpRWdoJMNgGMqpRjkkFQMYw3R6x&#10;C8U0xE5ZgZESMP8Aut20kRhmAwr7QyEgfM5xytcnMzLNsjmlMcjDcDdFXeJDgYBbIeJRg8HITvgV&#10;jzRvc9GMlHQ6ezZxGCQ5SR1VGKlOjB2XDLwcMDg5wx7jiuq8OSxw6vYXMqGSKC8illiIG2UbwCmM&#10;Zy3G3GORz1rgrcMkipkfvlDrIq7fMJUOMkA43AqcryGZe9ddb7llDwss2R548zKqwHzbSdufm46H&#10;73sMsU/dmtO35lSTdNwfY+3UCm2gdZX8tIwBJnzOQCoJY5Iwd2WPrzkZq6UZ0j+ZsrIj7gFPlkAc&#10;cgdeQep+c9O2dpkwudPsw4PnS2yMygHfhlyHOCSgbawycc5HXFaQZuFAYbRnJZmV852jPXP3ckg5&#10;zjk5x9VH4UfnVZWqOPZseGUIGy2MAE5BLE4HTv09OcHHWoQNreUBMAoXbKcOME9N2CxIIXJPbByS&#10;CQ/c7SNG2BiQGNg4IYYDYYbs9d4HH8P5xyxs218odmXVmIVs4JzyjEcZXI/hkb0FMyI1kWQKH8oy&#10;OrNPCAJCmAFbOM5IDIhAxndnjoGsxdXQJOqyBogQPJaPYeAmW5IJZ1ZRgqMemXyMkbPkvKsRDfK7&#10;ySptBbYsaksXAYnAUZVgMnHMcxWNUeOJ5GD4SBZNnnYKsFUs6qT0ZSf4VZfUUAIWJxIvEcrtjyxx&#10;tY5BDhQwVuGJByrlecCqSI42HbdpPNFtjaVVzL5a4AJy6rPGCTkYDlT1UZWyDjOH38FypTy4iXGQ&#10;xUJkJIxdnyTtcexxFIpkEkawNcplGKySGRZPLYEr1YiWPAOGwGyvXkLnKyZpEFEavKFaOJVla5kd&#10;24TgHzYgSAAQCJAAAWZz/e3WFLszl1MJjby2jZAuCTgIhKgFG4KsDw3HYrVeRwkilfKhCbrkl2Kn&#10;3nSMEFly58xGwQzZ54LKViMs4Vw5j2yiP92ZIowGZEBIBMTEF0cscOxAxtwCL1ZT2TTLHmPvbEbS&#10;Ky5OVCxuDu45fGfkVCONpbPQ02QyxwyysrSlFI2YSRmBAzkKvXIKkZPCA5JPKRZEp3tKVRdxdnBi&#10;kOSu4gPlSo4cbQCX3Y4OFl2q7Hy9jFxMzoTHnohZ2AwcAKrckbVB7ABTaeiHDSSsQRNFBtSBUSzE&#10;QSDCkC3L4wiBUwY2OBkN8pAAHTCgjy1CSOrmFUhS4y00apsHmujk5eIuSxAG4MvJ+WmxLPFcXABL&#10;WtzKJbeRpNxgkBVZIGUjhHKEgjjLt0+Wg7kVmknDCOT5rsztGqhQQsjKGHK4VZF+UN14HFQm0XJR&#10;cicDET5iYHyfuRsnmLwx8pGwOB1jI5y3OMVHLhbnzlkieaaCO3uYXlwJYmbCSIuSAQ0jD5l+bp6E&#10;odiuqtv2LC6r5UUkh2xGPPRcBkYgpyWKlsA8kQ3Q2wwTLCt3IjAXccZ+zSRRuCDImSMAFWYZ5wzb&#10;SDkG+ZtMXLsXv3O50MnlLtEgjMgiMIdmCsQGH3ipABA5Rh61FJtO1AqSEvtl3uSIxjdtbhug5xx2&#10;55yXGRTPBIAjRzJtgeGZQgG8OzZDKSHxH90HnIPBybAYCMOAGTAY7FOCWbJb9cn6n0qbX2HFuyuU&#10;3fLD5WXzF2jZA0YJc4OJCAFLZPoQ31GXxuSQoj3ysiu4Mo7kNyoLYH38Z43LjOCDSyCNHyZVhTDO&#10;yhlTePlLOQRjgbtw/wBrPU5oUtII1CSAMAQ0zCdXIXBDEFgedhxkZ2sRyKRV9CB0i3BJF2ExJGZD&#10;G0e8FyEUOAmJDk8j7hZsYzVjMrRp5bEgAEScBpSGwVJIbg55PGCoPQ8MVpycfdHByrK5KAYCZ3j5&#10;mOW3Y5X0PScDLkMR02ptBLdDk5K5zgkZzgjNAX0+4RCzYPmNuJBMb4UoDyOADggcY74P1qXePlbI&#10;ZSc7/uqoOXyD0xjAz+tISDtVc7GAJkQqBye/OeQO3vTEDAAs2SV3Pg/K7Nt6Y6AcAH0zkd6BWuJl&#10;T+6EgYsDgu4MkhBwSPyPbj9KQFmAbaRkAxRABZD0AyemATnPofapSSjYLAPgkErkhRjPv3/8eFRq&#10;CDt+Vzv+ZVI2DOTgL9SDzyeM9qENeQx8AHGBtOWBChYjkckA9e5zjAPPakwrLtYEox3kKxUruJG0&#10;nd1GMYHfPanZxu2omWJOM5BJwOTn8/TB9aaGwcFiEV9pJctt4XALE5J+v96m+ZRbsaRu1oNyY2Qt&#10;LE7FdsQC+XvORzyxzyuTwcDue7cORgc5UEvtAI4AAx+GTil3LuwuHMjcgsShK8YHYc8Y4PBPODQz&#10;MDnKsyISGPAXksATjp93PHTHrUyk035msU0inIpViEUkAsqlVA24J4AA6ZIH09+vMarEGRt0ZkcK&#10;W2hFBOQQSGI4JBxzxk9OBjrJFDoY23EZ24ZgWGQORz0GencjjPfDvAJN20FVy7sWBIlIJ49skfiC&#10;NvbGFW0r3PRwkrS1R89+NrYtZyLIA+23IwIlXzSw34IA5GWK5OewzgV+Y3xs0x8zSlULO5KggEEK&#10;67h0AGQeg4zj6H9W/Ftvi2kXyxlsojEBhPj72Dg85IHboOxr88vjfpCGzuXZSWA3mNT3LMMgeuA5&#10;Oewrgk+57ELydkfjF8WNJMouXkwWOWkjG0HhVCk4x8oOADz90jkg1+ZvxSs4Q18BAolwxUeYGBY5&#10;JOB0IwetfrZ8WrG3gW7jMdxkyNNKvC5ZgoAjGTnhlOMDp1Y5x+YPxSsS8su5GhjTeW3jIIPXB4OR&#10;kc/7XuKxlGM5csuup204OULS6H5s+M7WNLmdBl42kbCupZW6YKj73ABJx0LD2r521a3lgngyxVwA&#10;jAqGYLg89eBxg9znivrbx7aBbqXOxFBkI8vh+GI+THHPK4H9/wB6+XvFcNzDcrI2BGykbCD2B4A/&#10;EHJ/PpUQV2436bmTh+6fTy/D8jE1AxzW/lxrvIXLqAFdMKCACQM5OPw555NfLnxQjjS+WRF2qYyU&#10;YDhlJO0g8dQSPpX0ssssdosj4d/MAKScs2B9eO/NfPvxHt2nxKsKgpO0gCg7XTDAEjOe/vmuzBuE&#10;JqCW552L/g6brofPk6lGkQsHC4b5QEOTuJzj/gNamhs/nq0sKXMYIkhtAwSIMMCN5CR6qfrt981R&#10;upVPnyLCqNtJ4z8p6DH1weearadc+WpEzlIN6LOfvyynsigdeTjFe7FLaW583ZO03s/w1Wnqe2S6&#10;0WijF1fnVNYSNIoJI0U6XoUbc/u26GT7xx0BcMGz8qs09bSxjvZ7q81C002TdGt1PERe6864OyHn&#10;kPIVB5+VSrMM4SsJ5Q1nZ2a2kVrZJfSTW+nQhUvb1gg5uHwX24RTjOAc4AJbOvBZyXdxY3b3dvJr&#10;DlRLfahKX0vw4gXKRxwAkF1UfNgEkvgZO4jSM7z5u5MeaL5Omn6HRpaNawW+nyW8sTXk6PaeGbS4&#10;fzLh2jQmS5PJLbQSQcEAjaFBGL91DczyrE80Wo6pbRb1tI1WLQ9KQ4IaViQpwSuRjnHLEkis+Hbb&#10;OE065m03S5I3+1eIr+N/7T1psDzvJjYl/nKBAAAcN8zAEkSR6javHZWDQW9jZFI7m38ORM0N/q0s&#10;hI8y6ZW3HGXY/PgZwp7nVyly/wBbnQpxnVUZWWyW/lv/AFcv6fE3lyXVjeiZ42b+0tZvY/s29sHm&#10;2jJGAxLBRjOADhecWDaWkNyfMur23tIGKxRQ26i81qUkZ3EsSiksTkbgN2Oclqs6rb6rYXEbzNp+&#10;q6lFH52EYDQ9CRd0ccJCEB2XLEoCV3L8245FZFtdeVqn22DUlt5I4fIufEE0QWNyScraxHLZUfdJ&#10;GSW6AcNMZO/tJfExVnSdZwhu769Ga/l3+narFHGuxocG2srlEjsdPB58xw33nIxkHAG0DnJUPlme&#10;RZ3S4kmiiuRHfa/LGzvIxAZreDkjOSB64A+6CRWO0gaN4Jobq7tJLhprOzkiBvdYEYc7pSfuxkBi&#10;R93Gcg9au3NpqT3Hl2c1uJbWEzuszbdL8NxSBd0USkbdysQQSCSynhuQLi+Ze+YqLaatpprptpcs&#10;abNHODBc+YYoj/xK9KaPZJMxbaLi4PdflJAJwSenHNq3i+2S3a3F06wxnN1qzEskMagSeVCMkEkr&#10;gYAbt0NUdPu0SC8aErDbXqKlxfbQL/UpCgBigVhuC4Ck7doOcE9Qdb7Yqm1F9ZRSTMqvp2joyi3t&#10;gqg7rtlI6gc85LYzwSQ37knyq63NoSpzVpys3t+iFmjlFxbC5ItBNEIbG2chpooCxbzmOc/OCz84&#10;zx0zwqz/AGrSja25RrNZFfTCoEj3ckhCls9Spxwc/Ws2e6XUEvJLiVJZI1SbUb2GMgSyKVRbW3GM&#10;7cEnoPujjGFEkkd4Z7eNVjjlWJZXkWTNvp1vGWYggcEkB3OOfm5AbIGnPOcVexndRjyy3dm7duvy&#10;sZl7YR2ckwF09xFDIJLvyZPLS82EnyhkdiFJwOh5PrXurf7UyPKlvbX0dspg06zjEdjaoqbi878A&#10;t8gODkknkZNbFzatqc0YEUaOwP2CFcKEVgp89l7g479duc4Awl7pT2UTrNLbtprgvdairBbvUpON&#10;sak4JQNwcDJyM8ZNZytJaIurFRi+TTr+G5zqQteA3d1cPDYz/wCv1G7zJd3ZQbTHbIBgAZGO2AeQ&#10;RUZm0uWRrD7HNDYl/IsLF5Asl03mLmabgcHaQAMff7HGdCSCd3MKWkTXq2v+iwySMLTSIsFwzA9X&#10;xhmJJ6k9emDDbxRxXjR3mYEYm6v0iL3Gpvux5MHTA+Yk5xgKMnNODd4yf3/cEOZTjTTtG1/nb+v0&#10;JJTHDcXSAQmQw4W7WTFnZDIJZQeCwXjHYk9e7SYLSCI2yn7LOP3qxLi41H5ywXnICsVA6fwg9ck4&#10;0jzR3Sw3Ns+yKMTCwjfcicExiVu5yVyD6Y78a6fZntJ5BNLbCLEl3qQj3MihxiK3QkAFj8oxg8fe&#10;HJqKnM3sc6UnFOff/IuQh7hlMD+fqUSvMsQz9i0dCGJLk4TIXPXhepIPTKura3eRi0zzReYEzbp+&#10;91OQAZOeSEBIwR1Ck85CiVYvLsFAR0t70+XBZKMT3Oz5jJIf4VGAeR3xiiXdCjGyYPdGFobm6ct9&#10;j0hEAkZI0zzIxBAwe4HJOKJJp2vq/wDgFeynVT5WkrJfkcndRR7Yshi6MfOJTcysG4XggYUN+QNN&#10;/dxIGCkO581nH8S7TgMCQMHOfTkVY1Lz9/8AotubdNu1G3AscIDucjrkc+4AqvFZyGNAEkdvs5DM&#10;2Ske7HIHc8Y/HpWXKm25BD2kebv/AMMUXEjOwjVvIZ9xZssenPB//VT7ddoSZVCJ5scKsi5HHBY5&#10;6fkf5UwKypMrvgqQPLG7Bz2+mOfWkt4JJhGsRMaqFZkVwFjIILMPT2x/WrguVu+xnyKCThu7/nsT&#10;Lp0ZHzXzhgdpGxHPBx1Zge3cUVSZowzhoWkZZGUuJBg4Yj/IoqPZp63KdGm3d1PwPmljGrqVUlDu&#10;AbGWmbHPUdBUD26sPPQ5VmwAx3OzZ7L7cVMs0r7R5ZB2lEUAyCNccn17E9fWkkheMq3ylEjCjfxv&#10;yOSvOehrHW9jDna+Fa+ZWli+TJKsIo8b1bIkbrgk+nPAqqxTBWIsFUkEPk7mx/e696mkUr+8/eGP&#10;OyEADDHBySf8RUTs24bFDK4ITMYDe7Nj6Ulq/MpVFFu60K8oVADncWwvBzluuCR+Ix7VVd1ALBS5&#10;IxkLjnqT+BFXJDuHlsgXa2UAXbuPc9KrsEXLZZA64+VQ+Oc5/HFQlrd7Etxso7+fqUwFyTJluoB3&#10;HjOCf8+9RSdAF42dAgIXHpmn4G4kq5JbChuMD6Uiqn7zIKnqo6qxIGAPp/SnZxsKNkiuXZywAYnd&#10;gc459M/SlGWYHZjk7hjg4pAF4KEliNw469acWY8nJG7AG3JJ/wDrYotZpPYhRct3qyaJX3AFl4OQ&#10;WbKn1Of89KnG1Gbei5PzEIcjOeBj61UTPI3DzNpOdmAAcmrUZXOWYnOeSuNx+v8AnpT93dGrutGt&#10;DQjkhxtEeQRuzJyWY9se39K1ILg4OyFYlCqqiNtxmbA5B9u4rFwxICnKKTtdTkjuTVq3E4wImVAG&#10;BztwVU8lzjpwelPS5mqkvacr/pHS2cpMTRo2yIttYeTzcMPu8egGa0ohb/ZwPNIQyZZFfyzM/VQr&#10;DGcY/wA5rJt3aJ7byZRG2CkBA3FVbJZj+o/HFa8FpJcLFJGsapbvtjjIDNIcfNIyHkDvntimrp2R&#10;okl7qZZjtjcbkuJRtVVFxcyTrvRVGSuzPIyPzxzU0MMipEplYLcM0dgk0okS0jBOXQjJHKnr/ePr&#10;UwnWMqIFY2oAkmklUOb6QbxhDnO35j/OokiWQO6SJGVdXvJSQkY54iVODyf7nqffInKUuYbi7WS3&#10;+/U6i2WG1jM4j3iBPK05RGAbmZiFaV0YfdXO7II7VFb3GnzzTC6uXjEMguFKRNLLfSgBRHGQQR36&#10;9AD3ODHMt1I8guLhWuZApgLyfubC3ABUA45ZgT8vHJzx0qva253wqV+zzygJbMY9kdkrYPnP0O4/&#10;Pzn6dKp627FwpSkmr+8kv0OktHudzIkSRfbGK6jqXltstkHLxyQkjaWBUbv9nvVG0kuzMqwLcJJI&#10;hMEySRMyQDdud8ycqwY8dwxwCesURMKbpLaaSzNyBHMqos+phWwoLH5trYzg574p1zatGbg3hMaR&#10;TxvdPFFuJMmTDbJySoUI3AOCRk9MhySg1Z/1oXU5rctvL9PyOlbzotOtJtD02aGe5eWG2kgkikuH&#10;YArNOAWDAEHdztHzgZJGRTs3gt4omEcVxACqWSOUcXlw2C0py+RtJJ2nghV45pHnLXpGoRS5ksY4&#10;b1DYLaGxt9q+UoRj8srKFIkAznLHqCYnt7ea4kjgtpomuos21rId40i0ABeUtn5m2+Z8wwcc89AK&#10;70TM6bjzLn9P67FiSG1imI+2pexTFbu+uLeMwxyTyHJsyuNuVbJIUbTxVWSVYnuEvfNt98i3F9bR&#10;QvCGUEmK2RWGcckFe+M44GLbxW7LbSWulzJDKjJpMc4SQyuhAmvZdgyU+VgoPI5xnBzdvLW1sr0Q&#10;Qapp3iCNVRre408SPFe3DoWZmkKBgsDELxjkf7JNOdtOQ0cF7qb6L+rGbb2rtK8l7cR29okf2i9Y&#10;loopTn9zbYb+EsVXOcjHrmrr2oDXDvcqkWwT3FuB5qy4wIrduoxkKcA5wCccGqSB45YJ4r8T+Vc4&#10;s4TMJEu7kgMZgD/yzAUZJ4IB461DC8paN4VmEsN0TZSRAZup8qWkORjah24J6E9OuJV7rl7EO8ZO&#10;6uvQ1ZA5Fz9r8pTF5c9+otyY5LhuLeAYIyEVskdtrd8VVWNraaEL50zG4WZN8hU3NyyKhkBA+7Eq&#10;nAY8bR2OaL9ZbaSygkmeSUMJWLwkveXEgDPK5ycqm5sevucioIxcTSwRwx3EcbJKli6Lvyg/19x0&#10;3YADkPk8DtzVx5Wrvy+dtBc8ZxdJLbb5o05EhiM0VmdRutPd2iguJ2Vm1G4yCZQoHIUFgq4JweD2&#10;pztd3FlZwWsyxw2szrpkAtmSVpSALi4dsYfaRwRkDYBjqSWt7FYTNHG5v4Zt1np0d9FI81rbDh5V&#10;IJEbENJtJzhicgjFWLpdPmuZLvTHbT4H/wBHsrMSiS4tbKPcZHkGQS0h3kkYG5ieO6SUVHsaNpxt&#10;8L39WxRNJHJujuLa4S2un+zq9yALm5kPNyysMhVwp+b0HWktZFsYIpFj+3RW1w8elT265jvr1vM8&#10;yYMQCwQMuGbng5OGwKr2tw8yTJbJayajavLCskO9rGxQsjSAnPzPtIBbnLHg5FLZ7Jt0dm0trBOf&#10;s2lpdOyXFnEctczvjA3sFCHAGcEADihO6Cyi1F6f8Hb7iKSBmW5gv7q6+ywzi41u8O6WS6udrFIF&#10;ycAbsKQDj7xx0FVLaOwM25bqRBNbGTVrl4xDEAX/AHMUY6kZC8ZB578ipTJNcWsYsGW5sorl4LFD&#10;KWk1C4+dTNjBDKoPOSCvHviNWlhtUQQR3NnYTgCWOFpG1Gd2XAAH8KAD5unX1qW1FLuLlcoO62+f&#10;cintorhTaGRS8lvvlluIAI7OE/Ju3AnIAHBUZw34VkRoGhjeCSWS4ZytmhJD7CAGmGTzuIJGMkY7&#10;4zXQ+eosZoTaNJZLLH/bF0kQ+2XJYkrAmHAXGCcAjPOTxkZVlLPEl35Wn8yR+fdR4YGxgLHZEpJ4&#10;yHQcE7gec0rtu6L918sOV2fXr2IBcRpaG4VofKtL4LZWbBzLeSlW3TuPuyIAx5J4xjHas1mjjiiY&#10;Ey2gWM3d2Ple6dVJ8tW6OoZu/wDd56V0FxNZO8TPHbw3b26W1lb4Ii0+Dyy0hddow4BwX6FgSPWq&#10;ZFrDDZzAWnlRjydM04zAmeYFgZ5YwM7eQM9CVx2zTk5aO3qDpQ5m3LS39amYwL5EU6rPLCP7VuGV&#10;kjt4zk+TE2OpGPl6/MPSs0W214/s7JOJmItEd+UxuUu+M7ehI+grbnhibT91xNK8ds2biSN1MeoX&#10;L5IG0DJVRgbl/unvzWLFAijHnxQ3si5ulk3KbWEHopPXIOMUe7dOJkpt8skk127ddxgkVLxt4WS2&#10;jkKTytmRrmQKPlIxhlyxHHXBPcVSuo7gNJ5jhJpVEl4Y3wlumchF/DjHqK05Y7cQRuY3OHaPTLMS&#10;gRy4xvmf+IEkdT3Hp0zZPs6WxVlnJdj5tw6grcuP4VIHIzx7UPW19xOMW2ovT9SBJWWHIdWLgLbr&#10;I2FtY1ORjuMgHn1qkgG6KcQsmMi2XAfzWJJMj5447YqSVYPszoJp47ppGFyvyiKOP5SAp7k8/THv&#10;ToZXiieGQlnkjHlc4NsgJ79iamSdnFEyaXLFrYphkKMUlBVHGAxw0sjElvw6/SoEiabdEC0yR/vG&#10;ydqTSA8L+GT7DFXEiXHyR/OwKoqZLIOpYqKjUKkatFEYyuVgQnLFifmcZ7YH8qNHayG42s2tCAsi&#10;FoLhixZgbiQEdgSE449OlQShpXJWERAplsMQsUQJAAbHenCGJJJ2DxypGcFQpZZXPJx7dOfpTm3Y&#10;Z533Q5G8IoJPQKg55A/xppbNrUd7NNP3SvIgQrKE2h0Btx5gXbg4Jb07/wCFQFVlYOigMDlQWAwO&#10;dzZ9OK0JiXBV02SAFj8nyRqoACj0zwPxrPlhZGXbHIDIu5xjHlr/AHR+VLmu/dRlKUo2f3jZAxZZ&#10;N22NV2QxqMxjpljnpk85qB2IAVWzHF8iHgmXJJLc9f51ZeIs3mOzYdSoXn91GO7Y6de9MNqhhRF3&#10;IXyIGdcbADglh/nrRJrdlxTlK67bf15lONQgZ0BODnax37m4xk/j+lNKbQpypcAl4jk7mz2HtVlY&#10;QwCoSzEFVcDAAAxuPHPSmeQMAIzMwbjAyTx8zE9qm2zRm46e7qu5XuAHIIwpUYZlGdxznH4CqxQH&#10;eswIQDcdjffYjOP0rT8jBSP+BgNjOOPdifSkcKXVEA4LRwtjCse5+nA5PrRaz06mibtZsxTHH8xw&#10;eQC4ZsHvhf5VTMX3xtC8Ek9WPoAfritp7c5OOW4VTgfOcctj2zUbQtsZ8A7TtVcYMjeuPzJptJaf&#10;10I5m2l/V2c7IpDAFRzxtHJX2JqFkCKQB0ICgHAz7Ctma3A+U5LBfmGMbj6VnvHwEbqoBJUDAP8A&#10;+qlF3VhuNnzNlQOVOcDjkgd8fy7V2egasUBhaRY/OtpIDuJwMgnB9iOMe9cfIMEjCjcc46AjBH9a&#10;bDIkZzl9qkE8Yz17/liinsRVvz6P+tD6V8PXsJsZQ2GW+0ray+SkrI0T5LbmYYXr0yQCSeoFeqw6&#10;hbSrqLASSzyjTZ7ZbWcQpEEaJGBRAzNI6b1G0gkAAEY4+WfDWvNAVBYbltniRgAxAZSNuCenr9K9&#10;c0TVGhsZnhO3z9JjuDO0hZU2SBQoCgfMCDnnkDp3roilKXM32/MuFWUY8q26/ge5QXUI1BrPUPtD&#10;WSeNDJdsJZDJb28sJKMqquc4QDaMY3P97gC15ZfR9GUtNO8uiaxp1p9sad3tGhlmE3mRoVGHMkRU&#10;kg8twVVyeZheJ9P1O6t4sRPrlhM0b2paQYSVo2z5mMkGQgOTjnb3z0mmm+lZrdLe1kNtrV9puoRz&#10;xW8MCmRSqyvNJNhwRKpIIbcFPQVHK0lHr/w3+Z0UqzhO7289vIvxRxQQSC5kuFkbw3YeIYnuYI5J&#10;nFncSQyrH+/CYZo2G5s4VydrEEUuoWqzyT3zHbpkfipLYkzQrDapdwO6KsaSlgThcd2BYAjGDQR7&#10;IadaTahPJ5k3gm8hjdWtlmmMKSwtGmckgPjBP8TADsTeF7YRi6MhdbKxi8O+IrqJWjKuYXlguBGC&#10;gMbOZQclXJPlnB2kVsoJ3u/6uaqajaSWna3kv8zFt2lgsbmLT4LOaOy8NXcF9ayRRTW4kSR2ly+8&#10;qwwd/b7pG7GM7dxpVnpk+sa1cW9qbm0uNGvrFNMaD7JAZ4gGVU8ws4OUIIOCrYPJUHOmi+xajc6V&#10;oTyJbyavqOnRztF5yyw3MKTtHKnl4JkGMwnIUScjmnzKtnp+rz2MpupLXw1p4uJbmKeOF7iO+zHg&#10;ZDqw3RgBSACnJAJWoaclzPTyf3ivBPmSun+OtvyMy5sPtGLa9MEDRLqNtaWyPGsLQhlm8sBVKhPl&#10;ABzglscmtppmistX1sT2ckUo0e8tEctvRJFML7Nqbtu4sMcnKrkrkETajZSNq9/f2MF1PFbazNKb&#10;ebdFFaRXiSBRKTJuJHB3EDGcAdzgSwyXUcMDNbW8UXhqa18mG28p3/s27aZgmHYs7AueQoBz3GKm&#10;N27t+opSaT5Ou34fjoalrBPNqtvC07fZjquqaTJLKssUDLdwvszypy4Y4PAywBwCcRtIdR0mxM8M&#10;kl2ngua3iZFmxeNp83nlpwGzGq7XJ25znDZH3bN3fWtv4i1Im8jjtofFOn3tqYY0t7cC6jQOItzF&#10;SQWK7iSPlyMAA1zsR8uSeRPsdot5pusaZF508UVvGG83zUYtkBSHk55DYHzcDLT920vL5f1cdOm1&#10;PlvudHB5TanBby3NtL/xUME5+0zEi5hu7CKQDa0oBCGU42jg9PU5djGJbOc3lzFBdnw6k0FtNZia&#10;2eazukf94fOx5o28E5VQCcsRtL4nSzaGSWW1uJobSw1k3Vs8UUirA6LmOUIdgRE4IG5gFC46rrxa&#10;CsWpx6bMwv8Azda1LQFggvILOKQLHJKgf5AVjAcMAxC4iGRnGEnFJtdDKLqy5VLb8jSb+zrDWb+5&#10;1BhbaPH4gj1CVJLJLvbDfwtKZI1DMFfODu/hPAwQDWdDDDNPb3aTNbW051XT9IsZofPWxjulLJ5q&#10;l1Jfc6EoSoZkGCMcZF1OVsL65uFhhv5dP0mNxLeLctL5E6W7SwKVz5eUm+dwOIgByDnpVuLFPEkK&#10;JIsmmWHjlU8ueW3dY3e3VAshT72HUt8mctKOMddPaJ2gl/WhpOLUZNSb/Lz+eplpBHDeaXrVtEjW&#10;0Wk6XqenRkQRJO1u6287OnmZTanzZChSzYUHBC2oDazTQabeLIFsptY0Z7Nbe3D5fdMjbEYqfl3E&#10;I+5D5IJIHAy4YL21so7/AO3Wc41rSb/TYFhngl1GD7FOZGkKFe+18MAAhAwQcASNblruS/juYbZ2&#10;vLLy4ndQ5a6tjGpAC52heXP3iWHUbRWSd7Rltp+I1FLWk/K/R7fmLe3L21tDc2ot3EOjaVrLzhrZ&#10;meW1ma2LZIw5yBgsCF38AksW24lltnlmIspjfeOL60/19vJFbfaYS7xpGDtbDjcpJyVfJHIrNNqj&#10;QQW11fWzmPwtqaXIDLPh7B3kCthSoVWKHeeFKcjIYmzpZjTV9JWOW7so4vEVjqGk3NxcCO2gSS2Z&#10;WWRChO5ncv5nHAA+t8jcrPbf8SKcJQtJSu1/klv82Z14st1p7XMt9ZRWtpodjFDb215byXs6Wsz2&#10;8WUBy0qhyGHRFBBGRgU/tkSzT3cAeGeZ9QtYLZpYbkWBeBZP3oT5XClMnkLvx90kZtSySGGK8e80&#10;+S8bQb5WnuYJVgsvs9+W8u3UKBlk54+XBY4B6bJs5ptQCyWEWn2NlqnkXEcjTCZPtNrG7YUIQRt8&#10;uTqWzNnncSJtJ2S2/wAyqkk2qiitN/PsZ0l6btxqUcs0OnaGmjT3cqTxkhWmtrZ5owcLkBwuCOdv&#10;AKgETPqtqFstJhWCNza63E909tbW9ubdvLl8sxoCE2gEKvAUkg7SAKziXfRrXZcuthdaNFeTwx3x&#10;jilj0/UBBh2KFmZY2BUAHgHA4ydu78uLXL+20zUrRIbPUb20guLedhBI19YiW4hCtGHYuI0j4O0E&#10;glsYNCinG6Wgkrrlg7S/ys/kRpDpxsdR1XUGS41J00i+tZreRA0aRwR2pmCsCUwsQXP8WAADyaHJ&#10;tjFYySWoWB76ACOKNJ4422zNBKQd3ILnGcB0OR1qSCOym8Ps10l/Jc2Pg62nkETgR3c1rePhmbYd&#10;3M0aKSFz8oXbhRT5oXN3cQpKymfxLcfZMqrGFZrE+azArkqDb7yMe5yAQbd1dx/rZI1pqlGNqj0b&#10;/Jbfex9teKkRgvL5YUh10XKWRHyhZrNlNyRvGSpjjG09dyYxt+bLsJPs0CESXDI9va3t7LHFHGQt&#10;pdu8hKmbnOEXGTt9e5itbu5E0F7erbTvYNZ7Xa4Wa6dU/dMHUJkKRnBIAIUjsasTtJbRX1ld37LB&#10;Fo2owadDbbIdyLP9oVADHyDuAyRjPY1EbSv1b/yM6UOenFR3vr5ajdRsbxbqO1j8kqy6jaxNbhfL&#10;BWUS5dg2ZCWbdznj5cgAV1FpqVq1w8clnFaxQavZ/YrMB0jt2kgZGK5kLFywyWJ2jPbpXJy3jXLW&#10;7PIZ76bUFeSzjCqtnHcQSbI0DL/EMHcctlutS2VxbQ2kH9oPGGNrZSCT7RCgjRZWT5mYkocjIOCA&#10;B908UR96PK/6/qxTnUb57Nb3+elv68zeW2kcxxSs8yWWnwOySxvPDEba9eIRrtbcch1L45POcDG3&#10;fsZG0+0ubW4dYTqFzfi4Jmlt7eHypxNDLJ2c7VKlW4X5lAODjnXBubl4dMjvI7K5vNRtIEFxHNLc&#10;qUWaJI1TaGORvGPVSSMYa7p9rbyy2d7NbtNL58BsbeZ2umcSIsLMQDknzGk+UAKny4JIDCqcop23&#10;0FUU4tqCt/np/kaXmx3F+7W4kl+2yk5QBmuDJFvPUAhWKk7Qcng55IrqrDSL61tm1uUWcb2oM8Nv&#10;dTxPcTOXjVUVCx8x8y8hCSqozNwM1yTWun6Q9sINbW6muLSC6nmg8xTZSNI6/ZEXH3o0cB34BJ2j&#10;IGTdlWSOSIpdR3LRpHaiI5Wc5mlX93krj5WUF+nykjHUQnGc0paL8ux0Qi97pyezfnufud/wRJ/a&#10;fvv2Zf20/hXd6hqMVn4N+Kesx/Cnxg15cl7WS01uaGGJ5FD4R4rxbGVZGyq/MOjHH+jNdW6DeCgk&#10;hjkIcCFriXBRYzwVI+7lCuDuRi2Rjn/IV8D63LpWpaPcyz3dndQzxXMLJKwkgljKyx4ZG+VlZAwY&#10;HcpbO4Nwv+oR/wAE3P2g7X9pj9iv4C/El9Sj1fxND4Jh8OeMygVr6LVNJV7CdpFILLLJ5AlQORvW&#10;ctyDkb128Xg1U+1TfK/R6r7nf70eYn9Xxl18M/8A0pb/AHq33M+2Y44kKqs7Ry27C02yYXcCzMiK&#10;CAGC8iFznPIJOWykRSPdlIljeNEyuyCFE6Lhd4ZY3JZVQ5Mcm7qDkulXDbczeTK5iLCYhYzI4G1c&#10;MCFc5WJicxueOMKF3RzO5jm3AzNIrQzl0IUeVIWAl5X5fKKjjzAHxnlfHtbc7m2OR2Hl+YzllMsp&#10;coHmXaCgZVDNl4lby2X+PJYZ6GSQMUQiEwSCLyy1uFkkiKK/EWYiGC5YxkjDbyMDOKgEZDq5troS&#10;ttmKM7XIiKqkZYEhgssasVAXHmLk/N/DK8KszHywpIWD5SE8pckIoYAHYTkxNnKux6AYFNa2bEmr&#10;6lYoEeSQqLdmcZaO4RYSpG1VBIU7W3kpkfLMXPI625ZQx3RzqFilMu9JQIwYyUlZsSDKryjpjhyD&#10;tzVRCpLiNY45VY4JjUpKgKoVUiUYXrGVP3ZfmxgDNkeYcMhaA5kkfy7dpJUbaFBbaSGkTaAUBIkB&#10;yM9lYuWmpRlQ+UXMqoYBvEjf6W9qyqVJc72LNEGYseN6y9Tya5y/sIpbWa2aFFRU+yvHH80ahvnE&#10;AfbyhO2SNiDhztPAIrtzFJGGG4RjywkQhUny1AOACcgledpIGdxGOKxbqLEqmTO0lY0jyqW2T/yz&#10;+WPcq5G6JmJIl4B+6Dy1qUZI7cLX5ZqS9f6/r5nzr450iKUyTCSKcGJ7hZ0QxoRGUUTk5AVwQ8Vx&#10;GVH3EbIIff8AJ/jXwrLamSSGN/IlXy5Ld4wiW7uqkxghmdlbLmOTPIXGQeT+g+uW8rBXjeKCdJDO&#10;zzzOcGNlRJ9qkYRvM8u5HPQYDbVJ+evGPh5RDNAItif8eot/L825gQBZRA7tIwGwSK0bE8ptHIAr&#10;wMTSSbcT6/BYrmir+n9bHxbFvt/MtyfmY5j2oFJ2k/eyOnDgHsdw7k13mgagIJWSWeRl2hyyPgsw&#10;dCMnAxuJJ9cqvHPFDxJpEtnemRS80Trv8wocyCRSd7AAMpydpyMh/rWPps8qysXw+4ea4dAoyTht&#10;x65LMAcdSg64BrKjKVkjsrRjL30etQTRK0cqoRFIR+7iIUyKAH27tmFO0gZxjMZ6556LRZ5Yy8ux&#10;U+YW7OilVmG4jYcgYVj5bDk7dx6kGuK025RgF2Jh0DnzECvyMg8A885PXOQec10MN9NFbmBVBt2I&#10;UFYV3jf1XzMZG7naAeGU4HIz1pyTvE4m2/cR9GeENUN5FLHNF9pkd21C5SC5je6v4dyndC4MhN1a&#10;G28wbeSIwM8HPq2n3E5cM0tqzCaKX7TGfOtopZUJi1GJvLUGC4JWOZFwEYtyeTXyf4c1IW1zBIl/&#10;dxlJgQwyjRMOBIoDY6sNyHjaCAfmLH3LwxrQur6GH7LBCbjFrbiQKYInmZN8Em2LabS4MrkAFikm&#10;OMMcehh670v6Hj4vDyUXNHssUsgcQos0Z3y272csvmSN8oeWxiPnIFkcBZIJScKhPQGtiG5dgxbf&#10;cbmJMqzQ+VOqIA0qRmTgNgRlSQFILYGSa5O0aKSKOOSJ1S6zbx2z/uLvZFktZ7/NVhdWpV3jcAHy&#10;kOMnLDXt76NSztdWrGSNLuWRSkkEiuzRLeooYkpLkRsmQEZSc929SnKWzPna1Pr/AF/X9a9OsO8C&#10;RkJLbFUIqxozEBep6EnJHoB29ZRKHUptJViSZUkEcSkMQV+9uyWHoevU1nwMyhFUO0aSeWC6usyg&#10;MyleRhsYVd5+8mWycZN2MkqrgAo6iQPtYgg5IIU5/uqc9yeldMH0PNnCz0HLEd7phlh3BcNtIYnc&#10;zEd+dwBJPY8DqcuS3j2LIIo1KsAg8pE7EgRnqDnGM4+bPritcl2aNBucAZdioUPgEEvkf3sEY6/Q&#10;VUmjVXkP70tJHtfDsQAp2ghQ3BOeCuCT7jFKrG6ui6FRxkczPGSHO9Sd4G5D5MXzjaSRv+453Lt/&#10;hcMc9z5d4otPOLPvaVYnXbLLtkZWCGEMSWLErtET7v4fnJ4zXrd7CChDsi/O0e932Kxd1jMZ/eD7&#10;4Oz0DqCADtrgPEiZtmYCYoVdIwZijiTGFDZkPPWJycrhg43YGfExcEtT6jLql5W6/wDDf1/Vz5u1&#10;m2khldXjlwGCFWPyRttUPb7tu3cChaMt/tgZwc8bfRsyjMoR0AdzvBVCNu26Rdx4GQrjAyVHGK9A&#10;1uD5m8mOUxsgEUMiqJX8vgIrbScxOAqbR8yseRgmuEu1O3zCwX7OQxkVDEsZK7fMI4AjlMi+gBb2&#10;GOOWh6aglZ31JYSEkYTJEscYMr2+WliJO6QqOuQwUMo9eMnIFdfZzDHmGdpJJUEcYaHywpCh1LEL&#10;j5gGBOc7m+lcKsivJCYklWMKY1hLBpIW2qeeSOGJkBB5A6HGK6zS5Bl9yNKzlsBMxvhhlipxtUH5&#10;mbI4Yk8c4E2k4y3N21dN+Z9l+Bblr3wvo7+Z5yi1RNzPl0aNgGjYgqWJKnBxgjOc9D2flj93Gm0K&#10;gAQfL5eQCoG0DHGM8dNv1ryz4T3KyeHo4FZkNvdSQI6n5DGm1lQrwqthsHAGQCeO3qowQ2FQmNsB&#10;eNq8EKenGQf1/GvpsPLmoxfkfAZhBU8XOK7kgJbkFlw2GHBI6jn8x0qAx5cHy1dyilpHkKu21iV5&#10;C4OMsRj1PAzUjY2guxyDwSmxckYHHp8xpspwBuOA0gG5gAEDEAKMd84xjnd3FbHGVsqIflWRIwFZ&#10;GgbzBEowQUUnnBO4AKflwNuflpxAjCbl2OSAEjmCqilgFQfdPIBI4P8AGBxwUlModctEWKYEQYqM&#10;Hk9WGT8pYfL0RxkZJpoVUUod2y5ygaECHAIJQKyhSu75yCWyHfgnIwAQxhZBs3xzSLGvmTxxK0M2&#10;9juYYBG1zGwdd2RsHqGNdthjnGyVt20TGORPtO4Z+XAYnzoV2PuAyw2bSxAqzLh/njYToy7W2gvE&#10;zktGchVbcjHhwT8uzPuI2UK5YwqxOxYYS7GFhD8xCIflEq7WZTjJVFGflysyV1Y0jsiMygxRlpHX&#10;av2n7ZHJtbAYqsuMBSccSKBjLjIwRUgVRcPKpKFCRKG8uKPYQSEc7cmJss6Nk4YsCeq1HJK0YYPN&#10;5DIPtDzyRt5G3JCzD7oPbzUHCl+ccFkeENtzDjY8iiK4YNCxfO2N+DmKQksOSFYAY/hGWxpa6uWm&#10;CMSrsBEJMzI05RsqEO4/PjaBw6EYbdn2Z0m8EhpBjcvkgDzpE+YBwcgkqSdjEAYDDkckQvKhdSry&#10;b0jVmjdyHt9q/ekTzADs8wF1AJPmR+impy7BP9UyoyB2lgAkZDwCNu07sDaARnK54yBnRpOOhKdp&#10;XMwSxq6R3qs1tqEptJEnCDyp3ziOXHDZUKqHByNvPIJuuhjb5GUFsuwcDJICosrDevyqpCOAOu0j&#10;py6UiOVTIHlieRofKaNc7y6BBgEdixBI+4uc9ybSDGHkmAtwJFkY7JJMbVJbDAsFA+cEYO9SOlTC&#10;N9WXOTlblYNEhSKJjOrR/vY5Mh3t8MeA2GBZQ23B+8oPXmom86CN5YlijkXZNKUw8SRBkaWIOQuV&#10;wZCjnpluBgirICSxmPMiiQlCy7UliDhtoVlzgqrfKw9ByTRJGjxmKQJCrg2o2gCMKwK46jIOQoGD&#10;hm6EVXLa9jPm95XIFy6FlaFIt/7qRNj2ckTZkLoQQTuDANyRkAgd6nzGc713eUBtdlzhsbeCRjPz&#10;EfVsY61URcPJb289pcH7O0QjlUHyXUAH5FGSrEjeMgAhehPL4gyNI7TTyKVyQ8UaGMdycIDlQR3O&#10;VA4ycnPzNY2d0iyQY8KjOcA7I8qCQD8oTkAY4x2wMHtURcHEsjv9nKln3sESIADG7I4HytyTkE4P&#10;+y7yUkVUAuN1tkLiZ8P8uwh/mw2VIxvzyQw+YFqbJlN25URIivlzGUHJClmaRMrwvUjccgAjBFKw&#10;0+4RxwjykiVUlhjKJGhCLEjkM4wCcBii9OVwOB3Fj3nzEfbvKlig2PtB+76hcEkc9Xb15jVzKCsk&#10;gZFQRzxQotxIhIQlGPzfwupPUsDkdObDGOVDsLkbsDy3KZypI5BBIO4Y59CKPMpXFUksQ+7k7QMh&#10;UXjJ78kgnPUAg46ZKjAUqvmYjQKF3bgCBtA3Hknr169euDUYVgXcmVSx2ybpDtVf4cAMQDgAHbye&#10;vGRQrRqA7yOhKbAsjhioAByTk5PycnnoaAS0THM4X5Qf3gXLbQWCjBHJ9OMDPcHvSSlVQsVJVfmY&#10;Bt5AH+yOTyAeOfx4pWKxhgzhQZQoUJ0HCquD6kEA8ZzQ5YBtw56jcm8MVQHgbhwCPbJpoF0GjCqs&#10;haPLEYTgEbjhQTuI7Acckg0zcDsIaPymUmOUMArHgjb1zwSc+1O3BSzMoAYBlU5MoCk7vl9jkAjg&#10;78+1JKXGfLAyMhVI5DEEsC2eh+U5A42nr2FfoVF+8hgDBdwUY2q7RL+8PQ5xxyeij2/CmkspWM5d&#10;2XLSrGCiHBxxxjOGx2woBPIybpFYkxN8w8oGPHGVY9wAAMLjPRmI6HJeQ75G4gY2ZCEZyQDggg5A&#10;GMjoWPpihq9kkaJ2d2RE4Y8McgnIYlQD3bnP8Oe3QCsm7iypG0jcwkyMAH5QAeT0UH9CK1jGVwcF&#10;Q3zSK8hlYHgHkk45wPoDj2zriPajM8jEqgJkZCWbjqwHoCT+FYOz1OvDytJWPJ/FkTSQlkywRTwV&#10;KYX5s5+bA69SBkN9BXwl8YNM/wBHk3xsswUbmBDLFkkY57cknPUL0OBX6D+IIgYy5VmAXYmAdoHz&#10;YGMccvn8OtfHvxT0xJ4Lp1YJIqnbAQVYls9fTn06HIxg1wyT3R9BBxcU3uj8VPizYztNekwuoExk&#10;WTCxk/e2ANnhc5GAeMsa/MD4waeBHPGFIumzJsj5KZyxBPQZ46Z9+1fsN8btKIuJ/LHlq8rKzHIA&#10;dQ3BbjruAH+97Gvyw+LmkCIz5WWZlldHDN9/JJJ5xn0+nPGaxmknfr/wx2Um1TevX8D8yfHunuH8&#10;2U/KUJVmQM0TDODxnuMY/wAj5C8XwN57hJ0URplX3+Wd3AwOecbic+o6V94fEvT/AC1u5WVGKHzN&#10;gGZJMnOG7ZPHPPP5n4m8WwqqzkJ5ytI8ZUtkQhhnOevJwDjqFHYCsklTk2+plVg72Tvbf+vU8fWe&#10;SUy264aOAMrb8NsOcMd3UgkLyPTivPvGlqk+lX7bT55iESEsWcgcsT6EBT0J7Cu+jVrdplaRU8xQ&#10;oRRh3IyQDjkk7j7Yx6VgXkEF3Y3kWwTO5aNJGOMlgCCgyc8Fec46+ma6aclCUWl7y/4By1rcvspa&#10;3T+X9I+MbuII0hfOCeSDwepJP6cds1mb082zEUKQquJGkm+aMclvM9sHGOh/Kun162+y6jeRSoy7&#10;ZCpVuCcngEduMHmuTdDuDl2MccmcKOOnQA9sjPNe5F3V2fKcjilHt0f3/PsejWF1beS7s9zAtxGs&#10;t5fY/wBJlAXPlQ4GTu39vXrXXWVteRzWtrHC73Kob/TPDhmDne4bFzenOMsqggHJ24OAMZ4rw/JL&#10;cXCnfbiW3+abUL2IGz02NQCwRW+XI5OME5HHOK6q4NhPDvkkuraK9LNcX+7/AIm/iKXICb9uFVGK&#10;ghAScKSSxwo3ppv377lyk4t7f8PqbcN67zNcyXq3dzDGsD6jdRJBpemkMzGKIP8Auy7HvnPy/KvB&#10;NXJobB7RrqxMs9oyFLvxJKGjvbuZVDNHbqRjGeAQOVbd3AFErLby2dpqmnWup/YYcaf4fs51+zJM&#10;4Qq0zR5JzuAOcElQAQFrbtcajPb/AGq6jm1DT5i0arIYtA0aMs2NqghHPOSCpBJydxwRWj1luTFc&#10;1te1/wABLK5uzBDYLp80Nl5rSw6JaI0+o6igUnz7qQDcEwoznGQTgDqZrdFuJ2upLS3vdRhZpIUZ&#10;yNH0VADliwOGbHUfdAHO4lcVZYvlvJLW9uV06Z44NZ1yQeVd6qchmht14LK7BMhiM/KW2g4qT+zl&#10;lhmhiW8jm1AxppnhqxQO9wqTbRLcsmGAfMmDg56AAGri5S37aGjhyWlF66/1v0RXgl+1C5v7hpLa&#10;KeaSC51hfkmuwDgR26HHyqpfj+6fpnXdpTG0M8dxcQrKs9jpEbvbSSqoZhPd4+bGATgjJU46Gq8+&#10;IZRpkctn/alkxSVo9k2l6IOC4UnduZc7TwcFSc5wVpsN1rLK18YUutQET3cYJv8AW87V2Rq3Kr3J&#10;/wBnBPajmt7yQRjF3aasrW7m9d290t/LHLawG6tLMyPdRSK2l6YoAJjjIyPMJfC4P3l4yazLBYLm&#10;2F/M72toZMMPN/4mGtMhyEU53LHyOOAQOp5qq4uVmgtWilW4g2LY6VyxKyDc09y543ZzhW+6G/hG&#10;AdSK1QsLgXvmXUEm+5v1/d2emKG3IIdvBfIfhRgZXAOflSvzLmejE4TnN1LJ8uho3EcrC3iijgjm&#10;CbItMsmWYWXUmS4Y9XAK8NkgNz6jRfbLGLG3S5uVKskknCzX0hI5Ax91e2c8FuckLWHa38tvbJcy&#10;2Sw2BuHjt23hdQ1k7iM9flxkZI4AVc/MaWLUri3ma5h8yC8bMRJOINLBZti5BzkAg9ckk98mtJKo&#10;nZW/rUdPklB8y2svPyRs2KsGu7MOUkSH7Je3c+POh3bClugAzk5z2yAOorOvpzCohwL7UECLZ2+8&#10;/ZdPQBiZyOoYYGF4z16cNtW0qXb211ZJA0pdktLWSDzxLKpKiSbthWRgF6HjgjgwQ2tvFbXc5nke&#10;GTK6nfrJtNw5JUQ24JyQTkA+jZwcYo3k7/11M4+7OUZyurdvuOPNv9saSeeSePTRKEjgssJqOqSK&#10;CGROCRGcgH6jjsMqZbvTLiYw2aSXcEDsIGxt0qNt4LODyHAZSD1BUc9q3rl7+wvFmtmj0y/ijWRZ&#10;9wjXSFwpTa38J5HvnrzXN3LxSSuFNwtoYSSpc+frUxJ3Zwf9WTg5yc+4rGKcI2sU5yqQtPe3T9Su&#10;rRXIm3SKtlGFadkBa71Fw2SFJBO3dt9OAfwgjnad5F8hI/Kl3hdoWy06NOASvPPcDkZHAyRTlgKx&#10;XJbKTxPHNeX8EXmR6ajZ2xBs43AAjGeSD6ZqG0nihja3ed57NpDJDZNGx1DWGZ2X5yMqEUhsk5xn&#10;AB/htS5UpXMmlObadl+RpxG3uhOlpcSxKVIm1W4ylxKQATFDHnG1wduccY7dCxIJLaZkmiQysc2t&#10;gJsQxYBJmuCOM9Me4HQAUogSR1F0wbUJQXjitVC2Gkxk7V3Ed+o6dwc8mrSpC0YEq3EuntIxaVCI&#10;7rV51wEjU5zsHy5ABxnvTltzrQ1cHyp01Zbf8FnKTXOHuo52addwk83HMnLDcM9RkD8B7modP1Ty&#10;YJrYK0xuB8sh+YxMGx1PsufwqxqMdmkwmkVvMMYRoUGWQg4Ck+2R1zznmszzJUGYI1ih80yAthiC&#10;cHOep6AY9qiLco8rIdOStGMtev4dSVraJYvtLytvmO1iG+dsEZH16/8AfJH0zpIwVmmIeKOSQwxB&#10;SSzcjA649/TBq0ySSOoZkYnNxJPKeZPlwBntgAkducZ5qFpTJ8ohLSQqzCNGwgzj5eeM49ef6NOW&#10;lwcIKLV9fyV+pHtiUkER5BPBXcRz0J9R0P0orPkl+dsWtxyckI4Cgnr3ormsm7mLc7nzoiorI8ko&#10;UhS2NxDBPTP+etMneOcs6RMiOgWJpG8vCdDg9DnPHFQyuqxH5HVmlzK4GWA5wrA/07URHcpAyUJ+&#10;YsfkCdsr70mk1ZGatdSasV1bJ2KwDOv7tdpLIoJ5PbnnmogsT3GxHMZZcEnIVQM5wMdamlKAghiP&#10;MBYLGu1IlHGOmRniqkgYAOzBHOCRu3eWhz39eO9K6V2ZuzXujWz5hIeMHpgncFAGM+uTUMyRckMS&#10;x4XIzgDv+PT8aa5OX+XriTfwc46D9KViFXPDFgC5PKqCMcD1pWTd+hbg2rt7FJwEZmGAOpDcjj0z&#10;UBLDLBscY6dDjHT8TVhmJdvnwn3t3XPp71C4CuctlmXIPLD6e30qVfcmTvs/66kHyIF4zk8sSTkH&#10;PIoBLZU9VbbheB0659sdvWpCTsAGVO/JBXAwOT/n2psbgHAx85IG5iO4PaqSavcJ+7quyJEQszEu&#10;EUAcEnLZHr+FWo1znZggAMpBPI7/AJ1FiI+UFWROCJSXBUnPYY7dPwp2QjJt5QDLZ7Y6f5FEUluX&#10;KTaXL5F9EUAsFB3YXBOcAcgde9bcMMXKgYf70hUnacAYVT+fFYsCoyYcO8kbZR1O1CSQOR/KtSOV&#10;SsQJYoBtXaxRic5ZmHtmnZJ67E6tczZfto4hvkmOTEpV5VYkIAcADnqT3963Y5FjUeSyITH5c885&#10;DMFI27VbGSSGPHOeOOKw5JiIsxxhoVBKYO53ZsDcT/Fj0961LGUkRtLCzRCQlI4/+W5UAHK9u2TT&#10;vYeyunaxqQzSYiLBWCKfs8ezy3gU5PmMvf2/rVmIbIklhhLosuLJChdbiT/noCT0Gc/N+mazHnmJ&#10;YBQ9tI4lmlhdc8fwq3Y84x0rTnu7jgeY+4W4QoqlHtYlAO0qOCTtxkVSalZFS9zlaXQ0mErmQPLN&#10;LbHNxeeXGI3mlVflTHQqCQDj1PtVww3Sx3ESo5tIQtzqM0S7myfmSGKTB5O37uepIx1rPgllmgjj&#10;W2fzPL320TKcWv3fMmkJ6ZyMDHOODxzatopkEEUNs0iArJa2ywM/22QtnzZwei9Tke3qaEraXuWl&#10;rzJPzXr/AMA0beW6e5LxRgXhj2vC8Zkt9NgUHLzgr8rEYGQMg89QBSos4kt5Yka6iZjBZrJNuDSg&#10;jzZzuOGVQ4PPp35prxEi6jkuJJJZGN3qeoRyK3n4wqxKcfxPxyOcccCphaXkkkssXkQPHCG1GSGG&#10;LbptsdmEC4wrue465A9qV7pSRabSbUtd1+Fi1aQREiSGE3yQ3Rt1JuHaTULpjnCsx+6ueQByAfxk&#10;SSEXtxHe3Hnp5gmvSl0Ulv5icLbRkHKkc8YCZz171Yby7kMq2aoFS2KxFjHFFp0IYl5WAA3TNndv&#10;GThemOBDbLGgFzGhkmMLQ6erGK4VAWXdPKwyGxlm6Ag7cnjBpcqWm5EXq7bvV/edHcXF/OzLdNbp&#10;I0RFy6RtC1jBGoWOBByBI+zG4YPPOcms+G6uYoY1tooU86NYIS9uhewi34ck8fvGbAyOx4JzVBIY&#10;/JaK0uPtAWYeTvHnS6vM2VUYbrGh52nk5H0FuFmYFroTSOt0DqDW8DJHdSMxEFpGgH3Bt3EDBHqR&#10;zTguV76FSm21KXxdbfh+QyGaBLr7SmLaV7d1SWW2D/Z4myrANk5yu4HuN2R73sxlY1AERuYtlsHD&#10;CW1tkYF5RlThpWyN3oG6VEHuVgKSaeILSOUvPII33XU28skCA/d2grnHpzjJxY1GYs7zSEDzQn9p&#10;yeaCspDDyrOJVUHPHzAHnJ4GDk0erJUnJ7O36/0ylPHJM6yW87IDDi1i3ZGm2cYCNIxJyrORnBAI&#10;JB71o20SKsk80iqs0Ja4udzn+zrXaQkKkHl5vmBA6juMc1mRZGd5i1tHBD5+sNHAqo5UDyLZfmBk&#10;PTOBwQxwQATWFzbtvnIeaCDYw3Kyi8mJGIwoB4AySMnG0/Qii0k+jKUlBLljqrdyzfR20l1PPM8U&#10;LgCaRCzIsFsBmGBQOCzBSOegIznmp7fzGe7ubrZHbSxLf6vFEwzb27SOsFogJwSAUJUZIA54zmA3&#10;8M091czpLJbsWUpCwjkvLrA5O4ElYyQSBwcYx0NPxFD5pSQXgWfZGdoaO7vHQldoJ5WJXdd4GBu+&#10;uSMeWPIjRyTgpTfvafhqNku/OjuDcM7SyTJPeSzKz3AxxDaxHkfNnBXAyQCQSKhurTzGle6miSdV&#10;N1qYQmIWNsCu2GNX6MxByMk4IPeg+b5lws0v26WzuQjzW8m2K+uXU/MSAdyoScY4+8e+asKyzwvd&#10;RNNqNrFMqSS7zPJq17Kx2JlvnIH7xi+TgrnvuofNyqy21+4yqScpq7/rr+ZIVmuJLMhkgk1CUmws&#10;YnGzSrWIBTIz92Kg/MQDxznNRBIkgVLF5GeWN4NItpmKCMYKS3cwx8p7gHj365uyWcOnk2t2zXCA&#10;x3euTx4Fw03ygWkbZI5YKpI/vEfXKMc0pn8qKK1QIG1VrcGIWsOCq2qkjBZhyy+oHIOcppN+93NF&#10;GSioQetv1IlluLZo1t5BIluzC2im5S5kBJEuCemS3ByD6d6mhklhktpLUR3U9tcm5vEaQ3Eet3ZO&#10;UiCkkFE4AXkHLdiCHWDx2/2i5u4mSW7simwlpxp0GAASRjBP908jn8KhWGWSB4bqW3nYC30mLy/L&#10;a2X5i1xI47g7SAec9OAcNPkeuwR5Xaz119P6uOSHUrefULNVt0nuNz61eOqvHZAKXeKOQ/xNtKbD&#10;yThV61QnM8ZgAt1hvLqIfZLeWTzG0+JnYFzjBUkIflb1J7g1qyW9ghlujdSTabExSBjFm41ueNOB&#10;gH7ofruw2GyAazrpod/lNdOt2VP9t3bxjMZzgWkTYzgAAYODngAgCpvzJtPUhvVp/wDD6mewjE9r&#10;LbxecIyINLsW+VJmyR5xPVdzEHLY4INUnhWWK6e9j2MmXvJof3jSzMSI4x2Pf7o6ZPatCFZLe6l8&#10;hFt72eIv94+Xp0OflJJ4yVxw3Zsd+Unt4THHLDKblGkMVlYyFokabo0zLjI6ZyeDtxTlGys1oZrR&#10;Lldn/WnmYiFijR8Pd3S5MmCHsIVyMA9CcDp70lykZtUKo4t7abZZRTRlZGZlGXdSOBkEg981bmt4&#10;oGngmlS3ih+e+vQrS/apAc+WqdMA8DB5/Csybe+yRZn3XXzsjKVNtGOBz27n86d76W1G4yTSjv8A&#10;1/mQwxQ/ZBM8cjIsrCSVB88jkj5DkHIGevXnr3qtLCXLLkkMvm3ckSls4xtQH8hgelTCOd7ZHi+S&#10;KNhHaQ7skyZG+R8cgAZ64/Sm+Y8du8ZjLRh2LyqC0l7I2ensCBUpRcWyUtVpovzK1sJ1SUB9olRp&#10;bgiThIx/D/snI/GoGgumVS0fzSQ71YNkpGp6e5ORjHJyaPLZN5ZsRRAPdckBnbJEYI/kfWpWkmVj&#10;GzGOIASMwcEoD0XbngnjP19qlySV0VzNytLoiDy5QiiGFFlnBihXO5k45bGe9RJABtCHzfKkNsoZ&#10;MeY5Jy+OwA5z7VdCi4fJZoz5ZnlnDALGnKkFeOTjsapxyFEaSFiJMbInaQYZcfPJnoevenZcuu/c&#10;nRpNDZE8vcIzv8uQvPKzEecc8AHp2FJIhlZpFQAKoknIfuP4T3Gd3+eKSJ4jAyyhigX5AuMzPyc4&#10;+ncZqsJfLMwD8xMXxjd5znOQeeR04PpUxTve5U+Vz95a3B0kUFIwGZk33TZ27R1C8H8ahjAZUaZm&#10;QsoMjHJ8pOuFzxzSgs8TCQr5SfN8xJEz/wB0gcjmicOsroSGbaC7KQEUHouPrmneN7ApSvzW6fqO&#10;UsuRG8kZkLbwQSY4hnOfds9frUQWHc0TllMyCNcLuKLyefXPFCyPgo+9HYA3Em4Hao/gAHHbke9N&#10;+d/3zOSPlkl3EAjOdq/yoWqUug00oPs7ImWIGNVeMOxTYkakqEQfMSfTOP0pjRpII0EXkuT/ABtj&#10;y48HJx3P+FLErbTIx2nbuYl9270UjuOtTgGUb5tkeyPzpSvQj+FAex4PFON1oQudqyfXbsijOojY&#10;yRbYvuLCByY14BP45PX1qfyo3UyMULS5MKlSUVeQWJ7c56elTPHE4Z5I5FREE0rhdwxyFUjt1H50&#10;kKsU2uqxxMgk3sQu1AfujjqTx+H1pNNA7fxL/wBf0zImt0wrlSCmY40xuLnHX8O1Zz2oY5AIAKgZ&#10;Gd7cZwK6sxuQ0aRAu6kLhjthUAcn34qtJbAx45O47YkIPCjgt+eaGlchJSfu9DiZrYJvAJJJyXPA&#10;AzjArPZcjJA6nC84AFdjcWbPCdqfLEflO775J5x6etYU9tsZlC4OPmb+6fSpTT2LcLvRamdb3Dwy&#10;hlIVuuAMgk8GvU9C1QzwpAJARb6e28EE9ATuXp8w+vNeUuCrEHIYnknkr07+3NX9Nv3tJVMbFQFI&#10;LA43A5yPp1rRSlHY5Vokz680vVYhpupoBKVu49O1FriVUkaOSB5U3puJH/LRozkEASfLz07WBUea&#10;W6lEEir4qs7t4x5c0UcNxHhg+1Sd7bQT1OF5GCy186aHrSm1DNkF7MRLEjAmMqQ24ZBGOSPx9eK9&#10;isdaePT7sygXM5msb+F5buW3kUnemcLgSEeYeGz0U45zWjUUr316fgdcKvO2mr3/AOAjvbNRdSQW&#10;93FJBGLjU9LjnSQbZElRQkZxHwY2CkDoC3AB3MZJdSXVdLvzEJJF/wCFeR2sbxm7vfMayv1lRVjB&#10;+6Su8kDaxLk9Kx7eS4vJmJnuLBpfHOLi2V9skDSQhSx3MGx85whOBl+pyRqWFjaxabFZXrrLc3mi&#10;avpJj2J5EN1amOWMlQ4LKfMIYE4wxzndwkpNc0t/+Ajqc4pct7dDWkvv7P1pI9RjnutmtWeqS2lx&#10;K91czG6s44rggs4TMq+WGBznP8JBxiwtJBpdraz/AGQp/Y19YFpFjklm+zTC6jRFB3ead4jPRfmX&#10;cy/ep8pRoL24t2CvaaFpN9FcXAgSaV7Z1MkmG+YKx8xD8uew6Ma3Dbxwa7Da3E5lRdfnsXsrQrdw&#10;Kb23a4jDMkewsSygqpzGVcEFl21VRxvaxMYtzSb0W/rb/goyYL7bfXV3HZsmoSXVjqRWXZ5d0rpt&#10;WVySSyyGNRyfmwwAAwar3NpI82oaiyq4N5qNnBuIjhuCIVmD5WP5QXkICnv1ycYqW11dy2M4W3vE&#10;uLnS7FobuK5YfZpLe92MxATJzERnJLZBOV+bPYSmO5ZLW6RbaC08bvaTi5SeS5vXuLdWZcYPygsr&#10;EE8ZAUE0TtO3Lp/w6/4JDjGFR+0ei/r8TnxbyRWbXV1C5tLhtI8WXcgDGQQRTG2myVUsBkuCoPzY&#10;+YqORul7d7yXS4GW6sofFl3ayGJ5WMcF7F5ZmYFSoTCxNknaobAYleMfbFbaWs7T3nmanpeo6J/Z&#10;j20y6fbvDLJ5cYfzA5xiMrlcszxsflHzzeS91bam9vDMRepoF/M8CTb7oyiW3ZAFAG0tG+Y+Rhdx&#10;4zSlflutb/q/+AXdp8nb9Wl/mZcjSyRjT7K5MlxNolzoNzcPPcCLGl3QMSrMyAHcuDvjLKVUKDnO&#10;NaK/Fr4kSK1ea80xrvTDf2cE09rFPcTabCjg5QDCMhXcARlS4LHaKdHYzXV3faTtaeBfEuq2aXYX&#10;yb5Z3iXy8oX5+6pKqOzfNzkU/NQWLsWuVWfRNLurcpY+QLia3KwTEDcSC48wMA23PzEnoXyKME4r&#10;t8xJTcnK1uv5GhqenWht4DZ3epSQXWkXkuoyzreTNAtvKGjtIHOQqYaR1CgMzBgB3qZjcNPbXGnR&#10;xG2ttW0vW7y8tHk3W4aIWrx/OhPIEW4J90onqRUWoeXZalBpksEIsrLxFeRNbxMVZI7yBpLbcyOS&#10;wDhOfmcknBwarW2jagPDr3lk0MC3mlP5VtHcLHqsXkSsqyxw+cWYBhgsVC5IVicVN46SkUpTq6Pb&#10;7tfkdHvvorfSmjtZfMtNR1u3vZzf3M2oX5+ZoCfkAQRpIAVTA3DAySSc5tZcQRzDfJHLpunXcFs8&#10;11At81pceSHIAwqBGwd2C4HsMSRXzmWOyt/NudTuPGIntwXcALd2kO6bLOQSWhRACMbUQggggYby&#10;tfabby2to8MI8MxNd3U8okIkgvhuWIuwYYUIh6kjdnvtq1mlGxbkppK2z6etl+hoxLe39/r5sRHY&#10;ebNewXDo9zLZWxuY5JPIb5U3Z8pGwmeuBkry9rWa20+OKeK5h02TTtF1D7VNE5llU3giBHzn5vmZ&#10;iOMcbhuODLEscutwR3caWViutxyqto0c+ZJIFXjLfNlSWyCT1wAAaig1WM6PqVzc2ccd5BocdvHd&#10;Mlu7OLO6jPzKXxkbWG0EbXYNk4KsuVr3U9t/MyjorU+/+Ro3FtbRNHY3dnFB9i0/XLCO2UT3xs1l&#10;aKe1umjEzE7kBAMhJ2ueCAaxUWK7urafUDdWNlLBpl7LFDBIHMZAiaUgSAIgWN2PB4LZPzDF1LZr&#10;jU/Mt7ODZc+IWuLeOKaK3idbiyRW88uwTg8LnBBjBBGBVG1GpQ2E9rNaTy2974T3XUbQxrDKLXUE&#10;kR5GkbAG6NV2A84I6biUuVcsX8y5KfKpRWn+Y6WT7TLb2Fs1y0MdpqdiHit7pZGQpJJI5LMzlmWP&#10;LMOPmO0YwKvWaPLDEyafJ9muNT0mSO4K3SzWjT20kZ8suVAaQiTLMGwAWIzgmE6hdQJIIf7PuGfx&#10;LdMBJFCZM3NjKwhjlLgLGqyNhm++SgwM8UnezktrKY3Cx26eHLISPYmKSJjHPICxHmDJTzWUNwPk&#10;yeScNJws2r/1cl1EpScerv8Af1RLNqD2dveWqHEP9hXFvLcSSzs+2O8d5ZMhuWHlLw/J2qeBg1uQ&#10;20NzO0Blaxnl8TQLJDLHMsg8223J85JXZvUZGSOeAxBJ5yKC1unFpZpKyXV3qdlHcExKwWS3M8fy&#10;E5YsVjJQ5BZAcDgDUTUILW4kvLaOOOeHVtK1EgywLJDChiilkdeGySTiQqQ20hcdAJX0tohJOUZT&#10;td9PwMx7W7jsj5Nizy3FnJczRPHcN5gtr4GIuQwyNyRDKsGYPg/LWm93eXV1LNKzebdXdzMk6Fwt&#10;qs0CyoIxk4JlDjOcKoAHOMPuGnFt9mSaISXMerfabmVIrXO+JAYWIbCxhUb7x58uPGM7TWeNYlAg&#10;03a9r/ZwaO8aN5C81t9meTzgFKqZFl2DGQrkcksS5Lkk0y6dppyp6Ngl3cWjW1zPCYILqLTLmC7B&#10;mnvY5ArKyRBuruWLtuG1Rs59T7fHHAbT7HI+oJZzWzRrvLAwXEc4klY5JbJjQjAyq4UZ5WtZWD3E&#10;TSXfkXUtlpvk6eHCx/Z5beZRKFAbc2E+Vc4XON3oddbZbR7yWJCIjqEwlm8kiCIXEUnIIk43OVIk&#10;HViAvIBLUYpcq1tr/kTG93K7Wup0FtHE0ttCdRjhltfEdxO0ryx2yol5BucoirklWG0IDuIPKgCu&#10;etknElrd3EjSvLaRva7gDBOIrqVR8+Dy5jdQoHrng8Lpy3VrDbrJHfFLuO1uikJliilQ+bAfMwT+&#10;7WQqcnjKcnIBrSt0WZIooop5LbTNEvPtN1biZtrwzGSUhzzgN5Q3cZDrgVNoLVaFzlUVud6W3+7/&#10;ADNqOxjgnuXn0+Jh/Yt3c2tsSvWNxKHl2sp3MxzsJ6FQwYEipNOHmyztJDFIXZ8rtxvz5c6CIg5A&#10;IDgsFPGNp+VgZrPVb23uzdXUUeoRK8ltJ/aSfa4ZWuLV/LZ1ZSD8hwBnA2bskhdqaVdWtzcXd1DH&#10;BDczrbXcUdtJFJhZFkiZI0ZflVmjzuOTg46cVEH77aiUp8sVF7Rs18/P1O002XT4NRmt0ltWdbsr&#10;CzA/ZLdlYtHEGI+Y/OoJAKkgHuSf68f+DaP9peDS/GXxP/Zl8Raq6ad4/wBETxv4JsZLwx28eraW&#10;NuoRQqD8ss1tJDICDk/ZD3AB/jpgS1sLeNY52N2HWVolkRFjkXdCzALkfwn+HjIO0nr95/sC/tD6&#10;1+zr+0T8Kvi5p891a/8ACIeMrbUNQhscXE9zaqypeQqM/Ms0E0sewnksh45rtwfJ7WWHkrRqLlfz&#10;2fydmc+YXdL2iV5Rd1b8bequf6mTSsv2fcQm9gsuJEzbgY80t+8wFJVIyFzsds89arGUghpEni8t&#10;mmWSeY3MsACBGZUUuMxGRY2U4DhmfLck5fhXxhoXjvwz4V8c+HL03/h/xb4fg8T6RdwRyzrLb3UC&#10;SQOApIBCzbWTGWJJwNhI3wWijKstyhUea4hR5Wfy9owCFy5VRGAScyAkEZGF8idOUXJPdfoXCpzq&#10;Mkt/6/r8iFxtdRKrjy4m+WJXnl+Vd52ARHMkfHlc5YFuCVORC8YYKtvESythd6Qb35EijI/dyZAH&#10;ZZc9TzSXESrCqmGbyx8ixW6CQIRGGUxMUGGTA8tjj5mK8fLgLxQSQ8x793DRvHHHHGRtLAb1LRZY&#10;qVOSJJFOMBduSXu3f9bFtW1RFIhk2gCMxMHaWOcF3tiEMZaVjPgqAjROoB3O27IG7MalpXJIZAI3&#10;cultE8sDI23KMFfMlvkqoxhw/wDEQ1TiYlc/6ZE6Y3GacSSRFSwy0Uch3+WXjWRej7lO44FJIrlV&#10;RreSM7Vk2RSF5bbZgkqAjKzxblKgff3EYO0ZV10LTurNf1/X9IliimZHbcqFj5bLbxqtsoZFx5Ra&#10;PLAbjIvUeYWUnGahKurZH74SMGUPF5MmAc4c+WMbvmcBsYmYrnpiWKAo6xtBAuCfIiRlCwnr8p8s&#10;funIRgSMiXA5G3DpbcmBCjuTuZZH80IrbztfcAAA7ZJOBgSHPTORrqyYTSdmYN7E6I6rJNvMiyec&#10;0h2p8rqrTgMo2MSVkC/xENgZOPL/ABBoyXEEyPHcv5RZXtvtoku/LjDDy9zylTLbnaVJI3KxBwCM&#10;exXhCrHIbiJcuI900waEMWEZ8yPK7vM3eWRkgSsny9TXMalaFUkZnaJzHvkdnBmhED5SQEMxeW3D&#10;YOQVkD5PBNeTiqN7nvYDE8un9f1/XmfD/jTwugjmdbeAmIjPlyE28wOdkgYIOJRtchhlXfGeDXgF&#10;3D9kulwoC7yfNkYx+WAAOBjnGcYz/wAtARmvvXxvoRmhnWaKNVijkit4o4ysal5Ed4kl2EtDKvmS&#10;qTjbLkDkvn5N8R+HyjyTTB1cgyCWSFo1kjORllKBgwdSrKR1jJ+vkThySdj6mhVjKCfqc/pl2ECm&#10;bCN54VnaRtuFCDg5wDjAwOSB7AntorpgUgeQSLvGAW27/mGSOf7zbSByC3pmvM7FIFcDz5o9sO/b&#10;zmMrlQG9SNoye4OcDkV3Fvcl9zOXxJlWXGGHBCjOeoBYHngY9sbU3HZGMotOTkdvY3uySQhEdPNa&#10;5jZZT5kYDYTfyPlOSrKcElQdoVhXrGgatGWt1jtI5YWuwttFGRsEdxt32pL7sEuu6Jifl2ggDnHi&#10;MEkiIJLUBZjJ5E25BKuVMYGQeB1+Yf7YPue50V5J4VYLdgznyViQ7HdYtrjHLN5gByrgchhxxk9F&#10;OT5tHqjlqxai0tUfUOm3bO6OigwzRl/tFuxtZHiikMUF4iGIET2oUQSqTlk55AArsba6xtdpbWzK&#10;3H2h5/tIuLOykmIUPgSgtb3QLFM42sc+mPDdA1tluokivTZlJldLwIssYknXy0nMbryHYRJKMBiM&#10;HstetWF2duy3aFYhObGO0nug6Wk5BAspWDMr21wCTC5G5GdeDwq+vh5trc8HGUFB6f19/wDX5PrY&#10;zDCFldkiEYKSqBIZc2/y4O1CWaPdsVQf3iuTzhcbkc5LKUMY3jIJik2kbedr4w5J285GVGfeuatr&#10;qG58p8XOERxb7oXa8jKMVdWRoOJbc5CZJLxs7HcNxras2KGCPy4/NiiZmW2j2wKT8ysuVAwQWCHP&#10;GZFJJ3GuyE7M8OtBvfc1RhW2ADPzYw4BTPOGGfcAdhxUjRK6fcXBbeEZflUkk5x9efqetV4X2KgI&#10;ZCkhDbshOhdipIPy8kAHgAdiKsbg2N20MItxUkFVGQTg8Drj8q6U1JHC1KLuZd0uGYE5ADJgEE8Y&#10;PQn0Y5z2Hvg8Rr8Ae2lyE3ZbccuN6rhdzNnjGFHYsDkD5Sa9GkjXjYSgCkrGmAMcc8Hr19uT9Ryu&#10;pW5ILBXYKA2FORhAxII6ZHI7ZDY7AHycbR91o93LK6VSJ8ueIrVVBkkJOyQxSSNt8/ETsgHQhnQ4&#10;wR99MdB08unQGRY96hioiZkOyKQuQCASBmNmyQcD5ucA8D2/xTZhDdySq38LOwj82bKsx3INpO5e&#10;R8uNyN2DNXit4hjuN+CZE5SIMqAryyKPkBKHc5XgEO5z1OfK0SPq0k4qRSjiclmjUkAHLjDtEFZz&#10;5JyTh4zhxuHI25zznptNJeUomJJPJ88OpGCJI8JgDoGBUnnIbIIBrmmkLrJKhkZQ4Ktvz80RHXBw&#10;Hi+Q5BzjggEYrY05/MnDPuIWQOXjAKoDgq5+QgBgVPH3Wxhs7Sc0nKTaYrLRd9T6a+Ed44TULNcT&#10;M8sWoCASFJIQXMUr545HBZT15x1xXughUBkWSQKAQrvI8kylmOTliScnG3PA2gDI4r5d+FN2E8VG&#10;FpFtTe6XcLC5RRuKSRNtGf4s5LZznYMjoR9SoQ27Cu+GxsJ2SKBlcAHHy8Egk88kdq+kwMlLDpLo&#10;fGZ1BQxl11Vxu94w8k7IqgvvZWcIiKSUOM8HaVyB1JPpUrHA3ouSQQA5KZ6EcHpx2pqhiIz8uGUb&#10;3WQkr3AAIOc9PXp6U/aGKuoB+c7mYjIBGCB6ZIXge9dh5BSnEmWwkO05iIM7KxDFPlGMAFyMAk5B&#10;6Z3cPKlRl5xgneTCuxGJXBPO75STu6jDKMk55kYNuGzcEicYCgKG4wRt4yCCeSQAcdRmomXGxpE3&#10;SBmjjlLKflYA8k5IBZUU7erKp47AEEjrGHWR/OVtwYOzSowAEZdwCRt5VWXbwSWPGTVeXAKxusSq&#10;0gVUMrRyPsUPs3EAl1KlkOCGRGB65q3cAxIWbCLH96Vn8xlQIPnIOeBjY4xk53ZGBUIAhcYjk2Ai&#10;IQxFYWYBgFVRhMbCvycnKBuDkUnszSOxEzGIvtMaKY/NkZIiBGzH/XgbRuDYzKueAo9TlhZo2cos&#10;dwDiGOGZy4iMgB8uWT5/kY+WytyV3gdOA4tIBkFo9xVjLEokiZmcbbgAf8s5M/vFzlc54Hz00B5J&#10;GLRweZJH5LAsGWbO9jDIfm+RgxdGGCu7GPvKcDZfCSecI4XaS4SNRvInLgOAvJLgnHmRgNvyCWEf&#10;PcCeGAL8pZYxDINsbqHCE4HBIBOQzYbJ5mcH7tQwFgqOZpipQO7y/u5ZFBfaxG4EOmAJAVywGMHG&#10;KdbqFJ/drGsb+SiqAUjU42xodgyhBVh8x+dtvQAVrB6WM5dlsPbyXjkjuIYyvlrHJblw46nZtTdj&#10;axB2EgEFT6YFWJbi2tja3Nx5kqtuhvztWW4UfdcgbRujCqXUcMqnjkrVx5gArQ8bohKVkO1drugE&#10;exmXDOAyqT91s59DVSf99NbSSSbgi3FriQOzqHP3UXH+qKhSqk7h1yTgy3aTaKjFuNuhNkuSGRS/&#10;m7FgZ96XAOSgyVIIZQJFP8LEgnhsyk7CQBEAJJGO1SkKAuzF2yQOfmD4yQ7ZxjNV8MUxHG2YmMSC&#10;NFUKwxnbuVgBwkqYyMqAT2MqyOxZC0jqh8ySaTEcHcZ3AqCCqsCozhjkjgEpTd7sOTqMcq11G2WT&#10;y0JjkB3eRvIDK5AK7S0TBgSTuIPHBFdhPHPmMQyRmdo5Hkm2SzKCMsQI1w6YKgFiDGmcnPy2btpS&#10;gUiAYUyKZ2CxShGO6KQfNxsLZY/dZQeegiljke5DeVJGxiSWQDGM4ZCVlHIkX5erYKMRjrRLqOG6&#10;Y8NC0pbck0iEMIvNacQZDOCAC2MguVbCkqQvYCnHd5cgEAi2E+VGMFH+bC8DaeeBgkZ+Yd+YwwuI&#10;1BlDuY/NkktyrbsgtG6qd2AxDSKM5B2jkZqZAECxqJQXKtuPyMA2fvcqRk8eu7nGalamtkvUiTPn&#10;bSI5AgA85JHMo2neox83DBmIZmH3iMc5L03BwoFusa+WzQo7SbOWzgnAC4+6AowUPrwMZHjC7uH3&#10;IJ0xucZzypDAA4IbPQqMYzgCCVDh5JSTErN50irhhsyeABzwMAABlJxhuX5hZWTJCZCgX5AxYeYX&#10;6YGdxHPoCAeuGBzxUh3bjIAMbAqcnB3MMseemMds8HrTNsqbhEV2qRH+8UyseQATlxwBuz36+nIN&#10;7DOBuDEKzEfMMk8gE8AHnnnHagFYUKqngbmC8MRhncEnjOBjjPtj3OYVXIBjG9ih2u05QNkBgB8u&#10;CBkfNjOAud1TqxztO1nDMQhOWwTtyc8+o7ClDFzkADjLMGO0YPQHBHvn0A4xSC7uRDy9nlgbCwHS&#10;bBAJ5YHOT2weuAvcYCiMEqQrKd5IUTOVHGOD6dBjjGTxngpuAyM4wu5C775MAAE4K4GcHPOep+jm&#10;Uh1ZAEZnYtjYuRg8Nx6kd+uO2cvUFfcqiOMDIEaShAm5wXZdvO4DOcZ5688c0qh1kLMFBOBGMFSo&#10;zg5O85IBLZ4zuGRkVJ99GHy/PhQoIB4GODkHGcY9cfkxhI6H90koJ3p5kmEkI2lGJAbCkkt0O3aK&#10;lPmmja99/wCthBgZGAFjOxVMWxI9yjbsOMEgfkXIPXFU55EMbHzCWkl8hRHn724qwPsGBBbsB35q&#10;6wbG7JUE+YFHKtu3E8HGCM5aqspcFshiNoAAkGXwMkDB4xgD3z09c9zenZNW3OV1SFpIpEd3CICw&#10;3llJYun8IPGcoq/7w46V8w/EfTzJFcwhBFlD525CTEpdl45HAI28e3vn6svUCrJkAhlV23HzFOGD&#10;lcgDIyB0xwvNfP3jmzkaCXDEK25dwfksCpJ25H+z3P3SSMnnjqxSu0e7h7ygj8e/jpYJbzXSqIph&#10;82ZNobJ2glRuHXnrzjb1BxX5Z/Fixh/0qQJukBcYIL7wx3AkHgYwP/1V+yHxy0y3uILzAf8A0Z3l&#10;80MVjJbAB6ZJz8ueRl/YV+TXxZ0/ddTp5wdGlDLKZNqxsT1645DSYYdsjPIB5Zq12dkXNbdj8t/i&#10;Xp5Y3CsXil85dirGGKg44ZeMgg4HY5B5r4P8ZWkkcsqEBGjXBMYwASSjAMT759/Sv0b+JkEEUk83&#10;2ouxczOmWZMZyAx9unByMfSvg3x9brHMrGRWM0hAjBKhS7YwSenUc+/oKxpqT9GVKMUtG76Hy3q9&#10;uttJzMrOhB2RnOFB4II4HIHB/wAKxL9gbRvLAA2chJSr5HykgDsQMnPTkZORXYa5HblJPlkMrt5S&#10;sB+8HbCkHGOn5muKZkYNGq8AFeZMlj3IOMcZ6fnWlPSfK3dr/hzmnFRi5x62/r7j5c8WWD2+ozMz&#10;Kxd2cgdVye+f88fSvPZ28tCVPRSF3DcuOxI9gD+Zr2X4jwpFeI8afLNg7mbG7hQGUjtwT+NeQzRx&#10;gOqo5IJXPHIHJC9T3I49OlfQUpOUIyfU+bxMFaSe6NPQ723/ANGgnjeaGRmmSHflJMFWLSj0JGPw&#10;FetWYa0W5eG9tXjliP27VZI94hRhgxWsbKF3gHggZXqORmvFNHaOJJJZXCbZdjSu3lyyJn/VJx0Y&#10;lQfoOD0r1XT5YNSt44JYmubpZha6RpEdwEs7bLYEs7HtlkJGOdpyygHPTG0rKS0RjCanBr7Ttvt/&#10;X+Zv2s+nJEj3DjSdJG6V72dTJ4g1FFAjWGNRwTIzMONo+XlgOK1I3XMBbT4XS5cLpfhyImGdhjCt&#10;dsArA7QGbp1PTtUgeHTYbi6trSzvNTN2L/VvEetbXsLAuMww20P3SEJDbjkllO0DnNRr+a6tywa6&#10;VLuZjfa6kbSalqbSsQkEBAwEKljgYwCSxwVFbNOMm5axsJJP3eu9/wAjoEdYp4UQWmpXSxlpAXCa&#10;ZoMfl7nkL8ruBDgDjAwSc4BfCLhDc3tpqRs9MEgtLzWbjeup3QCkGK0GAfu/KFOAAOcA4rNjht0E&#10;el3FtdxruUWmhW6kz6pKVV2mvHwGVVGBxnIU8AEsNCX7S11DLMttLeWUfnnIKaVogxujCoAVZxuU&#10;n17gnilCSk1FaBK1+aXR9O9/6/4cz4o11O5isrWzWNmhEOm6ekgtUQBiWnun6H5fMznbkk8gA1Zt&#10;LW6e5mePULYXVnGEe9uf3VhZAFg8MRJ65Y4CtkdsnmpNAjsHtrya9muLWOCPzoLsxGS88Q3PmLiN&#10;X4CJtDPn5/mjC4AYERTzToscV1Zpc3crC7trB41mS33NuM1xnBBJY/KeSSM46FJTTtt+pUpNJwUd&#10;dvx/r9StdXECK0tnfyGBHVJVLZvdXkYAna4AITIwTkAYHvWzHcxX6WMBjilvJZRJBo9gh+wWIWNy&#10;ZLqUffYEAkEnGT0Ga55bN4I79riONkaXyp9UlwUtXJbIgCnBIAI+XPC9eSTsWjR3kUdjaW8+naep&#10;8xoS/k6prYBUOZG/gQ4GFHAzzuPNC9/d/wDDBFT1svl00tf+t/QnnnWP7VH9oFzqdsdk85RjZ6XG&#10;E3ssBxsyMsPlx/DgnJKvdpL21VIoS1wimextclWuiVy00wIweMnr78Cqlpa5drLUoogI3EOneH7Q&#10;uxgZQBJLdTZOcbix5ByvOMYqOW+kRBJLdhoRMBdXiKollAbJjgQYG3nAx1GM8E1opKXv9NCYShDV&#10;xd/6/wAzX0qGEW86faigkLrdSSlnAYNtMUIxnI5HHTBrct7f7cshigDi0lD2NpJh1s9uP30ueCT0&#10;AA6oc8debhu5DdpcJDE0xhJt7MsFjtVDKfMcd9+SQM8Hk8cN0On3kdtHcKGeO3uSBfTyvh9QmYHZ&#10;FEDgkDLfXjrxkXJJ3e3+X+Q4zqK7td/1/wAAy3ji1S6kN2rTIt6Jpvmy2rTgrsB5LFVCrj19Kp30&#10;FxFJcW2Yf7Sjcg3Mb7LXRrfafkU5HzsMjB7t0JNdBJbS2qyriC0v7hPtcbvNmTSY0EgaV8Dh+mFI&#10;ySQOSQKwb5reS2l1FrZvszEx2MRUxzalID5ayMCMlRjO09lPPG6n7vwx8v6+4bcHaP8AV/P5/wCR&#10;xk2nyQzW8YWe5hncrZ2ZJD3PALzO3XDPxxnmPjGKsqyQtcRMY0uQn/Ey1a2B324dd3kQAd9jDkDj&#10;7oyOTZieQ+Z5dw7XKqLe8u0l221jAcs0cZzj5jIOnXfjHJqys7QMzWsAWdsnSdPnU7UQKALifsM8&#10;HHBP0BNJwnKTt0/4BilHkaX9f0rGVb3FqqSWflXEGnXBZ7eyKM13eMWAiDNnO373U4+YcDmtS8N3&#10;EySboLe4tonjAYKtnpERABUc8yEk4PJyOST1fa28kguJ4LlXucM2reI7hfOSE4UC2tQwxkA9s8g4&#10;2jmsCWVmgcTLOIPPCW0G4GXUGBx5rvn5U/izznaQOTU2lFlzuopT66/l/X/AMvUY0cebA7yoqEu7&#10;gjziWYu+OM5O7P6d6yZZYJUETNjy4+iqFkfAYHBPqffHFXNRBnkWMTl+AztG+YgVwAinONoAAJrK&#10;YRR+UC8bEylj5jDe4U8Z9cZ+hweOazs4u6d31MGptb6XQqwQRRyec5Z3bKgnO1en3eoyTz9OapQm&#10;WRdqSOBsKuNvJ7Zz369ucfStb/RjulRASmNiOMPI3Tp27cfjVeWOSJIzM4Rzw6IdqFeME49cnnPr&#10;RCTuk9bmi5naV1r/AMN+JSeXDEBycdypYnjrmirKww7R8p6Z5dQRn2oroSVlaH9aHM467fifLi+a&#10;8mUT5VJeQM2VY/wjgcdT+VLcSyBgHkjYZEkyxhSM/wB3PB+Xj8qZ5Uz52OwCybdueZGIyPm6YH+N&#10;RTRrGPLlZXKMdzqMZkI7MODXBboF1az3vcWV4FiKgEyMgadnUFTzwqkc/mPxqg0iPECoOVJ87dzI&#10;cdF7DjJ4p7BQq7VDNG+SDgOzcnH6GmliC7AjGQ8gz1PPGPX6UNa6Cu9IrsRSSNhVOTuAOSoB+YYA&#10;+v8ASqbZG3a3yE5YEZ57D8Ku/I7hHIWIru+Ynr1AH8hVIgDgCQhZMEnluo/z+FK7eoXSaZE2FGRh&#10;lJCv7k9yPxP502QhXBBJUDO7+uPakkAXzMKGw2C3VWPFRNgtkkY2A4P8P196WrdmNKDbiDEgqF43&#10;ZJzzgZOB/OmsANuwlSFOQQOO1AYlQCCGK43HOCM469KlRMvt/h744K4+tCspW7CvzS1Wv9f5AoMn&#10;ygMSB1C8Px/P/CrMSZG3qc8c4Gfr7dahVsNmNiGJIPJAHUAVahLbucIufLcjrg0JWbsxxcORSa2L&#10;Ckl8HK4Q7QBnj1/+v7VrRq0cKEqrmQBi5OCiDjHsT3rOTyQFcnfIx3KqZAGPujPp6g1qR27yA7WX&#10;cwBmZlyATkgD2AH6UPuwp25kt+v5bmhJgxAqiBXTDRkfNEikfkSQOfetqJWZI5I3VJnhKIob5YEG&#10;N7l+uSD39Kx1dY0UpMZZAAJZFXKysSMIo6ccE/StMFo7WYeasSgIt6yHJILYK7eoLcDj3qmk3cad&#10;01I0ndYY4IrSOPyFURDy13SXD5YmRgR0Pr7CpRbxIhRrqSZVmXDKCv2mXacKG4IwDyM/hUUELTq1&#10;yynYqrCZDL+6gU5CKGHILAHjr/SczO0dosUSIpk+z2G+LdJEjZWSZ0AweCfmHPpVWd/mEbt+9t/w&#10;DYiMy/a/PkEn7pBfXZfZJDEoKLbgE4IPyjjnA9jhq3ckc10rqIDIoWZ4z+7tIP7sbgEg4AAJPfir&#10;gitl2Kcm2jmaWyDAzCeb5VZlUsSOAow2QcY6DiAywGPUUZ/MtoJw13OkasL6Y7SUcHnAzj0PNJxf&#10;M0joahbme1+n+RbintGisriSxjEBnFtp2nxxeRLebSZd87bQrjcAzOc53ehxUikSm5bAknjeQ3X2&#10;eQO2qTSABY4/lO5RggrySCfYU545o9kl46rd3EUcqNHIlxHYRspY/OM7GK/LsbB6jqasLdW00scl&#10;taeVcrF5OmrbwLbWokUYN1Lx8hJy+VABOAMAEVo4psiTSSg9r7gdHurW3uW1AhYGRZ9RuLeIiJJy&#10;pKWUcgGVfs0fsQem2o4VnDtESsck0Qe/nCmNNNhwWEG7aSHbao2jg8DvRDdyb2t3+03JsCY4TE6y&#10;xT3JYkzSLtIfa207lyfmxnDEF7vZmKJJLdbySOR5pZm3yfbZjtHl7AMFRhlyMEbj14AXN73ZGcU0&#10;7vSSt+BMvnuYI1tRaPIMaeLiLZHaRsw866mKJkEgjB5PTg8VZjuiuoW9tb30UyQXC22nzowhje4f&#10;YjXUh4KCPLfO3XZg5ySJVaa4lmW/X7BHHG02rTQqrvYw5DLbwoSAxOAPL65xz1rMuLifM/2eBEM8&#10;Iaed4VWS2tVGEA55Ljr65OM55HytJMvlvJpXvpuaqPbW0ZX97qE8qvbaZCZRsd/9W90yBvkGd5Ge&#10;oUepFZxeO3QRnfIYARa2cWQ08pGWnkfBGxS2MDnkYxg1JazC2TzbeKW1nezaW7V4SIba1XBweeQe&#10;MkDOcY56tKSrHEyx4Mzbo/NZleGBdxO4EbQSSfmByQOi9KUktE+iKlKUuZLZ9vkaUqn7BFPIqSWs&#10;ANtpSCJDcahOzkPK68AqoEpDncDtAxzmsZYJ5fLe2SSTfOLHT2ZyFdyFa4nbJPAUnk9AOv3s3tPm&#10;muUVtKkaWa7D6fYWZdEWztlDtK5LkKm4MxOSM/N6HL3sLU21vtdo5ZBulZgZFtrRBw7PkkF22gHP&#10;TcMc1VnbXUTbqw5Y9PxQ2CKCJGMs7CSZmXT2mw8UUZx5szqRgbsEAjk7TVyRbWIQXlqvkJcRSR6Z&#10;Ft84pCGdXu2OSSzsnUjHBxgAA1FtUY3bbjK8tujs+X3W1vGWWKJQCMF2wTxxnr1qa7sbmMr9pEYl&#10;eCO5vFWQSR2cDKnkQBRkBpACxBOSTzjmk01qa1Jc0Ypbf0ytbJctKY9LjitYmtn2JLKsItoIhumn&#10;kLYXcwVsdyeg6VcS3NzFaJaBrGNLhzaDzd6WkYQGe8mYYB9FK8845qhIsZ+1Xd7byM5hj+1qP3ey&#10;FSvlQR7SPmfKjJBII9zWlZZhv3XV4obaRRDc3wkgaRbC0VQVUIuVLvkKN3qTnJzSgnfV7f8ADmSc&#10;o+8lo/y1NGVdHFsrafeXslrby50+O+tDDe+I7+QHdJ5QLlERgCSSR8qgAlmIx4mt4lkiF6txDDKJ&#10;hFPCQdXucMQuShBVGG7IPPPHStOeOYNLc3Hl2st4jS2NjG7sNItmZmLFegJTJPIycnPJFVbK00pm&#10;F1M00qvEfsVikpM0kZAUOzFsjcQxyAT047hpNXbW5ShyxU5vT+rWMy0DQ+bFtDsJEutSknlVRey4&#10;3LCFwAwO1gSPmGO3AqqkLm9niunSzL4mu5/m8uzj/iiA4+YhuMfMMY69NjURY3BS6it7i1MbtDp+&#10;nRBikshJxP8AN94ICeSSQAuSeaxpI8XcCSSLcQtJ5jRPuVr6bcF349AeM+3vRG0W7ahGPIrLZ+ex&#10;Zu7yCWeSZIDDd3KBdGtiPKi0+BMt5sgAwzN94Hg5Tcc5Bqlb2kKiO+vMXVjas5sIkUpLq0+4IkmA&#10;Msu47vXHHBq19kvvPuh9pgdFs2uNavgwMcEK5bah7dMFl9KhU3MX2aeKeJJ7iJmSz80C30y3jX5H&#10;bsTsTOR0xk4qIx6jtUc1Z/8ADL/gFCZYWW6t7iUiGKUHUZbYu1xqMp+YQKCMMI8Y55z6jpDLsb7Z&#10;KFmtL3zz5sDRiAWcBHPl8Fg5HVTgY781pwNbW6Rz2yrM0cvl2FtcASpeSAbftMyHAKE8g9emeOsM&#10;unSLbXjS3FtNZ28xe+1GMiae9mU8QQPghlJ5wSMc9wBVud48z7/8EyaSd2/Lt9xzm6a5SHeks1qr&#10;stlZAM7TgEEMV9cgcj1NPm8sLLDhAVUyXdzGqybpGUFIA+OikEYHQ5zmrF0J7dVKh4tQklaNST5c&#10;drEQCAMdGx6+1LLA5Fu9vbq0C7lt04V53TPmSso4I+Ukd+lKSvq9luUlZWvr09HuYarmN4hKI52X&#10;cwUACBDg/eHfkcHnioPOnCrDEFkWPC2yk5KqBlnYkfLyev41bSQXKzIItpVvNmwmXumzkAcYIz6+&#10;ntUccLMWiZYot2XuLgEhSD0jB/DB7Uo2i9Qnbm5YdXuUYstau5j88tJhYI1AMsnZsdwB7UsTp9nE&#10;c0BJjwwbazSXLk5YZz0AH61LGZobiVNscUrN5kkvmB3tI8thgBxkjpzxxxmqr3EiGOVWCxsrwwMy&#10;l3KZwz9cDOMYqJJNuS62J5pxtfRrQiCRxoYZEzbrJ5tzPlmeQ4OxAc5HQDP/AOunhxKjW07xJukD&#10;tMYwxjUDATIOCCAOMd6T7XG5EUFugZgsUCtIX5GRv3dPf/8AVSIqoRsiSZwwMryEss8jZChR0OMZ&#10;yKJpvUIqPJda2/MrzIzSW7JGf9VujTYFjgBGAcHoeKqxxiInGRj5Iiq5ALHBZh+P4VqXTNGfLaYT&#10;TGMPO6vmGMA4VAvH6+tUWBcOX8tSwLlQCEgTGSfqf60JLl+QpuTnZddSuySR+SfMDRhyYtoA3uQS&#10;Tn0HPGKhZIRtSFmZV4dlG+N3z7jjAxVzYHjBX92zpkbiSsMfoOevOTUaujeXEqCPeu2ArwQOCXZv&#10;XggfjSbbirEwSi7vYrEEAHyizK3zsBgyv0A54IHX8aif90CSxaSNsuiqCzsQcAHPRcipXCgKsKyZ&#10;z5cSlcnp87n8ec+1RMxdE/dqFkGIwASynByWP4fpTfNypr+tgjFKVmh6RC4MESFAzAGSR8KGJ4wS&#10;eg5JqxHC0LMpkS4O/wDeGEh1lYcDbjqOlQKyiFfLUgqmFAHB4+Zs4zkDPSrMBSIxBFKyNGWiUgAk&#10;HJLFP0/Cmviu0WnyQ93+tRWUDfCJXZsjO1fklfOAuOvH8xVyNf8AR2jfYwEowCud8hzjj0BOTjpk&#10;9aZbxwTGXapWSNxGA24EAnJfOcABsjmpYI9soKIhxmOLzVZVAGSZccYz2I9aTaTsgnFqEeXuNhty&#10;GZFnJKMxupARtJP/ACyTp1xU89q6bwikykjzY925baPoqZ/vHOTj1p8IdLeMGFlfeSgOM3ErD5SD&#10;0IXrxU6NIWciQMFmUOQCY55jg7c+xxn6U7JSbT0HTqRVm11M27srjcZPLEckqBUgb5fs8ZwAxHTO&#10;K5q5s9y7vKY44jTHMzc/MfbpxXZusrSSW8qnzjiS+uGbPmkklUC+hPHH9KludOYyRhAwuJrYSbYg&#10;WW0j2qTg9M4xweevFDimhU1rZ9vx0PIrm2eMnneM/vMcYyB7e9ZpU5woX5Tg5PfvXouoaaMCaOIr&#10;C7tHAhBLTFWILk/Uf07VxdzZvGTkgqBhnHIyecfpSi3szKdKN00tzT0nW5rR2AI3SIVPyj/vr2r2&#10;3Sdca7t5UuGlkkh0qGNSmJw+0ghSSR0HTg+hyOK+cSvlt8wBI+bPf0rrtD1doxLHKS26EqF3Y4By&#10;OT/nitacl1HZ0qvOt/8Ahj6+tJo7uKcWxiW6n8TWmoQGSCMxQeYxklVXLthpDlcsCz4GMbiDv6dA&#10;9resLWXZJZ+KL3T5RPIqGP7REQQcKUAIRMgNxtHLcZ8O0LUZ/JlC3ARYUgu2JkCyTGNl+7gH+FmO&#10;D1Cn8fY7S+sxFNbPdbVk8cicB7mRhdpNB5kYwABtTy8HBAUS9zmtm03p/WxcJOa5WdDbT2Q0u82S&#10;kzRfDO+tjdJOILZpre5lYuW+zl5CY5G8ttylSVIIwKY03nXL3l1DOYxqWi38q27zREmSOK3kdTI4&#10;YZypLY5Ygr74umPJC9nZNaRXZv7HVrW989CygBi5VjvB+YAHnoOuBnOtLNB5F9qM0E0k+peENL1y&#10;xV44I57mSzuViZg5kOMopmOTyyKAcnLZw1s9zaTSleW7/wCArL+vMmisZbmDTLSQRW7wSal4aX7R&#10;F9lghlt/9ITzQJB87ExBEyWO0ZOBis83kYju5LqBme4s7PUUt5oPOlluLRmt3kIL7SzIpByCo9Dy&#10;Ks3t9GNR1DUbqNZLW18T22oXFnbXUUkqHUUeaR45GBKrINiFgGLFBnGFqOfTIpYrKK13Nq1rb6rY&#10;PGiLJiW3lLhMkbc7lkIC8DzjzuHGc1PRv/hv6uOUYOPI93Zv09fkjRntrNtRij1MNCmn+LGuI4Yb&#10;dN6293EGaQSE4ZmDxk4HOxscHmHSZ4J9A1RtQe1iePwtFp9sTBDBcN9h1SGZ3jxnBEZZeOF3EHOM&#10;nPZ9OtVmvbmZLjVprjR9YNsmxAoKx24JcKWHHLDg5XO3g7b+xBLbWN9fW0Dwalq+mzW0Mtx51pHc&#10;28jpIoWMRlA+QMsM7gPm3MRo00lF/wBbWZUJ8rtPdf8ABZsbkivbaMpbRS6R4ztL4pb3kEZjS/s4&#10;mmBlITaN8LIXbnkZwDk8zJv2xWolt3Zhq2mzvcRwS2bi1drjER+59xHGANoXvgkiWfVREpvLh7qa&#10;aPT7K4kvfNj3yPFOIiEBXcNqLwSNwwuACKvw21rCY7IM1hdL43ayur9rtZLK1t9RtSGjkRk2O7Kw&#10;2gA5BYsSv3XJ29zp/wAMElNaXTiv+HK0t3bWklzfXTrqKvqmmeILVy1paySWwyJvOiSPaoYsDvb7&#10;xRgAdvFj+2XnttNtY3tEtrSx1PTljuYraGOBXaO6jS0ZF4RizlYwcuXOeTk4Fzc376bbwQSzXr3X&#10;h+S0NvFcoJ5zaXZAllKx5DKvOxfuq4KspI29bPZu2ozObtrnVT4jktYw8dxPPCs9khmBZkwrKxVh&#10;K3GWAHzEFUpcrfVC0Uby309L6WMu1CQW+iRLGYL2RtL1mUzeQU+0F3VHmLJkAhgVViACMbThWa1c&#10;texEwNaWrT6kmrafOlra2sMMZWYzSmO3VMIPmVgpwQCx45FV3FxJb30X210uLfwxbTagYNTm8hmt&#10;bopcPJ8oyVDSKDwWx2ANXpTqEWvXunS3bardxeJnleU7rNJ/tVs7ySlsFlSVtuUyQNrfe5BWj96W&#10;jev4oSdoXgrrS/8AXzNi5lhuvCv2Z5Io9SstXsNTs5YdUxNIr+XFDtgWIgPuaYs7OuNqgKeduQlp&#10;eSXcemtbxNfrc6hpX2WHybid3WaScRGAKA7ZUSbXyBtB6EYZp1wF00y3seopZ3OkOt6wvJbbzZLe&#10;+LzOrogZBsESLwxOMheRW3c+c+uahqOlandpBH4hU2t1bTS2Wq3EN9YhJ7dGVcAkbkJ43BcZbIBt&#10;Rs+ZO6/XY2ip8vs7K9+/z/yMRdSiuJ9QnjuLNHln0m+S8kuYY4S0kbJsgIXeSFZgygHlRgkAkZ2p&#10;QiaC5t12XET2Wr2TJCLdZbmOCVGQpCylcbps5IOSMtkk5fC8NpbaV50UqztpummNYbu4mL/Zrpop&#10;GkdlHGxIlAQ4GwngACteSTyzcS+WY7SbU7+0EiPLDBCksEcphEhVlfDvyF3AFT8zDaahtzhrsRGP&#10;LKUJOzX+X9feFrHpF1cTtc3DsPtekmO1OoxP50k1skUowYydxOwBOvUZOCaoSi3urG6s7TS5Gu49&#10;Jm867tbpfs1tFZXUMkjOgjYr8twvPQcjGW5dDcy6rBGs17fwafJPpE92Hu5kt7nyXxKoYqvmMi+W&#10;AucZYcp0FhUtZZbqxhnnWwg1rWLFEEF6skyhUlVuQBtfydpkYHAXgYIKrl5bN7/5f8MSmptQm7Nv&#10;7zTsbiy8P3nnQXKyWdlrTWdy0RWKRPttjhAu6PIYtHK3y8gdSM/NzUc7y6fpDR6kbqT+x1n1mEqk&#10;l9GLa8KDefKxkloirKcfLxtO01XgO0PHLI1ysk1hJZPcCUKdgAMJXkkqG2Et12ZyNxWta2gvFGot&#10;cBJZorTU9LXzHuvs1qIZPODBRj7/AJGxWbI3MMDk5pJPWP8AX9XKi5qsord9Ohp2klmuqzpBqX29&#10;rrV75JhaSbBM80CzD940ZGEcvyMgNG2e1VrJYYUuDeXIuHk0e31GS/F5N5DrHIOsmwqsQO47kXc6&#10;nHy/K1aTTHTLuG3gthLc6hLY3kPkQzRzTxz2026P5dx/fb4SgAI3HdkEVmWi619lW1uILq0kbStQ&#10;0qKUxXMshVNwYIMHdsWXJKAsSdw7EnK4rXff8rinJJ86fu7aabW/4BatpTIw0wXdjIo1LUtPlnJV&#10;YJUey3bUQwoQN0uQW3OWiJb0pukXlhJdQm6jjMR1GzvXtZjBBI6qPs4kZdnCqzMTwRg/d7m/fs9p&#10;dXUunWhuRbX+nahJcWsM0qwJLa7GiVySOpViRkKR2rl1trqynSKO0uXF34c33Rlt5N9q8N4ro+4j&#10;dJlJWO5QMlQAMYJOZKpbpYztyvmi7l4S3WnWt7Nc3FrGkthd2bTF4VvZ4ra/ARZMEYTBLADHykdc&#10;5q/dokolub42sElxqE1rtimit5mjmtVZf3ZKqxYtKu2MEgAk+1yK1juXhE13K1ml5e6LchUZNzTQ&#10;bo2ijIG1N4T96CMBic96TT5xJ9nvLwT3O2GxvZU3SxpPbiT7DIIxtLn5sqMZZg3I4NZaxT+Zq023&#10;JbXt6XOgtWsbzTVlW3mD2tlpeqzy38SBGeK4mgnXYkh3lgY2IHCDgbiTuoINrXLxTPH9mZzJLBJN&#10;Au8XRmkX5uQI/tAGF4yuABhiM6NZ2/tENqKRWVjpt7bXPnwpDbRxWt5FKYzKyKGd2ETAHgbTg8YG&#10;491pF1dXURvA9vJqiSTx6cyZ3z2akhAcEfOIwxchjtfjlWPQuSMlb5+pac0uWT66ddjZ+23Okyza&#10;dbzw3Fot7KwdbdVnl/ehiVcgSgMCV2+hYE8nHSeHNQOmatJdBnige/WaGCR1BjXIJ5OSB8gJGenQ&#10;cCvOrJ2mi3OJYhFC98xUlZZh9m2lRubaEBiBUDJ+ZvvEha3NOvhNbm+gtEd47zz4ZmjYtbeWsDfM&#10;G45Uscc4IbPBwcZtQkpR9fxNLpOVR9Vt+X/AP9L7/giV+0VP+0B+wf4JtNRubC41/wCDV+3wrvUs&#10;2VL02tpb21xpk0qfNtla3uYwrNkSNG2R1NfrW48tYgwlMf8ArEENrGyo6KoCRgx8YY5j3clgQSRg&#10;V/BV/wAG/wB+2FP8Gf2p9N8BeItZ1GHwV8Z9Mj8D6npUbLJp51RZS2jXLA4Css0s0PmKVz9qG44X&#10;j+9+RXQyI4UkOziSScgiMKp3Bdw4HCnlcON/vW2YU7zjiY/DNX/7e+0vv1+Z5WGk6blQlvH8U9vn&#10;0+RnlLSFCkcKubUkC3hhQgFWd49gYBQN6FYyMBXBAJ5qKKSOJ9q7Y7cbjMQ0MFugC5lnVBISIw4E&#10;UiED52ZsdSb0rgtKqvGI3IQxiTbLE2QrMCkmQNzKnHKSfPz1quzLw7GSIQTGdXeU74dm5HYoJcuF&#10;+WNx3YhgDwT5bVm7Hapcy1G7mWEr51xCEXEcjuss0Gx/4iZW3NAqnec/vFcZ3YNNMJ2tOINksShG&#10;tYkRvsxXaf3P7g7zGA7xE8MZGBAyNthdkaEE3MbrAE4kmvZYfKyVyBuDOokUgnJlBGcgCkEax+Zb&#10;K0iBMRAxxNcTRfIzhAzRn5V5dJCTlzt6/KY1W5afb+v6/qxAtuFRkFrBHJvEPkgE20W8LmNSsK5i&#10;fDOGOQJWI9lWcrOkbwW0TyNmdTc7rNGyJAu9sZ3qQFYEHa7ocZAxHEGeQyM8QUEKQUWOFt3VMlAS&#10;j7s99swI5xirnngh2OEV/MLIXz5eD5bFiHIHlkbJAobLtu4wavmlJ2QnFJpMYxKI7ReW53uSXmJL&#10;NGNg3vnHO0Ix7Mc84rDuZosBoLy0URF3852+0zWjQgoXZfP+ZotyxyjB3bhniuidd7hNzvuJ2sku&#10;YUC+YjCQGTLbdyo4GcsytgEZWnK6oYzNLKnkjcsslyY4gIyy5ZfNBOzcgc4+Ysp5wMYTgpKzOijU&#10;jF/1/X9bHm2q6WZhNAHiMZhNp5Qt0bbH8rPb7mD48plSeBw2Szlcnnd81eL9Eumg1Bltj5tsRcyz&#10;28G2BhJnbcqhRcRsZFR1HKuSDzgV9fz26OgIDiOOJla13tc3MYhYMVxvYtJblndCuQwYKOi15b4j&#10;0Jb2SJ8G62zeTFdy2b20aSTIZfKkXYD9nuMbuWGHbCsDsI8XEUrO59NgcTGS5G/6/r/h+h8A6rpq&#10;2l0rxvMFMhGEUbogpJcAnrtJJAGMhgeRjM1hdRBkaYTqI2ErR72iVAAeoDZIALZzwQecbcn0nxd4&#10;bS3E1zD9qiaZ/liuHjkNuFIjdGAdcyIRnZtG9HDDAxXk8yzWssRZgiphFKSfNgY3AEnbnJPTqp5P&#10;WuKHuSs13PanHnje56HDcsI0VWkVMG4x94QEqhLsu7B5RVPYqq8cVr2Ug22+53HkgmVXblCNuGVw&#10;330APIx8uD1rk7K9SWJGkUxusoD7MSDDqGHU54zkdQy5+bitwMgDKSQ20lHxud2yMpycHGXPAxgH&#10;v06FJ3TZyNKN+Y9X0fVrSBfP8iAXq3OPJVTcQySOhdsqEKCCUFQAG4bICgBSfefD2rW11HFFaxzT&#10;bLQ2sMIEkE+p2SusssAcsi/abEyKUbnK5xtD5X5Ms5tk4jPmFpQcRxqJDEA26QA5OflDFT/s+5r3&#10;DwhrEcgvY0muGZSPNa0V11C3XdtF/HtWOLzbdsBweGDkYxuA78NUamefjKUZUlJts99tLhZRC4mU&#10;yPGLhdQWCFpZFwIoNQQFmOUUrBPkA4Y5wq87cMAeLa1lFE6lIfI2rEtiVI3RxMsOcRjMsDjJLORl&#10;eK5Syv5JGmRpo7K4tZlEvmCNobCeTZ5NzFhyDaXisVcDO1s8qwJratpEBC/ZQqOv2aGBUP2i0aA7&#10;5bMlISA8AJkt8N85ztIGGr1Iq6Vtz5ytTV2/6/r+vXeileQkyx2Hn7I2kW2uBO+HkkVXwYR12tty&#10;P9ZvXpydmORgBhSFCKzmFR9nyxy2043HBU9BnL/llQyMQoLqFeQOJhKduG4jkKgodrg4IH3ZjkA/&#10;eF21mMmXZZFfcY4xJKNpOQMECRsFDtiY4B3q3GGGemnLTU82rG/QuocQjMZDBMCFCpUkLu2IeB3x&#10;z/dNZN5CjoUG0KrbWUdEOAccdMZXjGcfiDsxlVAVeo/d5BPO3r3JGOetVpNk6FlZXIPlkqwcIVOG&#10;HHfOQfoe4pYiHNBtCw1R0qh4H4u0tyHeKN5pbgqqhbJJJncqUVlYrkSLgKpBHGR2r5912xUTSAgE&#10;FDC74Ty3+/goB0DBQEbqrcjAxX1f4ls12guspJZlCRsI3Y53KVbbkMoXaDnHXPJBX5w8RQoLoYQz&#10;H7VjEUTATq5AGzhSVOw7c9GZs45x840lLlZ9xQaq04Svsec4iCrFLNtWSMu5S4VnZB+681Ywclo/&#10;MVTjON3YHFadoipKUnWKUBchGj8wk/LIwGFyVddjpg43PxwRWdcF7ZVSIvLsYSqzA7S5bCsy7lyM&#10;bgyju2eM08bXO2CGbylh2rBtMrAKWO0Ng5wRvUggt0xgmp1TWhvJczVmeneE7xNP8RaNfbVQrqEK&#10;kvbtGdszCNiw4wVU7WGBjeRX2zGQyM4LqV+V1ZiACVBwARz0GD7nHXn8/wCzuZIhFMqACJxPI0bL&#10;FhgSvml8ABfmXep6sRyCTn7q0y4N9pthdN9nkiljhlhcFn6rtJPX58ttAJOOpJr2MtmnFwPm8/hd&#10;wqdtDY3DdhXAXd5MijYPIYgFR9TlRj/aWgHyhtBkdQqIN20uxJKnOe5OCSfWoy+5WjZJAZCYt+Au&#10;3gAnIPHPH14HGCVPmE71DtuXMny7CCdmMKzDHDMSD/d9evqHzRJNhdpxl2YLHkBmJII6ZGQBkkZz&#10;hTiqCNC/yRushizbzhnE8kKo2CrHDljnarBiMjLZBGTfdWZPlbyyy4Z8kNGMHBAPBx6Hg5J5xgwq&#10;d5LlDhVBVXPnE8FeApbjBAY45z7UAVAd0YceesLyIyyMhMg3YX94JGzxgqwx0YHgjKwKH3hSLiIy&#10;QtHEgZYZOGJaNSkYAMSA+Ud3zBnz0LDSMyrxuVAoZi7Mw2BQ2TzjO0gDpyCp9KqgIfkTLgJ5TmMv&#10;wAAxQSKo5XKhGzk5buCSFRZXmRpFbd5PyqS0ksS+WGyokO3DbYpRuWTPKDt1IYsIRhEgdowDFGkx&#10;5UAgrFIxY/MGIeNsfdOMdzZ3PmYjaHiRdj+WFRt7K+8Y3MI3Pyvk5UR5xjBqE7RGqrBNL5SFBE8g&#10;whUhxDsB++oUMj7eigBuQTlJXehtGTWjGMGRGVJSxRgTcedhmEZw0u1SAxQjEiYG78hVrG7kFy7s&#10;pDR26zBVRQ4jEhQDb1ZWY4DsRnjaKrFBF8k+GkYSidWjt3Rgfmn2HAyu4eaDxkcryRU8USKzYQxk&#10;SGM28uNuC+7B4O7cd7oxJ5ZhxyKUbXCWu5KVicCCSRZQYzmIMIp+SAoYZGCSQQflw2MY4xE6JMwX&#10;zXDyKs9rOsGDA2w7mTPPzYwyejnP3qlmA7K8wYOGSK48g7iHXaTvGN54G0fKyk55JFeS082NI/Pf&#10;zkniuYrph5m+VVG1nCBVIdQVZQVHoBuFOV09UJWtqyeVlCMxhyzR4ZY4mYsEUsU4UsOMsijqSRjN&#10;QwyuxKiXI3giT7N5EchbD71yfmSQSBMjOHJ5yABZVzKpLpNbjDKUZwJF5IDEjOOBlcN/EQQCKUKU&#10;J+YCJ+iZwY+CGTt8nQDPKsTzjgDh2BT0syvNGbi2UB1jKXKSlZ3VfM2MCI2IZuTkRsWzyCQDxlol&#10;JgjeGWW4ihLRuvl+XeRnK4BUjcWj5yuASp6E8G1vWQ7MZ87JI8zEkWBhm+8SCpKqQP4mzxzigssE&#10;8bpLvgeUrcBoX3yExyBGOMZ3IVHmHb0YDPoNWWpUW7KwQ3EG1fJlilQlDC0ZDxMH6MpG/wDdNgAY&#10;+7t9ORKXZV2xwOXDZQLBsU5yASSy8kHYe+WB6DiiJEJMc0lqjk+W9oGZ4omfdIxyCcpJt3ISoIIx&#10;1O0TJLACXV5VwxeSWSJ4QuAyl3G1M8qFcL0O3OOojm113OlxTjcsFg2HQBlw+7ztuxMEggsFYn5g&#10;EbkfKmcnuSHBD+a0X7xUXMhA4YBgVLAfMW2H3KnORwwFWdX8mZZNn7sTHzNhBdT0DY67Sw4KnvUp&#10;WbcwCQJkEpkF5XJG1dwBXtkZJ/iHPGS1qTZKzJPMiRVDMiNjeHlZcjawJY4ODguoOO7HnmmpJHJH&#10;mNkmUkK7Bg245JUEZ7A56/xZxzTo2cIxj2SkMWQxsQJ+CFyS359TxzSEg5l3KuN6IHcbQuQoPXOD&#10;t9jzg0nf5CS1JDIu8EtnaAA2cqpA3MDj6Z574ppAHmJglRtgGMttGMMTgccEevSmuoc7gYnHUsyb&#10;SFOMtnrnOfwXtzT2ZW2/NwxBJJ2h+Q38iCab8xW2sNIYY3x4LMzAKxKudwYBjs6EDt06cio2KuxI&#10;STeJF3GWHahKnBI6dMZz9MU75QWkePbuG3a4BYgdFC4HQsOvUsexBpGx90Oisc5By23BYg4HI6Ej&#10;PUJjjHDitbsuKsNYMCSWV3XKgJw3LbQDz68DjueRzUTeWpDNGhAIAYRb3UnCkqAp+YkBcA8qM9sG&#10;YnK7zk7CSu3LMMYAIUE5JBJH+9UbbQ2dzbVJXbnBdhhVAc4Oc/KCT1Y88ZEu8duv/ANI67itGr5B&#10;D4ztyAo8zOMdO3GD6qCCD3ZIq7AWcqEChmAIVjnk45OO+e2BTtu3eGYOrqxZJGIReTuxwTg8KRng&#10;LnHXKPgHccNsAIXbtkHOeR6E8/RfxqJ767lxbvYw7qJWjKspCiP5FjG0qcbQBjtj6815B4vtRKsj&#10;gOpYbzIW5ypBU4xjoepzwc9sD2efY0YHBVch/lBA3IDwCc5Ix07Pzg9OA8TwGS3lJiBGSFIyFTIY&#10;MOpyeF59zXJUS69T2cK7qzPy3+OuixxrcqkcR2xtu2oVOGXle2eg6njNfj/8WtNiSXUHMYVllJD7&#10;tvmfKAQSvX5SgPJ6Y4xX7q/GvRoXtLtzGgba8IJHJLA5APbqORkcDnpX47/GbS1gmvZmBEO/O2Vg&#10;NpCgbgB0A29eg9OlcbfN+7R6tFWs4+f4n5L/ABO04brkJCjRyRE+aRkzbjtyRjgHPT0z06V8G/EC&#10;ySSGaWeeJzA3lnjEynDsMDhhyW7A/Me2c/o18TrYqZpJopNsMLYLnO7JwgOB1O4k5468kkV8AfEC&#10;ILczbrbEfnPOVckHgAc8f7RI2knHXHG7Nzd9VY05YPmlVey/X9T4t8RSLCjxKr/u3YoCAGADZbdx&#10;zjJGfUAdq82mKvPkKygMxYMApY4IGcEjJwSMdhXrfjCKJ5p2CpHErlnG0vuGPUDgZDHGOgzXk73C&#10;FngiUoZXIZdwycAnJPfqOD3NVTe+mpyzcoN2V1pb1VtTzD4gaZ9qhM0Sqxt3ySygHDqpBOPTAPtz&#10;Xz3LJIqLnaoywBUFupIHue2a+nvFXlNZXVueHMRGA5G/IAJY+2OnPQfh8130McTOdrMqspC9gQe3&#10;J79PYj8Pawkm6dpbXPncxbVSLT1tr2Mi3DmSMbvLeMllkkA2REHqfp716doKSSae9zNn+zxdeS0q&#10;J/peoOp4EYxkKc/N0HTvgV5XJcKhwoYlWCNkYDnOBkdxXfeHZJ3VjAftF55IdXf5bTTgmSxx3HzH&#10;J7Z9a71eK5Xtp92hwqF2nLZLVdv6Z2yyyG5WK7tY7mOyWK7OhlXiUhwH2yspByAyLnO7aw5Xgjod&#10;IS6/tnybPVrMXRiIW+SGM6foqkEymMj5QUUNyB8pU4JPTlFvLOSJ4bD/AEaN8Ne67Mhk1K/fjIiB&#10;7swz8vJIGSOavXtrEtpY6eLO5sg4H9m6DbL5uoaljGbqWQDeRwhC4xkDaBuZjcHyJ82xUJ+7yx2v&#10;p/Xp/wAE6uNtOe8RdP1K/t9N3tBrPiGSJje6wF2s8FtHnnIPAYnO8klQeEujCL+C4m0q4js3fzdH&#10;0GCTM1wW+WI3UoCkl8qS33sZwFBUhdPiuJLm006PT5NU8QSLFZ6VolruNtow+Us8gUMWlZgG2eqn&#10;J6AXo9RLRTQQz3CW8MwTWtcwE1K6d9x8m0OCEAwVG0FmwTwBgSlytRe5taOrb66evd2KUYnkvblJ&#10;buwu9TgU+bdEAaD4cAIzHEdoRiucDblQQNueCKa+ZA1z5xnisJZs3NwzD+0tWIyQEA5CZAGMkc5J&#10;yFxry2qW1zDYLozXEQzcafo9t+8uJAMuLm8l4YgCMs24gDkDrVX7WbiRLj7XFLqtqADqJjCQWCM4&#10;VY4FCjLEkgADOE65ORrfls+j/M5m7Jpq7baT+aKd2Z7a5hgkWGW9MMc8GkQKXhsQ4VR58m7G8Abz&#10;7kdOlZYuLm2huL21d3mJETa1I6tEQwXaIV9cLjOSCCMe+sZja2csl0PMtWuNpjhVX1jXHIG5iGwA&#10;ARxyB8o6fMBUW3kS/imMlvcahFEjxacQRptgCCNshHVlJG7jHr0rKLbaaWn9I0fvwV35P+u/9Mmm&#10;v5rywkhuoo7FArbZo3CaprDfL8pHYc4C5OASeTwNO2sl8uICCCeayTaj5H2bT4xuk3MehYF2Jbtn&#10;HIArGWJJYprjz2FyRIdT1y4QFI2JG0WqsCMttJH19BmtiHMUMFm9pdYuohPaWEb75JQ5BElx3G7k&#10;7PTBB5FbKTdLz/4YXsoKHLrf9NP6+RNbPp6zyeVPLLaE/wCkM6hLrUnDZSKOPhggZVz6Y5OeBry2&#10;sSSLMT/pKlltrbygbLTo/lDSs2SQ/wA20DtnrniucCmyuLi5t7pPP2C2m1NQi29iHiTcluF+8wzt&#10;OM8ufTNWJrm2MExleay04SwyRw3TbtX1c53FVGDjJDEjkBeuTgsk1FKX3r7hJ39yD0fXrvr+R0Ns&#10;0V/CZNkzQ+cI3muS2+9deSi9gu58kL0J45JzRuYHtpbk3EpmlcNvaJQ8NggJ+VWGV3Y7DjAHXNVL&#10;Odre6ud5aa5x8gK7bfTMfJksCORhhznGQcDg1euoJZGK28rvako62kihTfT4wWZ8BivTjJwDjuSa&#10;UYzlJx7bFTXtIqDWrf8AX4nN3cNolzpax2lwlohHlWarmW8bd80kzdedgAzwAOgyc5d1d757mWf7&#10;THCZRFqt/CgRjsUBLaIZxjl8jPfvXU3cMB8+T7aGmUg3sqDbDABtHkx8/eJ3DaP8a5Vrp7hUgBjl&#10;ijZja20ibYYQM5mlz948nk+wNLkknd2M3KKkx3mQwW1ujLPFE07PZ6R1Dt/yyklYjnO4dOeucZqW&#10;8aeeG786eMMYVl1S/VV8m1Q7mWCI8YfAJIXB5xnHWW1uIla5iluYVLqw1LV5V3rKoLM6wJxxtBQD&#10;PzZzkdKeDbNFuaCVbSRWm0ywSJw18wO0zzjOMAbsYAAKAc903JpJdzS6Tunuuv8AX/B76HnE6zW4&#10;V5LcwxLGBBEzgMFBbDkAA/MMkdfvCi6S1lMS2qyl2G1kOSFOBnDHt8v+cVsauY0IEZF1lsy3L7mZ&#10;mIBKLjgquNoxxgcdqz8OmYoVjXcTtY4XHJPXP19eo9KnmldX3MZR5nyw279CutvHbyKArf3wSSUP&#10;KnOe2CenvTY4I2VpZm4kJQ7jk4YkKA3bJyf5VJMojkijNwGESBGdW+UMcHkdCOMfj2qIzMFkaZ4x&#10;GjbY/k4bncSBnPIAHt6npTU9bJa9QXMlJyt/TRdETRgJugO0dWj3M3fJPv1orNYRA/M0mcA8SkDB&#10;GR29KKvnQfV3L3mvxPldmMLiIFmIYrvDkFiOpIxzxTJAmNoC7YgcKMsHYg8nvn37VMz/AGgsY4WW&#10;SRCoYIDEoAOWA6jv+VQZkKKqEMWI8sKuOn32/pXBFu3vEVYw5pOC/rQhdBtAUkxRMABu3bm/n171&#10;GQN7sXIVW3AZJ3seo+o47dqau5VOOFY8HgOTzu/n1puE3MSzgkEIrHrjq3v0P5UNW1RF3J2fl+di&#10;vJ8qKrEs68LtYAknFQEvyjsCBypJ4Bx/n8asMo/dsoBXHBZeRjHX/GqjhFZ2OcYxnpgZGad76GUv&#10;db7ETh2BJxnqqkfexzSjgZY7QRkAnbnPSkOQHYHjdkAr1HTH/wBeomJd0DYbOD67TUpavuSrrQRi&#10;GIzjLH7oPzAHml3AE8HO/JJIPamgIWBIGD9zHX6U5wScbRgtwxGQMdzT05rMu0k2/wCuhMB9w4G4&#10;rnpjnB7fUVZhtmmjllVd6RlXYlwACTge+M/zqvGo8wFmAAyW2rk4GTgfWrism2URkgHpvABODz/P&#10;FHTXQbaja+qLEMZzGFYiQkIGB3bQRyf1HNait+7Kh2WOE+WArffLZ3Nn88f1rMEiuCrooAjAYqCp&#10;zz8vtnNaEQCgiRGZWVSVUAiLHQfjgZ+tUld2RCune5qrJH5aQwoNmAkLyZVSSeZCAPrW6rJ5Nqrb&#10;miL+WsbofNdxzux3UZJ6+1YhCJHGssbkiMO+1gSilgQqjHU81opuO0ICkpUqBniBMA4KngEjA4/O&#10;mtCk3zXvb+kdLbxwLo+qzGJzHFcx75TARFdFhIEUc4DAg9Oo3elQ2N9ADH9rtn80qGlnQqs9uhGQ&#10;keeCTwMVWjMkVvHJHnDMBBak74Y9owZDk4PfjHrzxUkFrlEkKRTOzqsKPHzdycOWZc5CgenpTd0+&#10;/wDwxaso2UrNL/gk1xc3Jmmk2+U8o+QSDy1tIufnIx1PJ3DqTWpZ39xbKJYXtywjMOl20khDuxGf&#10;PJ6EBvX0I6VXJFuJlmL3Fq7Ca4nUbWlkIwkaE87VPBXoec9BU17GrnEwkSdrVRqEpi2pYQkAhETO&#10;7JB/h9RjkmpTbjypXZUVFxtJ63+ZYF1CkE6CSF7R/m1S5jjeEXspJ/dkb/mAI3bhgEnPqCiyvI7G&#10;C2t7KRSWurlrlne1gbG1FUNtJwGxt5571JY2qKsI8wLcMwWw091zAFO3dKXJwAF+b5j2wOtSxSLD&#10;IC4Nzbw3PmJaIxWO+n/vPzlQMkDHbOMZJq7pzulpuOMXNWe6/qwFYxcQTQwW0UrjydNALBrKNcLL&#10;ckseGZ2GN3GTwTgVZAjhWE2xsvKjP2eylePYZ5DnzLkgHKsvbsdtUMzXBnmvZZ0RvkvJDOgiuGjY&#10;BYduckKccjoQOmMVZSQrFMPNjSRrbE6q+YdMts7yg+b5i25xt4I3HJJOAmr6ji1zWn8+9i9cRA25&#10;F3fpc2UNwZZmD8a1dkSKqk5ztGD+86feBHINTn7RPa3hubmOASSrc6nAJdktx8qPHbqASVwQDz1y&#10;ueQMRHyzNa3FhbukyssejwRDMVsirg3Mm5ypyyhihPqM96bHaQG3t5FupHke5b7Mot1dL2cn53Ay&#10;chWO35h2HU7sPSztuEG1Ud5dL/5IXzrqe3nguI3MUUKSX832os0+WURwRocgEFBkA4PHfrYm+1mH&#10;y7vzFS6thcXZWUMLWBQSsI6YJAyVGOe3pHHctHbRxARyW9vOdm22UNezthSS+Nzxr94enrzTrnUk&#10;PlxyvJcRxK3msi48+YkiOJQDyFzjNDVo3e7E3GMUrWZPALZbX7JHcQWlzqEYuLozW5j/ALJtkBMa&#10;bxuy0gUMGA/iGevNJ5YVcfbCrQsgu7homLPHHGuIrdUOcljtyM59M8g13uYYo5LS6jmk2Mtxf+TJ&#10;5lzdShQEhVyCeARlP4SvQdK05ZrVVgEVsmYJDcSSzkOWuW/1cfmAgFEVcjA4+brgGnHm05TVOPJy&#10;rR6f8H7xiS+UzSNM3lxRCbUlaZFLFtwhgQZycD0HVsEVdiljS28iW5XyZp4b3VJ7tGe1ubo7vs0W&#10;5RnZEN+VUk/xAcDGY0UMMsvlRNePG4iR9mIru5Zcu3JLYj35P8xSusW2CO3STeJFijhZmiWW5x+8&#10;uDgfMo3EAjHT8TLlJxSZnaTlywe//ANSXOnySQXF5a39tFdRz3cqO4a5nkVSkag4JVN3TplSO2BX&#10;a0t4gsgv4b+xWRrnUmhlYfvAzNFakyAEks2WGCOTj7vK+VHa26XGng4h/wBEtZZZFnN9cuv72YI2&#10;SqIW29CAQpBz0bPPZjeIbF2jsz/q3jMkeq3B3lZCh4OzkZB+Udsk5pRcti+Z00qc1p3+VzQu5pDD&#10;Ebi5TU768g/tLVolkAs7GIsDHbiTgsTwWQY24Uc8kVYBcX9teQW0FvbvIxvdSl3AmytlCtFb/e4+&#10;YAgnJwehpkEWnwLBaPCssNon2vW7x5Gil1G7ZMxQKucKFZggPAIDE89YpQ3+kRPK0KiU3+qRxSFA&#10;hUgLbL1VWG7kY6jpxgTK7n7woylOHuvW/wCBvWH9jaXYnUNdgGs6vfQvBp+lwTGCPR7fDZu5ZNrZ&#10;duSiJ1wWZhkLXOaiLZra1v8ATrU25ybXRrc3JD28Cnf5rEgtuyZAoGcnvxihmlEVuki/vph9ouyq&#10;JttLZAgWMccbsZ2nPUehFP1FZLmJRBGqyX0BMMSqNljaoxO+PB+7tRssOmGq3FNOaKinCooSd730&#10;6b2Gx3emS2VpiC4gsrQbfI8wq2tXJYjbkkCPgLk/MCE6cgrRVpIrG7t44keWa4afXr75JooQzReX&#10;BGCflK42nb1JbnGRTUluJ47OSRY0hCrZaZaNGfOlyNrTKM5cZGSfVgKeGtyrfvYk07TAZ33HbJq0&#10;64xHEADuALAEE8DPfAMSXNK+39X2IjUb5fL/AIFx0NvJchI7eIxalckJCZoQlvptoq7TLIBkqSA3&#10;7xSBwSRziq1veosqsS8tskRgs7E8C5lZQrXDLjB5+YY6YA9qtNc6fHC9pIy/br2Nbu/v45yJbaAp&#10;+7tkBGMNwxUjvgHHFNZ7TmWKxSW8nEdnotoEBi09CBmYk8q5AJBPy/MxPQUSjy6b3FFqdovVp/qZ&#10;lxamNDYm786FZTc385O13kbJ8pJTkHoRj8frWmN1KsRZYbedI/LgiQ+WtvF1JkXnBbue/XGMUiwr&#10;J57iTFpaOzu1xOiG8mGDjZ1PflfeqsoSa4CSuYrq4YSXUrSArbQYAjQHBH3cAemB0o3V0OStJNLX&#10;p8kQNO8IMsUaRSY+zrHAcNc9E3FMZJGAfl6kD3pocFf3TPL5IAMO9Ge6nwQdpGAQCenWq0cR89Cz&#10;sLhwTagkeXDASRndjIOMfhzU8F7bwzSvbBWmUG3sVCHaWY/PKwxgHHfg+9Gm3UzctI3XX+v68iik&#10;ZeQ/a3CBmMl657seBH17YAx0yDVaS3cRsEwGmUtJGxBaCMYCjrhc4zViRbaKRXDNLHbscv8A6xrm&#10;bGWPPUAkj/gNV5btx56yCOSVl827lCGMqRyqjHoccVKta62LvZ2tpYrR2tyqv5UYV5VyvIxFGo5I&#10;PfOevtUjySjyHRljjUlLcI+12ccM5AHHbnip7F55BcwSuf3yF5ZdjOViXHynBwo6gc9ulQTRojSP&#10;FKqxsqhA6ZdQcncB0xT6XJi204w6knkIEjERc2wjVnMi5uJ5OrKCOoyD+FVMRNFJG0uAC004XO2T&#10;kBVU/kD9KnadTHDPCY0jgxHGiLhrhyNrPyfU5zxwKYGhiDpIEKrmQlcYlckfKR16jqOKbV3dBFrm&#10;V15IofZ43CwSIYm/100rPiNx1VFJ6HGKEEsTxI6MrsN5YqGCRA5I+p9asnIgZpShSCTdLhsu7v0X&#10;HcDjpVWEzvG0iscuu+YtyEUEjg9s8DFK66hFKL730/EZNtyUjiyZkMgJ+TyUGcn8eaqpHIzGQ7IY&#10;pCq7G4WNcYHvzU1xG+4qgy7nMrnnyxzwQetQSRlgB5pUqwdiFDBVwNoHvUq6VkQ2+a9/6/4YklSa&#10;GRc5WORCE5DBIznJUjrmp2ieaSFl2oSgUKGACKDgZGc4Pr6ms9na4C73KopwoJOAB0GKtNn92AWP&#10;AEkzjBwDlVB/PinpLVjjKcU2l/VzTG+ASFsEuFEkY+YRqGyA3PcnOaIjJLI8ShI/MUKkZY4SMEDO&#10;73x09veo/LcwSyXAZY+HYBeuCdqe3SnxsQ5d1KoYh56AhQw52qSOvO2kl77ZUnZNb/8ABNKK5uJy&#10;kcMaLKFdY9wPlQIPlDFTjHHQ+tPtWhCxKoErSSGK2D5KKckPIwB5xjg+tNW1jBkiklcXMhUTMHyI&#10;Ysf6vOMY4HHtUtlbSXE6QRwBtxVplkO3yIlJ4Cjnc2ONvXNWnJ6Ex2XRFwMFhhkVEktopf3YkTfJ&#10;dS7tofg7tuTnHT3p0kRTCxPuG4fbZInwJSw3GPHthgSDjimXEksTkLFHbTJF+7iYEfZo0J5LdCSP&#10;XnirtoL2X7Oyxo0E25rKFEClGC/NITyRyeQeKcZK1n0Ze8tHr+KIZLBp28iKJhdSgmCFE3x20AyS&#10;xOeM8474GSK4XVNMgVBMkNwIjlLVXwXuGAwzDpkZ/pXqiLutlmmlUwxv5c2yH99qcwyPLjG7OAQO&#10;Rxj17515p99LLKjWga8W1wYif3Okwqu4qe24dT3HOalwdh2nKXur/hzwO6s3hyHBBJyR6Hk4/CqI&#10;LLg4GQAFxwOO/wCNel6rpO7HkwSPCznYpOZp2AG447DI/SuCvbV4nb73ynaxIPHXA/Ws1q9QqUml&#10;zWvsv6+Z3HhrXtsV4kxIJt40h2ttdWVxz7nr05/KvaNFu4bpLlpXkiZNTtZomiRI3gdkkUEfMAAS&#10;Bxg4KgDHOflOB2hkVkfad2PwBr1Tw/rytHcRNI3mSNCSxUMFMZADZJx3PXPWuiEk0421OeMnB7H0&#10;xCxj+y2lvITczeJ7jTz++it57qOaNd2OWOXySARwG571dtLq2vRpVhdbwF8P3ejMshhNvcTRPLJb&#10;tkKcqokOQdwwNvO0Y5HTtRMTvKtysb2GvW14CsixMCV2ZTALD7y8ggnaTzXY2WnOj6Sttdxtc3mv&#10;3OnwjeyT2Kygm2kfaFA3ZDdCgGO54Tuldbf1/mdEJxkve6bfidFI0N1puqSwwSzf2homj6xGiXjx&#10;eQkcpikjlUR8shWNNmQBvDEkdbdxHeWd/EVn2vB4oFswVZlED3NuzEPjGWkMbdOfm/iOa5W2uJZL&#10;cW7PcTeZo1xDDEkLzm9jjlDMuzzk2Kr7GO3DEID6CunuzFbR6nKXjme4j0zWNOiMCC3d1jdGVG3A&#10;nbvdd7HG2SqUXqtzpnKEovTXRX+5f8E5iGGzuLS0k3T290dIvYLtHSaTyZrK4aVDlcsu75jjhj5Z&#10;zgY3dMbWSS9bUr/T5xcP400meYXl3cWtxAL2C4jCzEYKR+YY3yGGOeT/AAtfS7i11m/ie1gNs3iH&#10;UNIFwsST2MrX1u5EodJGzhpRjOCxkO0cZNNrS4GgxXxhmaa+0kWdxbgbZreTTpgUnk2ONiyKVWOP&#10;OSEYkjB2qHK/67akSsotP732/q5dXTbT7LHZNaTte3lvrOlzzLBd2pubiCV5Ylh34+UHYDIdzHyy&#10;yjaSoj1Ccz6jc6g11qGo3a3Gk38VtaLPEIXWJEdxlR8qBXIJJO7cMrjNS6S149zbeZJFqFhfeInE&#10;93csUurVJbbznii3y79zsp27QcANt24ArnLk2s2hWBV0WI+HrfUsiKCS6uGtb4+ZGx3ZVAhuNrse&#10;4xk7GDsm+Vq402qKn1/M3YbaWG0sbY6eQ62OtaOL+SykCLOrPIQkhlDZVCFwqZfzFKkbTvpMj2Mc&#10;l7CYnmktdL8VQ2VxYti9kU/Z3YzMxBIKsSApClcc8EyLcNb6ul7CGmt7XVpjbYEU+xbmyeMMoHRS&#10;CQw5bJXnA4bOtpNYaOiQlrqPwafss4jto3cw3zyFXZ3O0BRKyptIYqBmko20jLT/AD1M3UbjySVo&#10;u35k0ej3Fpbrcp5lrdXeo6ppP2bynNtZGKM3SBF3HduBm2diFI7Ve1OaNEuZLCC0lRrTSdVvb2Gz&#10;eaY3ELpAQCz5yfPjU5G1cE9OQ9Ly0udXz5vlxXGuw3hRY4RJfG5gQyPGCSFba4+Yd0OBgjPNKt4l&#10;jMoTTobS/svLtVSK1LsLG8jRso5IV0MzgnJ+UYydoALOL1/rQc53SUdV1+/+kdBqUg0+S8F9HdxW&#10;7zapaPBl71I5pooZoJVQuoAyzHII7DgZoiS6hn026mubC2Sz1LS9REjA3KvDLCgLyP5pVdoTbhl4&#10;aXsQwpLq3skv7lpEuDK+ux2zI89sYkgu7EMj7lzmTzVYYVVzjAxwKpzxEQzNPII4l8NWggKrBL9t&#10;FpdeSjqDkuBsYYXK4wehOKgklaG/9aFQaqO11rsWNXNteWyW1tjbJp2qWlukq/ZZpo4ibtSpWTcp&#10;bBVV27yQMYxhj7U013aaVLcXEtpFq8NxcWjxSxxuLyzVpJFi6BQ8TIXyp4j2g9KtadaWralaWt3F&#10;b2cK+Krq1vfsVvFBFFJJblt7nPO/yiBzk9gBkLk3V4tvp9mLOCd7q80izkE00Ec10j2dy8DO7K2F&#10;LoqMcDCljxkms+fTX+v6RdoSvKbu4/8AA/4P3F9Lq2sPD7p9ivmku/Ch06MyJ/x7HTrmSbEagllG&#10;GU7Vwxxknn5ugsd11d2UU9ha2k1z4qtYltypaaQXVrsLB1fyxGOC3rub5uMHkbuGeGa2SG5tllzq&#10;cZNv5Em8tC1yU80udy+X/CoCkFs54xfv4zpp03WYTDJCLDS9ctDavBvjeQmI/NkMMsCxLfcEg+Vj&#10;964SV1zLyMmp8y5Za9PvsLZ5kXUoZLa3tkXRZoBcyxx3KwSWF2yMVV25lIcFSqnb8pOcDEkZtIJb&#10;5JxLK82oMLNE2PAI72JSSn7wO3zZ+eQDuAOcqt7FHa21rb3NtaQebd6nZnzfsdmo8zZMhcljsB2j&#10;Kj5iVHrmqA2zW66rDCk7x2mk3uo6hAbZnt2luUjnUqkYUFmZVjjQAqzBeQ2KhxfNZ7bCVZxfMlfd&#10;/Pa5Pb28LWUmpx3Un20abFNcRRl3uLeSO5AQGQsT8md3HRSSQDnEitZwalOZJ9WhBu7uK3gS0e7R&#10;zJAuzEzygBXbq3JI+6DtOK8sYj020hlkkXUrldRtLuwuRFHcNHE4ljeWMMGUKDFhD1I59rT6vJeQ&#10;yau08A1B7rTvL3W8MwgiaIxyIqkOvVkY5IJ2kYbPDUW7xb7/AIm8HpF9n+HW46BjdW0bJAI7YaVp&#10;rXszJGiSIFNqSuGBO8lUAA4bcCSc0kETW1m2li2a31KZr7SxDNJDOLYEi8tt+GzHkoRtOOG3H1pm&#10;qeSbV7c6nNbS2vheawuUaONhbSWWobgr5T/WBc5fgqcY+7mtU28z+IZ7uC4S41GfV7O5dRqYhsw1&#10;9bNsllYxHJaRuN+Cx3ZKjBRxXtJ3e5U+Vy9otr/5affa4XEMNxHai2iZ5JZdP1W4FxAiqrlBaODi&#10;YqqMSxzxymc9AFUlrJIEe4jvNJ0W/trWKGDKLLZXkjtEVEgKghQ7MPmby+pG0muJ7uwtLzTZriFp&#10;zpmoaZMY7aGZ3ms75mjILIQyAmXbKeOhXrkWZbuKO9ayeaGKI6lPAJJYY7hf9PsEkkZFyxGJAAzc&#10;sSDnod0u6neP3GHM+WMeXV/1f5HTRX66jdSWMEEywXV1LB5nkvFJctc2xdt6DcWJYFPkwvJGSaq2&#10;Dfa54rW1iee7jmsjbxiZsoyKIfLxjaWZ+TuY/ePIwucQKkQs2uLj7NcBdHuofPuUSWRPMlt2wiRn&#10;yy6Puy2SAhUHkk2vLyMR3FvnSbeSHdFHFHvS1ncsWCqBv+fBByQTjnGKb5XPVf8AANaUpxlfp/wP&#10;+HLgS+huoVvQ0cSoyxxSETF9tw6lXwrZDNKSBnAABxg5O1avFDapIGeRba1jS4kjeOSSaPMtsUXD&#10;KM7lj3N90D1zxz1tLDNASA6SxJdySNcxohLyJ5qKW6qxXKqDy28ngAbrOm3csU+UgeOOOHynVjly&#10;p8txIoOQWJUnbnaCxAbvSd+VRT2E276R00dl0/r9D6N+CfjXWfA3i/w34s0TUWsta0fW7PW9Jkhu&#10;PInspoJlmikQj5vlKZz05wSMiv8AVf8A2dPivpPxx+APwe+Lmg6kb+y+IHw+0/xG16JxeFbiayQ3&#10;SzFcDzI5RMjR4GGDfKNox/kueH3j+2TRW7q8kZKWqMVWUMGQ7AQctxMWGOm0gkdB/dv/AMG4H7Vk&#10;3j74E+Nv2bdevkudY+F2rv4l8HM9y7zS6VfBEmtUTDARQXKSvvHAN2RgjYW3j++wcqTvzR95em0v&#10;0fyMMWlTq06kVo/denzj+Nz+k2djGZHYqi7HuHaNTOCwwjFlBBYJGFGMksCeMgAxTbkcks6bN0sM&#10;z/v5FxgBgcHmMSFcH76sSScGpoxcKgXmOYOzlFdmTa7kh8GM9FBYJ0DnbkjDFY4wybFVo9wVQ0cP&#10;leWAdwIJUdM7wMEbmcH0HmtXRWidiiYyGVQrpLhVcRRloyqkSFVm8j5/LEheL7u5mZT0bAuwwqxt&#10;1jimnJhjtFfGWVpQM+SpC/N5oY4xN8u7NSpHHEnlG3nhQv5abLeIRxbeY0QrHnAzvQnI3nbuzhSp&#10;hm+ZvLDytLsDtII4SAAoXKR52sDJJhids3AJypqXF7X0LUujRWdpI5YpGljLSyjypHXasYcYIOHH&#10;7twEXHTzyDg5AEytcNuV5gqRhz52F2xbWKgufOLFogpjkwAGMikYwcLMJEdSu5IyxZzJv2BnXam4&#10;FhhSFYMO0rq2PvGoFkESxML4IIInbfLMZgqwMYi7jziT5G/y52bIZiGO0qMSl2f9dxvVLuWYZJAC&#10;mfIVNuBKpneM/KoU7ZSSYwyqzEYYSI2cAksZJCQRI8DCITBJPMuijriMbiJeducMOjiQHPBIYZYo&#10;AGkvbe2ZAY1jmuQRA0fzKJP33zGENlufnEgJxgYHe2EbpJfW8KxAhmS58pbERrv28PtPlhuc9VYd&#10;hgy0tkOEtblW4QrFJJvk8xFK48wvJbqjNsb/AFh3NEXJJ/5aBgCOmOR1i1ikkxLbR3TyIYJbUkCC&#10;+3AytCWIfG/PmxH726QLnPFdkGgt38h7mNGVCYonn3NCkQ8xiRk5MRcDI6pwc4zWdeQhlxJHE7rF&#10;G0iwEN5ZRVciJdh+ZAfMjJ6k46dOPEUk0enhKvLO39f0v6Z8z+MdEjlRrp2YxiFZZppMW7zhGlEV&#10;zIOFaeLzZIphgErGDjGWr5f1/T5beQSSLGsy7gqRFpAGRV3Kr7/ujBZSQCwHsQPu/X9LgY3N0WHm&#10;yhGmmhhdbaOV0LRXmdqDypyGjmKnAdwTj5q+a/EemW9vLdWsFpcRjzWdIlIRLUiPEkal7hmPlMMx&#10;k8su4nNeHWp8t11PqcNWdSmrK/fyPBtOeQuqyKIy/HlqAhGQCFUbjnORtPVgSOCeert5h5Suixhf&#10;NKrIzbVUtg5HHOdxIxnhiPUnDubdrRkkUkrvK7BhRgEEEDnIAwRjvnnmpY5A8Rba+2JhOVDEOAxG&#10;5d4xgEKxB7EdaIvW0lqv+Aa1F1OojnaRIhKiOI0KQSGIrncWdYx1xhnlYHgff5B4ruNAvpopdqyK&#10;s3npNHOSIooWDAkyfLtKMRsZWyoYg4HJrgbeUBYp40kWRydsJkVHDNuUFDgkkLtdTj7xI+YDJ19G&#10;uLqOe2mgUyPJNgo6hYLgZCSI3HyB1LAHJwRnnBreElGSV7M5qiXKl0Prbw1qb3awO8lnvjjfSoRN&#10;L5Ytt5cvplw3mFvLkwGidupHTIIrvbCSPLQtI0zPBHK921uGuL2ODfGjncHBvbMqgcfNuVQdp4C/&#10;PnhPVzBLLa3LJFDc27QXaXEzQi7gR1kDZ8xdk9u+3YepyeDtGfZ9OvxcRtN/aVk8EDJd3N7b4uZr&#10;ZjGBDqseSy9ZGhuVxjAJ+XnPqUKnM07/ANaHg4qlJXdv6/r+rneRSSpNGs9wUjkmUu0YWBYGmR1H&#10;OxSYZ2Iw33lnJGW/h0I5Cfs6i5n8xYioeS4Z2BhGxmmUSqCYy+2VejNIjDlfl5iNwVRjCwnm32j2&#10;qIQshK+dLZh2jVQjhxNbsSvzcZA3A68F1bHM5un8kQpOk892yxIkIMZmYGUY8vc0cyn7xAOBgiu+&#10;FkeRWprX+v6/r1OpiYM2A0e+M7XORLIg7ozZyDz69unNSAPJgHaFIG5ME7R8wOTwDk44x2PXIrLt&#10;5LfakC3EpeCURKj3wumkePrEdzsSwXBIPJ8wHlhkaUEiMXCNvVH8v5CjD5cbgSDjhtwI4Oc8dDXU&#10;rSVjzpXWvY5PW7UvGy5Y/KVPy7HC8AE/htzxwSfavnTxLpfzzx4ySGZst5W7C/NwuB8wVfYMSfev&#10;q3ULYTRyLjPyCM5PzEHaTn1OAB36CvBvGOnMpaXAbhlwf3YYg8cZBJwBkDspPUbh8/jaXs6t+h9X&#10;lWI9pR5eqPnHULd8OHchyzyu7S+a4wVjDgFgWyAM9Tlg2Dhs5LiRlZvmZowI1fBlbKgbQBySUOGU&#10;kckr34HYalCIneJmAZWZQDNuQgBEZiAxDHqpwMEEEZxxyogmR5Ywr4JNyJRH94x7TlODll+Tbjls&#10;jgiuJqXXoe1G3I+YuabKpLNLJHHJuVgZE2rEoII6pgxMykEYJ3F+4zX2P8KLuG/8JWkLzNcNayS6&#10;RLA04mjxA78YBKA/MVbGM4wc4FfG1iiQv+8QS4Ty0lEZaLJ3YRsYwHJVVLHG+QdOCfpz4Naqq2+o&#10;6VsLCKT7fGEKyTIhVQQMbix+UK2MZJ/L0svfLW5e55OcU1PBNRWzPezy/wA7knGxlUs0aZIY5+Yd&#10;VxzjGSeecF0pIREaQKd+JMMFZlBG45PbCtn24GDyCGGOCPauERJDIARsWME5+UDAUdOMdjnJJJcw&#10;UZJAXzGYlH43Lj5sg5yOMkcdgcc17p8WP3htzttVYzlnLBcDGcgg5AyO+M8jHeoCm4oskYKsBI0c&#10;km5lCjkYJIJBPPQEPUqN/G43ZxkgAdT3OccBhx9cZpkjEKyBypCAExR5lT73zKDnP3SQMHOw9ewB&#10;XfdGkbRusBaRlZSMKccbhlk4QAN0O6NCMdCGSYlkVHXkgRtGgJjQqqvtDheGUMrIQ2SSf7oNPdn8&#10;stIHGyTeRFBIrIQBwpAG4BiOc4KFgcgE1G8fmfNtuFZFKAbkldeUYElmYF1y0i5HSTHqKBrcjLfN&#10;FvMU03lmNJSUAfcygj+MiOVgiHA4KdOVquPNHlvvm/fFkEdyxjkaMNkqAW/1kZLOCEO5VC98i4VX&#10;94AE2tL++jcs0LmTCsuCQCrjA4BAcscE7qi2tEGSaRxGZPklMgt7i42kMSxCrlowhxyQ6J9aiXN0&#10;NY2vqQq7R252OWcMrRXHlySxszr+7ndVC5DZzIAQowTxyaccMJFa2BGxYUCqvnxBDuCEDf8AMm1p&#10;Iz6so4PJF3FgybCXyfNRWa23OoxInX92+PnXdwVUjn5jMAoI8pJGZcRLGW80rtDNsbO4Bl++rHqd&#10;o9BWaunc191om/eOufMiX5ioKu7oyiTaCcFcMwJBGDhu5wMjNLgk8h3CiRMsEOcK6pyep2tzgBc8&#10;DNNw+6FjJI3mYZGjzErLkDJiLcD59rDGcsp4xkShpThZoASXHmAjI2nOO2CykgEZ5X5h/dGr95WM&#10;V0KFtOt4gmaBGuIZHtHRwSYpYZDlGYgkAtGHR+hwvcjNmORI41laWONWDMTMyR7sHBZsgY5OXXHD&#10;Mce7Gkebs6tFKIpT5aTLdR5yhG3ONwO5W+XB4PemK86ssS3G1lKujyWZAkLOdzuVKJkhtpUDhiGx&#10;yBUqdtJF8req2LVucoVDYdTgCR/Nlgx8oV/nbcy5Ck559e5gjkWK8kt0eJcqytZoiqFDMzJNtDcZ&#10;3sGz97YxwMEU6NnZSy7kkZGRPkANuqcqsnzHcyEsPlPIJ4PBpJfMhkjuW2RW7wlLrIJMLK3yMGBU&#10;BFDOCepAHpQ2pISjrqU2co3ksLdZFPkGBrhikTSEMY2YZO1wCyNtGMAYHIoSdwIHiaQJIqsyTIsc&#10;6E7RuckqAVw3mIMnkYGeGLh2ivHzKzhpcRO8kSq5kGfsjZO7knerY6MFBPIaNTMWbcDDKHEkc+ZC&#10;rr8wjklGIxv4Blj/ALuOemMfdjI7E7wSS3JZeXV5U8tti+XJJKZUjKcssh24yu4gjPzJvOR81XMs&#10;N0sDB3ZRGAr70HGd23cBgBgR0JDD2qiGxGFV5VMIxJENt3cWhC8IW/eEuMnA5yGI64qbzMYAZmjM&#10;gWOLyZYHPIOMs4BAJc4GPlIGMKc1a65kxNSuraliPcXXerEEfK7gM0ZC4AAyffP096XLZJIVQH3E&#10;bSWxnHXOOx4HT9ahjEY2ojyAq5VR57FlLhvvDJz0ONxJHYdqlYM7PGz7SY1QMrMCOOnDcHIOMHP9&#10;Xbqibe9qEjqyuZEJKPsRcEtnHBBwOuV5BxnIyMUuc/MU2sxyd2C7DPAP9APWlQD5FicKsZ8ti0m4&#10;rg7SMZ6jGOcHpzwaUqf4YwxBCmN/3YAO7OfplRQrXuxKysMkI27VyzMT8ylcIQOWORgEFcd+SOKa&#10;SZdmJNysASySFA38WRg8g8n0O0joc0yVhEhd2ghC7S80snkpn1YjHGCeM85I9KY0iCQlpoUDZ+We&#10;QtI4OB8o3/KDtHGP4eelJtJq7NEuxKAJQcxnAlXCSKQvB3hskf8AA89m4PPSBSill8yMEO8iwRlY&#10;iQrDcdu4ZA3jd/tNnjgBjLvWOWTy5hIAsbR2bMrbsMVYYfCuVyxyMbF74qRTtUgzMobJzhYpASN2&#10;SMj5gG3MMc7h6GlLXW+haTQpPRWQ7gCf3WXeI4w6jCkZxgA8Z5xiiRj8xYZBIwd+yNSMDBbI4YnA&#10;91Iz2pdqBACzgcIrNKWI42qSx6nJyCeST+dR8IqlhBbsWRBJIoaM52A7RuBwS2zHGGOccjMu9yox&#10;W5BJyJMsmfLYqwDBWDgE4BYnDEDjI6DA4BrideLGExBuZMs7soYnHDAD3DHnPBFdyfmkypGC5flc&#10;o2ABuLAHoAARnkA+1c1qCEIyK7MWTlAxZm3KcFj/AHQAc9sleD1HNVu1Y9TCPWx8Y/FGxSe0vIlA&#10;mDIQSGG9Qcc7s9Dgj3zk98/jp8dNOKS3jIowFZYtgxIABwAewIByOfuj1Gf3I+IthE1reIQGYnB2&#10;xsH+cSOCVHQEI3sPXmvyP+P/AIeRZroKy4ZSclvnU8Fj35C8be5AxxzXFOKi+a39f8E9WCdtO6Px&#10;X+JGnyyS3iyjzFDZeRuVkJYv97typbB+8QB24/P34mgNdyRwxKFjJDlsEMVBB468kkfUfWv0t+LG&#10;jyR3V21sXbbJIqKxKom3JIK55K4bP047Z/Ov4jWO6a5UqygtmQhAI3YFiq+jD5WzjkDPrWck5Xuj&#10;plHnlzxe33ej9D4T8YQlWuIVRc7wGlUnJDAkZ6E545I79q8Gv9tpdAqVkUZDvtGRjOASfY5J9CK+&#10;mfGFtZMZlKzBNu95CSWfG4cEc9z/AI184eJIYmmZItyop2F8lsquRHz1GSEOPwGOKVOMYu7ehwVn&#10;L3lFNx2OW1VEure6cgOscOFCk4IwGYE5yRj5T06d818z6rAyXciMEDpJ0BGBg4Az04Hp1z3r6ik2&#10;C1LKWLH7mxQeCQMsv1/ka+bvFLyx6pdAoscjSfMxAKAMBwD36/pXqYL3pNSe+p5OO5YU1HlfNv8A&#10;8BnA3m50kCrsJLFFRcIp5I2554H+T36fRpJoEtlmjmAbG23VWj3qcqWkI5zgnkdunY1zFwrrl5WC&#10;KuQvABHt6k1v6bqUksItZZhGiyKJrpky2NgyikHOMdgep9sV6sfdkn1PJhyKbUndLr8+p6FYSSS3&#10;sYlt0vLmAMtvGWX+z9MYsSJMAEHHynnunX07QX93As0tpqCzyXA2an4xuCWu5tx2tb2CkA42nYWG&#10;Gwf4Afm4AXNiJ/LlW4stKhsoy0VvMftupMAcIX/h3Hk/3dxOCSM9FNd3tzqtjHJYh7mNHTS9DijL&#10;WujQqjSs0o4y+VO7cMkkk9K05nOe9kO8rarVev8AX9eR6P4ftIhPp4sLu4srSxRtYlkjLtrmqjEZ&#10;VndfnC/MoVQMfvAACeankuDd3s09zZW+o65czGa002FCuj+Gw2/95evkCSQAl3XoGfBP8NYOkXlz&#10;aLd3BlkurCdYx4g1u2cQtCxYkQWfzEKw2qAeeUYjAG2rOlXNjBZwNfW0+j6C8gS3s/LM3iLxTM7F&#10;pJPm5CY2qGOQMtjcd5pRi0rvUvWnJRjql5b3/rYXyTLJcTS6nIlk1ulpqutKnkNdsTva2tkJBdTn&#10;heOCCdoPNNdKlS3s9Q8iUoZS2kaM8uxyjDaZ5z1AIAwTjKknpjPS6lm5v5TbW+n2N9cQ7tK02Sfz&#10;Lbw7ArquZj9zzdrAncSclsjOM4Q1GC2+0fYru78hQ0erazMjSXmuSsAXhtY2JYRnDDsSvLYztF1P&#10;ddr9UzPnV/dX9ef9eRnrC0q3F0JUs7zeJbzWJZFgtbck5FvarzliQFwoyM9FUE1HFbG2trea+hT7&#10;LJceZDpluCb3UAuCfOcH5QeBnryQAeSIDBLdNbyLbzQSSDz7W2kC+VaRugZJHT7pyrnnvx2wKh0+&#10;+nnilKstvBGpNzqU5DtOdpcRQKDja3AHXJbHTJZOas1rqaqSqykn2+7+tkPur2bV9QVLiGFHjQnT&#10;9OtJ1j0vSI3OWMjdNyhADuJYcktnIM0GqTQwXMT3260LRwzTwnN7q7DcziEklvLxhcHkkg+y1Gt7&#10;drYMIZrW3gtzttYE33usy53FDgjCgbCWJAGSeoxU9pIZLiSFYbKG8KATalLOosdPjKgokWerqG56&#10;9xxyQotO0lv/AMMZxpOC993t9+rW5cby7m7SWO1jCAG5SyEuYrDOGVpSQdxUkE5I+6ORxWnCPtMt&#10;5qqSeTc/Z2e71O72PI24hQtuh5BwQBxn6VzFm0umtJLLI0mnvN81rGS99qsmCwLgjcFLBSW6/MeC&#10;QRWkbw3NyzSoXliAeGBFC6XpueVOBwzAjPHufQVtNKdW6ew4Tpxuoqzd/wBDZ8uO3tfs8Z8u2upY&#10;5hawuBqWqDccB0z8ikMCRz90dSBVsvcLchopFi1ASIoWSRjBp8eTuVW5G5ev4nPNY9sZYYH10lls&#10;J5hZnXGDO0kikYjthwAQAORztI6DGLBlVobFIYZRG07y2dtNxc3678+bO3oDjAHA3YA5GFFyclr7&#10;xUrxac1ft5f1/kXr+2W4ia5dkgSLcthAB8t06kB5pFPBLFxz0wAOgNYq2dl5LosyrG8QjurgJ5fm&#10;sOESJewJBA+vTFaV8k91EwkuIHubiBWnjhO6HSoASoQPgBSxYAAY3YAwSOKMdrNHHarG6SBy32WG&#10;RcJDGCQ1wVJ7cnnkdhyBUytqk9noN3S51s9PUzp4T5UNs2nLLPEjJZ2UYUwwgYYtL9TgZzkdTnGC&#10;6by4gYRebIriMLqNzEnmYPA8qPHOMZzjGQeeBT5tNlKxy2t/IbFZNl/qRBeS8kY5PlJ3yf0JzwDT&#10;TAfNhiitkRIF/wBCtHIY8KoaWbv8xDfhinye/vokYyptw5paW6/1+Zw14DArtId1uYyllGMNLGpc&#10;n52Bxk45z/dqqzRSKiD7xXzAS20E4wwOfTmtTWY4Zrhvs6SvH57wyXCgL5zj7xAP8IByB057ZrDz&#10;CHMbY3lmji3KQqAcluOvXHHcGoalzSsvw/rsKlNQVrbW08hI1SJwW2SFgpAjIfbnlQcHjPJ9unY0&#10;50LRudowCzngfvMuAAB7dPw/GpJUgjgCAmKVnB3Yzt64z/gamkj228Ukjbt6F3CZCIMD8+STx02j&#10;1ppuPLJL+tC7uMLxV3f8Hb8tjOW+fACW5ZV+UMAADjj+lFZ0lzdq7LGoZAcKc4zRRzT7/wBaE8q7&#10;s+a2BLRlCYkkzkv91U6cEdjjvVZ3wVOUhKEqFRsjaDz8/fPHWrDYmkDMdq43sE6qBwFHY9P89qhS&#10;I+YGJTDBmGMMQegx71zR1lZ7nPdfa/rYjlljZyokK7gcYH3R6+/SqgeNml2KzMM4AyMqBzxnjqKl&#10;ZyS6soUE7mwcEAHjj8ajc/KcqTkZBYkFB2A/yah30S6gpe9d6EeFkjO7cflAQs2NgA5z+HPrVFsg&#10;MS2fnJYD5sjngfp+VW2BkC8hCpD4OF7DAqBgQrAIud3ODnkY/A1Ltdq5m5NNIgGWzgMSjHBJxnHI&#10;zTGI3BhtBU7SV+8OMk/yqbLfN1xznB47CoWVeQxwSuCSfzOPzqrvmSYpRaV0MBwF+QkY35OeM9Mm&#10;pUXJGcAbjk7SKYGBCp3JyCCMk5Hb3z096T5iWx2OD0Y59R6dMUk3ZJiu1HTfT8SYMGbpjndheCeu&#10;f51pQoEj+ZskqGZCu44/h5rOjiMjEu3OSCNuRgCrcWEdtxIX7obcMc8ZNUkraFxaa5ZF9Y5N6EAy&#10;Ngk4GQG7Zx2561o25x5e7y/3co+Yknz2UDP4fpWfbSEfut42SsygDhhxy27t+NX9oYxpvI2kJs+6&#10;UXncT25zT1uDSWxrpLE05kEqXDMd7JJHjc3IwB6Ant6VqxTJH5IdXktVn8ydk5eaQ5O1GPYdOTji&#10;sqDT1utvlEJImZMtKFEcSD5iDjljitm2E+Y5bZoyzSkWyNH5nlpgrudcY5PJPShLZX2EoTk+WTLU&#10;iBriIJKYtyCa4kVQ626vyIyoJB4/u5wTVgAGDlo9zL8pLbDbRk/MQ3OGbkYPrxVPEUMkHmbJ1hGC&#10;yvhJJsnv1+XAH4CtHybe2KtqST7I18+cqVM07MNyKQeqjIp8rUfdex0U3Brmnpb+vmW3juBDbeRK&#10;Ih5ZaCCbDS26AHdNMMepG3v16U7EECs0Exuj5yiNSSZb5wx5BPIXuQ3XOMZpIW8qGYFmaR/9KvJP&#10;MB+zxRgERxtt4J4+UfSljlhVxeRnM9wgQIHYxWsYUKTICPlJUZzxjk+tVFpWb3BShC7irfib0rG1&#10;Ek73G/U5lEmrXEw/1ES8eQqk/ecYGV7LjA5rPtF/tKVI7eUWN458xGdlgs9Pg42kTM/zMcsdrAAH&#10;oecUkog+zwkO08KvkWscx3Xc7ZJkRzxtXglT2yOtWvMYb7ac2trFbxA6lI7vcC8kAGLZ1yCsm4Dp&#10;wCfQZounK5cm0vd2f5jVMEptp7WITiKcQ6VamLYkgQASXMjk5BBAO08H25yWcixrNMwjuYY79JJb&#10;W5m8i11ScH5VcBg20nglOm/PBNVmMv2kWxU2r3ESrc+TIUit49wJR13YIx6ex71fsUla7ilsVktN&#10;TZiNLFtsiSxjjiaSWbcWwDtjOB13MDnsTn5djNxb1T1NC3u5Lue4F9fLBBcEHWbuNfPliRclbcR7&#10;huUDGAuOg9KitVjlNzGsdrBam2E89xITJJp8AIfI2kkFlOehbBxxjAzZSY7VGlEptbaXFvbSxnzN&#10;VuR1ckHKgZxhsjA65NWUlgT97ObieGOYSajHGxjk1KZ+fJRsEgLnByMYz7Ci/u823mEG+bk3vbT/&#10;AIJGVjWVJYlCSSRiSGJXO3ToFyoZgPusxAJP4k96vSSMrLLFZS5QFNJjjdWXZgpJczYOd2W3DIwT&#10;nGACKHSy2CJ7a4W4EZn1+7mZSHff+7gtRj5uAcowz8gA9KlDXCpfSW4ENwY/MvbhptiQxDb5dtEc&#10;4JC9QOcEdOacYtxLlBSinP8AqxBa2VqJFZS1xNGGNnaNCzLPhQ0s7t14zgH8OOas+als1pdwq1sX&#10;jBtmBaOONFYpJdMD1DFXwe5X2qu0rW585ApneHfO0ce2GyiP3Ygqkklsj5hgHB4FaYJvrKSB447N&#10;I7cTavJvw8sYlyluvy9WBDEcYG7tjLStLyuTBqb5Y6Mg8iFofMDSefdAm1kuCfKs4SeZ8Du2TgnP&#10;8qmgcbIF1GcnZFlYre0PlWdoBvd5GHIZuoHfPeqg84z3c8jyvHHAjySsyhggX91boCwHQD2IJzxk&#10;VGUjihMfmxSpOok1KPcWMkjNujtVIGWwy4Oem0dcVMtbPoVScb67/wDARuExXJilkW3sfPgaW2Tb&#10;MiaFZR5Z5ZXAYsWAfaeCOh4waQSQtLbK9s8Es6MunwQQeTFbwFW33kpIySdrN6HI5AAFVGJs4XR2&#10;a8F5HHca68V0IpCWdhHaA85UBIySucABcjBw++uIIXkZr0zT3loW1SMM0p02MH5LcgjhnUKfl4ww&#10;BPLANycYtIVVNw5r3e35EVzLG9oPMkmi06wVl0iwWRIXvJpg7CZlHJGcEk/wkDPOKitXtwY442W7&#10;hRsTs24LfT/eDDI6K3HPINXZma7jFxcPB/aN5HsUuN6aPYxRKkUYcn721SMYBGFIOScQW0MU9sIE&#10;ht4tRklUWUom2JZWqMGmlJz95guM4zhj0wtFnbme6Dls1GOmg54vKE++4j8iILLqdx80Mks5OY4A&#10;cjO0SIAQCOW+hyoZpJUltplQy3EINzOfn+xxFlAjAONvJUEZGcgHFaCLHPbO6SXN1HFn+xrSVi8d&#10;zLKp8+4cjkYCp8xyDlenO7JuYLWNUSGe7a0gnUb2i3yancb8OBk5woycnI4HPOAc72YlP3VNu8rt&#10;mjEuoyXkCx2yS6lMBb2ccoKxaXAkW3zuANjYLfOcDOT3xWddwSLa28xgint452t7C2Rg0kjgfvJp&#10;QvIJ+Ubu+0DPGKsxpuhmAmmiWUj+1b+SLY+xtwS1j6hc8jaeuPTJqeOyeEzG03fb5I5LcQXEDKuj&#10;W8iBI2cnlW+dshgAMA7ucAnywd3rp/kVyqTShov6Rz4VoWlSaNnS3VptQuP3brcyDcwQNznpgMvo&#10;ecVVjYlpfMgMFzeEvcTsc3FpDj5FXsc89emBjGavyi0iVlnkM4gRotKt4N5juJQwDSyEDgDJxkY+&#10;X2Jqa2tJrlJDfX8Sae0sc+o3CyA/aZMblRQMk9xkAjnnpURUkroiPM5SgZokQtZSx2zTRRs1vpVi&#10;2GAOPmlZjzgnYMHqc+lFxbW2ntO3mQ38O1J9VQ25G+ZsuYeuTjjkcE55IANaHlTwzSxW9u1xf3sJ&#10;NuzPmLTYsA4wOCSp53YIx3zxgGWaJVSJsGOYxW67TJNdSEgbySeFBbgH0/Gm5X0NJx5afI+ltfuK&#10;0TR3STqsTeZJcC4v7sqzSQx7QPKQfdOTjp69fSpIs8UzG3iSOWeMhVRQTGmDzkfdOBkg469eavRJ&#10;fxIYnjAjhkaa7aOXBmcMNqhfdsDC5H51E/mQzzRywmM+cG1CXHzAsGIhB6HGB75/ChK690zkocic&#10;0VoxbywJGsb/AGskwWcJyqgnOZSD/d9qWS2SMSKuLpbRjmRSR9slbuCRyAex5xVm5iRovMjMVnJw&#10;VYkq1vCQoGTjjdz37/lTEr+UhjcqiFY7aFsYcnrK4xk9jxjpUtXi0h39m11X42EaGHDysvkCDIuA&#10;ZCDPKG4RPzxg1HKirGWJQTOvnzooOIEwcIB0yeOR279cPj+affEonjhkKRW7nJnkONzn1APamzOF&#10;MkLSbpVTzZWQDDkkkRhu3Xp3xRpa3V7DikpOLXb5NkDxxyyWp8lRJKvl26glY1TJBZm9uMZ9aqyK&#10;EKu5jYRyskMQj3biOrH8xjr9atGKRR8kzm7nQmfC7hCNwBCkdM5/lVUxgEF8uXBjjBY5RBwX6deT&#10;+dUmkmZx5nJqS/rQaI3MQAU+WHGyLaNzu3O4j0HrSqjLHNC7N5aAqzDGZ3VgeD3Gc8U6RUYhY45w&#10;7KqxrzmJAf8AWOe2cdfeqsiNGADvKRttR5MMZX3ZZzk84GeaSvZXJs4LQZIIt25Ziyo+6dVYkuxB&#10;4Ppg8fnVfyYJSWkklxuzKiqNzMeFUe3AFTTGINgK0qI5VFHAlbHOTjoOOPamM8qJKYcSsOCQAGVi&#10;OT9F/pS0tpsVdQUZNa3sUD5UaqIiCyr5rH725mI2jnv3xTg25I2mEjgMWKOdokY9MAduh/GpIkkO&#10;9VdDGW2KzYBlcZ3c+wyalKo0eYwGA+SMbzgno7Y7YPehK2wrt3be9/n1/TQnDOkEiEiQLICC0uQZ&#10;OMYGcHGe9XLdPNBSXy2VACgbLmWQ9AT7ZB9KqWqQyAxO7MufKQqcAADLSAVLHNIHkih2jYCsUrn5&#10;kQfecHgE4zVJ3jfoJOOi6G3HErQMoOXt3bzp0GBdueQv+0FIH5VISmHdLreylJLqWNSyu2crEo6j&#10;bjB7cVm27GSSGOIbVZdsQZgE6EF2XjHTNOgLpLCQC48wJAQQryMCcyYz8w/wp3af5BaSSvt/w3/A&#10;Nye0e6uLiWV3uXDia9JKoU/iEZBPPvWxZWdunzLcGK4+zmW5BbYllCXAIUn7xIHT345rFiLlEdFa&#10;W3E/qxa9cn5nLDkBQd3p09a2Q0Nwsu4n7LCgN7cbMC/lyrLFtJydhCjK8cZxgbqnVJrf/gGl2ql0&#10;uy/EtwS21vN9qjLSLsMejRMvltbM5Z/PbjjB3Ng5BIHrzfijtIfPtri6kFvIRdXMoUmfVZgnBBXh&#10;RgsRnA5JPJAMFuGe4luLy13XE8DtcrbgQLZQ+UVjYkZUgZHyjB4A4JyZo5pJTbXC2ga4htTaaPbl&#10;CoMoARppF75PYgDJHYCquo2voNT5ZfuzE1Kzv7q9Nx5QtWZQVCALHZwgKE56ZYNnIHJ57jPA6vo4&#10;4YxFo5HMdsyREteNnDN9B/8AW617ZOlrYeZFqaNdW1tcC41q6sbh45LyQKnl2kMykBTuB+ZcjPOQ&#10;ADXPX+nSrMk0Yt/7Q+zPJcWpiaWLQYCGALgHAfaRyO5GQDipnFSb17/oVCd0422sz5rvbN7eQxvw&#10;VYhjtwqHriiyu5LGQlWADABiOXODkV6RruiFoBcKuYQxS2UAiS845kIx0rzGeF45WUhc5ySeo6/5&#10;/Cs1Jq6T2M6lBxpqTW57XoGviePUw84imkjhXcDhCy/dzgZOcsPTpxXtFjfXNxHbyR2MEgtdetb2&#10;W6k3PJcMUVW8wu2CgIGRjHseTXx9pOqT20nk5YCVl3ZO0ZB/l/T6173oWpRSxNE0to8V1cWzE3MB&#10;mkhbeAGUEhQQWIAPHT0GOiLc4qNzGmm3r/SPdNIu49Pk062WCOZ49R1LRDM9mDHPHdwZRNzOCBEz&#10;CQMOWIU8DIFaztS+lac148WfEWh3EHmpBZzSFrO9li8nyQVRNpjyqttAEnXB5xdJktbaLWZ7mBZ5&#10;dM8U2TPHcxwRSKkiXEZdyzEgYQKVI5DgcfdPRWl55wiilYtZxavqNlAwMYaUtFHLGFcITH8zKhA4&#10;Ijy2cVPM94/1p/wTsnG8nG991+v+R0V5cPdt4guknsUtEutIvlt1FrGY3lnS2m+zuCBLISbgtIuT&#10;jIXIAAwtQtYFieCD7dJHKut2TNPKm+eS2bCp5kYJaKPejBmG07jxgGmaPGk+lm9kZHjePT1udOkd&#10;vMuRuKu6oEyUXCEkMCfkBI6jcgl1XW7y2tomufOl8V3Xh4h2mmigS/UwqEY4yhXayucnaowc4q3K&#10;UbSX9f1cfJZOUnt+ev8AkRxXa286ah5VvL9lvtHvm0+K6meAo1rNaq+/yScnyVDrg/6wAkDJNZVY&#10;xaZDp15NYXhs9Ysbq7jk/wBJgNiZLtY4Rt27nAKhyNoJ7986W2aG3kt0vRqDy6CkH2lIb1BbLa3L&#10;5ikdtoYt5ZHAO7Jx9zdW7FaXK6lb6g6r/Z0HiCWcy6dc3CQQJqlrJCoRjkqkZIKs33CrAg7jhJ6q&#10;adnexpFVeRO6tr+CDSl0m706eTVdRkimk0fSvFGl2Olw/ammeXEbQ39wSrRBkIfagd2ZyuEBDhkW&#10;qQQwzWbpbW1qlpqOmFcwyJCjJHLAXkaMsdkbTjywcbmXuuKofZXW1iisbaS6nuPBt1DG1tdTNBBN&#10;BclTKPlxJIE3Asu5Tgnk5JtTxyC5/syd5oCmqWuolmhJLrPZP50s+2QK+TsVQTg+eep6luWal94p&#10;qME4S1GrJBYImoGQz3LJpes2Uj+bJLukkeKQEBMqeOFxnL8soBrXtbfzbeISKl2ztrGmiyuJrsHT&#10;pHSSeSZCgIZz5KtliNu5PvEEjH09S+l+VfI8y/2BtCWaT3moStZ6jEJoIwSdjMrtKGwRgjg9Dozl&#10;4tQvcadcQ6cNTjuGtyZpXt0uYGeMPIHHBCAcYHyjBBAocr6I57yim2v60/VjDcxyWkUcsGoWlzfy&#10;6VqMM9vdS3IuTEjWzFo1QIgaSKYrkfLu+8BktXjhjtb4R32Xjjh1FWs1LQKpiBkXe+BtYkZzn+PH&#10;LGgl4rCLFtdLNDof2uae1t3hjaC2vi8ZaMvlgJEU7cjJjywXFPfXUlmS2b7UscutXF0YJEkl4u4n&#10;JYlWOWRkgABOwbTw3OaUmtVpbQcXLmulr0/Q29PvEk1UtILeZ7rW9LVLPeInea4tvJK+ZInUOqFi&#10;5yTIrEEEGsSOKW6BtYmeIad4b1GFVaVbie7aC58xoYI1VjtC5XOCoLgcHDVDHNqlzZsbjTbwQwWd&#10;lqCTSPMpliguGjLHAB2OzonJxhV9OZIZbu3dbCzkuIZE1HUvD0jF54bTTVmhieU7gG2jcBzgDIQZ&#10;5JrLS9o6P09C6cZc95O6e6/r7yWwdrG6F3O0dzfXlx5lta2twjXcP9oWM8LK4WMfxOFZeC245BAJ&#10;WnKWs9JNvdTNcSv4akSUrdxERtaXoLPJhcgIp2kAAKbdcYOQu3oreG4dU0r+111660Cz0W08ReJ1&#10;8JWjz6vbrBsUxobkxw7m84KHDn75JBwBVWC5kiuJ0uFmeGDStV0RbSJpFltzPG00JdtpKgOxkZic&#10;jBx/CRau7v8ArsUkozSktV2892JZ3x0jxBG6Qta/YtUBgu5rMFYftdsyI4JHLs3lsrccxnk/MDcE&#10;yNpaI800983g64gWSGe4uDpc1rczypMCq7QxK/MQOAqY7mlmjguJA1zrDWsN1o+ianNJJDc3n2ua&#10;3UWuy3AjJRCWkQlSExIzNjIFQwWHlPcQmKWS4YapBb2Exlmjj2lZGLg7QQsZOAoJO3GCCTRzS0f9&#10;f1caSglf5/mP1GzjS7vdQS/OoLdX6PD50NxBeXsV9aFxKC65EYZgpJ5OMlj81QQrO1vbNHZWkiDS&#10;rSNdwnaFUjvZEumUkDBLiQlgVIE2Tjvp6g108d1vsmZptA0HUZBshW4RXuBCruQ25QFnVQgwwUje&#10;oIbbjR20unXd3p0hgN2n2/R5YigG9l/0qNf9Z/AHIx/GQCQNtNJJ2k9TOqmp2W11+X/DlxIbpNQ1&#10;WdtPe5hm8Q32jSF4JWiV7q3nCKjFiG8tlVvOYkArwW72ftCDT5FnSSJLjwrYanbTE3Esk3kTNDgs&#10;sZZRlHChjk4BOODTLm7toL5Te/aJ7eC/03WpmmWOaVBMipcFFDLGS20AvgBSAD1NUb3zDBqN4S50&#10;+PTdR062gS1AUSQ3cTxwsDP1VCCT0yOwODK5Ib7/APDGqjJe/wBt/wAHoaemRCTVptkLalZ3Ot3N&#10;ok8fn29zcmW1hcyszL8saLjDMuCySAFsDKwafNFZ6PdQyAm4tdO1ExN5zTSyFWtyzgqFVA4GS4GD&#10;KMDrVi3kijurKWzjlewPii2EiPHG21ZbCSWNyokI+ZfOjA6YYfMC2ayIG0+whtrSxi1DfqehSQ3d&#10;00UEkwuILhJIYFUSFREI49oHRC7MxyMNbUudW201+Qudvmh1bv8AkjStp7y8M9hcSNJdPZeQj75L&#10;eWJra5C+QuwgYx5fXkZXgZFbM8b2uqahFOWtknurqIKwm2L5sazgEEbd2UL5UsMbfmzuFZDxR2Qu&#10;nngluYrnUG0uCEyxR2oS7hTyyv70ScskofC8ts55NX2kYl7uWBJBHLp13KGtFuCUYyrI8TM/ygAA&#10;KegBAIyQWzk7TTZpJTk3G3m/LtY0re0+2YNhqNuNPaW1e5u4WZ4YftFrJbyzlnQOCBtwGUHGOACa&#10;ZdzRotjGt5Be3MenxufJlEgeO3YwKS21ck/ICwOTuz71mW15aRWl/EsU9rKIXt7eCWIiQyQ3DHaw&#10;WRgpKOWOCT06kCtmT7W0/mWtiIsJcLKjhgY9sqTlgVyoQLkDjb8vHHNUnyxiZwqvlftHZ9/uubGi&#10;3scOoWk72S3W87I45o/MJLIAQVyVyMk+owehFfuR/wAEWv2mL79nL9s/4U67PeLaeFfiPqq/C3xd&#10;ZNdJ9lvLTV5YYIGcs2yMxXLRSea+0AR44yTX4Z20byXqmzluGa5vpU09lkjtYQiIshYscBGAYqvz&#10;H/gRK59Z+HfiR9FvdPmhubiO/s9Wt7xL2QlRG8TFg0ROSGVsEMckkKT3FbUJ+yxEXL4Xo/R7/g2T&#10;iqaq0pU4S10/DVfof66jDZK4WYyDzSCZHjjUlCXCY8skplyGYZIIU5zuwgPl+WJWjWZA0kK3EiCW&#10;XaYxkkR8ZbY8hXgSbOoIz8d/sDftCaL+0/8Aso/Bz4t2MkF1rd14Sg8OeMngSRvsmraSkdreKu8h&#10;mUv+9Dj5ZEbguCpr7DE5EsY8zdGx3JkhEwVycMZOSoLSHj5kIxkqccdelKhWlSlumY0pKrTjUj1X&#10;/DkjxqHR3hjlWRvnkMaLIgQmRWkBA+Ueo6SEHGMla0KI0ZjKQP8AvMytPBGlvPmTMu5V/i67+wlw&#10;cdhN5nl+cuydhGu0yj96kQGThh5pdiq7S2BllZR8xBCy7ZIzkMqxlcNDOHuZgR5YQ7jIQdo3bj33&#10;K2QFO7BpNWLTta5nbCrbRI6tHhM3IhEVw3PzMV55d1WTaARIFIGOHmSUl2QBfm3lhI5JhRVxudRK&#10;d3lsdko43l1PRc03EkcqnfIkhQyIXkLpb7Nyjenn4YIhVJACQW2P1BKvVpNm5lnUr8+98Fofvqit&#10;GJGLOgIVzxvEikEleJe1vQtttiAx25VkURwQR+SHdJMxrAGVlzjLGMeZj++sh64Y04xqGwJpEMY8&#10;kSSSNNtZHZwNrDkpuGD/ABB/VRiO3jm/dOIrgfMIDH5pR7cK2SuCvzmHb8rZPmKzfe4zKPtAYgWX&#10;l77cDzbOQuqLHxgExDJTeDHwQ2Xzjby+RW0Q+Z3sR+aEG0TRwbEIkR382WEj5gNqvgeWHQkDO5XX&#10;sAaoXCRgN5xCmKQfvvJ+0y24jXeoGAcmItuUnkhmB7mtbdJlXMdwNqc7VLqpIAIA2ZOzhV/vLI55&#10;K8UlhfCg26wCOOMbYbjDQtGSfLG6MAiM7ShOA6ucjAGcpRT0ZvSnZ2/r+v60OWvNOaQMsYt4btZG&#10;SFXtTNaRySr+9tiDHzBKD5i9hIDknBFeP+J9JVHmuSZIoJIUY3E8hS5EayERzMJJV/fW7bFkIC7V&#10;HX+97tPawCSPfbxQuii3ILgtIqk7rdsx4IQO0kHPJGcABq4bXLBrVLi4DQIZQWa5lCwQCX5US5kC&#10;lFVHOYpwgGGbdgbQD5WIpKKbsfQYDEWdn/X9b/5s+LPEukrZSOfKjCwStAwjnjuIoXUbmCMrNuDY&#10;Z0IJGOATjJ89E4tZXfzA3mRkCIYEcoPmcqTjJI8tlIx/HwcV9M6/pE8iFY7B2ZYAsiqpuriAxgYh&#10;O13G6HDbNuP3anttr571Gyexuo5rhPMWRVuXCw+X8pIKENjJBKllychgfQZ89vldlse/F3V5a97F&#10;iyuluUhRVLeXmICP94/ODkYHJ+YsBwCQwz6bFsTC7thrny2IIdwUl3MwkKnaMBwSQABgqfUZ461l&#10;Ika38tgZ5F/eCNv35JZRkFeCQMLk8bX9SK3WfyzOgUK4lDjggMSNzc9wex6qxJz3GiadlIwcfeae&#10;x6Rol+sk6SyzXMG+QMtwYjE1u5kDwzony7mUxhGBP8RPcEfQPhfWEnSXbc2ZuIvMcvcCMwWlyU33&#10;FvKDL81vdKy4O3iRgccmvk7T7uOG5WWOO2eFZEE0kiFnYtJ5e7aBkRybo0IIwrFTnpj2Hw3cR21y&#10;oaQ/ZbmA2Mlg7KsV1GXzPbu3mDaU3F4nw2ShwOTXTQkoSTODE0fdb28vuPo2ynt5UWJRdFHtpI4v&#10;Iiia6hSFwRBLiJv9KsC7FVGSQpyCc109tNNEwkuLnB2AtPJJixJ8siO8jCumYpAwEqHgSFcYC7j5&#10;jp95bS2YuJonHlMl2dQkH+nYtXeGG/YbTieBhi4BwWTk5xz31pm3YKIraOeKXyYYlIWC1knV3KHh&#10;S1pcZUoBnbIQMHaCvq06nNueHiaVnZf1/X9djorW8gizH5skeIzEIXnWY2RhCtJG5Mh5hDGQk8Mk&#10;i4yAtbCyhyPllXoyEOixXOA4+XDn+HDjJHBUjODjmbe5iWYToypKVFvLFcXQuZ3W2L+ZFjzWZprU&#10;tI7EAh1kAycgrurdNEimbB3thQskhaXL8sMA4BV1dQCWYvsABAB6oy1ujyKsHexfV2l3RlXHlALJ&#10;Jt2rkpuKryeRlcnkdsk5A878U6YJ42+VyQN4EQbb0A5GRn8a9HCxum1USQDIQqwCrnIyMdMcjPWs&#10;vWbRZYSdpAU4IB4wPm4HuRj1Nc+Po+0pcy6HTlmI+r4hdmfHet2ckLhSkvIMZ3SGTyyuCGByegJG&#10;GzkFsAYJHHywRRXYcK2FyHkTII5wACM5AG7HGfYY59n8ZaeYJJWjgLz7DtdWKGbGSBvx3I46g7ve&#10;vLr6BD5jGLy1Evlo4kCTYGSvVCBzghT3fGOCa8NO7sz7JuN209Gc5HbxRspIOG2xtmPdbH5lfBJG&#10;Qp2/L3Dkf8B9e+E16ln4qt2kuWgjuLd7aSINs3OX2qjjPBWRQj8Dlh36eYSFzGFLlFDuSqja+XPT&#10;JUYT5Sy84DFuDznf0i+fSrmyvdxnNtPHdBY0JmwoQmMrkksm8q3ZtpwrcE6YeSp14zW1zLEQ9rh5&#10;Ra3X6H3QGcHLAhQF3uqHd/F05OeVXgjgEfhI0gAVgW+UEEHOcngFuMjoeeABnOR0p22LiOC5dVlA&#10;VZ4MxiRkWRcYLnOccncMErgEdzaY7ADygIZd8j/Mp4CggDkkkcen5V9QtVc/PWrNpj0XbwzbvmZi&#10;CNync24DdgcKDgD09cUMSCrD5cLyzKByT+fpn6jnrTI3jdpFgRSI5tjllKgMR5jYyOc787gcZY9x&#10;SPKwbY0bukgVRsVjsUqcsflzyTjHJ78DJAIhZiCieXsztQqkjJtw2SAQucBQdnQHLA4pCP3YZZMM&#10;N2wwuZMq4yWTO4ejLxxwvQ8vA2uoIlZljyyr+7zvGWycKPmKEgnHJ7DioZGaTfF5SP5nzKkkpiD5&#10;BOSAGZQ2HPbBT34BrcRo1JCOo2hWQqZDBHKXABLRhuVckrhlyHBOO9VRtQIyJMcSNgRxBXbawRd/&#10;KkvGEIwCd0aNw2RVsuSVErArLuZIwnkMwJ4LqzdwyoQR99s4GRiFp8TBFEieZIVYuoRrjCyDajYG&#10;ZE8vpk5jTPzcGgtdnuQrsUM0SQKpLzNJkCDdIS2/OCPKm5LYPykLwckhxAmaIDzoiEMU0TETZwA2&#10;x3w/7yMNvQgjJOMnmnPsm2NCokjkAX7QiCRX87DBR8jgwyEncQfl/UOT52Ecgcs/yxozksvO7ZIT&#10;klkw7q2ASuO/WHZaMpSaGrNGk7xqZQd++YeaPLCZJ85Qz8AEbHAXJY8rgZpyQsU2IoD+ZtaZw7TI&#10;VBC4baNxRtgBOdyKc55yNIIDIZAYVhfz5J/LIhBYFfN+UqGHB3oMlWYEgDDF+0okZjgbZxIy5zMg&#10;BxyQpBKARjhiWUufmIGUpaIHq7CKkck3nIsXnxoLaS2i2jKMynceu4DcZE4H3sHBJxXKOiL96VLh&#10;VUEkhXZxlyRlB+9yFwAAJDnBycPuHije1DFUaKYWscav5aDdtK7UBIJ/dhoweBjHBHNlkO7cjygm&#10;RVcyKWSTKKOQcDBUHB6CRv8AeBiyeqKTlG1yItKzl4Y7lvMdZj5IUeZ9wAsWbA+6Y2HXvxjNE5mQ&#10;RyiMxRElblJVEi4dRyVU9UKqu7ONucZ4wr5+66MYtxaYy/Pj93gSDLk4AUoyYyS2cdSzn8sQuslu&#10;BEY2DpMypEEQFSWZVIAAwPUr0Bwark3EpXkmyjdMsZgAjjJZdhjzmKfaxLRRjOd8e3cnBxtwMZ4r&#10;o0apIxmUxiPzpbuaNUhxjBmclVHIBWUBsgBc4zmr1wsj25LyLPFFJubYh84oAGjZf+mi5DcL82QM&#10;dDVIEq7EILciYzx+UjYcyEbJT8owjZJlB6NznqTg7XaZ2Un+706f1/X9JXEkQRsCJo1T5RFGGnuI&#10;MNtGQpbJBUlT6Z6AGpmZwW+WHdwxyQyBSMHAO3OMDnjg/gacZDRIjxMVjXKqWMskRjZspnLEsnHz&#10;dGDZ6VcRijbWESMRmRFwzNjIAB+U4HyYJByD0HBFppx1Bxsw3sEzlWw4Ty1KllY5HPzEcdTn/GnA&#10;hGVVBxsLBvMDBdrADAJOchs5H4kGmq/zEqcg4LREmVvlUNjg4B6jA79/WQJtAXy9zJtLuIPkJHyj&#10;aCeM5PTOAeaIpfFEUnayY9FUMV2qdzMM8MDkktx0wNoxn+tN2KMhAobeSG2gswO0kg59Gxz6dKfG&#10;MnOCpyQjHo2evQ9cn6/LQ0eQVPzKz7DjcMZI6AdBjj9eKq73M+b3iBiqDcI9rAjcSFBOeuTnGB3+&#10;goYsp2lCQeFVRuZRuPfdk5yF7YIPbortkqsflj92xVw4IVgdvCDk4z29PcU0k7iDklxt3KQvqdvX&#10;PueO9DXNGxpG7syspZQ7M2G4c7nCKx2k/OyxkDOBuGTtCg57UK8jFiMxxgZCFGdiqhujl8Bg219x&#10;XlcDGScPl8sHc0ZZdwYq8XyZYFSQSnPCnd6KAfrCplUBCzzAEsWYAvGML8rAMMtyzKcfdXHXrldu&#10;NlsbpJ6sdIrgsHCiNsA5whGeXIJXGCCD1+9xxmkZyrLHlgyAyRqJQNzfMG6Pk4OARjGXU+uECnLL&#10;KQ+DuctGBG+7qQNuAGPzEEnazD8YldUiy1yFdMbma4HmRsqDcXAflhltwxgkgkZ6my/ryLSbsiFo&#10;gysCSoCiNUcFkTG7jGMnAH47ieeCMW/jBjaQMMANvdmAYgDhird8MMD0HrgVrSmLJ3ZCxq4CRoZC&#10;pyANh2YLDcuO3zkcgGs+4jD5J+cMQpZIwrEEfd6Z4wcbice9YzUZRO2g2mubY8A8aaapiui7ujkj&#10;goVGcHP1xheeOXBr8zv2gPDqyQT3WUkSJWAAzvcFjzgcDrkY7/lX6q+L7aMxSkeYUAAeVlyxJDM2&#10;1u+cnk/3cEDGK/Pz43aSs9vcIxlQhGZUZThhtweg5I6ZGOTn0A4p2b9D1oS9zme39an4KfGXRktr&#10;m7UyIxEW9g0Z+zodxG7O7uVIGeuwHsRX5l/EHTVaW5JZJIN53gkkkZwVGep6evf0r9afjdpgM10j&#10;LFu86Q7ivA+cqowTxzsyxPY4XpX5ffEu3CC5QKdg37sZaTy2jYEhRg/3vrlcHOawlDzudScuRTfU&#10;+B/GsMSvdKghIYAhiPmjIOM4B64QKcg5UDHNfLniKKFTNIxcgyHGBuPGchsj8PwzzX2N4ytkuJjI&#10;sIjRJCCVj8tnOMMwGDxw2PqK+WvEtuEupxxEsSsUHkkAA44PY49fpS5oRtprZK5Mkm732/r8zziA&#10;RzqwKuyRAqrsSGUk8Ajrycj2284rwrx5aIt/E2FCyB1cAZ6Ebcnrxyefavcbdvm2iPIwFkVgBllJ&#10;Ckfkf++q8r8eW7HdIUYyFhnKgbSMd+fT2xgV24aThWT3Z4+PhfDxW1n8meFXvksQxJbax425UnIz&#10;+Waj00Kl4DHGj4BEfmZ2Akct165xjPHHQ8itC7j/AHO5ZI8gksGYsx5xwfbI9TxVGB1MwzHkHBKp&#10;ne46BR+J/U17kXF6vY+fhQ5p7aaX/wCB8z1GwvLa6/eidYLrdi61e8G6ADJCxQxAZz91QV9eB3ra&#10;jRUVwpS2iLbktISz65r7jKCWR8ny4g3bvuzhsDHH6TdMZ7RJ7QXiqT9n09Pkt4W5w8hxyRx8voCc&#10;V1arbSC7e2utk9wwjv8AxBNvaKCPIPkW6BcgoFI+UdQ3qTWjlFxSQSdlyK7V/wDL+vkb8E86TpbT&#10;wQ+faAGLw5bI7RwnChZbh93Jb5eAQfk6j5a3rK5SWadYL0y3zybdS1yWDzINIjOAYLUnjIABLqON&#10;x2AYBrnrVYYbL7TeRbdEkfzbOOFSuteJDkqF8s5Kockk9AMnBORXU6Ml1e/aHult5ZbSNLfQ/C9m&#10;6Nawg5R2nZScuSmSxLEhM5AGaWsotJl1fcdr/wBdvw/zI9c5yunWkkmmQzeRFIuft2tOmGWQZ5Kq&#10;4Tk/dyPbDrZLiN7KNrjT21BlYW8MUSiHR4ymxnlJ+QSkf8C+YE89awmu5Lya9imiklsnRbi9OJNJ&#10;sQRnZCoBycnGQOewIya2IY7AG3vkF22nICVYyeXf+Irzad0nONqB8DjJAAwCcCrhqrPyKlBSkmt3&#10;r8u3r/wFsYmqDy2dI47s6Xa/uZ7qCIrd6xJkEQxHj5S2CfQEHnHMItERInRRJqrkTR6dEd9ppkbB&#10;mLTNnG4KrHHTg5A4A1JEmtrpobqWZ9WjhyFh/eabo/mgZz/tKCPlI4KjvgU2xt7ea0dWBj0q4uzH&#10;BCg/4mGtTlgqM5zkRqCDzxhWA74ceWPxdxQjB2qRTS/MwflH2iOG5kkSTcLi/I8idt+RIlvnGAQe&#10;DxjcTwaI7e0gDSPbz3FxAW/sXSNowJJCjCWdvQADGDg57Ct++QWZVlmhvryECK2hjgaGz0ksCWBL&#10;Da7ck8ZGTz3FZ086x6Wwt544YHMxlvfsxub/AFaYqWcR/wB1UJxuPI5OOmKkpfCTdWeu3/AMq7WW&#10;W4uJolad1RVuNSQBYrdUJ3LGnI6ADdzwWPJ69FBZ2UkLzrMbWxW2D22nxn/T9YlJCkMx7dDyDgL/&#10;ABEnOFbRPN5Z+zLb7LVmg0tpzGEDL8kkj8cjcrenP1FatrY6hcyXj2dzZiKPEmqa3OokayRf+Xe0&#10;VTy7442j+AYON1Z+65t9QXK6ahCye93/AF0I47p5GFkoe8v45iYrInGm6VhcucDC7tu3cx6bSGzz&#10;i1IhtrKWSK4eQhSl5qbyDOBgCC2jGD8zYJPP/ARmsxra3EKpcN/Z1oX86KNWM2r6rIedzLj7pJ4P&#10;RRjq3VTPdXGseR9ngmma38yw05Z1S005WJAllJOMnaeGIbuRjaDvH499SVBc1t0/8jorS/jhtxHL&#10;ARFdxQCDTHBFxMxA+eU5IAHPJPrwBTbp5rppLIS2rBYR9p1COMx2trgKAiLnnBO0L6jjisOF4ULO&#10;WWC0dNl7qk4LzXxYqBHbqfU5XJxkdwOuhbRtDJBI0LRW0rq9tp0kpkZgckPKMZz1B6AHOcUdbw7l&#10;ctl7zTta3zCGYWM0M2yK4lRitnbMSLW1G3cJWyOODnPQ4PNUkkk+zuHnl8p226pqcaPM1+5AaOBF&#10;UdGO0+vQ54qxJcWTXUqxT4hunLXk6jlssMpESMAHbwQMA5yMYBkurx7L7IywGMNKpsrZvmW2DAkP&#10;Ip/2SSCeoYetTG6VpaP9CknSg5TSa6/h/Xrv0OK16z2SxMhkWZEzHZqNiwwBRtBPQsQRknnOc5Jr&#10;lo3mQO0oUPC+yMMN2zvuJP0Br0DxKAltM7ymRFnBWV33JdSuxZmGf4UCuRn19+OKlRnhkEx8naCu&#10;OPlY4O0AnqM7T36dKzU52UTO8Y8soqzKoSFzEs0iySSOSE3HfgDnPI9ua0/NgjsJIZyZCU/dqhAC&#10;DnAz0zgnOMcmshUZ/LS24eKMrJJI4MrbucDnAORnn+7juMJHA6IsUryN5aH5I24yfw+h9eTVWd7S&#10;3Cq237j8h0cysinyG6YHIPTjuaKg3qvykpkdcnkfnRRdMzs+7+9Hy3J8zoEG8K+6UrhUTgEDHtk1&#10;HKgjQDarnzd7uF6E9Fx39Kv3EKW0UcUYxsiMhY8hmPfFZ0uY3MLM0iomRuPOSQCa4vhbZk7vX7it&#10;MjDPmqRgBySoG7PIGM9qjd0GMnew5YkgjIyQPy/nVjdtUDAYKucvy3cdfwqqwQBV2/dy5IOGYn1P&#10;40cyvyryCMnZpbEBfcRvQ44OAcZOOPwppVjuIKoAcsGGGJ7kU5ZGLqhxw5Utjk9s/oKZIm08E/d6&#10;9+vNKzu0jP3mrPoVi6JuJY4LEcx5x/ngVGcnJzlhwNowfT+tI+F3kDqcDn7ueTj8qUjYvUk557A9&#10;ccfhVJBzSa3/AKuM24aNVYkA5yBjbz1+v0qXYy7dxYbzknotM4BPHSXA547n+lP3ZAYjOMtjPsDS&#10;5UmkikrK6JkkCsEUYI4Y9Rg/0qxG2xioBPHJIUEDn1+v8qpLkMDnILAEYAOCMD8q0Io0y7lQWUb/&#10;AGPUYP5frTuklJk8yj7i3L8SvHvdvu7N3Cbmyf4SK0oImYLuYZJDyLgBj6ID75HHsKzbdxMryOoL&#10;Z45OPunr61qW0aysFwqmNfM3BcljjPOffH5VabaKT96y2L43NIyvlJyqmTHyqxPRCAcdOOnetW2S&#10;UMWEvktGmLmUON8MfQBT0OeOOvNYkDbmlVi7OqbhJvKsSRnnFb1vDEy2AYOyToZLhTIT5uOMfrSi&#10;7WkK/XoiBF8xitnHKw8suHZAFhQ8b3GMZ98VtIXnRAWaQp+6t0kcGQZB3y9RwB2bsaoW85lvxAFE&#10;ZvJI0aRWOUjTAEWM4IOBn6VajmeVZ7kLDH9pdLMRRwqqQIzqDs44OO9GtnJmnu35JbppFyFEmjiC&#10;Mrxh2Mz8IbyUjheSeAefSrW2GJHEbMImhWbUmWNS8IJGIgPuuMdj3IHY1ntGPPMeWKWRcWwZi+1m&#10;baWb14A44zir7Wsb+akhdo7YIbiMMUW8LfMc+g9uaXM2lLoaRppycY/Z/wCATxagtz5Kx2sbuEZb&#10;KCNMxRRhNzSOADhyO/qCT0FaKX8waK1DOLW2uG+yLFbo9zdSkctKwUGRF3cA9vrgtOmhI7K6jnki&#10;l1OMzBoxt+zogI8rGcNkH7x5qtexpFHA0OUM9wbRNwWQW23gumRkFsZPNVGSUveI5Wr2ej/T/hy5&#10;ckRzSpcSzeUJ2nuiI/JF/cFslV28LtLNlRwOeB0qeOy8xLiK5mFp9pX7TdSOJIVsUXBSFccK7ADJ&#10;HoFOMsK561zEl9KjFWsEHkbQACwYfOwxySSTn3roGWMzi0mVpIItNlvJwuyN72QIdvmtt5UZHHse&#10;eaG7ptD5mppVF1Jor60hmlmjSR7yeEQ6fbMj3BtIA4JldSpDEpvAbHDEHOBirgktyY7jzomMSNY6&#10;VZ7VE7yMwMk0wKDcvJ2vnt14wcNh5FnpOxmR9XuJlnmj2xzRohXbGrY+78+MHsOMVfUrcPZyqvky&#10;3V81gskW0NbpH8vy8dzknPqabTfu/IajKnJOBPbXuz7OWtklhiYRQQPEPs9zNuC/OcDO05+cc4B7&#10;E0t+9rbw24Z2kjt53kugpLpc3bsSgG1sDaAQcDkMc9gE1FnsjNJA3yQ3o0q0ilBkSzG0q0iDOMtg&#10;Egg85+lQCXfNPbSoJY7E/Y7QMceUxALSk9WYnB5OeMZxxVQjz3ijSpZyUZ7tfnY0Rb2MdsROJWtE&#10;HnX08JZlvrtgAtuEI3II2DBhhs446Vcs7ZraLU3nnNzZacjBREpkGo3Uzqke9Su4xoCTuIG3JHU4&#10;qhemOyF4VgimTT4FW3jmTerSEN+9k/vMuCV6Y49K07m1trKTV4kSRvsKpYWx89o1SWVozJcFRwSf&#10;3mE6DeM5AwVFRd3Lf/hiKTjKV0tf61K8YFkYJop7eSEL/oqbBJDe3bgPgknAKb1JXkZABAyTVGOK&#10;dXuGeNWuIrj7JZIUSRp76UqrOMDAChiVAyFwvQVDdH+z5r3yy8i2c32G2SVgyxNu2tKOOpA49M9T&#10;WwyzRwvcRzIn9ltHp1qBboJFE2RJIXGPnbJJIAPTkYquez5G7FWvBSa1Il06AxTywyNIBPHpOnQF&#10;kmuLy9ZsSONoA+8snUY+7zyarI32cG2aIpBYy+XM7stwuo3TFlSJVBIOwluOSACfY6s0wSKC5VX/&#10;ANFc6NZRNKWjtvMk3SzH++xJbG7O3I5IAFVGuv7PuL6T7PbzrpSGa1RohGzS7cLLIw+8VY7hnrgA&#10;kjIMNWbpy3Fy1G7rZMom0WC3uY5Y28qBjJqFw0vmy3kwZv3MJ24wAV46jb6UyO3WWK5FxcyRBYft&#10;F8UbzDI23ENqhGBkkKMDpgE4AJralto7Wee2VUeLRbGO/ZWQD7dNc+U298dCplPrkKOnWppbJLaO&#10;GKXy7iG1gS9KeUITNPcp5kcrMDk+WSPlOQ2D93Jod2r/ANaEt8qck/63KbtPA8aQbbW/ERRJkcLB&#10;Y2uxo2Xpnc4IBA4POASQazUW4uGtQkCC7MIg0qxDFRAqkoZ3HGWbkkN3Y4qxGpmSziLMouXmvJ5A&#10;FaWXykYKhYj7pIyQPQdMA1DO1xLHbyvcyG71IJatedJoIVzGsS+qhUVR6AADA66Jpp233/QUGlJV&#10;F0/z/wAxouY2tZUmjM1rbXXl2enRR5mv51yqzO5PIDHoeRzjHNTGKeJbi0ublIkmuRJrl6W2SznY&#10;T9kSXBzs2gBCMZHXODWjqlzdRW76hHKok04nQ9PjKbkt4nPllmJOWfG75iQcsPSsnSYVu7y+gkkm&#10;8jSNP/tMQmTdHezCJmLTDGDn2x9e1ZuEr3fl/X3Dbi6l7dvkzGubh5JZY7e2MZniCQ7sKNOtxnqB&#10;/E2SxB6lj3JrRhewghj8m0Z1hHlaVbvED5kn8csgySp5GR0OcAdqsx2vmSWKPKWfxAovbmdo1Msa&#10;Lj9wpx90/geB+Oet+pt5dTjtYY7maZNMtGBJOnrt2OyHuWHXPqfoEm7PlD3ZzvJ7tXMiZZBPLKLm&#10;4mMbSXGpTmREM7MRujVV9z0XJ/nUsssUJklMe24nt1eJVORpsWWwc55ZsA4PIBHc1IWijvbu2a3h&#10;kj08STYIKmeRcEuSOmSTx0H61anjVrGyaULJNqemvq19MI1V5xDN5SQ9OFAVTkc8ewxCi2l5icl7&#10;Syemy+6y+4yPPUJBKYZp4kLR6bCww6hDvMuewJ3Hn+lRbY5kDzQzYhuWuZHLhxdTtkfP3IXqSPQ1&#10;eWRZIC3lqsmokoJFPz2sa5Hlp7HOPpWSLg2cTzLHG5hc2MCsvyRlx80uO7fyrR3UmvIydrxa3/r/&#10;AIIyWdJPPS4JlSSVJL282KxOwnZEBgA8YwBz0quzJG7h4it5Iy/OAFt7SELwAMEhjzyfap2txCtw&#10;24v9jC3Gxh+6mdskll/w9agluDst96I7yQG6nkPDydflBHQY4zzUpJe96GjkmoOT0t+pVaVomdrS&#10;EIJU2Q7gfMCH/WSYx1JBOeOtQtlI1nQCSONtqAqc3EmBycYyFz3q+sKX8RmYeU07sjCMnYqoDgAZ&#10;46DpVezWWdJYnmORMIEcKBsU47dzjjP0qYy5n7y1Iqtxs73uV0YmCVogWEa7rmRXPzljnAB5/Kq4&#10;mxJI0kRErRjB6rCvHH1OPat4xQrdSIULQWYIEAbYrlehyBkcjPfrWP5nnTZdVwqfaJAAB5xLADP0&#10;HFPVpNBopcq6WI3nmYHeSiTSAO6ghAmcIhP64NQ3DzFmt5AqMu4qm0Awrnhue/09qfPhZUBAdZYB&#10;cSK3IcjIUfQcflU5jWWKSZlQSSs0pZFKlQpICjnpwPyqoJvYGlz2WxlpunzGqsjlgiPgJtXBUse3&#10;OD+dVfPKEwwuIYosrvBJAzyT+NW5YwwGCV847OOdgHYflVWe2jAgByY52Z5E6Z2HAGevYUraK/8A&#10;WgpWvyvboIYoY4gWcgiMHCgpHGCeT6bjjGR2pFiEflZ5JySVfKwqTyB7n0qSyt1nlSFtvlyMXcFd&#10;2QoBCjnird3BHEsG0HDwG7dTgq/JwhHpx2pRk07rsUpRjFQa1HTOqhXjWFGkY+fAgKmCMEYGc8Fq&#10;VXjZCF3KxUmUryFQfwfl6etZkAaYEb9paUSOcbtw7J9On5VpooElwQFKwx+YUdd6yEkD8MegppLm&#10;aRloox/rrcsRRM8h2koCgkZgSWjjxnA6EHGODVlLgiNpIxsLxqhYj/VR9duByCcfz9ai0vmWXzPn&#10;WawuLp1JxkxoWUfTIH4VD5sksakttWNjO6gYErccH2GOBTvyxUkbxTm7X2/I6OFv3SLcAoWQpbpk&#10;5t42I3E9iSM//WxUsUcjNbtbl3h3+Tplux+QvzukP0696oJEwgiHmOTeySXNyc/eMbEBV/ujr09f&#10;ar0AYT/LJIHu5VtFfdnyUIwwA9SDjIxVpK6S8iJN7W00XzudAlv5VvN58tw1hBIxu5wjQrrEwQMk&#10;TDPChuCy9Mkk8VuabFqVqdQjISET2aXOs3rokxtIQyMEQkZXDGP7pDZwDxuU4vnyPaSXLMTDpd6L&#10;OwttxIty7NmRWPP3gW2kY5Hpk37LT/Kv7fSJbiW4sYYW1W5gclFu38oOAcHjAYjPOMnGM4qeWS16&#10;6f5lpxk1Ff13LMVwboWJ0+2ubjTobh10jTc+a95KAX86XJ+bJw20jgnAPUmwtgL4ahO928drZsDq&#10;1wxRZdUkZtxhgX+I+YWXZggqC2exrzwzQpp97aXLWr6rLLbLFGm6GzjjjiJVQTk583G4nIxySSTU&#10;q3ySOZGs7c2/hyT7Ha2bZaO6dXcedOf42LLuOex25xVKKlvo0bRjNLve3+ZTvbC5vvKggaNbq/c3&#10;RgvSkUOlWsKSBQ7Y4ZsLx0x0ySAPEfEmhlFS4S3EMPmGNXxzdPzkr7e3YEetfREFlFqF5YWVwF8z&#10;WYv7Qv7tUAlk2KrpEP8AYBC8Enp6cDj9WT7RpcuoThH+zXH2DTrfaVhsR5QfcOfm69+4zntWdSHU&#10;2SvTmlrZ/wBfifMk8bxSkltrAbSAAxUjgjr7V0mjay0DvG7l1uNhckEsrKwIOOn/AOqrXiLSoLS6&#10;aGNmyYxO0hHLFwGPH41xqsyMCpx8uOOvbvWUJcmhwVKbU1Bdj6h0nUwsdzNM0Uod7K4dnOJ5QZAZ&#10;E4PQ8hiT0HBGefVbKYTmwuotsqP4tu1+zvHNNbxFoI2xksEYMvXAyd7Y5r5M8K6nO5kgcllmdNx3&#10;nor5x+n/AOvpX0Lp109xpTDZGiQ+J48qV8xpGkiVWkZic7sPjI4woGOAR1RV0lHyZdKrKWi8196O&#10;4+wySWPh+0WKIZ0G4hRkidFmdJXuIzMhO9nOAqhRgoF561PPqN1em81S0EsMjajpt8bBLdUtfMz5&#10;MzOqsOF3IFAGADkjliaFiJY9Ths4nRIl8VXdsn7vc0cT7owgOf7rjJ7kds4qxpejpdz24MwRbnTb&#10;6PH2dH8vyJWZSOOcYGAehyec021JqDV/8/6sbR95Knayf9M6MJbXN9Z7o7RJJtZvtMlguLMxQiO8&#10;UNDLuWXdhSJCe5LrtbAAqCGaa4sbu2gaWzXUdAtbj7OWjgW5e1u4d/BYgkGM5HBB3cY66un6f5V1&#10;fLbypBFp2qab4ilC2kTXF7cFXYlpiu4AmViwHDYXIyARiQx2FsWaa1lufNtNbtJQJY4f9VMDC6/u&#10;iFKYJAxjJzjIqGno0Olz6f1puWLRbYajHaXk5htoNT1LTre3hEIZPtcIkiV5GccMY1OTkjeSoUM2&#10;aaQSQQ2msCxih8/S7PVUhm+zTQtLFcNA8twWJjMaGPZtPAKMCGIIrbu7xIbqa5jhdkgGk3AguJVl&#10;DSSW8q7twQHgKw9cMOeM1yN5KyRqgJJi0rVbbcxB8yOGWCWJGGOiFhsxgKFxg9lJ7WKjK6lHq/8A&#10;hzdtrSWYCa3msbQS6pqtkjpFaxTzLPbC6hTIBcgkspzgkZUHaSG0bYWl5pN5q1zcRSeTY6P4gMbp&#10;bJE6pIlu4Vt2SqglCCCe+3BBFTSLhoY7gyqk1tZ6np+rLCu6KR5J7ZIn+fJwAmwAAdVJOc8c3cyR&#10;vpMTSJI4nsLm6YmUGRTFcxnapKkBc9EA2ryAKpQV0ns/+AZxjOEk0tbJ/iWzLJnULWSdCtlaalZa&#10;SsVkJjcxySm4VXAfjKySkkZJJPqK6dbW0m1Owa1gR5rBNLuZJpWjlhRZoUhkaTaQMeZIRuYqAdg6&#10;g1iSi1vvElvoVparY2aeIrK1IcJetKL2CNWLFkDfKJWOAQHIBYNgAOGr3F1bX+n7Y4LbTtDhtlaC&#10;GKO6uBZXZjVpJNmSzANyQcbuOnJJJR16foVWsuWcVvZ/+BbXL39kt/ZOx2kSzubfVdItbi1t1N5q&#10;VzbsZ4rSSMPuSEGcbTgswOeCrKte2l083NuqSXjw2+s6dfMLm1U3DvNb+TdNneFk2t5agH5QEP8A&#10;EpBrSW0Ed1FJInmJa6qITEMKH+0W7CRlYgsrEnJOTz+GL5tX/sWHUBOVe50KxvVUQR74Vgv57dYw&#10;+3JyLZfmPIyNuMEs+SLd49LFe9U5eX+rjEtUS1jhhc7m8O6xpd4ZrZ544zZTTyeay7+ThAUGSxKg&#10;5xUrSpZrHFaRXVwZ9X0+983yQ09wHs5opiyLIvzBzGE3ED5lHXcTWMkiqkBEDkarq00O+3BhQzRb&#10;33x5w+ehzjOc9a6GMxhdNuGNyftPh7Qbq9jjkhgSebzmV3RViCpu+z8jaSA/BBAahSklzPf/AILZ&#10;HKrqom7tfkZGkwq1nq1+s4l1ODwnCbe1lt8rC0N5KswV/P8A9aFBBUK3LDcf72opm0/V9VhmNkUv&#10;vEdtZyG5t7ec4v7YPMsZYsRnB3MPmIQqPlPzc/rEQa/1ywea4aO1k1ext3UxRPDGs7Soq4QcKXcA&#10;HIw54zgjXuphLBqOoZnju0l8PXsMkcqokLzxsM4C5JRURVYnOAR0wAoNVLS6aaerNHPmXs29+vk1&#10;Yp/6Q9hJcJHboB4cNv5bRRx293/Zl6GbLkbSUOXVFzjaPXNPu3inubxI4Dtn1q0vRJBLbGIC9slW&#10;SNG27mzJ5ZBJDHYyhOcraW4ks5bbT1klktbSbWbSNJCh+VoI52AO3IU7CpUf3yeuKha+lyLuV55J&#10;5bPQpB5c/wBmhQhzECEUAZAL8/7WBgDBUnKfvvtcNJuUYLVdfnYozySNap5tzbStHpFuUEVjaWrX&#10;Qsr1kEQfy2JUb3YAEY2qMYHOrc7ZJJbeci2srXxFqlu9vHbxQmb7TsjuJWxEN2YwjAEDaF6dBVDU&#10;S9xbM0jsVWfV32lmdpPJYO3mOSWfe3J3HAGcDLMW1xGT9ve7d7x2vNH1FmklkUFr3eZwRuOflXAL&#10;Z5OSDyDMU+blXWwrubSp6RWv3f8ABM/z286G6E92yyaVZXsixXSRQ3Bs2+xxu4KYXKjljyRIVwqg&#10;Y6FrTybiKCO5ghjl13WNASNTCwsFkj38ArvJxJuO4ANnHTcK5zX72G01S4hgt5lNpo93+9N65eTy&#10;HJTAGAv3EAAGBt4pRJNDq8slvPLbJD4ltV8qFsKwnt4y45zzkggnPKj0qpykp8s/n+BMkqfurd9f&#10;68zQMDR3BD3MBtrSHT9S3yeXFLJtm2Mibo2zKAFBx2zg43E7a3IntJAlxFBHEt9BbCaJJ70SWd3H&#10;JaxKnl7ZGLCVcN8qY53HK1z1wyTPp9tcC4nj/wCEZluoIpLyX7Nbyx3KKZViBxubAyeoxxjjC2Os&#10;3Md5a2SBTBNqdwCsrGUKZLTJYDoCCBjAx7cDA7SjdPb8R+0lGrotNLGxeB3vHS6ma4eTWZ7mW8iW&#10;3gZpLqzgmWURrEAEz5ilQOTkDbhSzIJL3UXggikMsd7dxPcRkwfvBPbGEHzDhlVmt1UISVB80qql&#10;mZqdneSRRfaYvldpdPnkVmLLK0iMGDd8Y4wMDH0GKkUivb2bQp9leKz+0B4nJZpFmkZZDnPzBfkz&#10;6dMHmlBczUepqqbkpSh3X42+Z1sCaZLYxLNLJHZx20PlxyxeYs8jRyLK42k4yQoB54c+lblhfQSX&#10;FlHkKhhjOIV3K7BFyxX72SzE4Ayec9RXOWUUdysFuAxVUMTfaNtyCqzwbAowMbUmKAcjjOMnjb0a&#10;dlSe9hVINkUltHAijyY1D+QNo7ZVuT356A4FSXvKEXr+n9Iqp71ZLzR/ah/wbOftOWpvPiv+zH4g&#10;uLdLjxHYw/ErwTc3THz7qbTo7exvrKPc2D5cbQXIT725pSOAdv8AXC0buxJa5bdIv8ckWCGEgKKT&#10;jgkvhs9Nh4wB/mIf8ErPjN4i+DH7ZfwF8YaJbW2pTW/xD06xuLC9kaGC8hv5DptwjOvI/d3bMpOQ&#10;GjUkHpX+nPqMsdvDdXTQpN9mgLyJIkZNwEWNiC2zjcXUnHeNSAOQdcalOnTxC6rlfm42/Ro82mow&#10;xVShB6Jp/wDgX/BvYssT8gxON8m+NlfzjclTJIpyrfKufnHQdE6YUxS3EUCtJJcoixvhVecKkSpt&#10;GT+8BIXJkYZyVkC8kLhsRWSKQKgjgivJY5LcKhS4ZJDvdjtzud3EhI5DA88mrZeSEECWQtICokO0&#10;yId6xkgkYxuk3gYwDkDjAHnGzunYpTlNkEgdYooYlm+0m9byICkbLub98u9UDYbdw3moedpxX2Qw&#10;MJ3nkjdQIome7LpAsZ2hZFadkLIG2swG5zKD2JrQeZkkjb5mMk6W5DuSoBL7T+DRsfcOQeBUywHI&#10;VWVEAEUaKpCoMHy+N38PzA9NwIB6ChvS5UZNWRkpGyjiOKKaOPyyEWNo7VYycYJQ5e23EKON6uff&#10;askSSeQyRW0LGNWYQwJM9uAjyKYMxHe0LsHQgYYyScZBFUGuIoZrONIT5t1Jb2q3BMckluZ47h4J&#10;F3IfmtxGUUnO4Od2TydYOJ5DCdyD7PBLHIixiWEyNOi7Ts48vyiV/wCujAjpUwbs7lPe4kAeVF2z&#10;FCgBDxRQyyAjBKY8nG1QyhCMFlmfpgMWpE6NGyxGN9m1k8mMRptDfulcQA7Ys4jJ5ZZXOD1Drecz&#10;qGVpI/ljZEPlvHC0nKsvyA5TacZJHzn2w2MAyGGIJC7pGyzLBFujEgmMSjCDiIRsq56iQg+8NXvI&#10;alaX9eRnSwqPNWQTyBVIuTHFGzqqBZFMapB88kBCiJTyUct8xxnHuEIVUFvArLLiP91Itk87ALs2&#10;EIDDOjYUgFRNkg5UGuheYzXKpH/o++48gtGqMwdbVZllyVzuAHl9cFSR6YxpbmNo0cROqTWttKsa&#10;zFPKj1CZoZIgVAyEO50P8JY4wK5q8eZXZ6FCpZpen9f1/wAA8a8S6a5ga5gQvCln5DzTRCW4tlQo&#10;UlI80ktCxkjc4bKlSFztrwPxbpd2ryXC2ssDMoiME0SuN+3zGCYHCuGV0OTkOCM7s19Z6x58tnPe&#10;CVY7i3imvAVV2hd7YtDIDGXK7Z4m2OCD0DZ3AEeI+JoLe01GXTEgR4YZvsO5/wB48kNwVniVi2fm&#10;gK4R1wcEg8HFePUhH7J9NQqSd2lqv+AfMFwRa3scogkldMrMFgRkIyfmJKnaSVUBhjDKccMAdPeG&#10;ZG8uV4rgGMxpEAdxCrtPGMOCcH1B9Kk8QzKVkcRgFmU4GNql22vgY4yXDD0IPXPGFDIWW4BCsI4J&#10;J5FkRZEmL5R+Mcbt7NweCeMVlDa8tjed4ptbnX2yq8bPFGyLJCFXdGAA3Bw4IGFIO1up3Ecckjud&#10;C1KaPypLyXyWij27oVAldYjhzwQBJGS47lljBySa8rsWZJSAQFTJ+VAGfhQcnB4IHYdQD256eG6d&#10;VZ490ckkctzuVvuSLE8oYDHQjKsP4txJ9BtBq7aM6yvFRPpPSNStXujLNfxtK0sktzfyWrSW8Mrs&#10;qwXShI2YxT7WjkZuNzgEnC16Rpd5ZxNBFbxvLNJC8dlBNp8yzBohm/0qZtny4wJ4g2MbgFG0DPgf&#10;hO8N42n2ZiURXE0BUySPK0cM6IXtvvDdHuLMAeQWPJr13TFvF1ZNNlv5WMl/Hpc91BbQQzzPbq5t&#10;boko2JY+hIPzqACcV30ppWvrc8ivTbTV7NHqEOoxbd6zzSW3ki6+1rGiNLC5VYr0M0uc22PLmyCX&#10;3AlccVr4kIlUwPAROGaGOODKsCXKoDExYqd13H1zIdpOMrXNafJdT2kN3HOsEslhPqsQWLEUFzbT&#10;7bhgqlcpc7yzxngNkg56bccSQr5SGVoh9kSIy3ElxOiXEu6IM7ltzQy5dWYfdwmMZJ9KE1Znh1oe&#10;9br/AMG39f5G9ZtMyKJY3UBmVlKDy3BJKsT5aZZgVZsDAZmFXNizRYRt6SJiLCh4kAHbAHBwOpxw&#10;MVgae8MzSMIpEkR5g8nmKWkaK4eNm4QY3unmlRwGJ4wTnfgUjBUgKANibeEAA4GMdu5z+XFdKSnD&#10;lZwu8JXi9f8AhjybxXpbTQTOqHzGRgNsQdnOxmUZxkgHBwcZJPfmvn/UYRFv5yjO0QaSFZcjI45B&#10;GVI7ZxkZPHP1x4jtI2trgHj5WclRhuEPQ+vyDmvmPxFaRiYoQNqs2AoK/dZwO/U45Ir5rEU3Rqum&#10;+p9fga7rYdS6o85Ef+kyL/qgrOywtAibVOQM5GP4lyxGQ3zZJNWra6ieJYn8wMGDfLIgdlVhE5Ub&#10;uBHkLzw20cVVlxNHA7KuJ7cToNuWiLxq2M/xYPmdeT5mMjAqa1tzcSw24kKIuAoJZxkIpDH5ufvN&#10;371lpGSPQVlHzZ9reCdRk1Lw9pUs/wAxeyCO8b7l3RAKwI4J5BOVAGODjjPUxyKoX5pvnIZT9mKb&#10;RgldwI3Z2lVJODx2NeS/CJpV8P3G11EEWogCEpnhooxgHOBydxwOcdq9bWUFJnEagxzGLkli3Kgk&#10;n15/SvqKEnOlGT6o+Fx9L2WLnDzIjkJBM0kvmJDh18nLtlevlgEjnnAIycZJwBVlYwYypLNGyHPm&#10;IAxDZJUrtHHP445zVGS48iznu1ii8u2MjGELhpChKcN0GR7Hg/jV6VxEkjFd/lKXUcKeM8dK1OJ6&#10;OxRNuIHYr50puMozrax4hByzZKxg84OCc/MEz15kLZaYiJpMhJC0pDI+QASDuKgfuyNoAwyk455c&#10;8Li4jdriUxhcm3EcQhdhgKzHZuJGR0YD5BxTpYiIvLZlkVvlfep+cKp3cAgDcF7DAYk4PSgEUnk8&#10;sjcJEETh5rh12QxghmLSNhAQQGLYyFdx+DCV3Kw3yRiRsFVEzts3JuRgOJUPyckkrG3BOcOMSmV2&#10;jWFCTI8xNurNMUKB8ng/OAucd40PQEF8jqpjiCvk3AtY5DJ5jxFoiRIpYH5lAxz1yc5o3NV0InG4&#10;SAKl2zrtClA9pJ5ifxEh2WGUjBKggGM8+qI28t5TbiXEBilj2zxbMMsbBmwHXLSL8gDKE56MbLRg&#10;QPkR/IhaRFjxE68ebGqknar4PHOM55qskcbozBcIrJb3CljuuRIsW1iRgbl3KNxByqkd+MZJrccX&#10;ckgDbIpDNvG8SrPtCb/l4dl2KAHBw4HRiOh6AtgUjWW2ZVR1KgsL2SLIwWLOrZI3FOv3GJ7YqeO3&#10;be/73Pmb/kMSCJXRiJGwoBPmFizKSRnnrTZSiQO7xrN8rNtlO8ECJyAc9flJQ56gnNK19EPm6IhK&#10;KLOQCJio2xSxoUjkteVGVOAB5QO5D12hcZwMoXZgBJBjLMNwh8+OTawYY2gHa4BOT0b14p9qwmWd&#10;YkSBIZjagAF2Kj7vPA4J7g8cZ71DaIYVsbVpJJf+JekokYhSoVY42UADuQG56EnHGAFe+qNFa1mP&#10;81m8vLCNyDJEJYR5qDaFEpXeSdm8RuePvfwjFSwRHorMF3bXja2WCNNjFQyDYScbFUZONmD6Zglg&#10;/wBHnlYqy7GMsYDBZeWSUfe4DqF4HCkZ5Jp6LGs3lGJHYDKyuis+UVMk5HVl2qSMfdz3xTUnfUlx&#10;Vrr+thiRmKI29zLGDax+akgDxsBEUKuWZuQpyGyeQeeCaoCR4pFnIdmMgHl26q8UTspdkRtq5jl5&#10;IZiR5mOh6aVtI0twoJLLM7SKJW83yWMSMu3oAArsuFxnqeS27NutkckmxcG3WCYEhfminl2tBkKC&#10;FXaSpByCR2GDlJ2a/rsdNCzk4tb2/wAiSPLlH23ChVZXSQq0vyEMpJy3zx7th5BYMWG7C1aQSrH8&#10;6QxBFZBGoxENoYBVJC8fLnkY298c1EBJuWB5S7GUIspXlcK7KxUkgnCgMf4snpxiPT3Voo5kjSPz&#10;baGdI1VUjhWXCiNQoHCBTtz/AHz2AAqLUlbsVUXVf1c0ikpdGWRVjVdrCKPLMSecMSeMjkYz+lPf&#10;ftCZWRCuTvXIGGUjKhepz6j7vQ80qRqEUMqOFkLKGTdtJJbIzn+9+lKpAVtoAAYqAAOMHHp/Oqv2&#10;Oe9xF3o+0uQOBHlQd+QxxnHbBHfgcnNPyNoYZG0ksrKABgEHOB7np1x1xQVUHO1dzSbA+0bxjPOf&#10;oSPxNIIwzkln+WQIBkFeAeenv+g98gt7XI5Ypm8tozCjZxL5kRlYqSchTuBHX0PYYHWqxR5cB2hK&#10;E5YKiv5wGcpg54HGTyfmIGO954kkXLKpZY9qsVGVG3PHpyO2KhkIjDKB8gG8KpKAEken0P505K3u&#10;suEnokVA8uQpjCBPuGMbiQNoOfkAA3ZGMnKDPqBDImWjRpXVS5UlZmjOfvqoCsDnq+cEbQBjkYkR&#10;FM8iEKzB44zIygu3yFxk9TgZXnsTkkkmlaNhJjMeFQE7UZcruxt+9jg7SDjgKR3NZuNnodKcVaxE&#10;yK6qDbxYkVwfNj8xCXORuGzG1h8zZxgkDqahBVEUD904dF2ysqzEY37Sd+dyA5P94L06U9GwzkZ3&#10;bZn+YJgGJ9rHhQf3hClskj5Rjvl91hEYhUKiZE2lcnkhVI5xlS+ckHOMVNrvmiaReqi3uVpAWDIQ&#10;eCRsRSWxj+D5c9AemcMCMntl3IyEWRmQHCiRogokbbyFXcD947OQCGB46Gr1xJ5dxLAFULHbPcrt&#10;RVA2yGMqvGRu+Zs54JGO+YriIGLzCSSZWjYFmIbjqRnHrwO7E1nNN6s66ErNdjzLxEivbyIJGCqM&#10;oXGHbLfMwXPy8c8nsOTXxV8VbIXNrM8yAzNEdwxgsxwSoOeM9fXH4V90eIIVMcvC4lQnGCSuTkjO&#10;ec4A59K+SfihbItrdsMH908gGNoyyDnjHTj/AL5Fck5KL1PUpWcLxeh+Enx80JxPqpSIoxY/KOMP&#10;5cgIwOB6kcKMcdBt/JP4pWJWdzIjq0zsPLxkuMDAYfUH8Oxr9u/2hURZNX3RxyeWHTLoNxAGAMj0&#10;yPyFfjv8V7SOW8vpW25jbao8tflBUDC8ccM3/fRrnk2/h2/M76EptKPS1j88fHNuqh1+VkUlgcYI&#10;JJyBx1GMEduK+VPFFtFLPMzSMELkRPIuxcAjkcY5wCepP0Jz9p+N9OhP2hlOEZnfYyB2GwDofcEg&#10;8dhjGK+RPEtpFI00AG2JVLqp+bAcDgnjpyM+/apU7y99bL89CZU+Zcq3/Q8NnKw3p8ou0bqdin5V&#10;RjkIMH3HXmuG8X26zWrb1DKUJBfG4AlhuB/Pj8K7/U4gGJB/1cirg8ghtxx/46P/AK1cxrsMFxbF&#10;ZIgVZ1gwGKgbsgkYxznn8B2yDdKbhUXOjz8RJ1qfK9baHy3LsSaUuGkUIwVAArnnC7vwHf0rLkMq&#10;skioIgGAjZwCQw+YkY4zgfpXQ6wiW93MiKNomYEdM4JAP4YzXN3LPLKAzHDsFAJyqDrwOnb9a+gU&#10;k4p9HY+Zc2koJ7t/id1omoxWcckkyBbS6h2XJDtHcXIBJO0jkA89Paukt5Nt1FcPaF57aYQ2GkKc&#10;w6fuy26RScEgjJQjBxg5GQeH0uZbOIT+Us1wWFrDJIfktl2qQUXoCCev19a6q68yWdbKJ/JRFD3c&#10;vMk96xPzFnJyAcHjnqPQV001GaV1Yico05crei/B3v8A16nSWccE9xdpBJHcXUoS41PXpYGij01G&#10;HzwWUYfYf4gDjJ28BRnPaaHY26pd2xe60bSpNPlFuWRv7a1xVJV9p9CCVJGBwcEng+SWlwZLa2vx&#10;GiJb3vkxWYz5DbWXDSn7z++Tk5PPTHrvgvUbyTxFpt/fSrqGo6vZyxRXVwmE0wsrwq0MQIT5AMqp&#10;G0cYHAwpQdPfY2lPmqe9Ha9/z/roF3DciW1trq0tbPf/AMgfw5HKqBPup59856DnrgEgdgFFXrl4&#10;o1j/AOJqLrUbeEf2hqYhlk0vQ4uVZLchcMysTjA52rjOSaxru2h0/UTpjeZdG7tJLrU72eUteXzB&#10;wQN/JVfYZ559AI7a7yl1OkMUFlprR/ZNMt8pb7mKhZJWJJkYYBJbqSemQBq1GUU4erIdeMleKtf9&#10;WayXMotFTUbeS004g3VtA0eNX1xiylpJWHOw4KjkAbRjku1XoLhLBlvhLBcyLbfZTP5QFtowZdmA&#10;px+8O5gNpOMoR82duNdNe399bTXOoXM19qdsbiW9kIaaFBlFijxjCgKR3znpjIL7SKG7guriSLZY&#10;6Xai+XTo3Ki5dGRVEsnUj5znjkEjjJyouPNZdrl+9yJN2j/VzSvLa1ubK0uLlpYLOMvHpmlxOj3G&#10;tT4UPK2cBVJYZbsMD5jXOpczgXFnNa2qSRB5L/VLif8A4l+kxLkNHF+Qznk89ycXvs0sMdl/pLPP&#10;r0TETNHkabG7upihXPAAVgGzu+Y8k81RgtIDFeXGwfY9HTyY9OyRBds6uTJORjcdw3fkM4zmZ1VG&#10;Tb3sQoOXxbJ2+8z5AHjMqPcR2k0OWRpCs+pvtLYBzkKSB6cc5JrSd4YlTzUjOouGuIdH06UPp+mb&#10;u9w2AC+z+EHKnOc4NKjss8UzkvfaqihLvAH2BX37vLQgjdgABs8c4HNY9vYxf2nd6dGzJarvuLvO&#10;HuLzYDIVaTsCAV6dDzu5y+aMWm99PxZnNQ5IzXX8rlwNm98u0vN1wtsG1PXrhF+yWwLbvLtyRnIz&#10;gYwW2jHHIxVtwl5G/lTx2kqHyYy5N7qb5b5jx8qZAHLHOW9jW7L5E7wXc9rb/Y2leNNJt08iyQR4&#10;ABzuLEkAlmyccZ71Na2YurvTbR5XEmsXTI9wAM2sXmGPy4l7fdznPTA45JE+apyrb/hh2UIKUul/&#10;v0/zFaJZZLS2abfqsYRLa3jjUabpkeFKFmB2blCqrHP1IzWr4h0uTQgdMu7i0nkEENxfarb3QvBI&#10;80aT/Z4ivVgHXKjJVmIPQisS72eVNbrGI9N0+4KPZIxD3x67pZvvk/KcdhvbAGaCv2iyF/cEySXc&#10;BW2iGFgstqjBA6t0XqRyM1XvU3J22/4AOz91L+n0LSQhXW4ltm86eMCxt0bbBp6MmfMlGM54yMlR&#10;hgeakkJuNNuEt54SpAtpr1ioeQjBKoMbhgg8r64PcUzTbSVo57M3Tm3tbWS8uMxgzXrosjfNJnIB&#10;K5wP14xV/wBXbQaoQrGe48lLULtt4BkcqPXn/JySoxTcU3a/9fiVUi5OKiuy++w3VtMlm0+2SEm5&#10;KWSlYEJVLGEEkuT03sHx759ea4iS3XZLmPy2jY7YQS75GQ5PqOc/gK9FJNtY3sSl2RbEarMrOQs0&#10;haSNFGOVVeGxzkqM+leezXUosorjPzNuVlwMHBK9evftRyN1E1tp+RFPljOz1b0/Qzx5UUcxVVDs&#10;Dgrgop46t1HT/wCtVO6knjhifO/OWZdxJbDYII9ye3Y+1Olfc/A2YGThjgk57enX3560xU/dN5pM&#10;gIaQgfICVGffrSpPmu2/60IUG6dk7xuiwltNIiu0rqzLkrGQEH0wMUUkNxI8UbfKMoOCMnpjrRVu&#10;pNu+n3D5nvdfcf/Z"/>
  <p:tag name="ISPRING_PRESENTER_PHOTO_3" val="png|iVBORw0KGgoAAAANSUhEUgAAAZAAAAC1CAYAAABxqan9AAAAAXNSR0IArs4c6QAAAARnQU1BAACx&#10;jwv8YQUAAAAJcEhZcwAADsMAAA7DAcdvqGQAAH5cSURBVHhe7V0FQFXZ1ua9N/Em3nQ44YyO3V1T&#10;Oo7d3d3d3d2dqEgoCGK3GJSgiCACYheKAopF173fv9Y+53Av1wsCMsr8sz/nm3s5Z59d55717bXr&#10;WOj1ep2kpKSkpGR2KQVEUlJSUjJHlAIiKSkpKZkjSgGRlJSUlMwRpYBISkpKSuaIUkAkJSUlJXNE&#10;KSCSkpKSkjmiFBBJSUlJyRxRCoikpKSkZI4oBURSUlJSMkeUAiIpKSkpmSNKAZGUlJSUzBGlgEhK&#10;SkpK5ohSQCQlJSUlc0QpIJKSkpKSOaIUEElJSUnJHFEKiKSkpKRkjigFRFJSUlIyR5QCIpkxdanZ&#10;oM58HJKSr4Gpqam62NhYXUxMrC4xMdFsmNygkk6cSIvJf5sL90+hFBBJ8yRRiFvfDbHTqyF2Tq3M&#10;Obkiklw30WVm4pGUfA2Minqs27FzDxycduC0jy8dMh/uVfns2TPdjl374Lxjt2Dkw0d02HzYfwKl&#10;gEiaJwlI7MzfENPnI8QMypcpo3u8i8R98+gyM/FISr4GPnoUpbPfth3Wdvbw9DpNh8yHe1U+ffpU&#10;5+C4A1sdnATDIx/SYfNh/wmUAiJpniwg8+qQQHyNmBEFM2V0v0+ReHAxXWYmHknJ10AWkG3kfdhu&#10;3YZT3mfokPlwr8onT57o7LY6CqFiPoiIpMPmw/4TKAVE0jylgEj+jfi6BCQ+Pl4XEBisPx8QKMhj&#10;LubC/VP4txAQ3dNwXWr4NV1q5E2FD67qdHHPzIaVzCVKAZH8GzGnAvIoKkp3+sxZfVTUY/rTfBjJ&#10;jJn3BSQlSRc3v67S384Ga/iPiBmaH6m3/c2Hl8wdSgGR/BsxJwISFByit6PwNlsc/vGD4TllnheQ&#10;1HsXdSwYMUO+Q8ywHxAz8CvEzvgZ+qR4s+Elc4lSQCT/RsyJgJzyOqO3trUHX/fwURQdMh9OMmPm&#10;eQFJcrfWR/f9JJ2xStgygk6ZDy+ZS5QCIvk3Yk4E5PQZX70teR9SQHLOPC8g8Zv66qP7fWZkrD5D&#10;ko8znTIfXjKXKAVE8m9EKSBvhnlaQHTxz3WxU6sgZsi3irEalh8xowoj9eEts+H/TtQlxIjJAbqI&#10;G7rU0Au61Ft+utR7wTrdw9t5Y4LA/zMB4RXDz54914WHR+jC7j/Q3X8Qrnv69JmOYS58dpmckiLi&#10;0+KPiIgU6aWk/DUrlRMSEsTiufsPHugeUFkeP3miS0pKMhs2u0yhsjx/Hq0LpzJwWTj+R5QWr7w2&#10;Fz4vMCcC4nPWL01A6N7RIfPh/iomJSWLdSX8W2Ty/eT7ai5sTqjcR/rNq/cxMvKhWKlvLmxOmXUB&#10;SUrQJblv1iceXaVPPLY2C1yjT/Kw1Sd5b8saPW31ySFulJQhzeQrXnoxeM4D52ysBn6FuMWNQafS&#10;5Y1naGUrrZzQy16fdHaHXp+c820SUm766nnBXdyqtoidXh0xY0sgZnQRKl8BZXyHyzi6KGKnVEbc&#10;kiaItx4o6jHldgBdbj5OjUlnd+kTjyw3uQdmeHiZPjXskuG6c3v08Vb99HHLWiB+8wBRTl18NAmI&#10;7pUEhMUx8ehKSnPNi3kwJYVLOmGp/yvGtfiBCQgI1B84eASO23eCF5spi8C2i78PHj6KwKBgfU4f&#10;XDJc+rO+fvq9+w+mi58/nZx3Yf+BwzjnF6B/+ix7jYJLl6/qfc/5i6micfGGeuH03D1O6Xfu3isM&#10;nygLpcXfd+89AJ+z5/TPnuXMGJL46c/4+Or3UZ4578Z1xfHzymuXYyf1lylvyckpZuMw5X0yXFw/&#10;fv4B+mdkzMyFyYy374Tqz57z0/ufD8h0yuzLBOThw0c6rk//8xcEuV4PHXYRZeT75n3aRxzTznPY&#10;O6H3XoiHn4uLIZfF+eCLl/SZbWXCeedw56jsLMja8efR0TquZ75fnLZxHe/ctRcenl76iFdYoEiN&#10;Cf0Z8q727j+U7j46ODpju3IPcev2HQpquCaUysp5ZVJdpTuXGbMsIKl3Luh4LCK6z0eI7vtpFknh&#10;s8oe7yJ2Yllwy1xLk40Sn0szVPQ9YdcMOmWULzKGMRPKILrney/GmYt83vUtxM6uCX1q1h4cYyZf&#10;8SQD3Vx4UiK+AV8gZjB5VTw5gL0qFo9hJJLiU50wQGLJ3XXRfT8W4eLXd9ezh2Iufmbsgvr6aMqj&#10;+ftg4PPOFkhys6YmbIwubnUHqt+PhQBED/iSzlM5e7yHlEvuSpyvICAJO6frn3f5l4jTXD7SSNc+&#10;72iBhG1j6arcba1fvnJV77xzD2zsHAS5tbnF3hG8EIy/M7VZOPww80NkGkdG5NYdG0Z+KLV4lE9H&#10;NQ0lXu04G4qAC4F0qfn4THn46DH9xs224vrHT56KY+cDLugdtjnDynqLWMTG5zgt2y2cxjZhJDit&#10;7WQ0slMWbgl7nz6r165ncn0ZyuKolkX5m8/vJ0F+/PiJ2fiMycKxYZMNrG234l7YfbNhMuMpr9Pi&#10;ek4zkkTAXBjmywQk5NJlisc67bdgQ/WniTzfG3G/6Jh2nsN6UZ2YxsPg38oGuje7du8D/w5Mw2j0&#10;od8Hh9tss5Xux106pNddu35D77Rjl3IPqU60e6j9Tvge8Pet25zAAqXFlVVeuXpNv2071QPFtcVe&#10;uZ/GaXAZeeIAf+e61fYN46nM/HuzsrbDjZu36JD5+E2ZZQFh74ONgTkDkjssgOiBXyPlsmK8mHEr&#10;2gjDlnaevqcEH087n3r/si5mcgXFII/4SQ3315DLnpPtOhIPL9dHkxGO7v+ZwZPKLklYhJBQHSQF&#10;HKJoX0yH6kofk1ZXGZPrMMFxvD7esrs+uvf/6Bh5P9p58oSiB1Idh7iJOHMqILrn5CqPL6MIoZnw&#10;Bv4k8hM7tzb0SXHpyvOqPOd3Xs9Gjx8ifngOHz1OD2SInlte/IBwK9L7jA+15PepD5iyNcVtk5aZ&#10;OfJDd/yEq+j+YCPEhnXfgUNCIG7eup2WBrfm2NjweQ7HDy+3LjMzOho9Tnnr2RhuI+PGrdfAoIv6&#10;TfRwc1mOUdr8t5YWC6XnqdN6NoRbqAycFgsbd6OZi9uYDFd3Tz0LktZSPepyAhcCg9KVJeBCkJ6P&#10;83mOm+tsz76D4IV15uLVyNdp9cTdNObCZEZuqfP1LA4PSSTMhWG+TECuXruu5zxwg0KjJh5Mbpkb&#10;n+Ow7DmYxsM4cOioSIe9y8zuJf/eOBzfMxJPPXsk/JtkgTp05BjY4+G65Trm/PEeXpw2h1fq2BEs&#10;OKbxZkQWSb6Gr+XfM5fJi+qC4+bf9c2bt/X+7I1T/vn+bSYBO0z54K5PP/K6OK/25AmR10jRmU/D&#10;lFkWkPjNA0SL2LwhyB2ykU7YMZWSoxv1NFwXM64ktb6/V84Poc8J5KFEK60QXlAYM7kSGebPETPy&#10;rxUPYVgHfIWUiydeqJfMyN0z0b0/VMuQSR5ZWNj7yFRg6HruzqO4Um/6vpBWVgVEkOvLnHEXAkLl&#10;fEUPJPHwCn10HxY88+HTyMJIZUq56pWuLK9KNqia0eJ9i7jLhR98c2G5X5+N1FYhINQi3b4LL+tu&#10;cnP3FGJgT94Ak9cTcCveXNgEEhvuEtEML1/Hg7em4UzpTS1C9irYoLAY8vX8/Y7akjVHNrCHDrvo&#10;2QAxDx1xQcpLdou9fuOmqCvOGxvUl7U+2RCxYVLK4gAWSdMwxswrAsL3Jzo6RnRpamTRZUPK14Xe&#10;DRNdZBo5LN8703iyIyDcDcnxc11x16ImDmzoM+r64m4+FnQ7Csd1xnXN+TEX1ph8XxTx2CGE54jL&#10;cb3muZqS88wNKM4Xe0dcXyxenDdOM/LhQ7PXmWPWBCTumS5mbEmlm4i7O3KRwrhqAkDGRHQTUZrJ&#10;gUf00f3Zs1BayPw9fm0nOqWIR+zUqunFgz8Hf2s2jVdmzw8o/kJp4pUVpj66o+NrMm2FU57ZYIvu&#10;rFGF6fMbRSS0Mr1ACk/5iVveCqbdPdkSECFURp5H2vFXF5C0iQ9cFjNhjckik+A8WVyXW+T+X25R&#10;8oPARvdlBlEjrwngB4iNlecpb/EbNEc2CprBZcOTmUE3JrckFUFTWu/c6jQNY8wzZHA4nNaHzWnx&#10;IKu5sMaMi4vX7dl3QIyLvCwdBnsVmuBw2UzDmCN7Jly3nC/uxsls+/S8IiDmeMbnXFrc/LsxPW+O&#10;jKwKCHcn8T3g3yPfd/YKXnbfmSwuLsdd6feodEFxHZqGMSbXP3u6fE/4PvI9zahBY0z2iDhf/Fvh&#10;3xnXA/+dld+ZxiwJCHdJJOydp0/cO1efuG9+rlIMJmtGlgxbNBnT1PDruoR980zGPz5Gkqedno04&#10;LyQUXUJphpYMK4lJ7KzfRDeTuXReibtm6hM9bKgqzNePOfJgtdIKz0gMqEwkFnEr2+lTrniK2Vgp&#10;F0/q4hY2yNz4DqM6ovpKvRuULr1sCUhGzAUB4ckMWerqHPg1YqfXQG7POCPjL1xxfnB9qeVuej4j&#10;couTHyJ+mHiw2NyMIx7M3rFrrzCG3MpjA2EaJjOyJ8EGgR907vJKTs74IRdhVePDn9xiNA2TEdmr&#10;4BYs14GHp1eGYigMz579Ij9crpd1Rxlzz96DovXK/fiZdZXlZQHJyTTe7AgIN140AeFP7k4yDZMR&#10;qTx6zhcLwsHDLshssP4ieTRcDjb+/Bvm2YDmwpnjxZBLIo+cFpPz+iQDz8Ucs9yF9VcxYc8cMZCr&#10;GRYWggQSqriVbQ3GiweYRxdFsv9+PRtYU8+Du9bYGOWl6b2Uf71h/MYMRZdVAehM8px8yUMRHvZE&#10;WEjMkD1Bni1lfN0bF5DDy0V+eDzjpddwQ2HAF0gOPCquyS1y15MjPQQsAvxuiOwYRCa7/TyIyLx1&#10;68WWYhD3aasCQGEzNMwZMTExScczY9iYcvcUG3rTMBp58JmNFIflGV48TdhcOHPkPm0x9kLGh4Uq&#10;IyPH9cPCwV13PPsnIT7rM9FINETfPXedxMVlPH4lBUQxztk1zMzjJ92E8PC1GYkCg8dT+DfJYXlc&#10;xTRMZmTwTES+nvO53Xk3ePq5ubDmmCUBST67M2tTRLPKQ8v0yUEuFLViMLk1ysZLGBcyrLHjSwvB&#10;SOtmIQGJnVhObGHCs5PSWvUsHuSJ8HHdozsirylXTompqmbTzRHX6BNdVut1zyJeqJfMGLuwgVIu&#10;zWiacjjPuPoBKVe9012ni7yti535Kwniz4id+YtZ8qwzXqFvfF2OBIRngQmh+lbxAunvHAuIq5U+&#10;+ZKbsuhzuPlwCumeUYMhfsvwdPnPDQYFXySDoHgfp7yz/06IK1ev693cPfVuHqf0POhpfI4NBc88&#10;4geNW4XcjWN8Pqu8dOmKOrDqBJfjJ8EPsLlwmoBwWXg8xPT8y+jmfkoYR+53j44xzGw0Jk/FZUFj&#10;weVycZeGaZhXpRQQutdUty7HXbPd4OBZfvx7tifP4kF4BB16MQyv89C6OVlo+IVX5sJlRh4z5Hzy&#10;+EmuCwh3GXH/fHTP9+nB/zR32P0d4TGIKbGJsWqfubpYkMWBp7KaDijz38bjCZrnYSQeyQGH9DzY&#10;zgPXZtPNCancXH5ddMY/XnOMW9wkcwFhsgEfXwY85TXJ/4A+NfyqThfzWGd2qnBKksJkZiKFSd/9&#10;kW0B4bBjS4gxJ+5GjJ1YXtTxc7o32ky3LAsIeRPsgcSv7ypmVZkLk0YWrEnlwd2ixvnPDfLsJK0/&#10;P7eNIfcLcxcBP6g8cys+h+tGeEaV9sBnNkAqBEQVw6vXsj4TRyOva2Dj6EhpZdbyFbO9KByXjcUm&#10;K3302aEUEOUe8iC66fmXkSdfcDos7nfvmp+WzQ0Z8ZsXInUy2yLF5O5b/i2K32RuCwgbE2EUNA8h&#10;N8hdGNyPfydApBFvPYharp+aD2uWxuIRKuJIOk/iwQPy3M2TybhDdskeTvym3tm+MWKaLI/TmInT&#10;QMon5VkIlTC8PyF2WlXwmpF42yH6xJMb9bxCXZf48imu2RIQ8jISto2jp47qjkUpPlrHHhZvXJlI&#10;ng1PUqAosywgfD9j59fRC68xs9+J2kWW5Lubsmy+HDklLwTcpfbn8xhGVmauZIeKMVDE6YSrOx0y&#10;H+5lZPDsKM5nZlMmFQFRusvCsjGtUiP3t/P1LxMQnqnjuH2XOv3XmdLbLrrn2PCTwddzt5u567JK&#10;KSDK+o6crOlgAeHr+TeXkbDz1HGtofGyGXEZkcdXuExi6m9uCwi3jv+K9R9iXcXhZZQEGf8z29Pt&#10;d5Up0zyPX6CLUsSDPY/ov0A8mCKfJy1FPrNDXl0d3etDw1jNy8iGl8dFeLEhGVkWH1HvVCb2EBLs&#10;R+mTg09Q1ObTy7KA8MD9vDp0ifl40piNrUxEnfN2M6ZeownZU4lf15WiN5PeK5KnPzo5K6t6uf8/&#10;t7b10OgfoLQG+UHl76bns0M27hwP88oV8wPxmoCwZ8BbUJgLkxmzKiDM+w8e6Fl8OTzXn5j9Q3nj&#10;77zWgycmcD6zMzir8Z8uINpvJrsTLphZERD2bLTfUk5ESuPxE8p4S+4KSHKiLnZaNdHlxB7Cq5H7&#10;xtnAqAaVjB1vn8Hp6J480MWMKaZ06ZgYnXTUxGMmiYfqeSSfP2jwPNKMNX0O/Nok/RxQrLr/OM1T&#10;yg7FbDGuO4rnlUSN64wHzikfLCzxa7vQ06J02RkzqwLCopSwfSJdkv76F5gtASHylOWXCAh3U/L4&#10;ji42e4OJWSEbEKUF7SS2J8ls1kpO6OXtoz6oPN31Ch0yHy4r5MVcmmHhBXum55mvU0CYPMOMB2B5&#10;GxP2Qjh/omuExEQzUNzHfvjoMbBhy+p2F1JAlN9MTrohsyIgvDCVz3M4cxM/skpeE8N1kbsCkhSv&#10;S3Kz0icdX69POrkh53TdKAa2hUhwK5uNCX+OKgReL8Fpxa1so1dWlJsYnTSaE48DZrut2EjGrWqP&#10;JNdN5vOTVR5fJ/bzyun+V/zSq9gpVSBWfIs8vmI3IBlojkt03UXdS5dWtgTEeRJdkj6vLzA7AkL3&#10;IH59Nz1PdEi7vxmQZ5glHlxCSZhJ8xXIU0nZSLHB43nw5sK8CnmdiGJIHcGDjqbns0NhVEVc2zLc&#10;3uR1C4hGNogPwiPIeAXojx47Kab3siiL/ApBUdbKcF2zcc9sKjJTCshfKyA84UMTkJxO7GBynfEq&#10;+VzvwspN8tTWGCORiO73CYSBpnOJR1Zk3FWWkefBq9NNxYMMVNyaThRh7m6NkVPy4Hvi/gV6XvgY&#10;0/9zYcDFTDIWvhyNK1Fd9PoA8SbvRHmTHghPq+ZNNuM39XlJI4DIEyHGlQLvNGA23Rwy6rEyyM3G&#10;bv/BzB/snJD3ClIEZJtYSWx6PjtkcdDi4o0cTc8z35SAmDI2Lk4XFnZf2crk2AmRHzZYbHR5DYib&#10;h2emGwpKAflrBcT4d8k7Ipiezypd3TxFXvO0gCRSi95YJNjwxFv2oFNkrkIDdYpRNekGSROPXw1j&#10;Hv4ZeB59PkLc6g55822Fcc8p3/v1CQ5j9HGLGgkjyuMRWneZMNRcJuOyZ0QywrFG27ow36iAUP4T&#10;2VMlUVe67MyH0yhWoO+eRcmYSTeH1GY3cfcL9+dntjo6JwwMupjmNfD0StPz2aG7xynRmue4MloL&#10;klcExJSUF/1JVw+xSpq7tHhrlstXM/bIpID8tQKiLThVfpfZn+nF5DJwo4snUuRpAUm5d1Evuji0&#10;bg5tf6vYJzpqxuhi59QSRjXN2KQTj7siDsXzoFasOc9jRRvoEgzbJudl8m64LJqJJ9brE+yG6uMW&#10;1Fe2dx/IIvASz4RFlsQm5ZbBkL1xASEPREfCzfcz3XRrc2ShHF0kbfp1bjApKUnHA77sgbBB4Pdj&#10;mAuXU965EypWd3P8vODQ9HxWyQ+rNs7AO+uGR0TS4RfD5VUB0ehGIsiGjcnbg7NhNRfuVQXEy4vL&#10;oSzGkwLyYhhtDYf4XR49nuF9yIwsGDwBhe9RnhYQNkrCUA7ixYBsTAoIL4TXQPD5BKcJRh6KGfEI&#10;ciHPI7+ZMQ8Sj5UkHvweC+P03hB1j8PE7LXEXTP0ibtnvsg9c/Riy5Vjaym40XVUTjHr7WXjJWJg&#10;/VukXDc8KG9cQNStTOK3jhR/mwtnIN1bumd8v9PSywWecHUXDxs/UDkZ6OYV1dwVFvX4iS7eZFU2&#10;z/LiFjc/ZOzpREfn7LfGho5FgePJbD1JXhcQFmg2vFwOXj+S0cumLgQGpwnIg/DsCQiDB+3Z25EC&#10;Yl5AtN8Tk8uRlS32Tant2eVA1+dtASHyflpsPDRjwsYmYetIOkUCEeiStv2HEI9ZLB7KYDGfE56L&#10;uW6rlW1IffKO58ELArkcyoJGwztF0rH3/0TZjV/uxNQlxCqt+My6s1hAqJWfcsOwq2teEZDkyx56&#10;ni320vEdMeOuALiu0qX7CgwOuUQGgR84J5w46ZbtgXReVMcDiWxUbtxMPyDJOHbCNU2gcjoOwkZB&#10;m7fveep0hnl8HQLCIsDv2OCXLWX1BVEaefCcp0trgsoros2FY+MkjCjVW2Zbt5gjv3iJd0fWjKMU&#10;kBfDKGs4lB0SOGx29n9j8vUHqTya557nBSTl2mmd6KbSxjpIEMSqdJ7pFPdMxyuief0Eb4z4onhw&#10;95ap59E2z3geaUyK03GZFLEzMpomZJFMPJ7eC0kNC9GlrQkxc40gi8vYktA9NrygJ68ICC9MjJ3z&#10;B11n1BVpluyFUF7shinX5QKfPY8WXoJmcMiboMPmw5oyOUkxiPwg8fXmWnLCIJDxZ6O5e98BJL1k&#10;BpIptW0nOH4Wuczeu/A6BITfkcJjGLwte+jdrO0qrJG9Nd5vjPvN91C9ZTTmxF6HZtw8vbK3vUxg&#10;4EVhQPleqkbebDjmP1VAmOfFYkKlHPz+mKiorP/u+VUHWhchM88LCA9wi/2cNOPKxpKMVPJV5cfF&#10;M7XEALHWbRV4lMSDWqtskNLWeajisbxVujcY5iXGk2FkA2kwmGbIrfDRRZF4eKmey8mvzo2bX/fl&#10;wtP/c8QtbZau9ZpnBITI319adiaLJHlSqaHpdxZ+FfJb1hQvxBHHT7qJJ95cOFNylxc/rGzsxO6n&#10;Zt5lzq1uZfxCMYjZHUznmS5sTJg8oymzvL0OAeEZPByGy+J12ocOvRgmI7Jx1Lwxnkpqel4j7xDA&#10;XXVcZyzuGXkqpuTZXyxQfB0bNgcnqodXeCOhOXqfNgjIoywaXUZeExDuPtyxS3kJFjdMOH9Z2UiU&#10;36fPm49q3ZD8W8v7AkKMdxir5ym8miERRm3vHDpFD2nQMT2/aVB8F+KRgeextHmubwWemyRPS5nS&#10;mpknwYJI4sieCIuC2PrERChfIHlubLCT/fZRMob08pKA8DvqxbnMyi6ojHPFb8z+VjEZkX/82lgF&#10;P3w+Z1/+8qYIMtCaZ8Ct8czei8Hv/2CDwGE5fu7jNw1jjr4kNhyer+O8vextga9DQO7eDRN5Egaa&#10;0rl7L4wOvxjOlLwiXWwbo9bx3XuZvz6XV0tzXtgQurp5vHSRZ1JSko4Flo0vr0Ph/HGd3X8QTqfN&#10;X5MTAVHypRjorHav5UUBYd64Ydj5l8PzrCoWCHNhOc88+M6/DX61rtfpM3reO42v/1sISFLA4XTr&#10;BfhVtnEL66d7SZJBPEzGPFg8lrXI0+KhMXH3LGU7k5ca0iyS4uGt3PmVtKZp5SUBYfJ0ahZFc+HT&#10;kQWRGggpN7K/42xGvMz97qrx5YeCV+uS0aNT6cPx6mve/oH72TXB4Vd8ZmVxHAsNx88PK0/LpRbs&#10;C+EY4eER+uMn3OjhVESH88XdBqZhTfk6BITBW4ZrZWER5R2NM5ogwN1ULK7a4kLu/uIVzKbhTMkG&#10;yUkVda4vl+Mn9bwdvGk4Rtj9+3q+BxutbMRCRZ6mKma/UcvadIdkY+ZEQHgcS+uS5C3zs7JVCyMv&#10;CggzgBozfC+5PHx/+PPY8ZNiXzN+oRmPR7Fo8q7SnCd+pS2Xhd+8yMfz/EJCjbqYJ2KsI226JxvY&#10;YT+mDSgL8TA324qn6i5jz8P8A5EXmbBrup4XEApq4z7Z5VDDhosJ2yfpze3WqwgIizIPXmdMFuCs&#10;C8ifJCA8Y858XBrZmzQVkOQzTjoWFnPh05MF6DPEremYq6vHA8kQ8sPHDxI/gLzb6ImT7uL1sD6+&#10;5/Q8Y0t5H7qj2C6bjS335fN6EnPxmVKbf89xczpsvLjVzEaP98riFh1vmihEjMJwOGZg0EW63Hyc&#10;xnwdAsKMiYnRHTzkkra6nMvC3RlcFopDbFtyzs9fzyLJ06T5PJMNFW99/zKx1ch7aWlpcD1wffGm&#10;jdzlyGnwlvU844rv16bNtmI7GjbO2iwursPMjGhOBOQJCQbXL5PzxeVOyw/dP76Xpt5SXhYQJtcz&#10;l4PrjLuz+Hr+rpHffc/Cwce5YcVdjHwd/17+NgLCFKuWyXBoRpJbxoketnp+P7YY8+Buq3RjHp/8&#10;bTwPU/IkgLglTVUh+FjpruKZSlxG3oSQB8VZRPmT/6bjYhYXGWBhhMcUF1uFJF88SdGZTyN2YUN9&#10;dLd31K6wjPm887+QYK/MesuUJCAx06ojusd/zcZjzOdd/g2emmx8PTcS+J327IGZuyYduZzd3xUv&#10;DDOO41XJDx2LAj84/HAoA8Yq6W/l4VIe8JMkKGxMzcWTETl+Nib8gCvxG6eh/M1ps1HkOfr3wrK+&#10;qy6Pr3ArnON4WXeXOZLBF9fbUdovm9rJXUY8oMxGVDE0ikBoZbG2ZfLbB+1FXfErc/lNdmxMzcWX&#10;EbmbiEU7re6JWjoc/2abLSJ+NmzsHfI1LNQbrWxJVOwQksnUbJ5JxvneSOLj5uFFh8yHMyULFOeB&#10;02WDy3ljI7thky127dn3QncbgydbcDr8Ot/MBIRb/RyO8345g00zMyPvrstiyi84YzEyPZ8R+XfM&#10;4nPosItoOCnv7ldep8x5580xQ022h//bCQgPGCstVK2VnV/sOitWaLPnkSYeymyduMWNqZn99/E8&#10;zJH3xuJdeuM39hKr0cW7OHiLEy4zvxN9QlnxNx+PW96SDP1ofdJpRz2vKzEXnzFTgk/oEj236JO8&#10;HTMli3TqTV+zcaSnTmyRn3Rqq9l4jJnoYafnRZGmcaRc9shSnriMie42+uTLGQ/G5pRsHPlB5oeG&#10;+4XZgDH5QeI9s9hQ81iA6XVZZQoZmNDQu6LFytMhtfiZ7IFw10BmXS8ZkVvU/IKra9dv6rP7ZkVm&#10;OIkOX89Gm7sozIUxJW+QyN0drm6e4Kmh7HFwOfbSJ5eFB915QSXXqbnrs0J+Z3vwxRA9T4nevXd/&#10;Wl3xveFZWvfupa8rXpPD5WBm5knxehquKw7HZTcXJiPy/XMlb0orLwsHv2iLfhtmJzrwOBinw++c&#10;MXdeI3uzHO7qtev67BhljY+ilN8AX8/v7DAX5mXkl4mxuPIrAR4+eqTPaLYce14spNw9mZ2G1BsT&#10;EN3je+l34GXB4C4t8beJ57G4McSLlszE87dmUryOd6bl3Yh5jy9+J4fYqTYvbsXy/4DcWuSWLRvk&#10;3N7qhMmtVY5bYQLbFrPh/g7ksnAdKXWV9JeUJSEhMe1+ZNaSf11kYdTuHTcMzIX5/0p+GRV7ny97&#10;V78p35iAMONW8XvDM9p8T/M8GkEX+/9QPCQlJSVzgfy+/EQSP2ZOhJ49Du7qYgFhT8z0fGZ8owLC&#10;W3mwSGQsHv9PPQ9JSUnJXCIP9vMMOmZISPZ3SDhz1lfMEmQBCc7m9W9UQF7YXNFYPBZJ8ZCUlJR8&#10;Gf38z+u1mVX79mevC+rqtWt63tiTB9lZgLK7x9sbFRDegTduYQPl/RhG4hE7v166rcolJSUlJc0z&#10;KipKr01H5plkLsdO6h+9ZGuWpKRksZ6JZwjydTwTLquLYo35ZgWEmCA2V/xEDKKnicez7E9blJSU&#10;lPynkl9HzNOsFRFxFNvG8FRuXnH+IDxCzxtnMnlG4PmAC+LVxdxtpYmHu6dXjl4D/cYFJPX6aR1P&#10;2+VFgrELSDyeZ3/RlKSkpOQ/nexRiMWUW5S1R9paG20NCJOPi7VPJDLauTM+5/Q5nQX3xgWEd67l&#10;dRBi993nsttKUlJSMqfktTK8tmnP/oMkGMq+WMriUAO5m4v3MuN1PZGRD+ky83FlhW9eQIi82Cw3&#10;304nKSkp+U8mD6Tz/my8TT8vJuXdppm81cm9sLC0LUxelXlCQCQlJSUl/36UAiIpKSkpmSNmWUAg&#10;ISEhISFhBCkgEhISEhI5ghQQCQkJCYkcQQqIhISEhESOIAVEQkJCQiJHkAIiISEhIZEjSAGRkJCQ&#10;kMgRpIBISEhISOQIUkAkJCQkJHIEKSASEhISEjmCFBAJCQkJiRxBCoiEhISERI4gBURCQkJCIkeQ&#10;AiIhISEhkSNIAZGQkJCQyBGkgEhISEhI5AhSQCQkJCQkcgQpIBISEhISOYIUEAkJCQmJHEEKiISE&#10;hIREjiAFREJCQkIiR5ACIiEhISGRI1ionxISEhISEtmCFBAJCQkJiRxBCoiEhISERI4gBURCQkJC&#10;IkeQAiIhISEhkSNIAZGQkJCQyBGkgPydoVc/JSQkJN4ApID8jaHXs4LoERMTjRs3ruPE8WPYt2+/&#10;clJCQkLiL4YUkL85bt68hQZ1a+PPmpXw4X/fQa+efdQzEhISEn8tpIDkQbBnoXgXBmh/X7t2DQsW&#10;zIe9vb3429X1OOrWqoJK5Qvjg/ffQ6tWraDTKRsHmMZhjMzOSUhISGQFUkD+RkhOTsbUqVNgYWGB&#10;o0ePqkeBVs2bIP/3+fDNt1/jl19+QVJSknrm5dDERkJCQiK7kAKSx/DseQwOHDyA0NBQ9Uh6LFm9&#10;Gu++8za2bNmCkJCLmDN3Nn7+pQZKlS6J/Pm/Rb9+fbFjxw4sW7YMz58/V69Kj9hnjxEQchOjxozB&#10;vXt3xTHpj0hISGQXUkDyAtTuJDb4yye0wKxp4/E8LlUcY+j1yvdja9ZjWduOqFmzFt5+5y2UKVsK&#10;lSpVxI8/5sf333+LAgV+wJQpE7Fhwzo4OjrC1/ecuE7rrrp+/Qo6T1yD75suQJ1mtdD9z48RGBAs&#10;zqXodbJbS0JCIluQApIHoJnt4MAg2I/+Ce5rm8LVeQ5cd63HrZtX8OjhIwwa3QszRneE8+ph6Nqr&#10;Azp07ICCBX/E77//ilo1f0P16lXF9/79+6JHj67YvXsX7t+/r8YMRIbfQ6F202HxxxLUb1kXszrn&#10;w9wJfTB26hQcd/VUQ0kBkZCQyDqkgOQFqK3/xMQkrJk9DPMGVMLyPj/i6KxC2DyuHALOnEWHYU1R&#10;peXXqN60IMpXL46KFSvi008+QsVK5fHrrzVQpEghlClTEr1790SxYkXQoEF9hIc/UBMAbBx3weLP&#10;Nfi8zgBMbfk/bBhUEA426zF37Rb8r2hNPHn8SA0pISEhkTVIAckDYPHgtv+5kJvo0qsvVk1sjrHt&#10;C2DntPKY16cYZo7qhjnLZ6JSzWL44L2P8NZbb+Gzzz5B0aKFUKhQQXz7bT7ky/clapInsmvXDjRu&#10;3BB9+vSCm7uriP/GpQvoOmQ8LBpvRJXO07FiwWTsmVoOe2eUx8CeDVGtRgXcDb0nwkpISEhkFVJA&#10;8gLUsYcJq/egyK+/YtOALzF53EA4Ta6Cn+r0xAdVuuLqpWBMGT8BRYsUxLBhQ3DsmAvc3d3wQ/7v&#10;8PVXX6BmrZrCE9m4cQO2OzkhPi4O4RHhIt6+o6eiwm91YdFsA8p3n48dW9Zg5cCCWNjteyzs8hGm&#10;jeiAmMRkEVZCQkIiq5ACkocQcu0Gug2dQiKwEY52a9C13o/4qlYvWDSxxJjp87Bm7VqcOeujhlaw&#10;dv0GfPrx+yhbqiS++iYfGjesg1nzF6pnFYxfsAYW5bvDot1WfNhwCoZ0b4GZ43rC3tEJjva2uHc/&#10;QgkoPKG/aByEolVizv34OUYx0SALUXP5eOKy8PqEcL/kItU7VNLIQniBl4UxPp95WF2W0ssOOD4u&#10;u/Y9I2jlfnn6hrrMXfwVcUrkLqSAvGYEBQXB29tbfE9OScGdB+GIjYsV25EYY4u1Jfbt34f3G86C&#10;RZtt+FfFbnD3dFfPKnBxXITRff/EDz83wui2P6BAhSqoX7M4+revhGqdJiBS9UBmrLSGRc2ZsOi8&#10;A+/Vn4qQAH9xPCOwgb0QcgWRj6LwIJLHUXLjQTasN0mgcoc9jsXdqFjci4rDvcdE7VP7bnzc+JxR&#10;mFDi/WdxZGhS1VlkagIZgE+n6vRIFW9oNuQnMSUVDymeW+HRuB72FOFP4xCdkH4tDRtSHV37src7&#10;cxoc9lFMAvzuRCHwzlMEhjKf4Dz9HRL2DDqjOJJTUxEU9hgX7jxSwyn0ux2FZ3GJf4ERVYw9Myk1&#10;BQH3HiPozmPK5xMlbcrvBfo7lsqfIsLqkJCUQuei6DiFUcvDYQLvPkZiKte7juqUQ+cy6L7GUD4C&#10;bqn1yHkLfSzq8SLlO1WuYXrjkALymuHm5op8+b5C48aN0KJpUzSqXgW1av2GKlUqwd/fT4TR0UOp&#10;QIdf+i+GRQt7fFy9I3bt3q0eB54+fYJxA1pg7drV2OB0CvsOn8ai2dMwrnNJWA0vgAlDW9Dzp0z/&#10;bdW1F0r8Wh8WbZ3wQe3hCL0aJI4bG6eoqAhcCj4Nf/ed2L9hFPq3qYL+Hetg7bpVaohXh3vIffSx&#10;PIuiI/bh8x6O+LynRiflUxxTv6d9qkw7Zzj+acet+H3yITLIXE7DtOesIIxEwtrtOrqv9ULpMfvw&#10;dW9HfNLNCR91ccRXPbfhh8E70WTBSczZHSiMpQFZM5Pr3a/jPy2s8d9O9iq34q02dig9cp8w3Boe&#10;ktAUGLQT77S1SwvHn/9pbo1+Vum9zVwBZV+771u9b+KdVpzutrR03+2wFe923AKfG9qkCj2J3lN8&#10;2s0B77bfIsL8tzN9p893Wlpj9fFrIhTfg1wXEMK4rX54u7mNmj/OmwPebmuPggOd8TQ2UQ0l8aYg&#10;BeQ1IzAwEIULFcS7/30HP3z7JfpWr4H8BX7Ee59+jA1Wm5BKrWF6wtPs1L6jx/HW7+MwsE1BrJzU&#10;HjeuX8ZFP0/Mm9ADtjZbcONeIu5H6nDzbjQCLj/BpsmN4TypOOo0aYYJc1dh18GjaN59EP5LnofF&#10;n8vQtv8Y6JIT0trfbHbvPniMhcPqYVPXH+AytxjOLi+NhT3yY+yofnj2zLAYMTnFME7CreyXQwlz&#10;92k8Wi73gEVLW1g02kiCaAOL1nZE+lt8qiRjphxT2cr0uxZW/d5oE0qRGGnpZJQnxWtQzoWS5zPc&#10;zhdf9dkBiyabYdHYGhbNOb4t5OlRnEyOm/PahPLZ2ArvkFA1nOeGEyGGWW2iFZ9Beoy1J69T/ih+&#10;jo/EwaLNVorPGkWG7UZKWgMBeByTiHx9KS9NKS2RPueD2NIG73V1wLXwGCWg0W/iVaCIhx7J1Hqv&#10;MO4AlY/zaFR2vgf06XP9oXIB4fLdJ3ing71SJxy2LZPCUXl+GrYLz028tVcCZY8cPYEHT2PwaXdn&#10;uj90jzhNkU+qJxKUr3vvkAKSByAF5DWDu6/KlimF77//Bl988TEKliyKGUMGYlyD+lg5fCSiY0xX&#10;j+vQe8wsNKtdBHYjS2Df7MqwHJYfC6b1g+uZYJzy9oGX13lYbdqAZv0mYOHI3+A2vwzK12sHi1pL&#10;YVGXPJiGc1Gw+WT8XqcJzp52U+MFrt4Mwtb57bB3USPsmVoajv0Lw315RZxaUhqj25bAhZAbakhg&#10;1Yp5uBAciEePHuPKlct0JGvW7NL9pyg0dDcsGpBwtCMD0MGBSMaovUrj79rfGs39bRyODEn50Qco&#10;FSUv5nPERxWDvf7EVeQjT8Oi4SbFGJrGbZyG8Tk2XI2Va3qu98KjOMVwGXtwptjodgMWzcg4tyfh&#10;EPHQJ4lCiRF7SUAM17GAfD9guyKQHFZLvz3VUyPLNC9EdLtlkl5WoYmeg9dtRUCN0+Q8tiW2s8O5&#10;64Zp3ZfJA3mfvA5RD1odaZ8ksOtP8O8hd8DiodMrHtokxwCqAyslj9q9IC+IRe67fjtJQHJRuCRy&#10;BCkgrxkRkeEoXboEvv7maxTMnx9f//A1+lSoiu5VKuPogRe3YueZVL81aAbnPS5YMn8aTs4rCf9V&#10;VUhECmLutNHwvfgIfkH34bjPD8P7tofd+IrYOLoCurStiG/rDaIHbhc+rTMM9ls2ouuI6eg1agoS&#10;kxLhtnkzxjb4A8Pal8HRWT9hWseiWDukFHaQkBybVxbLB/wIl+PHRB48DtigY6PyCAuPxMzR7eC8&#10;Y5s4/jJERiei6NA9ZGRIPDQjqhkDYyOkGa90382E1aiFy5KAkOdEre2e632EsRPej4jHOD2V5tLU&#10;PjsS2YA22ITSI/Yj+N4TNXbzUASEWs4iTo6DPintlwqIyAsZ6/bUwidP6L0uW3E5/JkIazx28irg&#10;MZ+y4w4q+dPKqJVTFRDfjATEuF6Y5L2VHL0fCew55wKUMurI+4jHpz2dlHrpoKYr6ocoBSTPQArI&#10;awZ7IKWKF0fBIgVQpUY1FCtWAt98/wk++fZbHDp8SA1lMIkJ8fHo2r4+hneuiL1zqmL/zFI4MLMy&#10;ff6ANnVKwvvcXcTEA2GRSbhyNwGr5o/Hit5f4j9VepLBXI1/t1xNrbgVsKg+Av8p3QJWWx1EzBeO&#10;HsTKshUwv/8AdKuWH42/+QjL2/0El/mlsHNKCUzvUhAbbe1xwWsnRrYrDCtbR7jYT8Ow1vkQEHxF&#10;xGEeBuPY1dJbGNw0o5hmtLkly4aKvrfjz6xSC69+NiMBGbWfUjQVEDoixkXIWKbq0GqZu5IPMoxK&#10;HjRDqH2nT84je0jcVZImIvTZUc2rZsBYSMgb+b6vEwLvRok0lDEYQ+qM7AmI84seCIfnPDTahIGb&#10;z4iwulfwQJSeK+V6p7N3YNGU80b1IdJSyd8zFJBtBgFJKxN/p2NNNsHaQ/VWhaeUc6HTvLpJ289T&#10;2Y0aHloeWUyEgHAXlhSQNw0pIK8Zt27eQt06tfHB/z5B4Z/yY1T74ujQpBRq/VIZ7ieOqKGUB0kb&#10;mAy/fxdrF0/A3PHdUJE8lRHtimFK9+Kw3GiF3ftP4/EzPW7dfQ62SxttDmHBhHbo0bOTMvOqSFO0&#10;atsaqy0344K/rxK3TjGuj2OeITIsHOOH9MHs0c2xckZ7zB7TGYMGdUPHbu2xYkR1OE8qhvYta2Pd&#10;nC5wHpkPU4e0Q3yiYRD4Bai2w+9WFP7NYwntuMWvGgDN6PAYRhP2BsiIMVsafWo0PW78qbHBRhQd&#10;toeS5FrSpTOw2mwpIWL1Ka123JJVDZ/IB+eJW/l0nMdBmlIYMV5B5zhuHhsgD0eIjnYNG06tHE02&#10;o0D/nQh9zLPnKF0To/migBCz0oWlxa9dQ3X4AbX+r0aY3xgzq9AMM89C+3naIcoblY/j19LTPjPq&#10;wupiJCCiHtW88neqp5KjD4nZdVwXerULKvtQ8hj2hLyPXo5UX1T3WhppdaMJiPRA8gKkgLwBDBzY&#10;Hz/lewczuhbHmN6/YNHo3zCmY0m0+KMYfP3Oq6EMD70xxs9bjQZNm+KUh4f423HnUTx4FI/HT1KR&#10;SM/TIZdgLF2/HWvX2WHgyDEYOnkert+4LcJqYFOXqrbQGZYbbfBrm+Go2noISjYfiOI1O+KPVr3J&#10;yymLVQOKYGL7gvBcXBqrh/wIpx3KTLCM+v81b2Csgz8ZYa0FyQ++agBa2CIftd7n7g3Cdt9Q2DPP&#10;5oy2Z27jcNB9IbSCatoaVrpcoVYsGUoWgTRPgj0hIg8Ck3Dw7Ktea71g6XYNLiEP4H7lIRx8bmPK&#10;tvMoN2a/IgKi24uvVY2Z9r3RBtSedQKp6qC4cermBcQWxUdm5IGwUHHcFI7Da9cwyQvpb31WvSIn&#10;YKOu5HGf711VGFkM1PQ0cpoZeSBdjLqwtDJpeWRPhgTVyl2ZkaXXRsFziLHb/KjMJOjG+UpLj9KW&#10;HkiegRSQ14THT55gwIABGDduPHY52aN/x+oY16sGFg+tjH4tfkK5ol/jky8+R8nixdChQzscOMCz&#10;i4CYZ08RdvcGbly9gNWrl2HEgB4YO2YEzniexMMHN7B1204kJQARd69j0ZxpWLV4Llo0q4+fq/8G&#10;W8v1eHLvGrYtH4PV4+tj7bSOcD/khPikZDK4Inp4ubtg4Yia2Dy9KXYu6wjHJe2waUpjzB1aGxO7&#10;lMCWicXhu7Yqrm2ujGl9KuJGaKS4TjNIL0KPFBKXKlNdVAPKBpuNIxkfau1/2csZgXeVPv3cAosZ&#10;F4f7zzXv6tajaHzcndJm4y/yYGyAqLXfyhojbP1wL0qd5WQGSckpsPW4ge/6k4Fnj0nEoQqR1iXX&#10;yBqWx5RBZPaAtHpJN4iupcseSIYCYuSBGJOvbW2DD7s54uYjJa+inBkIuHlwvtij1aP6lMNq9xXH&#10;z3lT8yfSJpoVkGdKFxZ374myq/kScfAnHSdRKjZ6H+Kpzji9bIGCa97jgyex+KwneR8vdOlpn5QW&#10;C0hfKSB5AVJAXgP4RVCtWrdG61atSRzaov+QgbhwzgcD25bE4PZVUbRwIRQoUgS/1foNVatUxg8/&#10;fIcSxYvC/fhhDBo/B1/WGYl8jUbis1LV8Um5Ovi+Sh1890d35Gs2Bb/0Xoz5tkdRuO10/KtaLxTp&#10;PBffthgPi0rd8H7tYfi+2UT8Uacaajf8GXXqVsZ3FatisyN3+wDXb4ZiSu+S2DXpR/gsq4jzq0ri&#10;+PwS2Dq6EOyI7nTMe3llHJhdDnunlsHUroVguWm9UqhMEJOYgvyDdht1QfDDT0ahsRXGUeuSkX0j&#10;mAVQnJoh6rPxDCwacjeNKh4aW1jjo07bsMPnjgjH0LymjHAzKhY/TyTDK0TEyKix4WxpTQKwC09I&#10;CKhUlL4iYAYPxDjtl3RhaXFzWE1MeKyHvzfehBFblAWgomtTFarsYI/fPcqTaVeZ+l37O7MxEDE+&#10;ZHSNyKvR9yY2sPO8Lq7Jzp01nnk1cVuAct84DUFOw4h8THZh5RlIAXkNOHHiBOrUqaP+BTRsXB+O&#10;2+zRqtkf+Pnn39GkWXNUqVoeZUqXQrlypVC8WBEUJwH5/sv/4bOKTeih2UMPjxP+zeMJrTbh3Wbz&#10;6RgZ5HZkeNqSgWxiCYs21IrtTEa7LT3o7el4112w6ERsuJiMxkbx0Fm0ousbrEbvzo3gajsUKye3&#10;wKahhXBySXlcWF8NzpPLwm5cMawaXEKIhs3o4lg3vAgcJpWE56KKmNyjDPYfUsZpMjP+MQnJJCA7&#10;RYs77aHnlmOjzdh07KoIwwYjJwKibERiHppXdTcqGh91pXrgtR0dVUPE+SAD+J82tthzTnlZFxth&#10;ZdbPi+CouJtPM9RRMQnkPahdWqJMbNBUA9doE9Yf1bwQJbzBA1HDMklAimc4iK52YRmH1yha3bb4&#10;qMc24Vkxslt1vGq7+pSjiveh5V/EbUT+O6MxEJ6FlSYgRuGNr6e4K008krZCPKv3Vwmnx4Oncfi8&#10;J903rgu+b8ZpaOlqYyDSA8kTkALyGmBltRHz589X/wJWrVqFAQP6kUdQFwUL/IByZUqjfv06ouuq&#10;efOmaNasCYoWLYwP37XAf8uSgHQlYeiwHe+02YgezUvjg9J1yDjSA91RbV23d8Y3dfrh7WYL6dgO&#10;OkYPWWcSkQYrUKPk9/iVBOtfJEAsKP9qthJTuheD07CPsbxvPuyZURanllXGobnlsWL2CNjNa4Nd&#10;k4thcd9C2Dy6FA7MKYtjCyvi5ILimDGyDbTh0cyMA3djFCJDqXRDqAaAu7GaWKPDKu3dI4q3wPG8&#10;lFAMufJ3xp4Ld50xVh6+JFrsStpGhqihFcY6KGNMafHxPxFvJt9VUThNRvVt9ghEV45WLiIZzl+m&#10;HRHhtJyleSAifTUPmQpIRl1YdEwTFhKqYVvUiRDi/1kA5Z+x+9wdJT9i7MM4bv5Uyfk0KyBGXVjG&#10;4bX8ap8cd5NN2H5G8e50Oh6benlOuY4ZM3ZeUNboGMdpmo4QEFs5BpJHIAXkNWDFiuVYsGCB+B4Z&#10;+RCTJ09GvXp/okaNauRxlEGJEkXFViYODltJaOagU6cOKFL4JzSu/zsK1h9EokBi0Gkn3qveAQeH&#10;W2B2sw9R7LduJBJkeDruxocNpmLf5ILo2Z133OXWG4Vvsx0VGjSF/yQLnBhhgc/qDKbje/CfRovR&#10;sm1zjO/XGAv6FMGR+eVwZF5FjG//E/Y52+DW1WA4jC+Mpf0KwXpcCdhPKIWdU8vAYWwxtK1bEjt3&#10;K2Mz2kP/IpTjjeafFIJhMC7EtrbkAWzBqmOXRJicI6O02dDr0WC+G6XN3VdGBoi8oQJDd2fJoGWG&#10;gXbnSJzULhbNqFGZ3u2yDdfCDTOlXvBAOGwL2yzOwqJP4+u0crS2w/+6O+J2VKx69UuglpXH+H+e&#10;ekTJjxZXOqrp8bmMPBCehfWCgKjXGOexmRUqTDwk1t4wWIizgsiYeHzVnzxm7vY0zo8Wb9p3FhDp&#10;geQVSAH5i5GUlISuXTtj2rSp4m9+V/mnn36C6dOnkYjUEW8V/Pnnavjkk/8JUWHP5JdfaogxEJeD&#10;u1B38Ap6YPih3op2NUtgdxu6ZTMssKHBp4qRbLoRk/tXRahVRZxbVhqlm3Wkh+wQPq89BSGdKOxM&#10;C+xqaYF/15qmCE6DtZi43A5hd+9hTu+SODK7DHkYleE0oTCOO87GSYc5ODijJGxJPLZOLIMDM8vh&#10;7KqKWDO4DA4ePoGYmJhMxINtlnJu0eGLhjEIYQDowWcDwFN7W9mg5szj6L3uNHqs9Ub3Nab0Sv/3&#10;qlMYZOuLjceu4kKowbAJE2WSl6fxyfh2ABkiNsia8WG2plbrsN3ov5HS5PjT0jX+rv6tfhfh+JPO&#10;96DPfpZnUGf2cXU2kpGRZzbdDPvTt9RcZDCInuEYiEkXVprXxHWmHVNJXsgI1Qth85yxfeZzihHf&#10;7RtKeeGZV2qcWp61v9PuER+j9Mx2YZGAGM/C4nyJsOp3kV/65Pia2cJBHWPKqIvQNOMzdgcrXqOI&#10;RyPHr9aBVn5NQOQYSJ6AFJC/CJohPXfunBjP2LRpEy5evKisQv/6S3h7nxazsj788H3xQqgKFcqS&#10;kFRHvnxfo0CBH1G2XGkEnjuFWn1mK3357ZzwZ9POODypBdb3bozSlf4kY2KLRu1aInhtCZxd8zNC&#10;LCtjz9RS+KTBNPy7hTVGtW2Iw1M7o3e932FRd57Yjdei3hrMXmGJsNs3MLpjQViPLgSniSXhsaQi&#10;PBaWxIHpReG+tAo2DS8Bu3HFsWtaadiRR9L21y+wbv0GUabMoJRbj/vPEvBpb0qPWt1p4iGMFBsF&#10;IvfF8xRbbs0bfxrT+Bh/J8F8i679c5YL3C9p+1KlN0RBd6PwbieKn42dZnQ0cj1qcWkU8VsZpaN+&#10;F+foe7pwRFEetRya0WXSuQW7L6i5MB5E14wffZIX9NIuLOM42VhyXWnH+HxrG3zaywnhVL8MnY53&#10;wX3RSCspKPfi1xkuJh4ZiRWvd6H4/tOZ4mQh0c4JUTAzC0tbB6Llg8L+h+tZ1AN/8nH1PJW74oSD&#10;SE3ldUzp748BSvcg4+HzBHzZl7wwHjNLKyuJmuhuI4pxLO04fZcCkmcgBeQvgvZw+Pv7o2TJ4nB3&#10;dycvZJoQjLp1lQF17sr673/fwVdffY7q1augUaMGKFGiCD797H/4If/3OH/GA80GsYA40cOzHf9p&#10;toIetmewd70Mi0pT8X3TYXCfVwxB66vDZ3UV+K6qgSsbKmPmoEqwqLkCzWYpW47U609ezJ+LSUD2&#10;waLWLMxetBpPY1IwqnM1bBlTBCcXV8bReRWwdUIJWI0uhl1Ty+LI/LKwH1cGJ+hz6aAKsLGxx2Wx&#10;B1bm4C4i3vacsfxICHk8G+ihJ4NlanBNaXouzWBo37mVTHG0JSND4vMWeRSzdhoMtgaXkHCqL0pP&#10;tFzNxKP9bY6m58XfmnE0Om78t3YNGehhNufUXJh4ICIcfbIHkqV1IFvxL4qzybJTeI/XXwhPgcll&#10;IpKwTXFWxnK0xaYZ4VjQAzLMJE5CiJgkBDwe1dIazZa6If/g3SQMquFmZjgLi/KRJsoUps1WfElG&#10;vNUKD8q70fUiDfokEXE+c1ON4UXw46E+IpixK5DKxN6HcR2QQFF5myzzwH9YvNKElD7p/soxkLwB&#10;KSB/ETQBCQgIwKJFC5CSkoJ58+bCwsICR48eQWJiInkd5fHppx/hm2++ElN3v//+W1SpWgEFfvoO&#10;H330AcqRt1KwbDW8X3sM3m1HreGmy2C3cxcmztkIi3K9sWl8JYRsrAbfldXgt6YqfFdXJSGpipD1&#10;pdGidUPk77AIp1xPoljD4SQ+61C4w0zUbtESm8ZWg92K4XCYXhMHphWHzbiiWNjvJyztUwyLBxbG&#10;/D4/Yc/0cvBbVxUHp5XA0NYlcPehsqW5r++5TA0Wtzi1svNf7VadgkV9yq9oTbIRUA2BMAbqp/F3&#10;0890ZOOikleQN9yEodtUo62mecCfp6qqLX8tHnM0d95s3rRwJufSzqvfm25G5zXKe14YBg/EKAx5&#10;L5l6IKJsHJ4+SWzsvW+i6QJXEbfhHNUjic1nvZ1x72mcGov5O8L34o/ZJ8iDonyk5Z8+STA+67Ud&#10;R4PD8X0/avlzXWr5zHAMhAREGwNhEWtjh4+7b8fxoPsoMHiPKiJaHumzqRVqTD2qjjnxGhQd+UmG&#10;fGoTEx5GJ4iFpcrmlpQGx83XN7dBzeku2HX2NqWlCSDHrZRfeiB5A1JA/iKwEWWyUGiYP38uqlSp&#10;Ir47Ojri/fffRf7835GAfI1vv/0aX375GT7++EM0btwAhQoXwFtvv418X5DA/PgjPmwyix4uMjR1&#10;Z8CiwiAM6lQN1zdUgs+q6vBdVwVnlpdDwCr6e3V1BK2rjrPLSqFE3dawqDEJFnVm4fMW09C1cyMS&#10;iwoIWVcOvkvyw3ZMMfz5S0l0a5gfI5t/jDm98pOAFMHqIUUws2dBuCwog62TymJwr47wPnMau6zm&#10;YMSQniL/GdgsE+iRkKpDlzWnyYhRC5PXILAhEEbGhHxMo/a3aRhj8nk2aI2tyNAaVtofZAFpTgY3&#10;zeCoYV9gBufTjKDJce1Y2jV8vVEcLCBrTQVE9UC08LyQMCtjIPzZbBOc/ELhGnxfEaI0D4LjIpIX&#10;MslJnVGWzjAbBPxoYJihLkT++ZOMNLX2h2/1p7STSAQcFQOtlZEFpG0GXVja7DPOA4V7h7yS0KhY&#10;zN4VLPKTVk4Oww0Gyvc+v7siDrFPgNF4iJbHWTvJ+9D2S9PKpq5s3+1zB8dCIpWurbQySAHJS5AC&#10;8hfB+EFmsAfC7yzftk3pVpowYTw+++xj0W1VpMhP+OKLT0VXVq9ePREbGyPGS5o1bYz33rHAVwWK&#10;4cPGJASd6CFuvRfVWvbAhVVlcG5tNZxfXY2+l0PNpvWxYNjPuLKpMk6TF3LZsiqcp5TBe41IeLoc&#10;wdvNV+PPFq0wsH1ZzOzzM+aNaospfX9H394dcNj1DFYtX4rBHctjRtfvsG92OXgurYzt44thTIdS&#10;CLgcim2bV2BovbewYdVckf/M1mNoUBbVKXWw2f0aSg7bR4aWjAWPJXCfPBtGHtwV5O/a30bHeayE&#10;KWbnqEZGMzTM5tb4YeguPE1QhFoISDMyZqJfn4xOmlEi8js3eDyD0xakeNM+VRqfF9+1c0bHzY2v&#10;0PEXBYSuS8sv5SXDQXSjWVgiPH2S4bc+pXQBlR9/WCmT1o3HYSj8l2IsRPNCXsQfs48pZdDqgUl5&#10;f49a+TcfPUfE0/j0AsLnzXZhGQmIFg+Fe7uLPS4/eIYo8iI+6cGrx43uEY9bkOdTfZoLT8JWIjJ6&#10;HhgPoxORr98O5d5qwsOf5H0UGrFLeC97+H5qAiLKLgUkL0EKyGvCvn378PPPNYSQRERE4LfffsHX&#10;X3+BunX/JAEpJMZJ1q1bm050Hj6MQL3aNfFlgRL4uMVcerj24ov6Y7B/RmkEW1bBuVU1cN2yHIb2&#10;/g0WDbfi80bjcHxmKQRuqIKzK6vj6sYKmDWgGj3IlvhPu834uMFM1Oo0DGHhDxGToMejJ3FwObQP&#10;lnN6wWphH8wbVhfzehTEvhllcdHyFyFEh2cWx8q5Y7FqxVxUKvxfrF2jvKHQuNWbETiEcQ99bHIq&#10;dvuGYbD1WTSYfwK1prug5rSjqDmdKD7pb/4u/ubvLvidWGvGMRQZulcxyKIlqhpSYfTIoJCR3EAG&#10;m3FQrLYmo6kZMmE87fCfjvaoQwa1xSJ3NFvgSnRTuFD7bnQs7W+NhuMtFrrhm/5k9HhAXhMP5ksF&#10;hJihB2JGQOhaK1dFQDZ73BQejuE8x0ffG23EFOcAEYY3MOR3hmitfOF98KaQouuQr+HuIbqG6qrz&#10;2tMizI1w3u6FDL/WhcV5zKgLK20rEzUcCdHbne1x/rbStcmz5HidjXJeDcf3qrkt9vmHiTCG37by&#10;OV2MffA1qvCIaykvDTdj0WFlvM3pbKiRgPB5+pQCkmcgBeQ1oV27dli9eo343qNHd7z11r/E7Cv2&#10;PCpXrogSJYph8eJFQmAYmoFOjI9F7Rad8J+m6+jhX4eFw8rjMnkZPqsr48qG6rAdWxZvNSAvo9Me&#10;MgTbUaN5O/ivLAn/tdVxjgTg0toyaNmhHj10u2FRaxFWrF4n4mU8efwY0/tXxPQOH2Fq+68wv8cP&#10;sB1fAqdXkRezsgZ8uTuM0tg5oyK6NS6KObNm4+Gjp3Ql5+7lHkhu4nlcIsbYk5HSjKJmyNiokFFs&#10;vfikCHeYjJXSbaOdJ4NDBvLDzg54FJ1xaz07aL/UTTXoaj44DxkKiGr4+DPTabzGAkJkAXFTBITf&#10;tVFiFK+CN/IUmGRIv+rrjKgYNqQ8zqDcF/7/H7OOU540AeN4yUi3sROvg/VVjf41TUDYA9HiZEP9&#10;goAYzcLSwrXZine6OJCAKFvaXw1/jv91YTEyKi/nlerJMBZiEJGncUn4biDPvDJKm8NTHX07aLeY&#10;js3YxlvPCwFRz3O8QkDkIHpegBSQ14BHjx7hjz9qIzo6Gnfv3iXh+BalShUXbyXkKb2FChUQ3997&#10;77+oXr06Dh1S3wuiPmyrrOgBqjwdbTs3xdV1ZeDH3VbrqsFzQSkUbNSfHi4SB16V3tGJHlhbDOhW&#10;E1c3lIfPqmoIWF8F3gtL4qcmFO7X4bgSrOynxLh18yZGtPkGc3r/hFm9C2D5gMLwWlkFx+aWhecy&#10;HpSvTqyBazZVsGdiMaycMww37xpe65oTcJH4XR28ulw9kkUqaLDgBBlSqo90RscaRUYqL+NyuXCf&#10;BETtwtLCtCUBIWMXqm5GaD5+YzIyOg60WuRB9bzJED8bNbNjIGTANaPHLeeMBIQ3axTdPxRGi4+u&#10;3aQKCGP9MV5dT+UScVEYQfpOrf65+0JEGE3UXYT3QYZZeGtqWL6u8Sa0Wqbs4sx4UUAoTIZdWPT7&#10;MhYQtQtLExBGH946X6wkpzi0fAovxBr7yTMUUH/TSw+FkMCx98Fh1bQ5PHlVs42mQ2/TPBAOo5VZ&#10;eiB5BlJAXgMePXqISpUqwMXlKIYPH0qCUVBsVcLiwYPn3+f/Riwo5AWEn3/+Gb766gtcumRYrX3z&#10;9h38WqsG3JaUwfl1NcizqI7LayugfivyLOrQQ9hyK95qtxmfdrYkw0GGqM5iWI4qh8sbq5I3UY08&#10;lZ+xdthPaN2tj4gvKUWPO3fuITlFh7kTumJcy4+wZFBhrBtWDIdml4PztHI4u7IapaPM8FrcvwTO&#10;rOCFikVhOaYaHLZuQLLqgBh3ub0OWJ28QoZQa1mrbG2DfH23C9t0LJAFxKgLi9nWDh923UYCksUV&#10;3C9By8WuRsZPNYBmPRCTrjQSEPOzsLgLy2gcgONMJyB6xCYmo9AQaijwVuyii4jTpU+6398M2CH2&#10;6lK8VvI+Zh5T88fpqum33YJ/kyfmedUgDNfDY9ILCIc1KyDGK9E5XQpHHsjb5NWdv214M2PI3Wf4&#10;L2+bz1vli3JzWCKJba1ZJyiEkj/2Ln7U9koT6XJ5iDyuQx4Vv8lSw4sCQuHkNN48Aykgrwnr169D&#10;mTJl8NNPP6JwYR40/wz58n0ppvCWLVcKRYoURsuWzcR4yHvvvYuTJ/mBMxjo5bNH4cDkn+C3rjqu&#10;bKqICX0q4qeuK7D50Gn8MWEr3m+yCL2nrcXKbUdQuL8TvqozHMdnl0KQZRVctKyOlQML4djhQ/A5&#10;7YWZk4agee0icDtxCLdu30X/FsWwuNePmEteyMkFlbB9all4LauGixsrw3lKefxcpSi6NamIdaPI&#10;o1ldDGsG/IC9u51Fvl6fgCjpzKPWqWiJpxlHMlDcIh2wWwQxCAgdF2Hok1rOH3ZlDyS3BIS3aaE0&#10;0gw+8WVdWByWDGF2xkA0AdFWcy87oK7Wbmc0mM7pN7LCgn1BIozrpQgSFTb0LEjqeQ7bxAaNFhje&#10;h8+4kSYgbKApDIfNbAyEPRAhXEo4HgMJuJP+1b6dV/GMO2PPgvLKL/Oish8JUsZClh4k70PbcVfk&#10;j/NL8TeyxnhHbUxHqaM0AUnzplhopAeSVyAF5DVAexji4uIwcuRwIRAsFOyJfEMeCE/Z/fLLz1Gg&#10;QH7hffz4Y37cvKkMCmvXBly8gfGdS+DW5orYM7U03v59POpN28Uh8OTJQ3zSdh3eabQCK9Y7YNJK&#10;MkhN7PBbqzYIWVManguKY/zAdsJrsFq3Go0q/ge96nyIxXOmiLi32izHpDYfoWXdMlg96hc4TSwK&#10;p8llxfTgSd3LYubEoRjXtwGcD5/Bjjl14bOoEKaO7IBkI0P4OsBrBgoOMWq5CgNKhqW5FSpPPizC&#10;HA0II+NLBkwzrkwWkC4OuJtLAtKKBYTHQNKMJNFcFxbPHjPOZ4Z7YZmOgXCZWECU34AmIE9iE/Ht&#10;ACdDWK18FG/+gTvxnFr2zZdy95oqsFoYEgTu5jt2MX33YzoPRIvrZQKixZmBgHjfeIh/s3hxPGl5&#10;oOtI+JouOInnCckoOHiXyHPaeTGzags+7rUNd5/Ei3i0VxI7phtE18JKAckrkALyGmDcSre0XEcC&#10;8g6aNGmIP/6oiQ8+eA89e3ZHly6dxeLBDz74L33vpIbWoFy/Ztk8WA74CtXbdqGHaAfea7cJU6wO&#10;wWnfUTQYtRK9xi/BD/XGot6gxSjU05JadDYY2e93zO/+I7zOKO/hGDOkLzrV/ETMtprdpxw2LR6J&#10;xSP/wLJ++TC2SzG0rvUjDs0siaX9i2Ld4IIY2K4yjrt6Ym7/Eti/cQj8NtTHznHfY0C3ZkhOeVFA&#10;uKxc3IfP4+F7Kwr+dx5nkU/MHHuM88SA0Cdw9rmD8uMOKt1CmrETxlYxTv02KW/sOyTWgbCAqAaM&#10;2cYuVwXErAeS0RhIWj7o82WD6MaCZCQgxhDrJtgL4TBpdUDXtbZDk8VueL8bGfq0Vfhq2k2sUGvW&#10;cTUGQ9ppAtKaDLQWlzqI/uJKdE1A1HCiC8tUQJS4m3AXH08f1sJyuSjeD7psQ5NFbko8Wnr8yWxo&#10;heF2hpX8WlyO2iC6VpY0AZFdWHkBUkBeA4wFZPXqlfjvf99G2bKlxS6877zzFrZvd0K/fn3xwYfv&#10;iZXpR44orWlTRD9/itoNGsOi3kqI7dpV4/leoznYuWcPBk1eDIvaG/Fhu1V4v/l8WHQhg/vLaCxb&#10;Ols8jtZbNqNt15roPbASmtQrgQHN8+P38p9haK+mmDm8CQa0LoHBA/tj/dgacJpUGIv7F8DYjkWw&#10;ZfMmjOhRD/M7foiF3T5Do58/h7PzDpEn47IxtNby+hPX8G8ymG91tMdbnbJADqcx7bgD3u60TXym&#10;vQ+djQj3s2vGh1vXLW1x/OJ9ka5hHYhqcJhtuQuLWre5JiAnFA/EWKQy68ISYegzozGQ/moXlrEg&#10;CQExDKJriHgeh897c3iuAwqvGWie/krxp81WSidGNtjvryzoM75dZgVE9UBeFBB1EF3ErYQzFRDt&#10;3rtfisC/uDx8b9j70PLB96QlC69RPMzWW8X90d51okDJ6AtdWFxm6YHkGUgBeQ1gI/v8+XPMnDkD&#10;P/1UQIx9cFfVv/9jQV7Ib9i7Zzc+/+wzfPbJ/1CieBEK++IrX7V3mHufPo33a/SkB4oe/PYO+LzT&#10;RgyathSlm0/CkMX2aDdxMz5sTw8pz8iiVulXpWtht6Mdpo8fgl8bfo2ZK2rDyrEVWjavjBY/f48S&#10;Rb5Bh5YtMWroUFhuUjZLPLBvL+b0LAqrYQWxanBhDG/yEYYNHQgb601YOH8O3DxOiXDmoK1DWCve&#10;R06GnAdUefCVP8kTEBR/q8f4UxzTvmthtePq39o+ScIYqcaEjWTDzWJmljKAbCQgWhgOzx5I11z2&#10;QDQB4fg5naZWGQyiG+WVhC7DMRAxnVXLM32KMRBTD0S5bqQjr7ng2U7GYyH8qV4v4uBz9El5qDbl&#10;aJrQK3dHQfpBdDWejLqwtFlYWvxmBER4nyKPetSby4sYtTyq1wgx4TxyWkbHG1mi7wYfJZI0KPmV&#10;ApK3IQXkNcHFxQX//reFWPfx+eef4t1330LtP//A/fv3ceP2HZQqVw5FyCPJ983XOHr0KHbv3oUx&#10;Y8aK86bY5rAVb9UYRA/Vbvw+cDGqdh4nugze77AZy5csRNXe80g8duKHX1vBpndpbO1bGTOaFUOP&#10;X0tgYNvyaFSnNBrULop6tcqiVp1SKF3+B7Su9iOW9KiKoEBlCuVJt5OY1rsMCUh+dK/3LTw8DcYx&#10;cygP/vrjV9UWOBsJMhbi4VcNhun3dH+rhkX7WzOK4phqfEQ4MkbNNuHz7ttwxeg9HOkWEmrXkeHL&#10;VQ9kidEYiJaG2S4so3wwM+zCUj0QzYjzpxkBSXvj4pNYfNJjm2ggpE1X1tLQyMfEdiKbsc3b8Ppe&#10;Yxg8EE5bvS5DATHqwlLDsYCcNxkD0XAkiO5DOo/IhNp9pTL8t+NWXL5v2mhSCmsYA9GuozxIAckz&#10;kALymsCiwN4Hv/eDt3e3sd4sjvv5eGPGoA4Y0LgSSpQshqLFiuK7774R+2O1bNkCz6MV43g/8hFc&#10;T7ji2tVr4u+FC+bgX78Mo4eKDABvZKe+nfDzjquFYX23XCtMa1EEtgOrYeHAKhjdvgL6timLgQOq&#10;YODIn9FjWGW07V0VLdqXxuheldC3STk0LfYNurb4E4+jla6EXfYrMKbJ2xg9tLv4O2uLB5UHfx0L&#10;iPEgskZhBEy+86fGjMIYh2PjQ57HpyQK7peVgWHe1pxh2AvL6BryYj4kA5irXVjGYyBMEpAuLwyi&#10;s4BoYejzZQIiWuYUNk1A0ndhifa96uENsT5LLXdu4bNnRkZVy4dxPZEnVnbsASTxG6XM4IVBdL7W&#10;rIBksJVJZ4cXBtEN0OO36UfUelKvEVTLKOqOSA2fjqsUjzZ9d6jyPW0hYdr1UkDyEqSA/FWg37/x&#10;7qM+Pj4oVaoEPv/iE3h4KIu5Av3PoFPt0hjfuCA29qqK5hWLokKJAvjqm3z4/sfv8MXXn2LkiBFY&#10;M386htSriqXtysBqQgO0aNYELevURPmC3+H9P4bAosteWHSih6vLTjJSDvj855Zo16wA+vSuhLqN&#10;y6FN/6po1bsCajcvid49KmFQx4roXa8slvethhUkLGu7VcOcFmUwsk4xNCz+Hc6fVzbpO33CCZ1/&#10;+Tf2kDekQTzkxs+5CbQyrzt2WRgHpUtKIxmMNJoeU//mrgqm9t34HG8fwqJE8VaddBDnQpUV1WxU&#10;tS6sA353FaMl0lWvb2mH9zptRejD3BGQ5gtdxaBvWr6Y9Hfb1QYBWedKAsLlTwtD+Whqg6LDdr8g&#10;IN/wflC8vsM4PirDeoojPfRIVY3s9YjneK8L3XPu+uK4tTrT2Ib+pjisPZR30JvDNRKQD7pxA4Tq&#10;VLuOvRr6PHv9oRoKuHLvKd7lBgoZ7rRw9P3f5DkEqKvajaGVbq/2Gt10vwEm55VI94Xf7+KnipA2&#10;hmKMbT63lbpJi4PKS0Kcrw8LiGG9iMSbgRSQvxBsbMNC72DLqiXo1bQeSrOHUbwkRo/vhw5dSAja&#10;lEfX3hVRp2lZ/NmkLBo2KIOaNUvjz19Lo0Wtsmj9SzH0qFoMAyt9izE1CmJAzRKY0bgEmhT9Gt99&#10;+gkaFP8B1Qvlw4eVW9ODRQ9Zw2XIV7YGevUvifZ9yLtoWgGtGpbElP5VMIeEY3W3qjg06nesa1cW&#10;K1qWg/fYX7C1F3kk1UugX7WSGPlLKXQo/QOmjB8NT69zcLCcgcGN/oeJ0ybipPtJJGvbrFC5tHej&#10;m0LbsmKdC3kgQkBs8a+2dgZS65Y/lTEPhXxMfGZALcwnPZxQZ8ZR2LhdR6Lan2Ms0oz9fqGKgBhd&#10;y3l4nwzg7YeGrq5XQTNeDc/jO0b55hXUbdcYxobWul6j8m80ygcZvubWKDZ0D3kEhtp7GJOAb/s6&#10;k1G0TqsHwSabsJbKmRl43EAp65b0dcWfTa1QesxBxCdrK/5fhNh+hLw4HpBPu54FhOrrTJqA6HHx&#10;3hO8x5sjkpckwnA+yet9m46dv81b25iAbgnfFd6b67dpR9Pdj39xXkU5SQyaWKHNCsPKeHPYztu5&#10;s0dpPE7WYgvVmZOY1izxZiEF5C9EcnIK2jati5/LfIk//iyGkqWL4Jvvvsa3BT7Gd99/ippVi6Px&#10;78XRmbyBUe3KY2KrchhepxQG/1EKkxuWQcfyRVCnaAF0qVUaPTtXw+ABv2D62N/Qp2sFNGpZBiXK&#10;Fsb3Bb9FpfL58W2pSvipRGG0aloY6+b+AbsRtXB06p84PqcOzi9rhJPjf8OO/pWxtEV5bO1TGUtI&#10;QJY1LQPL7pXQt3YptP2jODqRkLVpXhk/V/gBdcrlx8AWJbBmaBESs69QtdKXGDVqGK5dCVFeGKUK&#10;hSnYaLCIPHgaB7dL4fC68hBel4n8aUo+ntE5ld7q55lrUQh9bOxB6JCqI/lIlw89HkXH4OSlBzhl&#10;FIfHlXDxd3ySsr/SK4HSCwp7AveQsLT4ma4hEbgc/kzkh//dfxYPVy5/WhkjRX343ogSdaQhMSUV&#10;p29E4tSl+0pcan24Xg7HA4pD86xeAKUTFROP43TdKeM6VL+7XQzHjQjFuJtr2TPiklLgdY3rhvJ5&#10;VbmO4zp1OULsPcbvOuTyxCak0H2gcGrc3lQWjysRdE04Yujci+B9uZQ07zyKobxQWL7WKJ98Pzyo&#10;PiKeZ+wVchwPn8fB81KEkjbnjdOmuvG5EUGeXMbiKPF6IAXkLwQ/fOstV6NS5UKoVfEHFC6QD/lJ&#10;QAp/lw+lChVCw3JF0ar4T6hfvAAal8iPBsUKoFGJgqhTqiCql/8JLVuWQr9B1bBwQxOstm2NyQsb&#10;Ytaqehg3vyY69amAdo0qoHHVIij803doUa0oVvSqiGOz/0TI6iYkGg0QTJ/uU2rDsX812Hcsh42t&#10;y2DEb8XQslIx/Fm9CDq0Ko9uHSqhTadK6NS3GnoP+RkN21dF91alsLB3AczvUxDdmxZEm0aUp3rF&#10;UJdEZFiLirgfpkwJNQth78wbrNyCMNFUt2xE1QRfI16SXpbyZHw+O2EN4NczZQVKPal/ZAvKiFeG&#10;AvYS8NUZCZcpMkpD5F0iT0MKyF8E4x//mdPe6NSkPr75+guU+P4r/FmuEIoX+R7lyhRCzd+L4Jfa&#10;xVH110KoT17Fr3VK0PfC+KVuKTTvWhUjJlbHgP5V8GuFohjevCwOLKgPp3G/YmiD0nCdWwd7Rv2B&#10;4X+UxPRm5XB01K/wWVgPDkN+xfkFdbGD/l7epSImtqmAzSQs88f/gu7dKqPHoJ8xe2U9EqXmGL+w&#10;NmZM/wVbxv+BIT3KoWnrcqheuQia1SqMJlW/R5+WZdG7Y0nUq/g12tb7HYcP7kdqCrdNJSQk/umQ&#10;AvIXgQXEWEQSEhKwbu16lC1TAkXLfoFm7YuTF1EJg8f+illkzCcvrIMpi+qgRfvy+Jk8hOqlCmEy&#10;GW/nkb/BY9afGE0i4Tz4V9gSx7WtgF41i6N3nVLo+WsJTPujDKy6VsCUxqUwt1NFDG1XAWtn18Ws&#10;mQ0wbVETrN3aHmsd22KlQ0usd2whvJm5yxti3pIGmDLiF0xoVgEdahXDzA5l4TSgGma3LY9Odctj&#10;eqvSODSmIkY0KYuVC2bh6VN1sJPbjLJ1KCHxj4cUkL8QBiNrMLZhDx5g/oKZ+KNOeRQt8iXq1CiI&#10;/uR5DGlRGrNblcLSNmWwvmcVDGtQFgtal4bLtD/hOKYm+v5RCjXLFES54j+i8Pc/oEbBH/BzkQKo&#10;X+4nDGpbDnMn1cSSlc2xfF1LrLLvgE07O2Pdlk7Y4NAJa23aYp1lSyyaUw/TBldDu1ql0LthCSwi&#10;sVg8uAYmDquGoZNqYNEy8mhWNcLWkdWxpnsZbBryCzYunIDzgcp24QzumlBKY15AlO4IPW4+eAqP&#10;oHD434jCqUuRCLkVhaTkFIQZTaWNS0jBw8dxFFyPB8/icCYkAqdCwnEyOBy3IqIpFh7jUDpSUvSp&#10;OH3lEfyuPUR8YjL0OqV7JDohEV4XI3D9oTL1mOs84mkcYuKSRLyM8CdxYvzjcugTEfbczSh4UBrX&#10;7z9DQiLl6UmMSIfTexqdSEwQ196mODm856VwuFH4qOdxSNWlwu/GI5wKjsCZy4ZxFR4ziHpG1xE4&#10;D4l0PCLK+P0jLLpKWR4+jUdyKnlxIn963IuKgUfIA3hfihD5ekh1EZ+UgnNXH4njvlcjkZIqZBtP&#10;YxIQReXT7oIYY6Aw2oCyKAfxMZXjuVoH/O9ZTBKVS9tnSod4qvsHarl1PCWCwj2NScRj8YZDqpPH&#10;seIc55HTevA4HrEJyrTZuMQknLoYjsA7j8V4TnR8MrypnnyvPYIP8czFSKr/BCpHPNVDKm5HPsfJ&#10;oPtU75GiLi9Q/SclJSE8KlaMl9HNFPf0MdXf09gEquv78LkeiTPXIuFFvwk+94Dq0ot+G950/ang&#10;B/S3tjW/xJuEFJA3hNC7YVi4aDH6NfoVAyt/j17l8mFrh9LYN/QXbCcDbtmtCuY0Ko3FrSqgZsUi&#10;+L1+CfxeuwSq1iiDKjWKoFW7cug/qDomzKmNhZsaYsXW1rDe2R525G3YbWyDzXMaYPeM+tg44neM&#10;bFIaSwbUwPIhNTChYwUM7FkZU6bVwurNrbHeoTVW2LbC4iW1MWRUBfQfWhmD+9fHrCmT4R8YrOZW&#10;gWKyMocwOvTP7UIoFm4PQL2JBzHB9hz2ed3C3aho9F/tpYaEMEJTtipThmdvP4/+K72w6kAw5jlf&#10;EOLDKfKmejHxCZi2xRfTtvlhFoVfe+CiuObKvccYuNId87YHoucqDzifVmYtzXMOwFHfUPGdMcnG&#10;DwEkZEfP3cH0rf6oP+kw5jidh0dgGM5efSji1rDR5SqsXK6I7wPWemOclS+W7L+Ehc6BuBPxFMG3&#10;HqPlzONYvf8ipjv5YcjG04hJSCbjGYHyI/aTiChGOuTeM4zYZFhdrdSdHkkpyfhl9H6qH/X9GIRR&#10;m85g2HovrN4Xgvk7AnHz/lMc8b+HptOPYd2hS5ho74uJ1v4kXoCT5y0s3KnsvHvI7w66r3LHDMpb&#10;r+UncJ7KqGHAqlOYZq/sf8bYezYUv405QAZdGfQ+Q4Z42hZl/zB+byTDwf0GVh1UGgvNZx3FarWe&#10;GePoHvrfeEjiHEt5PU11HoDx1r7Ye+Y2oqJjsfrgRXRb4orOi12xluom6nks5jkE4NyVSBL9SMym&#10;ctWcegQjbXzg7HmTxDsawzeeUQSEcI7CTHE4j4jHMVi69yJaLqK4VrhjzaEQIVBjNp2ldM9g7b6L&#10;WLwjAP7XI8TvTOLNQgrIa4bBK1HwPDYWhw4dxqjhw9CmdmW0rlcA7bsWRvc/CmJgvRLoTZ5JIxKR&#10;Bq3L4c9GxVG3eSkMnlwTc9c2wswldTB/cX0snFUXtosb4MDqFti1rgX2z6+P7ZP+gOPChnBa2xJW&#10;G0hQHMkTceiAeZbNMHr6rxg2ohqGD+IB82LkxXyLgY0qY3if7rC22YLQMMOuraLNTHnW+FKIVqvi&#10;HTCGbfBGJLW4GXcfxqDfSsNUV/Ymxm5VjPd0+/M4e81gABlaPIfO3sHgDWfEd0YctUgZ423PYgcJ&#10;EyPs4XN0W+ou8shG+ICvYaB/+GYfnCWDw4ijVvRwS45LKYs7tWan2xtesmXtehUbjioCMoQM3EO1&#10;1a7BNfA+GWxF9BiTHPxwkNK6EvYUZYbsxjQytIxgEjcWFw1a1blfeIBGs45j8W5FBBjjrc7i6gPj&#10;faAAGzLmc/cawowkMQoKfYydp29jzk5ly/NOSz1wQ12F7xpwH+vJiDMinySg9xI3DF/nnTZL6uj5&#10;uyjcfydWkAFmeJGATFTzqry7Htjmeh0rDihp9lzljapj9uNmuDKTa8Tmswi5+xR2LpewkgRVQxyJ&#10;p1aX9u43YXfCsO5kAt0ft0DDb2kklTM0UvEcbkY+w+D13uL3wmAvaziJi4Z1hy9hp/dt9S9gEN2z&#10;q+TVGoObKhJvFlJA8hAiop7A45QHlixfiD79O2D0xEbo2KsSBvcuhUVjy2Hd+IpYPKoKbBbWx5KR&#10;v2FEkzKY2KIcFrctg0NLG8JqY0vsdOmOLc6dYb+7C+wPdMNa29ZYvqo+5k+rgVXTqmFI859Qu/R3&#10;6FijNAY2r4s5k8bh6KH9uHPX0CJOh2w/o3yBSrKafS29cVs1GuFP49BqviuOk1HxDAnHyj0XMXWL&#10;YoxnOZ4Xhp+7L7xCHiCR1y+oVpe7mrosdIWDx3UE3TGIzCgyqsF3tMWEegwhI8MGbdHuCyQghvIM&#10;t/ZJW1nN3UP9159Cgro+wocMV5eVbqJbxDskAqPJ47A7rqz2H0AGzpq+s9H3ux5JR/Si5T6YPJPg&#10;O49wgbyR/is9cS3siYhn6a4gTCWxOkitfS7r8HT7OyllGWt3DqevPySv6Bwi1K3Lx9A1DievI+DW&#10;E1y6p5TP8cwd9KfyhIQ+EV5SN/I0+JW8O71uY8lu8gypvP3WnqZyaAZcmdbMsD1xHY5u12B55BJ5&#10;Kco7OPaeDiXDf5HE8zTOkldwkeptip0inFpL3tHtOnmAijiM3+YPWxLSgWvc6S89ppIXF3T7MXkU&#10;Eei+yA37KH/Xw5TtRzShtyLxsDyivMucMX6LH1zJy9QwdKMPCa1yza3IaAxlIVev9bv6COOpTjSs&#10;2B9CHpFhJf6gDWexho6dCA7H6cuR0GWwul7i9UIKSB7D8+dx8A8Ixv0HD3D9+jW4nnTH7m2bsN9u&#10;EfatHIqdszti55QmsB/1Ozb1qQqr/pWxlcRk4sSamLaoLiZO/xNzFzXEsLE10aR5BXRuWhGTe5OA&#10;DO0Eh2WT4bx5LVyPHcXNWzfxLDoGDx8+RkCgoaWbqyAj13/9mTQBefQ8HnWmu2AeGdplZAz6rfHC&#10;eLWbZZ7TefRc6YGF1DJffzAEMfHJZLbIKKoG5jIZ6XnU8h6y0RvjbMhwJqZgorUvAm8pBleXqsdA&#10;Mvix8UlYtOsCDp0zCMhoG1/4qt4N98tzOE1A/EhYGs06hlV7grFq3yW0JYHbckIRkP6Uv5FWPli0&#10;MxhOZJDZkPqQ8W86/TiWURmqjdqHY2o6J8gz4a4zHgfpuOAEPC9GkIdkvD05cO9hNEasU7ySdYcu&#10;w8FT6XIbQmkMpLRm77oIm6NswPUkgHfQYPpREsNAVKR0uIuH4eB2I01A+pKA8HgEh9fAYsCeD48R&#10;nL8ZhelkxBk7qDW/6vBV3A6PRscl7nANeiC6BBUo129zv47lB5QurMFUz1Hkfc1xvAB7qo8FOwNx&#10;+oqyuPA0iSh3G/ZZ7YHluwKh0yl1uZnCbTASkIkklrweRcMwEtQr9xQBuRERjYFGnqDf9SiMMvJA&#10;VtHvY5uRgAze4IWhJNzz6PdhTcKWmsK/D4k3DSkgbxT8MqhHuH3nNm7cuImrVy5jm/NhrN/iATsn&#10;F+zccwAhIZdxO/Q+bt6LwK2wSIQ+eITgy1dx1u8cLvj7E70ReN4LR44cwtEjB7D/AL910BunPE7T&#10;pz+uXb2OiMiHiHj8DBGPnuFZbALuhYfD73wwdu49if3U8h02YSmOkqjcIMG6dv0G5ecW4mNzYdW2&#10;jlrJZKxvU2uTce9RjBANDedvPhJjEozpjn7wu5F+XyX2Knjw3HTNwzgyuN6XH2Cy3Vmc1/ZsIiPW&#10;e9UpJJEwLCajdtDHMAYyeMNpSkvxVEw9EM+LZEgpbQ3cct/kohjBYZvO4HFM+i4sT/JU5jkqeV5K&#10;htxG7bI5GRSGKdsUb2qnzy3UnnEY49O93wKwd7uJmhMPYhF5Wl2WeaTVxRjbM8IjMMYWzxskKIHi&#10;+9gtvjh4TimPPQkIiwqjF8WRJDwQ4ElMHM5Rndx+FIufxx3AzG2+woDXnXQIiampVB93sGCX0vW1&#10;4fgVNJx6FAsoHwzNA9lKHsgyVUCGbDhDgheDWBLqLss80WSeC9WhYXsTDV0WncTN+8p9Ex7IUYOA&#10;jKP0XY1eYjVkoy8u31O6oe5ExaKv0W/B79ojEnpDfS3fTwLrYdjKZejGM7hutGkmQ/ogbx5SQN4A&#10;UpKTSCj2YpntUTgf8Ie7VxCuXruNq5cvYb3dcTjsC0L7zn2wYOF67Nh9BLv3HsWpU6dxxucchbsm&#10;3pd++/Yd8lLCER4RiRs37+DKlWu4d+8+7twJxdOnzxFOIhEZGYlr165T+Cu4efM2PD29sGvPYTjt&#10;PIThoyejVcceWLP5MDbt8MexE564ExqK0+dCsOugD1bZnMDU+evgc8Yw9pBd8Eypvis8cFPt3w8l&#10;g9RpkWHrCrfACEywUgZyp5CxWbQ9iFq3ETgeeA832ViQ98HG7XLoIyxzDoLPjUc4ERyG7mQ4I5/G&#10;Ye/pO+i11lOMpczfGSQMJsPnSiR6L/cUK6ZtqVU9cK2XeKc4I/JJHPqRQdRmT3lQS3y80WC3JRmu&#10;1eQdMHpRHDbHL4vutpOBYXhCLXIWkAnWSjqR5G10II/l0fMEuAcbxhQYnZe6kQfhov4F8f75bis9&#10;SbDuI+xhLEIjY9F7mRtuhD/DpM2+OHtZGaPRYOd6A1NUcb1KRrfzPDeRZwc6PmubIgRzyYOY4+wP&#10;fzK+w9d5YS95GcsPXsTKA5dw/3GsmLnEYzROXjfgQp7SfCfDWE+dqYfRe4UyHqVtzWVz/BqWk7fF&#10;6LPqNK6q3U3elx7gs3ZbcPX+M/JCIrFs30UE3H4C59O3MWC1O57FKDPANhy5grWqADFGkWC4BRh2&#10;k+6zxhshdxWxSaHfxhibs9hAdc3dV+ztHTpr8BoXkIdne1LxBBk9VntiLXklniGR5O2F4X66d4dI&#10;vClIAXnd4FY1tRrXWG5GtyHzYLXdB7fuK9Mjw+5HwNLBFyssD6JJi7YkHq4oXKwoJkycgqFDRqB/&#10;/wFYv3692Bre9xwZ3EWL4ObmRl7ME/iTNzJv3jwEBwdj166dYjv4DRvWw9XVFZaWG7B3736MHTsB&#10;AwYORbMmLdCqbQf06D8Io8bNg/3hmzjhqhi/qGgdPHzDMWTCOrTq1AenvbO6jfuLYM/BLeAetY4T&#10;hBA8j0+Ci79ha/F71Ar1DmEDo8MZMqCLyGisIgPEHoT3xXC6QkceCE85TcZO71vUwvfHnB3nceG2&#10;YRxk/7k7mLXVDxuPXhVTX7WBfu+QB5hOhnbJniA8EjOjUumcDnEJqXA9H4YUdT8qNkQ+6suouC0e&#10;fOsRgkT8ehyiVv+C3UFYSnlavvMibj94igjyYHiMRmv/upPY8RhNBAnTmUv3RTk53xFPonH4nGEg&#10;n7vkeDKAMXjgmMXhLIlm+JP001Kv3XtMoqLExzjmfxcRT2Pot/IMfmTEuW7jUxJhe/wqZtn74bCP&#10;MuB8zO8uCZph+vDdR8/FVOTbJMj+lB7//jjGOxHRdG/C1L+VPF+6+xhBwqPjWXT38SQ2Xq1PPY5Q&#10;WbjsfC83Hw/BdEpzGdVtGE/DpvOMEKq3oFvkpYg4dfAOZrGMFvXO8XgEhIrpxRycQ0THJ2DjwSuY&#10;be+Pg+cVD4tn3XHYgOsRuMxiw2GJLlT+ZTvPi7ERHmsKuhHJpyTeMKSAvGbo1U0AGWfP+mD6fEvc&#10;DVOM2ZNnz2Hj6Ib1Dp6YMWclZs2chwkTpmP4yDHo27c/xo0fjx9+/BHt2rVDz549YWtri379+omX&#10;VY0aNQqTJ09Cgwb10a1bV9jZ2aF9+7a4cCEANWvWRO3af2LBoiVo264tlqxYi8122zF2/AxYbXPF&#10;Shs3+F1QWt1kX2G9zQUDBg9HYmLOd6/lUhr2fCJzoiPDQEZFQfrOB+6kModUqituqZrrrOAB41R1&#10;+qkBlIJqvNKDjpBgpIot35X614yaBv7beOsNjiUzcHjuXjNAi5dKY5SOKdjwK3t4aWlp4ThF7btR&#10;PjiP6dJRoBP1ovxuNOj0hr95ZpUyuyp9PjhMunLyd6I2jsHQ3kfO1/I9NJST4zJcq0HPa1SM8sie&#10;p3EafE+0F6JxHJym8ttInzc6Qf9RWFE25ZxSzy+myWD/VOLNQgrIGwB7DEtXrEG7AVMweZE1rDY7&#10;Y8fOvfA85Y4j5AnMXncCPSbZo/3gOZg+eyEWLlmBvQcOw8PTC5s2W2Ht2rVYvHix+LS0tERqairW&#10;rVtLHkpfLF26BDNmTIeNjS2WL1+OOXNmCzHZ5uiENWsssXrNesxdtBy9hs1C+zFWGLZgPzbv8IKn&#10;12kc2LcPNnbOWL7emc7PR9sufXDg0AHVWGUP5h5txaiYiYsNB5sDNpYq+DsbHm2KKUMzUnq90v3E&#10;EAsKjQyMwXAZG2S+hk239nd6g6dBGDmjjJsLo4HzpU8nSIY8GcDn1PNG/+dPo6IKGJddAf/NfLG+&#10;9C8IBYcxxK3BkP8X49DqQBNb43o2jiO9CBk+lbolY5+arAr5i2WS+P8PKSBvACEhIVi2dDlOuJ7E&#10;hUB/BAcHwdPTA9u2OWD+woWYOG0eJi60Qe+ZW9BswCR06tgRw4YMhpWVFZydnbFnzx7RdeXu7o6g&#10;oCBcu3ZN8PjxE2Js5OqVq+L8WZ+z2LdvL7Zu3Uq0J3FZjO5dO6F1l4HoPNESIxZsxbQZyzF+3ESs&#10;WL4Me3bthN+5s5S/YJwPvIAdu52xjkQqPs54RXXWEXTnCaY6nMcUez94hyizcZ7HJ2K6oz9m2gdg&#10;spM/ljkH4rFYa6EYsjMXI7D7lDL7RhOD7SevIvCGMo3W8cQ1sQvr+etR2Gw0YHvj/jPsOHVLGDaX&#10;s3dx+fZjsf38qt0XxSpxtm3JKXz9VfE3x3XINxQztvhi3vbzCHvIXUgUSrWCmi3kWU9a3hmeIRHY&#10;dlLbZl2PS1TGg6d5LYoeNieuY6y1D+ZsO48Vu4IpHWVluobbEc9gfdiQZ4bbhTDs8Vau52nKo619&#10;MXOHH6bY+cH/WgSO+IViop0/Rm4+i0m2fnB2VcYFLtx8KGYjMVgEIp7EpJ3TwKK5nfL68Knh/umo&#10;DhyoDnnFN/t+zyiPTlQnXN5jAWEYt4nyv53uzdZzuCzet8IikQprl8uYuNVPDLLz6nLfa5FiYJ7B&#10;q/M3H7msdE9J/KMgBeQ148WWpjlQi07PD6Nxq1ABewMJiQmIi48TTExMRHxCPBKSEkSLkv9OTEpC&#10;Ah2LiY1BfGI8ktQB4xeg57EXPpeVPGUNWvHuk9HqsMgVnkEPxBqMLgvdcPneY7GNR4eFrrge9gTX&#10;HjzDLaKYSaSKhS0ZvO97bRML/jhfUTFx+LrbVtEHzyLTc5kHEkkYeHzinZY2CLihzMJyDQ7HoI3K&#10;gP9Ue38cOHdPdCUV7OWIOeqsqYTkFPRY7oHohAS4B96n765iHQmvpu65go8npasJTodnTY02WsS4&#10;mQTls1ZbcO2uMmvqoN8dEg1lMWSvlZ7Y4XUToRExWLTzAiamrfRWcIFE7eMOW8VYgYYao/dhuLUS&#10;bhSls93zFl0fjev3nuFJTDyinicgmK5rM++42DolXN3SfoaTHyoM3yPGVhiXqG57r/IU3zXwFiV9&#10;VniKwW8NSVSmbstPqWMuerpPMeihvpNjjnMAlu0JRmhUDFz8w9B/xSkksXd7IBhTrf1x9cFzLNl1&#10;gdL2RxSJRefFJxGfkooTF+5j2IazVN+59zuS+HtACkieR1YfSnPdFAzj41pcL4YVfdK58PxrAnnE&#10;l7cNMUyPXUetZevjV/GUWrwjN6U3rKIbRk18H11XcuAO7PBUvBB79+soNWgnvIKV6aD913kLo3aI&#10;BKXLEjcMWOOJBDJivNhuDLXQGWIrk/NhiE1IxCBKqzMJGQ+qMwav8xKeydydAdhrNKh9MzwaMapn&#10;ouEYGdG5ToGY7uCPUPVlVNs9bqHrUg8MXM/bcOjEyvQJDsoEhGGWPgi8pQhLHIn2wHWnERtv6G66&#10;SN5K2VH7MV+dRXWOvKpSQ3aS0VZWh0+2O4dAM2/44668wZbe5C0oYvGEvAf2RubvuIDdwvsBrt1/&#10;LlbOm2LQBm9cN1rlzu8f6b/+tDqxAIh8moCBFDdj6d4LYgsVBTp0XupOaSai/9pTYuGfhhASK4bl&#10;kRBYk/cyhvJt7s2EEv//IQUkj4HN1xN6aJ3978KfWqoX7z3FqWuR9KDHiM39+K16l8KixOaDNx89&#10;h3/oY2z3DUUMtapdr0Ti+MVwXAp/BscztxBGrX02Pleo5Rh0NwqPY+PhTd7AEzLirpcj6JpEhD+L&#10;wa0Idcqs6gW8Cjg9xt7TtzHTaC8mK5fLWHvkqthQsfH0o2ItxVQHPxwPIINF12hpbz91EzPo3AQb&#10;X2Hkpm45h4l2fjjqpxi2ASQASWQEeZuL9Ycuw971KrX2A8Rb83iVN0MICMUbE5uICXZnEXDzETot&#10;cMfTmCSM2Mirt5OwkDwEl8B7eE4t6dV7g7Hh2DVEiW4dA6ZvPY875CHtIg/FRp1Suvn4Ndi4XoPl&#10;4cti6xBeoT7JQVn/MYw8iHPXFI+INx4csMYLj4y6dXxJ5CZQnYyzPifWxizZFYgZJE5L1C1Lxlif&#10;QZdFbphA4rB0dxDi1TUeCUkpotwP1c0aD5y5A9sjl8Xmjtpak+sZCAgLz8sEhFfcM3iLkk4L3TFn&#10;RxB5H57YclLpIuu9yktsphgY+gSLnQOxy+u6+KHGxCfhz8lHMFm9zwbplfinQApIHoTX9XA0WOqK&#10;/f73MYsMycz9VzDN+QK2nbmBZSevYpSdDxovOIkVZETmHgjGGKcLWHf8CrpTa3M7tcxtPW5g4BY/&#10;zNivtGw3ul3H9D3B2E6G8M8lHlh97DpqzT8O27O3sezoZfiQgeXuMtX2vxK0cQtnSmuqo2HPKFtK&#10;c+PhS2KrkV5knIJuPRKtdd4pl6F5LvaU1y1u17DN9QZazD1BxuqWWLW976wyzbPvOk+xpmIHtbwX&#10;UAucwSuiuctoAdUDY+6O8zgScBfRJCCjyVgy1pLB53GFiVt8xfYfC5yDSLzuixXtpy9Foi3Vp+9V&#10;w1qMx88T0GKGC3kYYWLhXe9lSvfQZmpxrz50SQhl3+XumE8iMH+3ku6QDafhq74Klj2QweSRPDN6&#10;7SpvITJzuz+8Lj1A8znHsYI8Dxe/u5jlpBjgybb+2H8mVKyXCXscI8YWGLwbbT8qN6+iZwxc643l&#10;JDpelyLQdNYxRDxJEB4SbxWigOuSR4N0YruQm9SAUMCbOaZQXF5iOi7/zZ+D6G/Gon2BWEG/J15c&#10;2XTmybR70neVBwlIrNhI8ci5e2g64yiixR5YwBSqT8N0ZSkh/zRIAcmDcL8SgS7rvXCavIU5ewKx&#10;+uglTCQBmXXgIhYeuYLlh6+gOhmOrqtOYYHLRSw+EoLZdK7P6jPYdfYOtnhex+x9FzFaXXnsf/cx&#10;ZpPYbHC9jl/nuOFA0H30tjpDgnQbv5ORHrOdwylG51WhGR3/G4/Qc7knUtW/h208ixPnw/CQDHNf&#10;1WClg+r82Jy8jjVk7HkNQpPZxxGXqBO78+6nVjejB7WGuQvKiYSFu5YYPJZSuP8ujLJSDOhM8mAO&#10;+4WKAeI+67yRnMpjSnp0XuaKKiP2UQg9Nrtcwjx15Thvrd5zuZtYKa/VgSPVYYfF7rA8eg1rSDCa&#10;U33fexQLWxI43m6FwduZF+rljIn2Sjy8wp3LzXANCCNDfzqdKPNal5FWynhJx4XHEXD7EfZRPrUW&#10;PG+5wludG8CVoherwXus9sJzEqO7UTFoNfck1uy/DCvy6LotdRMbQD4gwelvadi8UYFedD+Fhhsv&#10;utNjEP22vK4oEwM8LkbQvVGuY89jj1rPXLcb1UH60eTZaF1ll+4+ETv9Jqsz86ZRXR9QvUOt7iT+&#10;OZACkuegxy1qTfqHKit2D5Mh2nLqBiLJeGx0v4Hz1Gq/EPoYgcQTF8JxPPgB5h8IwbWHsXD0vont&#10;PjdxioRnLgmIPxk4boc+oJaj140osZ/UVs8bCOe/r0WIrhFvanXv9L2TNgbxquBYxPRQspwrD4Zg&#10;+IYzGLX5rBjITqEWNRu6aVt5a3Jl6qcGTXj2nr4J6xPq7CLVm+HtwXm3WQ4/xe6saEUfoZb7GqNV&#10;z2v2B4tt4xmWJKa8VXxMfCJm2p9DYrIyDnGRjF8bEkzezTc6LhHjbHww1taHDKoPdnspYy48HZfz&#10;MnXrOYSEGoy5I9WbM4nWUTL41scMO84ucD5PQqQINZeLx2Sm0d/9V3mm216dEUjismi7un2IOu33&#10;IMW3fJ+y+pu3SO9LxnmhUwDG2pwVngqDu9ymbjkrhHP7qTuwMkr/DnkrMxzO48GTWHQkwZtm749J&#10;xAXkGfE+Wbxf2DDyQqaS5zPN7pzYKj6IfluDyKOZsOUcNTq8EEDeIGPjkYtp3gTv2zWGBInrijdA&#10;7EdCxOEHkffD4018Lxhr9l+Ce5C2XUnu/IYk/j6QApKHkRuPY1bjyN1H3xDbrfDnuHzXMAuIZ+qw&#10;V2EK7YrEZB0ZTOPz/HKmVKSkaK1xXrsAJKXqEKfuZ6VdHU/hxCcd5/MsBHEU3jg/ycnaQjUFPLCt&#10;rKY2gK97bjT4zeAY+L0fvK9U+vwps7sYceQphEZGU5mjxVRjU/BLoeKS0l+bROWKT1Lyx9eLca6I&#10;57j1IBrPYpUdCpRyKxLPg/Kms53ixDHlJVK8BQyThYXLydu582aWvHkh5ytW7XrieAJJ4JTt2BXw&#10;/mCJKYa4uZuK65GRRGUOvPlYjHsoUMIlUHmS1TAS/zxIAZGQkJCQyBGkgEhISEhI5AhSQCQkJCQk&#10;cgQpIBISEhISOYIUEAkJCQmJHEEKiISEhIREjiAFREJCQkIiR5ACIiEhISGRI0gBkZCQkJDIEaSA&#10;SEhISEjkCFJAJCQkJCRyBCkgEhISEhI5ghQQCQkJCYkcQQqIhISEhESOIAVEQkJCQiJHkAIiISEh&#10;IZEjSAGRkJCQkMgRpIBISEhISOQIUkAkJCQkJHIEKSASEhISEjmCFBAJCQkJiRxBCoiEhISERA4A&#10;/B8yU8Wn7dDmiAAAAABJRU5ErkJggg=="/>
  <p:tag name="ISPRING_PRESENTERDATA_1" val="Um9nZXIgRGl4b24=|Q29ycG9yYXRlIE1pbmluZyBDb25zdWx0YW50|cmRpeG9uQHNyay5jby56YQ==|aHR0cDovL3d3dy5zcmsuY28uemE=|ezQzRjFBMUFELUM0MEEtNDA3Ny05RDk5LUI5MzYwNzlBMUFCOH0=|U3BlY2lhbGlzYXRpb246CgpHb2xkIG1pbmUgbWFuYWdlbWVudDsgcHJvamVjdCBkZXZlbG9wbWVu&#10;dDsgbWluZSB2YWx1YXRpb247IGR1ZSBkaWxpZ2VuY2Ugc3R1ZGllczsgZW5naW5lZXJpbmcgc3R1&#10;ZGllczsgbWluZXJhbCByZXNvdXJjZSBhbmQgcmVzZXJ2ZSByZXBvcnRpbmcuCgpFeHBlcnRpc2U6&#10;CgpSb2dlciBEaXhvbiBoYXMgYmVlbiBpbnZvbHZlZCBpbiB0aGUgZmllbGQgb2YgbWluaW5nIGVu&#10;Z2luZWVyaW5nLiBIaXMgZXhwZXJ0aXNlIGluY2x1ZGVzOgoKTWluZXJhbCByZXNlcnZlIGVzdGlt&#10;YXRpb247CkR1ZSBkaWxpZ2VuY2Ugc3R1ZGllczsKQ29uY2VwdCwgcHJlLWZlYXNpYmlsaXR5IGFu&#10;ZCBmZWFzaWJpbGl0eSBzdHVkaWVzIG9uIG9wZW4gcGl0IGFuZCB1bmRlcmdyb3VuZCBvcGVyYXRp&#10;b25zOwpEZXZlbG9wbWVudCBvZiB1bmRlcmdyb3VuZCBtaW5lczsKTWluZXJhbCByZXNlcnZlIGFu&#10;ZCByZXNvdXJjZSBkZWZpbml0aW9uIGFuZCByZXBvcnRpbmc7CkNvbXBpbGF0aW9uIG9mIHJlZ3Vs&#10;YXRvcnkgZG9jdW1lbnRzIGZvciBzdG9jayBleGNoYW5nZSB0cmFuc2FjdGlvbnMu|SVNQUklOR19QUkVTRU5URVJfUEhPVE9fMg==|MA==|aHR0cDovL3d3dy5zcmsuY28uemE=|SVNQUklOR19QUkVTRU5URVJfUEhPVE9fMw==|KzI3IDExIDQ0MSAxMTEx"/>
  <p:tag name="ISPRING_PRESENTATION_INFO" val="&lt;?xml version=&quot;1.0&quot; encoding=&quot;UTF-8&quot; standalone=&quot;no&quot; ?&gt;&#10;&lt;presentation&gt;&#10;&#10;  &lt;slides&gt;&#10;    &lt;slide duration=&quot;6089&quot; id=&quot;{51406A37-5234-415B-BF23-0C85A7DF290E}&quot; pptId=&quot;256&quot; transitionDuration=&quot;0&quot;/&gt;&#10;    &lt;slide duration=&quot;72493&quot; id=&quot;{A80A46FD-D883-439A-B33C-7DF93952E42F}&quot; pptId=&quot;257&quot; transitionDuration=&quot;0&quot;/&gt;&#10;    &lt;slide duration=&quot;26671&quot; id=&quot;{3245713B-24B4-470D-9B84-73628BF28199}&quot; pptId=&quot;307&quot; transitionDuration=&quot;0&quot;/&gt;&#10;    &lt;slide duration=&quot;41535&quot; id=&quot;{B99D78D3-2EF2-40AF-A9CF-64F525A30638}&quot; pptId=&quot;308&quot; transitionDuration=&quot;0&quot;/&gt;&#10;    &lt;slide duration=&quot;88688&quot; id=&quot;{46EEEB5F-C7C1-4004-8DDF-EF5BEFA8DFD6}&quot; pptId=&quot;321&quot; transitionDuration=&quot;0&quot;/&gt;&#10;    &lt;slide duration=&quot;19045&quot; id=&quot;{3E20D147-4251-4CD8-B3CE-42846D30E302}&quot; pptId=&quot;304&quot; transitionDuration=&quot;0&quot;/&gt;&#10;    &lt;slide duration=&quot;29022&quot; id=&quot;{D45493D0-A37B-4C65-BB18-22F8C32AF395}&quot; pptId=&quot;305&quot; transitionDuration=&quot;0&quot;/&gt;&#10;    &lt;slide duration=&quot;43785&quot; id=&quot;{1A46C710-C372-4C8A-B26E-91EE4556A613}&quot; pptId=&quot;267&quot; transitionDuration=&quot;0&quot;/&gt;&#10;    &lt;slide duration=&quot;48382&quot; id=&quot;{E0CA8D85-21D2-4FB4-80CD-339685F5EC9E}&quot; pptId=&quot;278&quot; transitionDuration=&quot;0&quot;/&gt;&#10;    &lt;slide duration=&quot;75993&quot; id=&quot;{623A0B77-D5BB-4709-BBC7-E4303AE6A1FD}&quot; pptId=&quot;269&quot; transitionDuration=&quot;0&quot;/&gt;&#10;    &lt;slide duration=&quot;35944&quot; id=&quot;{48CD11DE-D950-4026-900F-271D28728681}&quot; pptId=&quot;290&quot; transitionDuration=&quot;0&quot;/&gt;&#10;    &lt;slide duration=&quot;108618&quot; id=&quot;{24677BB2-E05F-4ED2-9394-7618F3B4FA94}&quot; pptId=&quot;338&quot; transitionDuration=&quot;0&quot;/&gt;&#10;    &lt;slide duration=&quot;148872&quot; id=&quot;{9057E1B4-8C1E-492A-9849-228E5F490992}&quot; pptId=&quot;323&quot; transitionDuration=&quot;0&quot;/&gt;&#10;    &lt;slide duration=&quot;54597&quot; id=&quot;{76E70BCB-DC4E-4A62-B8F7-777690541D8D}&quot; pptId=&quot;330&quot; transitionDuration=&quot;0&quot;/&gt;&#10;    &lt;slide duration=&quot;73822&quot; id=&quot;{0FFE6AA3-3487-440B-A417-6CAE96A09017}&quot; pptId=&quot;348&quot; transitionDuration=&quot;0&quot;/&gt;&#10;    &lt;slide duration=&quot;55197&quot; id=&quot;{C07BF31A-41E5-4FCB-A01A-0B2BBB4CDBC7}&quot; pptId=&quot;349&quot; transitionDuration=&quot;0&quot;/&gt;&#10;    &lt;slide duration=&quot;42581&quot; id=&quot;{D65918B5-B651-4661-A8FF-A5680263F8CE}&quot; pptId=&quot;331&quot; transitionDuration=&quot;0&quot;/&gt;&#10;    &lt;slide duration=&quot;75521&quot; id=&quot;{5D3AB566-AE61-4B2B-88C9-5FDAF591E22A}&quot; pptId=&quot;327&quot; transitionDuration=&quot;0&quot;/&gt;&#10;    &lt;slide duration=&quot;21029&quot; id=&quot;{5679F6CD-D754-405D-B7BD-6FD571F05A0E}&quot; pptId=&quot;347&quot; transitionDuration=&quot;0&quot;/&gt;&#10;    &lt;slide duration=&quot;11960&quot; id=&quot;{50289930-BD12-4F38-802E-6E707ED6F941}&quot; pptId=&quot;291&quot; transitionDuration=&quot;0&quot;/&gt;&#10;    &lt;slide duration=&quot;5000&quot; id=&quot;{9B1D2B96-8AEC-45D1-ADBC-5045AE1C6893}&quot; pptId=&quot;292&quot; transitionDuration=&quot;0&quot;/&gt;&#10;    &lt;slide duration=&quot;5000&quot; id=&quot;{6CED3E50-28DA-4B99-9BA3-90FC22E81378}&quot; pptId=&quot;345&quot; transitionDuration=&quot;0&quot;/&gt;&#10;    &lt;slide duration=&quot;5000&quot; id=&quot;{1347A302-EFB6-4B50-9507-6BE2DD332728}&quot; pptId=&quot;346&quot; transitionDuration=&quot;0&quot;/&gt;&#10;    &lt;slide duration=&quot;5000&quot; id=&quot;{19C310CC-6C30-494E-AA3B-597C374963D2}&quot; pptId=&quot;343&quot; transitionDuration=&quot;0&quot;/&gt;&#10;    &lt;slide duration=&quot;5000&quot; id=&quot;{6751EB06-BF7F-40C3-9D5A-8662137B141C}&quot; pptId=&quot;344&quot; transitionDuration=&quot;0&quot;/&gt;&#10;    &lt;slide duration=&quot;1830&quot; id=&quot;{172B818D-63EE-48C6-89AB-461C7B2E90F5}&quot; pptId=&quot;351&quot; transitionDuration=&quot;0&quot;/&gt;&#10;  &lt;/slides&gt;&#10;&#10;  &lt;narration&gt;&#10;    &lt;audioTracks&gt;&#10;      &lt;audioTrack duration=&quot;26671&quot; muted=&quot;false&quot; slideId=&quot;{3245713B-24B4-470D-9B84-73628BF28199}&quot; startTime=&quot;0&quot; stepIndex=&quot;0&quot; volume=&quot;1&quot;&gt;&#10;        &lt;file modifyTime=&quot;2016-04-20T15:18:32&quot; size=&quot;427187&quot;&gt;&#10;          &lt;path full=&quot;J:\SRK\008 - EGRC Workshop 2016\4. RAW\EGRC Workshop 2016\audio\audio2.mp3&quot; relative=&quot;EGRC Workshop 2016\audio\audio2.mp3&quot; resource=&quot;audio2.mp3&quot;/&gt;&#10;        &lt;/file&gt;&#10;        &lt;audio channels=&quot;1&quot; sampleRate=&quot;44100&quot;/&gt;&#10;      &lt;/audioTrack&gt;&#10;      &lt;audioTrack duration=&quot;41535&quot; muted=&quot;false&quot; slideId=&quot;{B99D78D3-2EF2-40AF-A9CF-64F525A30638}&quot; startTime=&quot;0&quot; stepIndex=&quot;0&quot; volume=&quot;1&quot;&gt;&#10;        &lt;file modifyTime=&quot;2016-04-20T15:18:32&quot; size=&quot;665006&quot;&gt;&#10;          &lt;path full=&quot;J:\SRK\008 - EGRC Workshop 2016\4. RAW\EGRC Workshop 2016\audio\audio3.mp3&quot; relative=&quot;EGRC Workshop 2016\audio\audio3.mp3&quot; resource=&quot;audio3.mp3&quot;/&gt;&#10;        &lt;/file&gt;&#10;        &lt;audio channels=&quot;1&quot; sampleRate=&quot;44100&quot;/&gt;&#10;      &lt;/audioTrack&gt;&#10;      &lt;audioTrack duration=&quot;88686&quot; muted=&quot;false&quot; slideId=&quot;{46EEEB5F-C7C1-4004-8DDF-EF5BEFA8DFD6}&quot; startTime=&quot;0&quot; stepIndex=&quot;0&quot; volume=&quot;1&quot;&gt;&#10;        &lt;file modifyTime=&quot;2016-04-20T15:22:58&quot; size=&quot;1419422&quot;&gt;&#10;          &lt;path full=&quot;J:\SRK\008 - EGRC Workshop 2016\4. RAW\EGRC Workshop 2016\audio\audio4.mp3&quot; relative=&quot;EGRC Workshop 2016\audio\audio4.mp3&quot; resource=&quot;audio4.mp3&quot;/&gt;&#10;        &lt;/file&gt;&#10;        &lt;audio channels=&quot;1&quot; sampleRate=&quot;44100&quot;/&gt;&#10;      &lt;/audioTrack&gt;&#10;      &lt;audioTrack duration=&quot;19043&quot; muted=&quot;false&quot; slideId=&quot;{3E20D147-4251-4CD8-B3CE-42846D30E302}&quot; startTime=&quot;0&quot; stepIndex=&quot;0&quot; volume=&quot;1&quot;&gt;&#10;        &lt;file modifyTime=&quot;2016-04-20T15:18:34&quot; size=&quot;305143&quot;&gt;&#10;          &lt;path full=&quot;J:\SRK\008 - EGRC Workshop 2016\4. RAW\EGRC Workshop 2016\audio\audio5.mp3&quot; relative=&quot;EGRC Workshop 2016\audio\audio5.mp3&quot; resource=&quot;audio5.mp3&quot;/&gt;&#10;        &lt;/file&gt;&#10;        &lt;audio channels=&quot;1&quot; sampleRate=&quot;44100&quot;/&gt;&#10;      &lt;/audioTrack&gt;&#10;      &lt;audioTrack duration=&quot;29022&quot; muted=&quot;false&quot; slideId=&quot;{D45493D0-A37B-4C65-BB18-22F8C32AF395}&quot; startTime=&quot;0&quot; stepIndex=&quot;0&quot; volume=&quot;1&quot;&gt;&#10;        &lt;file modifyTime=&quot;2016-04-20T15:18:34&quot; size=&quot;464803&quot;&gt;&#10;          &lt;path full=&quot;J:\SRK\008 - EGRC Workshop 2016\4. RAW\EGRC Workshop 2016\audio\audio6.mp3&quot; relative=&quot;EGRC Workshop 2016\audio\audio6.mp3&quot; resource=&quot;audio6.mp3&quot;/&gt;&#10;        &lt;/file&gt;&#10;        &lt;audio channels=&quot;1&quot; sampleRate=&quot;44100&quot;/&gt;&#10;      &lt;/audioTrack&gt;&#10;      &lt;audioTrack duration=&quot;43781&quot; muted=&quot;false&quot; slideId=&quot;{1A46C710-C372-4C8A-B26E-91EE4556A613}&quot; startTime=&quot;0&quot; stepIndex=&quot;0&quot; volume=&quot;1&quot;&gt;&#10;        &lt;file modifyTime=&quot;2016-04-20T15:18:34&quot; size=&quot;700950&quot;&gt;&#10;          &lt;path full=&quot;J:\SRK\008 - EGRC Workshop 2016\4. RAW\EGRC Workshop 2016\audio\audio7.mp3&quot; relative=&quot;EGRC Workshop 2016\audio\audio7.mp3&quot; resource=&quot;audio7.mp3&quot;/&gt;&#10;        &lt;/file&gt;&#10;        &lt;audio channels=&quot;1&quot; sampleRate=&quot;44100&quot;/&gt;&#10;      &lt;/audioTrack&gt;&#10;      &lt;audioTrack duration=&quot;48379&quot; muted=&quot;false&quot; slideId=&quot;{E0CA8D85-21D2-4FB4-80CD-339685F5EC9E}&quot; startTime=&quot;0&quot; stepIndex=&quot;0&quot; volume=&quot;1&quot;&gt;&#10;        &lt;file modifyTime=&quot;2016-04-20T15:18:36&quot; size=&quot;774511&quot;&gt;&#10;          &lt;path full=&quot;J:\SRK\008 - EGRC Workshop 2016\4. RAW\EGRC Workshop 2016\audio\audio8.mp3&quot; relative=&quot;EGRC Workshop 2016\audio\audio8.mp3&quot; resource=&quot;audio8.mp3&quot;/&gt;&#10;        &lt;/file&gt;&#10;        &lt;audio channels=&quot;1&quot; sampleRate=&quot;44100&quot;/&gt;&#10;      &lt;/audioTrack&gt;&#10;      &lt;audioTrack duration=&quot;75990&quot; muted=&quot;false&quot; slideId=&quot;{623A0B77-D5BB-4709-BBC7-E4303AE6A1FD}&quot; startTime=&quot;0&quot; stepIndex=&quot;0&quot; volume=&quot;1&quot;&gt;&#10;        &lt;file modifyTime=&quot;2016-04-20T15:22:58&quot; size=&quot;1216295&quot;&gt;&#10;          &lt;path full=&quot;J:\SRK\008 - EGRC Workshop 2016\4. RAW\EGRC Workshop 2016\audio\audio9.mp3&quot; relative=&quot;EGRC Workshop 2016\audio\audio9.mp3&quot; resource=&quot;audio9.mp3&quot;/&gt;&#10;        &lt;/file&gt;&#10;        &lt;audio channels=&quot;1&quot; sampleRate=&quot;44100&quot;/&gt;&#10;      &lt;/audioTrack&gt;&#10;      &lt;audioTrack duration=&quot;35944&quot; muted=&quot;false&quot; slideId=&quot;{48CD11DE-D950-4026-900F-271D28728681}&quot; startTime=&quot;0&quot; stepIndex=&quot;0&quot; volume=&quot;1&quot;&gt;&#10;        &lt;file modifyTime=&quot;2016-04-20T15:18:38&quot; size=&quot;575564&quot;&gt;&#10;          &lt;path full=&quot;J:\SRK\008 - EGRC Workshop 2016\4. RAW\EGRC Workshop 2016\audio\audio10.mp3&quot; relative=&quot;EGRC Workshop 2016\audio\audio10.mp3&quot; resource=&quot;audio10.mp3&quot;/&gt;&#10;        &lt;/file&gt;&#10;        &lt;audio channels=&quot;1&quot; sampleRate=&quot;44100&quot;/&gt;&#10;      &lt;/audioTrack&gt;&#10;      &lt;audioTrack duration=&quot;108617&quot; muted=&quot;false&quot; slideId=&quot;{24677BB2-E05F-4ED2-9394-7618F3B4FA94}&quot; startTime=&quot;0&quot; stepIndex=&quot;0&quot; volume=&quot;1&quot;&gt;&#10;        &lt;file modifyTime=&quot;2016-04-20T15:22:58&quot; size=&quot;1738327&quot;&gt;&#10;          &lt;path full=&quot;J:\SRK\008 - EGRC Workshop 2016\4. RAW\EGRC Workshop 2016\audio\audio11.mp3&quot; relative=&quot;EGRC Workshop 2016\audio\audio11.mp3&quot; resource=&quot;audio11.mp3&quot;/&gt;&#10;        &lt;/file&gt;&#10;        &lt;audio channels=&quot;1&quot; sampleRate=&quot;44100&quot;/&gt;&#10;      &lt;/audioTrack&gt;&#10;      &lt;audioTrack duration=&quot;148872&quot; muted=&quot;false&quot; slideId=&quot;{9057E1B4-8C1E-492A-9849-228E5F490992}&quot; startTime=&quot;0&quot; stepIndex=&quot;0&quot; volume=&quot;1&quot;&gt;&#10;        &lt;file modifyTime=&quot;2016-04-20T15:22:58&quot; size=&quot;2382402&quot;&gt;&#10;          &lt;path full=&quot;J:\SRK\008 - EGRC Workshop 2016\4. RAW\EGRC Workshop 2016\audio\audio12.mp3&quot; relative=&quot;EGRC Workshop 2016\audio\audio12.mp3&quot; resource=&quot;audio12.mp3&quot;/&gt;&#10;        &lt;/file&gt;&#10;        &lt;audio channels=&quot;1&quot; sampleRate=&quot;44100&quot;/&gt;&#10;      &lt;/audioTrack&gt;&#10;      &lt;audioTrack duration=&quot;54596&quot; muted=&quot;false&quot; slideId=&quot;{76E70BCB-DC4E-4A62-B8F7-777690541D8D}&quot; startTime=&quot;0&quot; stepIndex=&quot;0&quot; volume=&quot;1&quot;&gt;&#10;        &lt;file modifyTime=&quot;2016-04-20T15:18:42&quot; size=&quot;873987&quot;&gt;&#10;          &lt;path full=&quot;J:\SRK\008 - EGRC Workshop 2016\4. RAW\EGRC Workshop 2016\audio\audio13.mp3&quot; relative=&quot;EGRC Workshop 2016\audio\audio13.mp3&quot; resource=&quot;audio13.mp3&quot;/&gt;&#10;        &lt;/file&gt;&#10;        &lt;audio channels=&quot;1&quot; sampleRate=&quot;44100&quot;/&gt;&#10;      &lt;/audioTrack&gt;&#10;      &lt;audioTrack duration=&quot;55197&quot; muted=&quot;false&quot; slideId=&quot;{C07BF31A-41E5-4FCB-A01A-0B2BBB4CDBC7}&quot; startTime=&quot;0&quot; stepIndex=&quot;0&quot; volume=&quot;1&quot;&gt;&#10;        &lt;file modifyTime=&quot;2016-04-20T15:18:44&quot; size=&quot;883600&quot;&gt;&#10;          &lt;path full=&quot;J:\SRK\008 - EGRC Workshop 2016\4. RAW\EGRC Workshop 2016\audio\audio15.mp3&quot; relative=&quot;EGRC Workshop 2016\audio\audio15.mp3&quot; resource=&quot;audio15.mp3&quot;/&gt;&#10;        &lt;/file&gt;&#10;        &lt;audio channels=&quot;1&quot; sampleRate=&quot;44100&quot;/&gt;&#10;      &lt;/audioTrack&gt;&#10;      &lt;audioTrack duration=&quot;21029&quot; muted=&quot;false&quot; slideId=&quot;{5679F6CD-D754-405D-B7BD-6FD571F05A0E}&quot; startTime=&quot;0&quot; stepIndex=&quot;0&quot; volume=&quot;1&quot;&gt;&#10;        &lt;file modifyTime=&quot;2016-04-20T15:18:48&quot; size=&quot;336910&quot;&gt;&#10;          &lt;path full=&quot;J:\SRK\008 - EGRC Workshop 2016\4. RAW\EGRC Workshop 2016\audio\audio19.mp3&quot; relative=&quot;EGRC Workshop 2016\audio\audio19.mp3&quot; resource=&quot;audio19.mp3&quot;/&gt;&#10;        &lt;/file&gt;&#10;        &lt;audio channels=&quot;1&quot; sampleRate=&quot;44100&quot;/&gt;&#10;      &lt;/audioTrack&gt;&#10;      &lt;audioTrack duration=&quot;1541&quot; muted=&quot;false&quot; slideId=&quot;{172B818D-63EE-48C6-89AB-461C7B2E90F5}&quot; startTime=&quot;0&quot; stepIndex=&quot;0&quot; volume=&quot;1&quot;&gt;&#10;        &lt;file modifyTime=&quot;2016-04-20T16:27:10&quot; size=&quot;37679&quot;&gt;&#10;          &lt;path full=&quot;J:\SRK\008 - EGRC Workshop 2016\4. RAW\EGRC Workshop 2016\audio\audio20.mp3&quot; relative=&quot;EGRC Workshop 2016\audio\audio20.mp3&quot; resource=&quot;audio20.mp3&quot;/&gt;&#10;        &lt;/file&gt;&#10;        &lt;audio channels=&quot;1&quot; sampleRate=&quot;44100&quot;/&gt;&#10;      &lt;/audioTrack&gt;&#10;      &lt;audioTrack duration=&quot;11964&quot; muted=&quot;false&quot; slideId=&quot;{50289930-BD12-4F38-802E-6E707ED6F941}&quot; startTime=&quot;0&quot; stepIndex=&quot;0&quot; volume=&quot;1&quot;&gt;&#10;        &lt;file modifyTime=&quot;2016-04-20T16:26:56&quot; size=&quot;287828&quot;&gt;&#10;          &lt;path full=&quot;J:\SRK\008 - EGRC Workshop 2016\4. RAW\EGRC Workshop 2016\audio\audio21.mp3&quot; relative=&quot;EGRC Workshop 2016\audio\audio21.mp3&quot; resource=&quot;audio21.mp3&quot;/&gt;&#10;        &lt;/file&gt;&#10;        &lt;audio channels=&quot;1&quot; sampleRate=&quot;44100&quot;/&gt;&#10;      &lt;/audioTrack&gt;&#10;      &lt;audioTrack duration=&quot;6087&quot; muted=&quot;false&quot; slideId=&quot;{51406A37-5234-415B-BF23-0C85A7DF290E}&quot; startTime=&quot;0&quot; stepIndex=&quot;0&quot; volume=&quot;1&quot;&gt;&#10;        &lt;file modifyTime=&quot;2016-04-20T16:25:44&quot; size=&quot;146766&quot;&gt;&#10;          &lt;path full=&quot;J:\SRK\008 - EGRC Workshop 2016\4. RAW\EGRC Workshop 2016\audio\audio22.mp3&quot; relative=&quot;EGRC Workshop 2016\audio\audio22.mp3&quot; resource=&quot;audio22.mp3&quot;/&gt;&#10;        &lt;/file&gt;&#10;        &lt;audio channels=&quot;1&quot; sampleRate=&quot;44100&quot;/&gt;&#10;      &lt;/audioTrack&gt;&#10;      &lt;audioTrack duration=&quot;72490&quot; muted=&quot;false&quot; slideId=&quot;{A80A46FD-D883-439A-B33C-7DF93952E42F}&quot; startTime=&quot;0&quot; stepIndex=&quot;0&quot; volume=&quot;1&quot;&gt;&#10;        &lt;file modifyTime=&quot;2016-04-21T16:30:37&quot; size=&quot;1740445&quot;&gt;&#10;          &lt;path full=&quot;J:\SRK\008 - EGRC Workshop 2016\4. RAW\EGRC Workshop 2016\audio\audio23.mp3&quot; relative=&quot;EGRC Workshop 2016\audio\audio23.mp3&quot; resource=&quot;audio23.mp3&quot;/&gt;&#10;        &lt;/file&gt;&#10;        &lt;audio channels=&quot;1&quot; sampleRate=&quot;44100&quot;/&gt;&#10;      &lt;/audioTrack&gt;&#10;      &lt;audioTrack duration=&quot;75520&quot; muted=&quot;false&quot; slideId=&quot;{5D3AB566-AE61-4B2B-88C9-5FDAF591E22A}&quot; startTime=&quot;0&quot; stepIndex=&quot;0&quot; volume=&quot;1&quot;&gt;&#10;        &lt;file modifyTime=&quot;2016-04-22T07:41:58&quot; size=&quot;1813170&quot;&gt;&#10;          &lt;path full=&quot;J:\SRK\008 - EGRC Workshop 2016\4. RAW\EGRC Workshop 2016\audio\audio24.mp3&quot; relative=&quot;EGRC Workshop 2016\audio\audio24.mp3&quot; resource=&quot;audio24.mp3&quot;/&gt;&#10;        &lt;/file&gt;&#10;        &lt;audio channels=&quot;1&quot; sampleRate=&quot;44100&quot;/&gt;&#10;      &lt;/audioTrack&gt;&#10;      &lt;audioTrack duration=&quot;73822&quot; muted=&quot;false&quot; slideId=&quot;{0FFE6AA3-3487-440B-A417-6CAE96A09017}&quot; startTime=&quot;0&quot; stepIndex=&quot;0&quot; volume=&quot;1&quot;&gt;&#10;        &lt;file modifyTime=&quot;2016-04-22T12:32:45&quot; size=&quot;1772419&quot;&gt;&#10;          &lt;path full=&quot;J:\SRK\008 - EGRC Workshop 2016\4. RAW\EGRC Workshop 2016\audio\audio25.mp3&quot; relative=&quot;EGRC Workshop 2016\audio\audio25.mp3&quot; resource=&quot;audio25.mp3&quot;/&gt;&#10;        &lt;/file&gt;&#10;        &lt;audio channels=&quot;1&quot; sampleRate=&quot;44100&quot;/&gt;&#10;      &lt;/audioTrack&gt;&#10;      &lt;audioTrack duration=&quot;42580&quot; muted=&quot;false&quot; slideId=&quot;{D65918B5-B651-4661-A8FF-A5680263F8CE}&quot; startTime=&quot;0&quot; stepIndex=&quot;0&quot; volume=&quot;1&quot;&gt;&#10;        &lt;file modifyTime=&quot;2016-04-22T12:29:15&quot; size=&quot;1022600&quot;&gt;&#10;          &lt;path full=&quot;J:\SRK\008 - EGRC Workshop 2016\4. RAW\EGRC Workshop 2016\audio\audio26.mp3&quot; relative=&quot;EGRC Workshop 2016\audio\audio26.mp3&quot; resource=&quot;audio26.mp3&quot;/&gt;&#10;        &lt;/file&gt;&#10;        &lt;audio channels=&quot;1&quot; sampleRate=&quot;44100&quot;/&gt;&#10;      &lt;/audioTrack&gt;&#10;    &lt;/audioTracks&gt;&#10;  &lt;/narration&gt;&#10;&#10;&lt;/presentation&gt;&#10;"/>
  <p:tag name="ISPRING_RESOURCE_PATHS_HASH_PRESENTER" val="3fb3635e6a710663748be29dfcc748359e63de"/>
  <p:tag name="FLASHSPRING_PRESENTATION_REFERENCES" val="F&#10;EGRC Workshop 2016.pptx&#10;J:\SRK\008 - EGRC Workshop 2016\4. RAW\EGRC Workshop 2016\attachment\att2\EGRC Workshop 2016.pptx&#10;_blank&#10;|&#10;"/>
  <p:tag name="ISPRING_PLAYERS_CUSTOMIZATION" val="UEsDBBQAAgAIAGl0lkh3JNbgPwQAAN8OAAAdAAAAdW5pdmVyc2FsL2NvbW1vbl9tZXNzYWdlcy5sbmetV+Fu2zYQ/l+g70AIKLABW9oOaFEMjgNaYmwhsuRKdJxsGARGYmwilJhJlNvs155mD7Yn2ZGyG7vpICkbYAsmrfvuyPvuO3J09rmQaMurWqjy1Hl78sZBvMxULsr1qbOk5z9+cFCtWZkzqUp+6pTKQWfjly9GkpXrhq05/H75AqFRwesahvXYjB7HSOSnzmKSutF8gcPrNIimUTrxp87YVcU9Kx9QoNbqu5/ef/j89t3770evd3Z9YJI5DoJjIGSR3r3pARTSOApSQCNBGpIr6ozNc5hdtKSBHxJnvPsxzHoRk0tnbJ6ddss4JiFNk8D3SOonaRhRuxcBocRzxteqQRu25UgrtBX8E9IbDnnUouKoliK3f2QKJsqGdznzojn2wzQmCY19l/pR6IwTVVUPP1hY1uiNqsBdjXJRsxvJc+sTGGP/v694Da6ZBkYh+OiNgDdVwUR50uk6xis/nKY0ioIkJaG3n3HGpMyRVzHjZiBKjBMSA0DFal49wza1LLPmCEs5DGHmT2cBfKkJYSbWGwlfPTSOBYEcLHjZZQUcITGwK0lWUeyZTQNXiKF7VtefVJUf8eMwUV3AfuhGQEGXHoBTg7EHhhwL0I2q4pnuApuTJMFTkk6iKyAy1F00xCK6gHK7GGJxTRIoEZJ02YT40p9iQ3hTYnv+7+srY4bO8gGxLAM7s31boZoaZsyWQhXYSquHeUnIxyVkzcfBN6q4BYSNtflaiy2HEKq8mz2gKS7xDH8+Lv1f0nPsB8RLgVBetEqpFTvjjIE8lEojJqUyCwC/LN+yMuPohmesAcI/wGu5yO1rJtk2kt8b8Qdieictr3aqFHrk6tXJwNCOhOxphEVTQ3ha8+Jed7k+CP85URhi/2sIfZY+0H/SFuvEhwqAR38LAvJsBAkUVfa38sNzcLRoax5EwS9vVX/rMNoBhAo9F+MStuoohEvYwgH2KzJJfArNdsVvaqE7+5jNbJugbyc1g4OD5Jo/JvaG3yqoCcnZtm1nIGs2050JPeiWR9pDfRpAyCEArtuWCJBSFBB/3gNzOSf7HWgl42glK9XI3JaoFHdWNmBvm4I/7cO3lSrsrGT1nrytap39lyjaxcWt08WAfpIQHLuz1MWhS8wRzhSN7GkEXDQxBTRJAzwx5kDKgulsA1p5q5oy7wnUnsI8co4BbLelCWdVtvn7z796YnwVSTuLdrM/DwKBCjNCRL6A/RoqzevfukAonhzb2UEfq92pdW/X8xBLfaDD/3I6ZK2mF6qAqZNuv8C2XdIwpdidzYGQ0NohlmgZuz3WfIAwx/EFiIo9XznjOavuQJGoUrIegmK32hBQ80F2jxeHRktR8iG2TzR9P0Zm3IkEC6b+IsWeZ29RUHxSZHdt88rhrJjtrlMSrlN9wdwZDkHwvsLjudADAW2P2MsLFHo7fizz7dOW8WVU26vo6PXBzfQfUEsDBBQAAgAIAGl0lkjcnG2MNwQAAKoOAAAuAAAAdW5pdmVyc2FsL2N1c3RvbV9wcmVzZXRzLzAvY29tbW9uX21lc3NhZ2VzLmxuZ61X7W7bNhT9n6cgBBTYgC1tB7QohkSBLDE2EVlyJTpO9gGBkRibCCVmEuU2+7Wn2YPtSXZJ2U3cdJDUDoiNkNY594r33EPy5OxjKdGW141Q1anz+viVg3iVq0JU61NnSc9/fOegRrOqYFJV/NSplIPO3KMTyap1y9bcPTpC6KTkTQODxoXB4xCJ4tRZTDI/ni+86DoL42mcTcjUcX1V3rPqAYVqrX6rv/vp7buPr9+8/f7k5Q45gCede2F4yIQs0ZtX/TwRTeIwAzIcZhG+oo5rvkfB4iUNSYQdd/fPKPAiwZeOa777YMskwRHN0pAEOCNpFsXUrkOIKQ4c91q1aMO2HGmFtoJ/QHrDoYBa1Bw1UhT2h1zBRNXynlhBPPdIlCU4pQnxKYkjx01VXT/8YFlZqzeqhmgNKkTDbiQvbEhQiv39vuYNRGYalITgT28EPKlKJqrjvsiJtyLRNKNxHKYZjoL9jOPiqkBBzUyUcSSJl+IE8DVreD0emll1WTTypBxFMCPTWQgfahKYifVGwkePzGKBYfkXvOoBgThwAqpK01WcBGa9IBBi6J41zQdVFwfCeFqiHl4S+TFIz6dPuKmh2PNCcQUYRV3zXPdwzXGaelOcTeIr0C/0WjwCEF9Ai12MAFzjFPoCpz2QyLskU8+o3LTVXvT7nsqZ0bB8QCzPAWdWbitU28CMWU2Qvu2uZlSQFL9fQr2IF36hcTs+WFNbqbXYcsigLnpVAybi48Do5v2S/JKdeyTEQQZCCuJVRq23mVgMDKFSGjEplUkfwrJiy6qcoxuesxZk/gCPFaKwj5ky20T+aMWfiOmdmbzY+VAU4KsXx+MyO3Cu5wmWbQPZac3Le90X+Un2X5GEEfR/ZjDkxceFT7sWnRBQPnwNBmBwY2NBYKByMIhE5xBm0fU5GAGpbtVgcBTv8JFCX0lxCat0kMAlrN5w+ApPUkJhU13xm0bovh3LlrSrzJermcPpQHLNHyt6w28VtILkbNttXOBjtsR9lXyyLR7YDSU0hIQj4Ft3ex8wSlFC9kU/5XKO96/f2cTBe6xUKwvbl1LcWauAdW1L/ny/va1VaWcla/aa7Yzq7BuS6F4t6WIuhm8eKfYSf5b5XuRjc0YznSKHYUCDJqOQplnoTQwaxFgynW/AHG9VWxXDeLpzVoDPPeDaLWfKWZ1v/vnr72EUn+XRzaLd7M9jOKCtjPPgT1y/Rkrz5vceDupNDmF2MAC0O5LuYcNOqJSADP6Xwx/rDLxUJUwd94YFke3K5VHq+bM56BC2cEglXiZ+/ws/IZh7yQXYiD1BOe6c1XdgQVQp2YwgsatsdKf5GNjjhaDVUlR8BPSb/Nu8LCWLzAsCezOCfpMiv+s2qQKOgvnuiiThijSQy595EfjbZ3S8EHocn90O9nYCrd2NHxt7+2x3+DSAu+TRycvHa+a/UEsDBBQAAgAIAGl0lkivAH2shAQAAAIVAAAnAAAAdW5pdmVyc2FsL2ZsYXNoX3B1Ymxpc2hpbmdfc2V0dGluZ3MueG1szVhbb+I4FH7nV1hZzeMUepteBFQdGlQ0FFiS7sxotUImORBvHTsbO3SYp/01+8P2l+wxblMovZgdUc1DRXHO953jcyf1s28pJzPIFZOi4e3u1DwCIpIxE9OGdx223x97RGkqYsqlgIYnpEfOmpV6Vow5U0kAWqOoIkgj1GmmG16idXZard7e3u4wleXmqeSFRn61E8m0muWgQGjIqxmnc/zQ8wyUd8fgQIB/qRR3sGalQkjdMl3JuOBAWIyWC2YuRXmbU5V4VSs2ptHNNJeFiFuSy5zk03HD+2XvZP/o8MO9jKW6YCkI4xPVxENzrE9pHDNjBeUB+w4kATZN0Nzd2oFHblmsk4a3X9szPChfXedZsNvLU8PTkugFoe8UpKBpTDW1X63GHCaQYzhANXVeAJKunC1JavimywN7FM8FTVkU4hNifNXwLsLR0G/7Q7/X8kfXw6411RkRdsKu74QJup0Lf9Trh34wugyvuhuDQv9LuAFoU8uc6QdDP/B7oT8cfez0N0S4G/WA8a/OO90NMZ/9j0En3FRT7/xqU8jgst9zw1x+HfjDbqf3aRT2+92wM3hALXJ4KVvr1dXEr2OByCJfTm+dFOlYUMax2TzKcQUa2xWn+RRC2WZYjRPKFXjkzwymvxaUMz03FYpd7QYgO1cZRHpoqq/hmYryHugsIRqGJVnW9uFJWdpHxytXr1rtD9d60sp62ewGidTyja3frR2W5p8cvGz+M4bWqdY0SrCJ6fsetHxyLzWRYiU05jsZSx6XV4J0DHGPprDUm4MbJtooueuRCSYRx8ue54xyjzCNl49KsCrGSjO9mAHtZUmCXDisgFwFa86IEpqrlYwp/W76b9T8vSc1qD+sL+zRc6J+ioF1EfwMY8U0uIhiR3ERw/LrXw9bfuCkXhY8JnNZEM5ugGhJMKxFiv8lQJZnD5nkMl2c4nzURHGGTpwxuIX4zEXRV1SRFojEYZxx0FbDXwX7TsYwkTnyAp3h6MZzpiz/zkbEGVXqgZTe2/jOdvBO78L/8s5ckMYzitNwM3LMYUgzvQ1+incXElVwLtGbSxTomYgWChbxiVm8EHO5prPuhM4WQTeBXJBiuBnaYznxQYTVxkQBroQRFUQKPic0wo6sTArNmCwUnthksdTqfxlooYSJhalTbAqoLI8hd2Gr7e7tHxx+ODo+Od2p/vv3P+9fBN1NqQGnRpsdU60Xdxtn5KM96hXcM/uKG+rR1vIK6NndxRm3qZkv7DHOyCe2GWfs453GGbi22byCfGG/WcO2ZZ6adhOvxfPpVfduOK9Pr3rVTNWnh+xiG/gZZ2zgnw9blwQ9fd0Ng1OXyu5Jgg6LEmwNE/NTzQXTvw4xHL4TvfG6iyCmx29OhBhAp/7nprbntBX0PzntDnb4D5YGv5MJOLmndk3A2c1ZihtN/GZN+Uda5HMltc3uurWu8yad44fWc9t2ttQ5gOZRgkm0tcT76TvzNt37M3nMfitfCKy8ASh/ma6+MjNPUiZYin40a2T5nq15eFCrV59+VKkg2+p7y2blP1BLAwQUAAIACABpdJZId9nTjLcCAABRCgAAIQAAAHVuaXZlcnNhbC9mbGFzaF9za2luX3NldHRpbmdzLnhtbJVWXW/bIBR936+Isve4a9dmlWikNM2kSt1arVXfsX1jo2CwAKfLvx9gqCGJYy+oUjj3HLjcrxTJLWGLL5MJyjjl4hWUIqyQBvHYhOR307RRirNZxpkCpmaMiwrT6eLrT/tBiWUOqfgOxFjNBmfQXTO3nzESd8f13Kw+QcarGrP9Ey/4LMXZthC8Yfmga+W+BkEJ22rmxe18te69gBKpHhVUkU/rH2aNk9QCpATj0s3arEEVxSlQf9OF/YzUdFedf/2BbEckUVa2/GZWn6zGBcRBvry9ml/f9POZPj3Oytys8wIFf5WmXl2a1UuleA8iPnx5bVavgtdN/T81UgtemIDGmvNJ/NRQjnPdflrwcGHWoMA8yFw0mAUXnu8PZgUk9zXse2TaVXD6YuJ6MBBM0lMKCyUaQInftTZZ8o/nRun+gMUGU6kJIdSRXrTTL7iR/pgY63h/4IOwPCA5oGO8c9pUsGr9DYgx3vFXq3s7KkL/PrHAQQE7BwYedmDH/K3DesQMwI75SkkOz4zuj+iHllbjU3yPXTLPR19bgWG99fHyO281Nz2ZxpXB1Q7wnIrnsJDGnTdSgckaSizWupQc+YQY3pECK8LZL8NL9/YxEiUHBldpp+sKKaIonCo366Me0mG+7H64GtvfhO5t7X6i9Ai/m2KlcFZW+jdJTidOp3tEHzNNTivMkNR0EI9swwONdaxPVGGxBfHGOZVjJYwrGE3mbWv10VESBAElp6OM3CGnws+aKgWx1lkj4MsmxlpeSYqS6j/1TuAD8ljQY2yVqtTHMUw+qzIAXAkAFlnpa7bdtJaqoYpQ2IHv/ACwD+57GZK6RvvKbameYKPCgnPIqIp0g6IrlXiABPgJ/rt2Kzr4wDJc9Aqn0j4sans/gTtXopnsR5mpvPD2FnCVFJ2s7ccR1KD5V/IfUEsDBBQAAgAIAGl0lkjZfGsmWQQAABMUAAAmAAAAdW5pdmVyc2FsL2h0bWxfcHVibGlzaGluZ19zZXR0aW5ncy54bWzNWFtz2jgUfs+v0Hinj8W5NpcBMikxE6YEKDjbdnZ2GGEfsDay5FoyKX3aX7M/rL9kjxAhEAIRu012HzIE+XzfuejcTPn8W8rJGHLFpKh4e6Vdj4CIZMzEqOLdhPW3Jx5RmoqYcimg4gnpkfPqTjkrBpyppAdao6giSCPUWaYrXqJ1dub7d3d3Jaay3DyVvNDIr0qRTP0sBwVCQ+5nnE7wQ08yUN6MwYEA/1IpZrDqzg4hZct0LeOCA2ExWi6YcYryK51yz7dSAxrdjnJZiLgmucxJPhpUvF/2Tw+Oj97dy1imS5aCMCFRVTw0x/qMxjEzRlDeY9+BJMBGCVq7t3vokTsW66TiHezuGx6U91d5puzWd2p4ahKDIPRMQQqaxlRT+9VqzGEIOd4GqKrOC0DSpbMFSQ3f9PzAHsUTQVMWhfiEmFBVvMuw3w3qQTdo1YL+TbdpTXVGhI2wGThhes3GZdBvtcOg178Kr5tbg8Lgc7gFaFvLnOk73aAXtMKg23/faG+JcDfqARNcXzSaW2I+Be97jXBbTa2L620hnat2yw1z9aUTdJuN1od+2G43w0bnATXN4YVsLfvLiV/GApFFvpjeOinSgaCMY695lOMKNHYrTvMRhLLOsBqHlCvwyB8ZjD4WlDM9MRWKTe0WILtQGUS6a6qv4pmK8h7oLCEahiU5r+2j03lpH58sue5b7Q9uPWlled7rOonU8pWt39s9mpt/erjZ/DWGlqnWNEqwien7HrR4ci81lGLpasx3MpA8nrs0xCzh6M1Fzij3CNPoXTR/qk0MdJ1xzB+D3SsNhV5xL0porpZyYB5J01Gj6m8tqUH9br2zR+tEgxSvykXwEwwU0+Aiij3CRQwLqn3TrQU9J/Wy4DGZyIJwdgtES4IXVaT4XwJkcZqQYS7T6SmnShPFWQxkzOAO4nMXRV9QRVogEqdrxkFbDV8L9p0MYChz5AU6xlmM50xZ/tJWxBlV6oGU3tv4xvbkRusy+PzGOEjjMcX5th05ZiWkmX4Jfoq+C4kqOJcYzQUKjExECwXT+4lZPBVzcdNZd0LH00s3FzklxetmaI/lxAcRVgsTBbgSRlQQKfiE0Ah7rDIpNGayUHhik8VSq39koIUSJqamjnADQ2V5DLkL2+7e/sHh0bvjk9Ozkv/jz7/ebgTN5k6HU6PNDp7axm3FGfloM3oGt2YDcUM92kOeAa3dRpxx25q5YTNxRj6xnzhjH28pzsCVXeUZ5IaNZQVbl3lq2k28cp9PL6+zcbs6vcq+mXVPj83pfH+dqdkLLrq1K4Kxu2mGvTOXWm1JgiGIEiz2oXmdcsG0b0IMcOBEb+LoIogX/qsTIV6JU0dzU9tymvPtD07bgB3nnYVR7mQCzuKRHfw4jTlLcUeJX63N/pumt65IXrJfvlgfeZVesHmFtp3iZ/UCoHmUYFq8WCr9993zpwbs/xQD+23+Yr30Jj1/w1v+6WkHz5d/yKvu/A1QSwMEFAACAAgAaXSWSGRz4QKQAQAACwYAAB8AAAB1bml2ZXJzYWwvaHRtbF9za2luX3NldHRpbmdzLmpzjZRBb4IwFMfvfgrSXRfjdMrczUyXLPGwZLstOxSsSCxt0xYmM3738YpOWorad6F/fvxf3yOv+15QLRSj4DnYm2ezf7f3RiOgaZmTe1unHXoGOlI0XZHPNCM0ZQQ5SHH69F8+nAmfMWLGNCo/wFY1/BCHN2tMVRMXHgvp0ZRHKzzaj0fb+RL/WpUdq6orarQ5yrXmrB9zpgnTfcZlhg2D7l7NahbowLwg8gq6xjGxTEOzusiz4ziEaHIxzwRm5ZInvB/heJtInrNVV/5NKYisfvi2BgbT8GVh2dFU6TdNMjfx4gmimxSSKEWOeScLCC9McURow3dg1gXUMm4X5NBFqlJ9omcPEE1a4IS0ujScjsLxxMZY5dXqZgjR5jTZ6ZoYDSEsguKSyJbVbAxhgVzk4oYfKCRPoCMttN3zf5RyvEpZUnPzAYSXg8OCbVf3zoU+ziGQNULcGaGNZyKzrovjhqnX3sFVTtalb+apT2Q+kXsSi0tXkHUY7d4isP8KENYax5usuhyq435fO5jj3Tv8AVBLAwQUAAIACABpdJZI6lovF+oAAAATAgAAGgAAAHVuaXZlcnNhbC9pMThuX3ByZXNldHMueG1snZExb8MgEIV3/wp0eyHZIgucoWqlbJHazpZLiEsFh8Xhuj+/WDhROkSWMiAB9753x0Puf71jPyaSDahgyzfADOpwstgr+Hh/fdoBo9ThqXMBjQIMwPZNJe12h8doyCRi2QJJwVdKQy3ENE3c0hCzAwU3pmxMXAcv8vIBxUyKoaBQ2No+RC930FQVY/JztC4dsMn7fCoSRlErmJlWI7d4DiDuCcya4BxXBN/DiiCONwIprhPPJz1SCv4/iZ3Pkb8dD88vUCq5Zuvy7OJbsPaSyGbJpPWGqOsNcYf9daAluNL90rCS4uYzm+oPUEsDBBQAAgAIAGl0lkgGixRKaQAAAG8AAAAcAAAAdW5pdmVyc2FsL2xvY2FsX3NldHRpbmdzLnhtbA2MMQ6DMAwAd15heaelWwcCQyW2doE+wCIGRXLsikRV+X293XB3/fjLAl8+SjINeLt0CKyrxaR7wPcytXeEUkkjiSkHVEMYh6YXW0lmrtXFAh+hk4+Fs0PlF2U3H+YRtPD02ZY44nVo/lBLAwQUAAIACAAkk/RGiiTiqPoCAACwCAAAFAAAAHVuaXZlcnNhbC9wbGF5ZXIueG1srVVNb9swDD2nwP6DoXulpF3XNrBbdAWCHdahQNZtt0C1GVuLvybJddNfP8ry95xuBXZIYFN8jxT5SLvXz0nsPIFUIks9sqBz4kDqZ4FIQ488fF0dX5Drq3dHbh7zPUhHBB4pUmEAPCZOAMqXItcIvuc68kjPQJGZOLkUmRR6j9xnyN1FuiTvjmbokiqPRFrnS8bKsqRCISINVRYXhkRRP0tYLkFBqkEymwZxGuxS/x2NvyRLmd7noHrIXL89cE3ScjwrMSApT2kmQ3Yyny/Yj7vPaz+ChB+LVGme+kAcrOSsKuUj93d3WVDEoIxt5tok16C1SaKyzVy9FIuL1FHS94h12CSgFA9B0TgNCbNYNgF2tzFXUc2jBrSGV+1EzVv5bcz7pnGrOsc657x4jIWK8KgP6ayTQJcNo7pJdd1KQQ+NglaGiTgSfhVCQlC9fmslMl8QG7BVXJUnVaWPB/i04r7O5P4WYaiiuoO0bRq1TaMVqOWgbfR1R0Ga226B60JCU6qZ+yQCyL5wKbmRxZWWBbhsZKyxbAh2mb1y3aSuIW6kk/jsH3pj/Eat+ale60wF+B+N+YREbU1EGsDzSqCPhgRrqgGLbWxU5zE1MbucVPGY9HQ9MNkc66bgRRzNZQg4hgHXnHV2dggKkit08Qs5wvYODoIjEUYx/vQkw/j0IE3C5W6SoXdwEBxn/m4C2prbMrJxHUdiahXksol14vqF0lkiXip5DvaMXlY6fG3kmqObXLQH5/M/RnEQoxnMLZlYXeapt6+aw3szp1p1PpvcWgZqxXkAXeTWq5mFIh/5BLDlRaxv+zk1+7AHHeU8NR3TXN9R71m5Fi/glCIwX7rFqalJBEYzHvlwcdpjwH7idhmEr0yHIm6ztKkDpax6s/9VRZstX7fOdv1Qh12s4ZOA0mLsTH1EdYQyK9Jg1EOadx8RFeNOu5HAnRi2eKPFCYo0yz3yHh/qO1+eXXZXPsdPOOt9a+5tYJvLG1Z6nXCnIFbrur2IW+8GfPwNUEsDBBQAAgAIAGl0lkgLenXJFgkAAN1UAAApAAAAdW5pdmVyc2FsL3NraW5fY3VzdG9taXphdGlvbl9zZXR0aW5ncy54bWztXOtu47gV/t+nIFws0AJFfJFvKTwudKETYWzZaynJTIvCUCwmFiKLrkR7Jgv/6NP0wfokPaSkWHIcR5oZdLsoo51gdXhu5LmQ1IeZQfzkh/o2ZnTt/+Iyn4Y2YcwPH+Ph7xAaLGlAo1lEYsLi+oFy54ce/WKGD5TTgBozN/TcyNP5aDxsoJH4Qf2e2jf68NbW2i3Ua+MW7iMDd3QYu1SMS0WHMaPV1Af1IxWJ3ogsSchOax3UC6OvBcwwJhEzQ498HSpF7vxQcQZXkev5wBcPu23+7DOre6PNH9RudnodvG+piqJ0kd4xmkZj3+td9tQmwo12p6HstX5LaSmo2ek0L7v7Zq/VUeBtdNkFLW182UXtXrvdMvYt3AJppKqa0dL3PeWy2VTBGu5f6vvRSOs1GqjZbCptY9/pKiOtgYBbAR2q0ucLqBiKpnT3qqY2+woa6SNt1N5jA3f1Duq3cLfR2Lc1TWk0Dot7mF1+uQ7U0tPJlvMdhSdDcHKU51b9RHINltsoAmaHrDeBywi6d2NiuWvyoaZTmFMtTUuRwhlT5k2RmhCBHIL4cG5aV7Yzn06Q7dwY2HJshD/peDyoi+GMV7iUr4k8Hfneh9r9ljEaXixpyMDPi5BGazeoDX+fpE06qTKSdEeiKnIP7pIczPXET1mx1BakMjznhJZ0vXHD5zF9pBf37vLpMaLb0Cvl5up5Q6LAD5+Au3HZ0/FZQ4EfM5ORdcE/3OdPebENtKqYcPe6mD+lJAP3ngSZxYb4qSB3MPn+ihyJ7vzYZ0JUbfLnnOjGfSTFAOgdvatr52VCsFKMWo8/7wsx8pUBu8Irv3WWPXCfSVQ00my3+op+Voputpuq+bSJ6CNf7KLc+4F+kQsoNJ7wEYSMBn9KCfEJcoOlopQum9gpjCPG9PW4lwzWYAWCm28uKUmonGkLfTqZqdbnxXh6NV1o5lVtqCdViXhZ/qHV7X9tdrp/HNRTuZKa7Ik6Hhd1IaGs0yiny4L2OV6AQjxeWPiTUxvy35VFpzfO2LRwbZj+T2UFszm+rQ357zKiN/M5dPuFPTYNvDDthTV1xLqMsYON2vAz3aKVuyOIUbTzyRfEVgRBe/YjguLA98QAb9l+uCUl7BnTiWpaizmGzcbUHXNq1YY2jaLnPwnN7patIHlWbow8P3bvA+IJs5AiYpy3F7AujmYI/mMrHzjp2vXDizLW5+odbHQLZzod2wtsGRmlNsShh4zI5ZaqK5qrNp6Djgh24+jbxBci+4QGpAZBZSXX5tX1GP443JFr/3EVwB/2Dd7MMIRkRsISgpA4eA5ZZ9t307nB1xAMIhdt3Dj+QiOvkDT50JXQbVr6FFJTd3L6Ha4m0w2B98MlpA5ZshL6Jti21Su80KafIMehNqcVhaYfoSQ/VhT6jG2oIWyXELPUW/NK5RXByzArkKwGly7P9+AZucslyPHV3Pl0GwOFrzCUiajGuLIhG/98A3E01fGJYk90wjqLCD76OwJeRF6prIIGpGOD59XPN+ZfFyPVHGNjAYlmTO8WjuiP3J4LjSSkDLlBQPk0wLTr7dxwCWdbsnS3UA7PwOb5nmDj4RfO/GPr/4Jcljahn9L+ZRn4008X1b0rdL3XTq7h5AzG4KyyYe9Zz83gGx3hCf+mF2UWoLoLdlLKmgmVAb8qCWHo6Lx1QRMOKgma1gjMzZK+AI2DX3IqKbCmqQ6Lou9QcwsrV3DkFla0moo7rNmmA5v2Hbnnp9gSwiLcSdROR5rfNQICd7yXaN+TBwrlEhB3l2yI0ANF+MtEObflFlqUYzpjcNwCnY/JvgpaA3/Nz+Ll1N5McLYUSVspzOeObgNP1HDgP4nWAuu8XZPX+/lDRNeCGrhxltdJc/vLdzqSTHGe2J1V24hsrM7164WuWnAdhvMhr6qgvBzkKPds7NiLsapxDZCsa5ctV9BYH/ipvbyu5Hxn4JEK+tLltYkbLVf//ue/yqs58iehopT656p6oAR518Iv+v5mUUbiv5fQ46haUVR8ckCj6RxNVL2kgvSYnKkof2p2TEiXH3IQdZNNYU3X/MNFKdOQkGk4VcdR9esJ/+QCKYrt6c1cL3VgyCuZqPOP0IbECa42nLjRE7Qxh9IgrqhIhIPnKCNVRQ8Xly0L/JBUFH+1L2TviL+XUQaTd8zZQjUMcaODWg385VOyGXpwLE0/3qAArnYV9OnXqgW98kgl8XxWXafYarK2BK0heT80ht3JneeFcLgmwzWcblnh1h2yiAYz/r3i9Qc6YOCfVyCNhyziF7XsLc8Rr+iXNHbDBzeIgS1POmadgQ8zfkBLVRZpx9xzXjtejjUlHPPd0gCatJ7MJsdepB9L6bomPufl/X6hvXIczs7pUM7zA/GY3yJf2Sv+HPGY3+Y71xQO66+EjkfyktknFs2N8vQykQMeEooelfJkb0Ue7sGYf2qLcy6lhCLnmnpkmG9xjr8maU3zobzf9TccH4QvJ4oJl7l/ttMbytHAIYfr55N4wHwWkLczXEwH6jCfBOK9WhkkH4aPlyShIva8IR9qcBVwlyve7eMaSnV8qHGVyQf4t+Q22RGTn1ErSa5FSxcdPScnJnpeMOSdvJoITQr+vNCg/mqdBvVzARqkat+OX7hd35MIQwr40OnSIBaJefZV9pHjVpwRM5YksG8M5uXZClSHcGnJZHKEQlqJE1ZWMslLfny9DZgfkB3J2lWOkFub89MfxFAb51NbZWPywPLJnVJO1kCuwo9LIG13h0zM6ywOvCkmrkjF9pkfqFZxzL2PxdxPNKxs9zmYOrEfZY2a53q+R1N2FPP6CVPA+9baD+r5fRb60wkE7SysNtMciaBJBO03gaA1Gl292/1fRNDUDn8kgiYRNImgSQRNImgSQZMImkTQJIImETSJoEkETSJoOVHxIpEziZxJ5EwiZxI5k8jZj0fOUp4fCp2VQKXews5KiP7/gWdJlkrs7L+AnZ3AwMpAZ6cgt18fO8t59euDZ+JvtEn4TMJnvw34zFBaPQmfSfhMwmcSPpPwmYTPJHwm4TMJn0n4TMJnEj6T8JmEzyR8JuEzCZ9J+EzCZxI+k/CZhM8kfCbhs++Cz45pIAr63vwXTP8DUEsDBBQAAgAIAGl0lkj4MX8D5CsAAFpWAAAXAAAAdW5pdmVyc2FsL3VuaXZlcnNhbC5wbmftfHtcknffcG336t5mh81K8MQ6LDuq5PIEyt1cutZpbZmZCBWpndRIRVAObS01BVlrSc2Uu6zVdMnUTAyUmsJVoTArQ9IgIcMCpQsVQUBesN2PrN3P+96f93ne9/k8n6c//Pzkuq7v+fD7fn/X7/od/3xTzIx3PN+ZMmXKjHWffvLFlClvIaZMefPwX6c5rlxph91yDFMzvoj5eEq1xPuZ48dfUtZsXDNlSg3zXeuutxy/3z70aXzGlCkzW5x/U4H0y3umTInVr/tkzVYiZuBRKrPsQLwdj3EPuOHxt1r23q8RIr8fpfSlzMxLO/krp76/8di3s6s+2fAL5Pu/wRM+/jnNXbh70Rov9/M/fnvkm8LSjbtb2qMPjdtxpzMyRh4C3pq2/ZeAHbIx8snNDyXXywaNi2w1D9oSNs2z9cegws03Z1EPGca0HPaYYrR5uoO3Kb+EiAhQRLLujFgBQah/1YmcF6dYlhHaO551mVtg44FNC5xXbjQXUYYydVaB3SIYfmfiofwFBEkD0RLu/P9Q/24NWTwqsNuGP3b+PhL1HkKTUPvuxIMzGTXuzrHrLzi/CZpvS/forI+no0zfSKnGOj+2pUdTzpX4RYLHQxLTt2MC0nh8XanS+tSdlT99li8fT+rRswTWPj9/JhZIEjOTYLBR+B5pbgGAps7EP8LLuco2w7gqIx5zjT/LSeDxM+TJmqEr6RTtbZ5ipDokmp/NV/v4yaoTEaurg6hN3pY8fJnJ3K0cN/r553Z3K4ytp6Ewy0/ssZ9OjjaPNqWjU3qy3b7Dl0Eg6jBGt5uWiX1Cyod8qIazZIxukQnKYlp8WCsZNUGR+Sb0AymCio6cNyFZaUowwR97E6KKpcPRxXEBmD1dRWvAhTDzLXdYET6wVaqOVIfj9niLcMLtUEFzW1dYrgL+dxHOf7oscNpv3HESs2EOOw5NM9dwU3v8qWiqtxMtl7/cC9FCPJVstS7ApfANeEoZBAosDwZucPnkAgDGKguJrEZRT2h8OE/RgrsZBd2YTB39KwK9QsxkWrZT3X5HQvLKLYiLF3FDMO9Bj/ZCkKwSzl3vozvpDHC/hLj6ydhKnWYGc355DNrOB/E2sChSD965O0S3JCqkgYN+09q5HK6eSOce5OfMcWIk5kgdZLYEivizo/oMc4s8oIgo+lF8N9wtD7wj4VLJZJLtItEXjsQQdD+Xj0IWA5wgxzP5kFA1HPebD1PAn5Cuq/0Un0Ghk8Ra+rkMc81FyFvA5TB6XFTxV0F5HSO2mXgL0RdUJ4kk8qFiDbJ5Xv8OpJJYrIlQfIFOCTufB4mUSaf+jofSLgG3DYNaeReUc5luiZ/1NV4A1iPVGvgeUVWAjFPihleqc/AweYZn+kmYoPnWUPGajB79F8joHtlaQMJNMxJMJkq84Prcf1M7sHwlILtI3xKACYPKEopuHnI7Aw8uZgKpsoX7rMhq9zd7uRh6gVYzmyNCK+IKsAF67QIpYo+UElYo4gCUK4y4qmINpGKQu4IaOe0euH0imNLKb3dBcY/HVvbPF/HBeS8gFlXOGXy3CR4thLyVz32U40a3MOISirWtuJ+xA9CG48wAjgezni8x1LBKpAi6xXPUvaRiXw9gGIr3PLp3O0oP2cCqWDbhgryUVYQ3nP9lBr0cS3fq/uIcg292ve0cD379ajiKNjnHne70sgnuFkMQToUe2Rj4CoLelTSDH+3wGy8j/v/09H+Q3EO+1SD2mwWLRJKG+zuOLxLGz075+OwM+Rk4buL+DrJVDUORrCZQ3jp/HWqpJC90YW1dxe7fb45UYSNKVy961i6EnijzmTtB+7ePv0tOSokRTjB29dsL8XL5FvgE0ZWL9m0jELZOcPS3d9f9cOp/MohPCtM3Irwxd3Tw9kB3w+a0Hi6+OqEhrQyj723JT2m4Dy+ZxAh0NuWObopp88AQe+9WJ/II4eRIqtWkU2SumCT1G37Owr6igObTxadZc0fdOX9dneO7eZL41QHVgEbGwW6OEV+ayxmmxxXut7gAE4rmG+Kbfqh7n2O4f00sKS6c8Ke951IJ9nFb5mn+smnSVNYkR93LFdepZ+IyRd0dMuWxiFagTssGEh42JEwKmFoVw/RN3NvvrYyPqMbOZWGfIrjAb5UDLprq3m9sL9j910cjc0+DD0xyG1DwnHc1naPTXZ7w1iPzHm7KHuxZN/3W/Lw78uVhKcJvSdoHV4bH87no7mUIxLIJH//7sWtb6KflL0Jbl4ez+5b7p6QfoL14fFO+uv7YpKfu9YrlXKOfG4qnrWyHbKpK3zkHd/naly7WoNbFZWE6s9cxp67O5ffuU67i2JZOUpgpMFU/l3dBqsfmlnQu/yxd2UwhrPTJmdRupilWOd8WL6BQEvllEbk9s6Xru5e4wh/c6ybVapMVfFIQxfpihWDpd2N3JrXc4t+sJQWvyiPmWoaWNC/eazTdzE5SRrvg74rFcoYqlb9GVjZv6RjyRGfVuxhvV7ZGUpa5x01apwOjkCgfqisgFDGCdCUl6fpJs8VFcoJoUwRzUlP9v3Tn67/BUI6eJ1LDra7Xi9YEeUFbhjw9R3cd6ux0cc98rIP10pD08kT1fl6WdtuYqRdUAymyu/NdPCZfOaKV3TsHCj2wZH8cDrnJaHKWCry8mU2T9g63DiqaSosZvcaB7hTZ9R8q07/N7GRe0cS5WsoRN58BovnNX/0WO4fjGaGPLeut9I2TClzcJjokrefT6cDs9AxBYUMdIPtLu29AK24/wkVnwYVxW5Ir1C9+ni59Xvr+Mcuonp34ZYKLza59SWa0HSR6q1ZqNlseGCAbpJa8T6P4d7b+wfW+dDsB+vxWN/Vwwc2g5nMd/sKq1SlRmjrI1nqaC7Frhedqxn5cE0Uv8aBUmY9On3WHI23M1Cua6hL2rXd5zliIX+W1IAj87DfTWKnD9UkniQlW3anz6/FeqXUu8iWD74gPfstfBj+9n/eHIG74KaXlSd08zpTOPwSxB7Ylw7jxGGEu1mv4PHb0y/xEF4XGgCMf1d08HAfOKFLxBNpQF2dRLxXdJopJwRjMVvpZcP8WnzgXzyIL+6GcYX5/9g5mQxUQ8kGOYwaRR/R3/QEecwLK0fH7bzUGR2/GXhoyudwc8FA/YXiF3J2aEQc/rXBkON17V0dcQpaX2Je9G0aOMapdrSKrM0V/wurj1aXzXBSyzVFcJQoWa+4VxpEiiS8e687sddUr4Xq2HhP+saRVNoTcTLCdMW3SP9zmkhsZqtK3klpwixWHfWU0pxhXtKoc+AXRQK1F3NrdX1/mEgcveLd+g6bDmVMN59/UkISyPnpcmsiWxKzb86Jnk2vgJe7pp8ftiRy41Th4XvmXpeXsmS4uGt4zqBSwZ9Kj+GOrqjNOCUMW/UCJulBFnXl9zIVWYFHctm3pHzKnrmoOcmSGcrEzhjTvqUiRHM35KtcEVbcfTRfvPkIub58mLdZcSHGNGAw44+vaNfDWqiXsEZmGvxeerODiF1IwvQ+uJKTI7p9zycj5sXwfpNf7LZH8ROQ06fMDxLGxsvx4F1zbOhOEo0mfnp1Rq5BQiS4q7t3aRKEoFQuoo4OPhkl53Q3p7MT1+V+4gEaDWaFSy6AWvAZSyPV7RkYQlGxji0swzawg9iUHe+Y55sSyxAOCwq+Cc5vn533u46LVq3ZhVXDdzcDWqvDRxv0XKM5EX39V78LHePato7tGjLmcQeRZF2cSFMVlbcNWDc02PJe0BEzSNPKe837Qa2XP0XGUAQnF4m+44xI4Nn9M0xnGN+B+adTzp+2lzzTvGUHEbe1tF8S0XNOLXeEzXwqsDbxOs1PHSN8QRyqNrv6prORkQdNnoK5Kck89P0ce6MD5u/DQMNQM73CYVlqN3y6s2lIn9Wut2l4vcJGKek3YQEl/lmoGXEqIgZSE3HcttxLks1xzg/SacZ7xREMtLNlFbbRU84Cieblll0vatsjKENl34YFIZ7zsyE8wko55haSdTYyyuNLAhqQrNgA3fjm2+35bZANR22x0JSbY7dZ2sA9RouRlB9isX3O6G9n/pSVW5kiEIw09uXl0evrhDUKNl2CWR6o598dxl5h6zsvQSG6/G8B/sdg5AZFML3rl9cYqokRaayIH5LCZMFQkyTFNbU7PGHraXsesdJH3+pioq3HFtCannopzLF1j5shUFhSh7jyLt4n572+Nc6l/EimOBumRgGYfVoPPJRDj4CNe9lgNd5xoIVghAt+SN3e6/Ygvxcdbc+SGWl62PhJv5nLwJOTgEmqE6DZI7BwqAI5Ld6FL6r0RgOY6Xwq+I+PqHCGbnmN9ntHR6TK3xmHdMh3E3sSQkdGC2ekHZoGFUggMN4UudlYqOTC1AT6cKKDahlMVeDnxVD93xbSbpiz0vAYmO0D5vu+ol2pcFY43Q5DAEAOGO3g2gknUmbKsREW3BLCtBRuLAaaWqfFgnmKUgY2tHLUarHmOz1zt4p+dHm8+guhLdj8uurnK883HxA9xcyoUXPJHottLqgXU+uSezeQVg4jo1i096WiUP1M0BBVmqcFovHmvEakyQBZUlTBDImUg+jzXPtK3heyv1RZL083wxFRX0woLPI4m0r9eD4Lwbf7Tmzu4G9HpBVsCI+cJmfAxYZW3Ova81uLJafVWXQdxV31nq9VqakVfRuOtIchoLgYPU4fLHXpk9vXJsyqKkD+WJ/4B+RLWDIK4dksANUJxvWlOy9MlVN8WLDoEkwodDRo8QOHNZq3Fm02kOSwGuGpHJEs+FEhIE7i6xu7vxdN4SfLLHuq+w110lXZ/HjFhLEdXNDUQ0xemqG0mryfPwVoOkxf+nWs9j0sZQZ6vcli2u0vGXm88m5n1B20uVOT0JLBmHMHziFozZAkQ8k6htpiT0Gi9flbMyYWqd1lz+PUReTe546YRLntLT1oEoVifg4lg9i8DJEv8i+JKijWRzea7pvrq5j/wuBc983g8/INk2fGpgXmC2W8qDZ10fCnxmJpLDgsVzYZwDN4s4YhoO1SIW0nzGeV5b8Kh6dqfBVG521FM7iODLB6P/V2PI31aaZKtJ2vkdbf3/xWE6CxQzs5fl+4vKZi0bYDAarit5QiowQc+vbu5sG6+y81g9tj9S5swuQP1daSo7zZtkn4T6lUbhBP9R5cq/rXFh7+VsrBU8xNHW+vnbHlPXAh9V7WhoG4+Iij55f0iJs2q9nPm3dLQRc/8hPLZKZ/8mx6KONSRqpS6vEVNja5LD5/e/XlS9u8+Wj45my5qn6wx56+r+xdAhPeM/R0VJ6fP8j1byA7ItZrAZwAskkw0noA1jBOtoYML3WUwZh2VnqQeqxjhxGgSA76MKHftvbvqHQm8nG9SFfk55pVf3dOcDSIDxiwAa5xTBeUJcAXli/LX41ZW0xyt2j02wNSsrkZ5Cpqz9Qp5DLWHJBNvZfr5rJ/0BcLSPAnkDZyODj8EUWsgHgHhBNEIQEHzCAPDtQkNaU1gDTEryQqBMWHS5f6zKkAtEQM+/62DJPNiNsyRxoYbJyVHX4P4ApdJjk6+jjnONWWRkdPE/edxmlpwmXTkFqQFR0ZSkRwuki7itBjmXtIkbv4CM2kAcTCmM2xae5b61Bm19pBIygMk4FmRTInU54CnD3w38dSNr7gHcZlteXf2hm3L013XUJDXC2sy+KpMpMIh2qcvF8umq2p9VI45kU8aGtbgTG3VIeVD3y2a8JlDH/h3Q96VKYf9CrFMjgaKYtYEUptn4TSmHRXqlQMOju6WTtZlNetxgXT96eYVVB8Ytvg07lM6pzfMUybOE1d5IirwsDrtupzaSVvz5rT0Ed/SOAqszdPvmOBOoJmlOL4bONTHqWs4LhVJNvQs9hT4XqH5MDRnEgOCBhPCn05qT7eDv5EShi7edcj2wLg3Yqvo8ekZZR3ORRt9StjpaEe9i7ARF6e5M7DMB4JiFV7KwyT3NGS2/U9OWOefT0eZbt5uENgGTsocieeJYFwrOMI4LugGs5Hj1XGT+C6P6e3j+pN6sgbhxxGMj8ljFqX+ZOL50AC1Pid20gsriX2sCwMhFl75JJE7XUt9YiZieKd7Jb3sLn7PhMWCz/3LN8ZHbXqa3Vkv+tFADxqYN/GuxG5MtxMIDNI/Hizv7DKPcGi2GWVCNRC4KPWi3cy2h5lvxUQePmwxDtxnO36zE+skExId/LjzHr0Mvmy8BWVtefb4fdwGuj+I479xpQJyTNXYyrw7r1CAA0eXjaNpve9iibtvMVEaR4HI1Z2Kw4RZ+s3QCafdeDnnh5qg6HZIQonwA3f1emA5UmA4xTlbfOXuNk8aW+IVxML16/RnJwKi65vKS44qVDtNtBwhEwIs7PrA6NOQ1F/HDriJqu6JknaFdbUm4W14Cz7eDQm/Wq0PoPowbc+rOD+O+vnsyB7sCfN5weL0oz1oogDD800T2v3l7djNljsSSLwKGBKdhkThfoGqcWiU6NYW/rKVrUnq6xVcJeTQbt3x94JEUghBJQNBPA0slCypdh9d7esgcCFq5TgZ+0T6Ym11yu/af75PJNlrXo2QVaTQv8XLDQf2OlJaglIde0bbcBP4PAzDgB5Ntub0RA4ifFPopVt6AGLWPnQw1ZcRx1+X/8OErDsvPt8HSPbyryDzbhOT+oh9Tw2xJVFuq8RbFk+73dcHf0ivCUoTkEtzrMjIkrlH9/YQzJUdXMFQdYDPx6AmZBwdl46D2S/9erhf+jIrlX5er+2CRqkMc0srwHlDS6adBglDF/uWh+DajjOFO4MU82BCbp0vSTWmmRGOt0C2sYSXw72OXKD4j6fRBTHx4CjO7bz4HEr8D+tX41Loy+Gbqot6k9yCtA1ngUB39Ub6BXkolMWIo4g+8GzAzmMJs6LxKLAGL9CuWVKuNoAXow7Sz6ilY0tE7SbEHNYxrsJgyPqH/xF8ELjtdPgqxQ7flj0QTps3p4fOAcKmnf7F+2P1dbwF3H/VBE9DiNr6XoQVxu0r/irTrUw9/iCqnyvoM7lLV/OkfQOqMXyZvOrJBU2s9QxdsB53/+etRy/9w3sSAQnEkdcavXc84DxBF38k3gIv7GaKd2fSp2byd3xUzbPmlHVAFgCpqmbgF3cUbOGBOVKc27kKrnQEUI2XSMMGcREFn1k+t4YxUKVR1vhiwUKx4Ggv/+a9SaVcumBbgjnG90ayOKcxyS7xSMW9QKb301/OI4u3QhEX1bd+BztV82V48f/9jSbjwwN+SrMkW0L9cF+RUAmaeJg/5agQgbn9XhxlavecV1LOf49Mu/tBtsDy6KQzv0aanSnnpNJcpgwzd2JtsY9vCJV9JoQPrUGtN7kUP7Gc5rHnt9cHNGUeto1l7axQ6YnWRM5k2bRlpINJ/cgn5kjqcYE2dpKJSn6le3HUHx89xVhwIzjWJZ/fmfbeztLKyelza9LRT03P2OP7gv0tesm1Pz56Yjauq6F5ZGXw83vs8cwxZVlqlSvuGQtudjWmiiTqrS5mW+b1ydc1Gd30MuCnycWjtbHBBX/Baa5BEcwvXWeNg7PfFklSgwi+lypd5Jd/8D69rDtZh9zkKl3tmkUQREN7F+nsK+w7Or3SmqHQV1jfqesJxmnwla8Zfs3wf2OGrzlKB9RYB7P8jn+CZZRmHw0h9Z2KU3APUmxnZpEfv/kMkLozR5pHm/TDGk2EIimS3XuRhclRU1kNdobSxPhSy9QX/Zmxa9ou8/HNZNWwtB073of9kcVZC//cn3HiRW1LUkEtk+03TQKGaiIwZH8PGzmvL7XkTY0BJDQqq7b9WU0EKMLe58Dy5ADW8vAZ08MHrEThxDWBmKnm6bQX0y9F9RI7n0DeVcvwTdxN30cQ0H7+TLGKKgJkarWJiEwmk82h6lrTdnRwudhkmt3AsPiMNg076p9y8vgQG9UkGaOyZAkK5dDWf0obWL5KthDz4Y5i8i63gi2OlqvoRGDrEUhUb3bzUNk9oKDhHCBV40DTFjTNDJk/TQT/VfQBj1xl5VLnoERq5pZVn6iHjsdVi9TCAYDCkOYWdDO7/WPaTSQ0anBhdVCkb8NxzTxmWOQ8lDTv/j+Tv/zpAYJ/DP/MXv47hyHqXQ6sECgDDBD9CpkOUPa8+WyH2/dqKhDoiXK0MsRBMecitKLPRN79DRo7T8TJ79PfNGjEgBeMqXEXMtVGLUDC/Nk5uoe8EXXMfHw8/Sj8/WImM26T6AjU0V19rQ4+AD4YIcb2EYVPIfPqajLMNb9YybUl0pW8dgdeiy+MiU1hdCM3/9kNU9mA5CJ3RXQbnFjcfdYvWkJM2ksvB7UHHV1tpjkrgsWWciVthmAxmx1CKB81R6T/GcdAfHEZPNCf1rTVBvViXQFuQBbiHnsLihuuAkccbaLodCi94ThzapDiV1/OOwx2Ck5DLLUSR1LcKtRmJscSpgiGSXFkm/QiV0J8a5+V3BPpG2D5oQwki4aKxOf7Ho/xt/7TkFDHlogbSgAuUbHcoyruo2KxyiheAxfdgEBj8E3wSBGk0ToyW5oyp0VFpOIFYo4yrBoGg8kYHYcdVg3xxX0/o2x+3h2uABLMEsDgaSJAbegD1GF06T6ztbzhz/Fi/Ajnl1/1Onu9Zvg1w/+lDH8DQcir2TY5e6OdV5fqygom59nFzDlTr334ygJGfwzqh5kLb1xrVY5U/rHIrozL/lX0at+x+4Gs2Vh/cmJu/fQN72sTix0p/29ahaLEsW6BLSF4047JF3+7WbvdLA8amoXRlLF77EhLwEob12WxbI9Tg5ceuCxufjhhwvrJN5ZCf6jTJD9luSxX3naqeNMV10W6CRvvT3RhZpXTZl9qXdbWvpuwwQ6WC3cTTnD/+muW/huydE3cZXaupTtf4fc0Zmjut+TPkvqHCZzba3r4pKEnIobXpYnV8XVYkB8whCyRMWFSC189hHjyCnJH4cVxbnUjOPdzZOr4t7jZtrGRe18FprmrNHAqYZ5UvarliWEMnuncCzes0WKIvcfq2D7Jr8jG8kHgXvCytA/kHGrPwZ6iuK9FWSogSXwOntcC/6YaC4c2IPS1INhHAaYg0oKokTsiN4Wm6+gAlIP2qXjqIGD012f3YNHZZksNeVCs1We8QmGzZTUCN8y7VbVQfaoM30REWK5D/qruPI8n0YvEcZRi8e6dDDGGDApDpolNZhMRrRl8xLvUcLwG7hsQ6TvqzmKo4KpgEIK36BqBJVAWQ/M+ClbRx6VaIYJiVY4aVNWIuqBHHcULEuC2E4st6D9aptu53vhUyG2g1idtc/seN4c+NTAtxFEdbmAd3eNWhC8zwdPcWczdKxhA0VS8GYRTo/HdRH4HBKYOx/M6SFGpbt+JG7qAAdGNHxhl8gymquYBs4E/2FzyinG1XWF5vCK3sniw8DbkLVwgfU0QtTlYJIQv8xc7qtj48VBPQTHwdgXert3dRT9xmG/IoFeKtUxAOohDYshIavM1/SvuObCKIDKFKB5STqjG5CELPdNtGOa3YtHl0EI2YBMCrPTjzK8Om+9IktQysLAdEh8j/7zRv9pdGuSbQbKBfNXoB/7YYN90W8+si38MhWvi4jJ16kO4t+jbELq4tuOw2wn13O+2uJ3CBSYKfKgkOXE9yYosnAr3xdlA4odPIaukXghATe9uHairCRo8ELZTNCLS8HwRFcRqHJEhxYdV+7NxSMFI4HXmKzIkEnT0qQF5zfVLRK3gUBbcJPzNI2pnwXuHzPNM8EOiJG0DAJhC0xrISU8NajxNrc2sZrcYZPBokY1p2aFQLhlMMaPVRrCGuEk9BqqJxaCaKx054tmiG6Mam14R65J52tqHyf858VtO0HkrT5AfkWCy8T8HcqM1Ta2xIZst3Jl1rzCRKJIM5bX1AYyy/IRXfDEJkDi3wsw8o449i7uP1Ks7HvGyN6N80xT8ZysHczGvum5zbYZxKH8WrHyc7HYW1HpgyeCw5qH0FU6rc3R857aN+gOyTTTvEvUlI+cVljRwgqhbxsKlOF+PPut7KPgnGLL1ittXEho20XwjqNaurkbNq84YTkhWFiyxEOmlMg4WZRN9Aj8s6hODX1riXmHbH5dCPnnO9EMpfI+/wPiUBGOqELVAF5QzfJ/6Z03+lPp6MnnN0n8VSxedBS1t7BIt/JVS7z/42vw1yGuQ1yCvQV6DvAZ5DfIa5DXIa5DXIK9BXoO8BnkN8hrkfwuCzBnuPyj59kKIh+te/4kPBUZkWJTzUIFXPgQo3Ux5/qUfp8n4UM6fv87v0h/OKfhPOHfh30WQblaMNmf/Z5/HoPuIQLV0KyPNbSmRGYZzsyj9TyL0JKlzV97VbBVJOFSkgUpDLMgJLDTxymXdX81ci7S/uL2ZavgiNxYdkhaUxn40eq5AQzuV++giIEknq738nNsAyyPllLnSkPJso3mCtKDZcIqjGygaKI/WxYKNSeyhL9Ca365xiwrsP3qYrQHauzgNEGmsGX57kEdUyDVDVyPB45vP3vFPyJXxFFmGvgCaeSPM3qOJzDbcnEV9cT8m0nAiJFHSSXrx+KaXYJRt06WwuQfNyg+rG/gHl46XMrSUoVIlWVULgkXj2RF66a06Il0+orAoRkvYmns7xgWHpCraBQJl5JrGocVDoSrhAalKucHynDnez7wrzV1affIR4V2VYKCO+pXKIVpU4ndqUgpbeq+go9954MyzI98nNhMGHtaHUFbk3TUR3Q70pqbndj9jarX41arRyGiJKYIGIBSg6DH0qMqU/p5i3NjARmwFBlQANxWdjp5H89/9N7pYJGU1tO+hRZcLcVtlRdLVg6jxFUCfuDtieZyt8AVXX+RdXD7dYazeAo/DPdezltuypSV72JYvCKUrj9tFUsNaBMsXUeeXtaRWmhIHnynsn4MSEb9PTFmaV3uwoDDOsHL6j1xOUQ9scwBVyWrZxa+ET5OYzDmz6bsQ4wlCKe7vvvZ20fbwag+ar2g5BYdEN78zdIn6/NLdm5mhDq1VM99jt5hIWU2mswBbU+WJYAPLfw0wPE+VvjllyuNDrQhZLU1/cKOxMSCpQf6DKb2MMsgLJAzu5T8aPa/eQ08S33yOxMjN1lbayREaD/KWGhj5qw8KxrlOX3OYzoB7Fmu/ATXz81pHqj5Syzpp3UPjdN0YBBwyZYTzFJAIFiz3QbUhlh6FjDZ2rZ9QxK4CTt9pW0JKUa2UtpTX/qBVsIvdKdN/RIi8CEcmsVYKl2tKOD+LW28EYyJudYrHuxk1GRFWoVR2dBdEBhNRkmVsxnGNDUp6CHD7R5Kl+n17aDDOxw708tTqycF5OJK/4i6/j3OvscTmu8Ih3nkiItdoxpbUDC1l9C7lHdwXEbxSeGMuyyuczdEJEjVdZx7RAgkYtCsqiVYNsxNzbEW3fL0coadMNXsZ9tQqj17UBSeMOOJolS2C64bTfOnZ8iVBPjt9Y6Q+HJ4pkn3W1rxtYdxyRWGz92kWti4oMlJR6VuCrctYWo1STPMVye7RmQyLZyVHHv8PSa4DEtS4GhVpltFsspP5s2CDyBdJzKbvHz1dtsc5LNbuy5N8GxHsUGEkz/mFsL50pZgKK6ntPij3EJiEw6O95x+KJFkeTbp9exx+fv1WFzTqqcmTfQD+d0a6W9DPMUuqo62RQH/IeHcrrQi+V3QaYk/cTfc9OgxBqQH4O/7p7qN13u/hdqIVyRGh/u0OSxogoMawSnrxgM7apLQ0neTQbNoUWjetB2vrxF6Uld32zXWYsI0k/fBOpG8tgLmTVpcmcyqnxhGTxs6QZpChMUTMNG405tZ8/yhZrJL+zRp/ixrg/2uX+fvdoZ4L75IepM/3FXXLZMmjQJ27QAYGg4Gidny8G11dS1zdZzIZvOYw5mei083KNLeTIGiq8XxfLcg1gr9oca2U4qkjC6QXPdHsbcZReOtU48MDnDLbRlSYjWS8I9lMG7t3iSUEquy94gk+SSq8qvETeZ+GgpzQaPIj57bne/NDeYNrk5gzHGmOozoQnGy/1lhAvHlrB//oIbSv/WkiZp5dYrUp7bYQG+8AqeyiabSfy9QlEvFYfLyV23xwsaVp+520IHfph5FAHyDKoEsXUn3YMdZwdxagx1rJZgtERVWrQf3TvtQHBHMTpPypNtsT8dVylo3ihttAV33QVu2uGhgQN784FnAhaqfD77Ratt/MJxCvGLFYxAGYZ3Q1rNpuuirDS5hxWfTozEv1biFfEemUqz2yMLgXRTRNWZy1NIOAAvUyLtmagLel14PFQvgiTLTR4tR98lVvb7XykZi50r6x2d+fScuOEdNKRS+gDCWz8rnS7FGjdQbhG3H+FgvEPuvukmnNuvAW0pVZEgfxElli1Q5suhm3OFfn8PwOE206SxACok7zZpbLcY5MoisNoDxb/0ywz3+h55voghMZ5ho4wd/uA215QmzohSyt6LP9zPC4vAK7GtrAUCnTxVrMVmNurZOvOWylqYuE03CRQWnu7Gxrdya9Sbsl2zq+TZDNK0B5yfXrhF1voxt1ejWxPtmb33k6ZBxbscX7Z3xXsj09fkJbAbEMcR0sSI5zZLF4wYwF47CrJnRLdXqK9GXUIov0zb5X8q+B+8UmUjAhT2DhCRA2E2RKxf5fvDgE9MxS3PZEO2/wfK3ypEO+ILFIwxd3QUV6NXd8bDQQ3dkFpQU77jmqEO5huRLYYp21nmD+hZyQvdWGSpogC60U9cl/t9QeFe2TbJ/wqJdZaLFltC1pLagXQh79CoGr31qENx+mF9X4/8wJGvQ7EPaCEXe0mMZhwF9UKk6xHiUvLpSuLk8gU8Gvzw05wll787Abv8Nw6vz6uNWEPN3ohd26FVaAZgUmjvyx/22FEFDV6oJvlCbRYDFy+8Krc1jMgELknWqPiXgM2jqpmcbLoUdrmSm1wDRHORAiF6T4a/miEBkU1wNZVgGZqk7MF9NSGExgb8NVcudTyDq1Y6L7yGI4eEo3uscRPhvmSHPJCpBUHkLwR0l/oW65axjQ4s2G2ptdZvsVXn/S5oUW8ir4HhHsgVbGYfP1FD2CZLco7d84w8xPYCoSEHN8KvzanJxqo4aRatqG8zrDtxFGx2R4bj+63Hb6ZT5Z22oniuw3fsYOkBRVqLqX7Drqmty7tHvo6KvkJA1kOA8uYnj00HvTbel39wZ3MeLCRQKpKKFLpqyxrvrdih0mpAixWC3rMDVBBRiFf511VWaHQXtqpnp0NJ5ZBqYstET8BEHENY9cSS+zGgLshmd/h9I+lw71zqKZhsPxj7gbCdgbTAe7wLkcxfrHMlH3GypgkmNKU9/vBm+j23sLSo6mWCECDBa1ZyKXpGNIfaeGlR+x3ouN6s7RuamVZ7R6EfXEzTTzOx1F4zwjUq6/7cBzZi/ZVxyXHM2CIoCQ3xha/xjFSFFa9X4d/Xffb3yf00PWIJRnZp49w03rWcwLeAzUCphifWizFVa6wZroleSI15dMtZlopmjXpIFuNYyuGAc+pEaMT1/Oo770yP4o2NjnY/ofigorz630QgAJv1XAp0SD+p+5nHo8LxDTAU0c9inS3KaiHLNL2ydiDd+aPZKjQ1OLo+hnQIu7wGM+1bcByh4dO/ZpHJwgYh/XjeJEXY2OWu7ovYZLAUBbkcnMtptPTpTbdqvU3vaVuQ5lqbsXEHfDrDoiHm9GRzsy9go7+5ehaVITInhak6lm7GvphJuGbfa+r8bXiaUW4q2X/rByujRJnvXSEWKUjjose3waan70tf2ZdFq3KEul3CpmAkQPGMy+mMFmp5B4ELsIAGZzqxxsOR0XyRnRx/DLIiIjMaegLKZ018pqd4EfODRSVCyytQpkACDS6+/NFERZ4wtQ7nI9QK/JmN8Mfk5mSPq+hapQg47kr2QXsjkB9gHl+MBJpbVduQH4yIgNfgFe0OnFSY4KJMo7D/c5XWWHFgpwLabrH1SYLCWPpC+t8pl3NX57CmutHIiaKCr8F1LTHyTJxBPJCetInNjP7Kl1WXK90PHwFYvKQ3B6HIP+pLtLPt9CLqE+Y1GfDXeixfODHmhHQufBEjB+mG2WDNRoRvp13/z5XqPEL4yjfascPhFlRe1Uay+cjXM7r04ynnrpAcdeDvdzPvBNkrVP0GRTngax19kpdUlyfYuzFLV0AZEl45Ho72syeh/WH9hMPz3fC/h1LAc1FIQ6iWHaWIxc5FKL5TDUkfwuEt9KsrL/Km6ojwG1xLeta5XvvxSz6uVQFJreT6/VpkxEgT7t0fVT414pVb/XTHOVFIqsgTNLJHkLp8HfEUWUf2+jNNIdyT32pbEnh4nMTVF7KYmVHCVp7z+KrlMc8ocvi66PjcFG00OiFr8i8hq/uKEGdu1gj3qdXMkSE33tC+cyT0QYv5toDiAT0/oD+XndENZRoqwd1Ss3o+ziVQR/vt2m3yxY0+G0KB9Od1SZLCBkSY4j2sytR0S9t/7BnynHS668nfJsAfZey5AjhEK9pWrlJssHlh6Hag+211lDdI4eQwMWXqg6dCIujOL8JMCH8AD3tC3A+mvAWavz26XwCzXKcRBmBze2+G4eO4U1nxp2uA56JGG2qlkNd2Rrg7NRm7meXxpsyZZua5VdbovUX+RuInRfKbCL5JqmqvXMsvzrldjM+eP1WEv9SWdafXb5zHGtKLXW8gZ1QfOgKNbK3NqjSWr+Mf9lV1Q9JlzwyL82LtU8tzoO3F3mxGDK160S4J2fn5LG6hE0bQN1uU9IviPltVyS/Y5r4mjO1nfDr4USMZmch88fe7HvxfK3a+7iUriVcYsSjyVi+uaok8g2CdGSZuX6htNGs2mjwwNN+DPnnD3r4/0+d+dlvcd6VFVsGxLQy0QSHHhnOecsf7RJH9Ho6LrcVTh8PMHL2Vv+Pf/fa3MVBpuehmqaOJr08eetEnMJzPp4+rNjk4eaWvtjUJ8FTHTNoXNqMpr7ntg1nS+b43OFlKBwH0SFI3LtGzl/ncDM2S3zboITolHW3lmbMTTbyHD0y1NUFxDauoJod2/ftr+5Q+2e7f1wuNp5fd3aTZ9Uf7zz6/8FUEsDBBQAAgAIAGl0lkiRgxoFTQAAAGsAAAAbAAAAdW5pdmVyc2FsL3VuaXZlcnNhbC5wbmcueG1ss7GvyM1RKEstKs7Mz7NVMtQzULK34+WyKShKLctMLVeoAIoZ6RlAgJJCpa2SCRK3PDOlJAOowsDYHCGYkZqZnlFiq2RubgEX1AeaCQBQSwECAAAUAAIACABpdJZIdyTW4D8EAADfDgAAHQAAAAAAAAABAAAAAAAAAAAAdW5pdmVyc2FsL2NvbW1vbl9tZXNzYWdlcy5sbmdQSwECAAAUAAIACABpdJZI3JxtjDcEAACqDgAALgAAAAAAAAABAAAAAAB6BAAAdW5pdmVyc2FsL2N1c3RvbV9wcmVzZXRzLzAvY29tbW9uX21lc3NhZ2VzLmxuZ1BLAQIAABQAAgAIAGl0lkivAH2shAQAAAIVAAAnAAAAAAAAAAEAAAAAAP0IAAB1bml2ZXJzYWwvZmxhc2hfcHVibGlzaGluZ19zZXR0aW5ncy54bWxQSwECAAAUAAIACABpdJZId9nTjLcCAABRCgAAIQAAAAAAAAABAAAAAADGDQAAdW5pdmVyc2FsL2ZsYXNoX3NraW5fc2V0dGluZ3MueG1sUEsBAgAAFAACAAgAaXSWSNl8ayZZBAAAExQAACYAAAAAAAAAAQAAAAAAvBAAAHVuaXZlcnNhbC9odG1sX3B1Ymxpc2hpbmdfc2V0dGluZ3MueG1sUEsBAgAAFAACAAgAaXSWSGRz4QKQAQAACwYAAB8AAAAAAAAAAQAAAAAAWRUAAHVuaXZlcnNhbC9odG1sX3NraW5fc2V0dGluZ3MuanNQSwECAAAUAAIACABpdJZI6lovF+oAAAATAgAAGgAAAAAAAAABAAAAAAAmFwAAdW5pdmVyc2FsL2kxOG5fcHJlc2V0cy54bWxQSwECAAAUAAIACABpdJZIBosUSmkAAABvAAAAHAAAAAAAAAABAAAAAABIGAAAdW5pdmVyc2FsL2xvY2FsX3NldHRpbmdzLnhtbFBLAQIAABQAAgAIACST9EaKJOKo+gIAALAIAAAUAAAAAAAAAAEAAAAAAOsYAAB1bml2ZXJzYWwvcGxheWVyLnhtbFBLAQIAABQAAgAIAGl0lkgLenXJFgkAAN1UAAApAAAAAAAAAAEAAAAAABccAAB1bml2ZXJzYWwvc2tpbl9jdXN0b21pemF0aW9uX3NldHRpbmdzLnhtbFBLAQIAABQAAgAIAGl0lkj4MX8D5CsAAFpWAAAXAAAAAAAAAAAAAAAAAHQlAAB1bml2ZXJzYWwvdW5pdmVyc2FsLnBuZ1BLAQIAABQAAgAIAGl0lkiRgxoFTQAAAGsAAAAbAAAAAAAAAAEAAAAAAI1RAAB1bml2ZXJzYWwvdW5pdmVyc2FsLnBuZy54bWxQSwUGAAAAAAwADAClAwAAE1IAAAAA"/>
  <p:tag name="ISPRING_SCORM_ENDPOINT" val="&lt;endpoint&gt;&lt;enable&gt;0&lt;/enable&gt;&lt;lrs&gt;http://&lt;/lrs&gt;&lt;auth&gt;0&lt;/auth&gt;&lt;login&gt;&lt;/login&gt;&lt;password&gt;&lt;/password&gt;&lt;key&gt;&lt;/key&gt;&lt;name&gt;&lt;/name&gt;&lt;email&gt;&lt;/email&gt;&lt;/endpoint&gt;&#1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RpI638cFEm6Bg3BbAdH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q80FerKh0Gy5DEr3S772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R0hH5d3LkKRQbPm9Xwa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5BNQwtTRyuCc6RDalNN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JrCI9DbI0ur7Hy5xuomZ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43MuC1020.jgwnYkpzc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_c.rdYNqU.xveLI8mNf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hgglerFIE.iUJLDNdlni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mLVkMKePkWHNJSiZ.AU_A"/>
</p:tagLst>
</file>

<file path=ppt/tags/tag2.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SLIDE_TITLE" val="Introduction"/>
  <p:tag name="ISPRING_SLIDE_ID" val="{A80A46FD-D883-439A-B33C-7DF93952E42F}"/>
  <p:tag name="GENSWF_ADVANCE_TIME" val="72.493"/>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4GLX7_byUa8JEqdRKKj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wtpmPTUBkWcZZqk5G0F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wtpmPTUBkWcZZqk5G0F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wtpmPTUBkWcZZqk5G0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wtpmPTUBkWcZZqk5G0F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VwtpmPTUBkWcZZqk5G0F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wtpmPTUBkWcZZqk5G0F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nM0y_ozRWum_KwFn8oP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26.671"/>
  <p:tag name="ISPRING_SLIDE_ID" val="{3245713B-24B4-470D-9B84-73628BF28199}"/>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lRfEAcpQQ.3KR8ASPor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iDoJGMv1EOQGafXUq7q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Gs13beEkWOpjF39h_p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wtpmPTUBkWcZZqk5G0F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NNXt82mEUKrd2FFctNe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lRfEAcpQQ.3KR8ASPor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Gs13beEkWOpjF39h_p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wtpmPTUBkWcZZqk5G0FHg"/>
</p:tagLst>
</file>

<file path=ppt/tags/tag39.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35.944"/>
  <p:tag name="ISPRING_SLIDE_ID" val="{48CD11DE-D950-4026-900F-271D2872868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kGg9IJ3RraaO9GkIzK._A"/>
</p:tagLst>
</file>

<file path=ppt/tags/tag42.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75.993"/>
  <p:tag name="ISPRING_SLIDE_ID" val="{623A0B77-D5BB-4709-BBC7-E4303AE6A1FD}"/>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B98wJPYTROPA0h.rXVF6w"/>
</p:tagLst>
</file>

<file path=ppt/tags/tag45.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148.872"/>
  <p:tag name="ISPRING_SLIDE_ID" val="{9057E1B4-8C1E-492A-9849-228E5F490992}"/>
</p:tagLst>
</file>

<file path=ppt/tags/tag46.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148.872"/>
  <p:tag name="ISPRING_SLIDE_ID" val="{9057E1B4-8C1E-492A-9849-228E5F490992}"/>
</p:tagLst>
</file>

<file path=ppt/tags/tag47.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148.872"/>
  <p:tag name="ISPRING_SLIDE_ID" val="{9057E1B4-8C1E-492A-9849-228E5F490992}"/>
</p:tagLst>
</file>

<file path=ppt/tags/tag48.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1.83"/>
  <p:tag name="GENSWF_SLIDE_TITLE" val="Thank you"/>
  <p:tag name="ISPRING_SLIDE_ID" val="{172B818D-63EE-48C6-89AB-461C7B2E90F5}"/>
</p:tagLst>
</file>

<file path=ppt/tags/tag49.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CRIRSCO"/>
  <p:tag name="ISPRING_SLIDE_INDENT_LEVEL" val="0"/>
  <p:tag name="GENSWF_ADVANCE_TIME" val="6.089"/>
  <p:tag name="ISPRING_SLIDE_ID" val="{51406A37-5234-415B-BF23-0C85A7DF290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owdhdDwR5STE4BV6YOO_g"/>
</p:tagLst>
</file>

<file path=ppt/tags/tag6.xml><?xml version="1.0" encoding="utf-8"?>
<p:tagLst xmlns:a="http://schemas.openxmlformats.org/drawingml/2006/main" xmlns:r="http://schemas.openxmlformats.org/officeDocument/2006/relationships" xmlns:p="http://schemas.openxmlformats.org/presentationml/2006/main">
  <p:tag name="ISPRING_CUSTOM_TIMING_USED" val="1"/>
  <p:tag name="ISPRING_SLIDE_INDENT_LEVEL" val="0"/>
  <p:tag name="GENSWF_ADVANCE_TIME" val="41.535"/>
  <p:tag name="ISPRING_SLIDE_ID" val="{B99D78D3-2EF2-40AF-A9CF-64F525A30638}"/>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wFcl74RCOKrgqjMY0H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q7q2CuyakK.ysC0K_6cg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Title &amp; Subtitle">
  <a:themeElements>
    <a:clrScheme name="Title &amp; Sub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amp; Subtitle">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amp; Sub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Blank">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Title &amp; Bullets - Left">
  <a:themeElements>
    <a:clrScheme name="Title &amp; Bullets - Lef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amp; Bullets - Left">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amp; Bullets - Lef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Title - Center">
  <a:themeElements>
    <a:clrScheme name="Title - Cen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 Center">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 Cen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Title &amp; Bullets - Right">
  <a:themeElements>
    <a:clrScheme name="Title &amp; Bullets - Righ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amp; Bullets - Right">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amp; Bullets - Righ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Title, Bullets &amp; Photo">
  <a:themeElements>
    <a:clrScheme name="Title, Bullets &amp; Phot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Bullets &amp; Photo">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Bullets &amp; Phot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le &amp; Bullets">
  <a:themeElements>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amp; Bullets">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itle &amp; Bullets - 2 Column">
  <a:themeElements>
    <a:clrScheme name="Title &amp; Bullets - 2 Colum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amp; Bullets - 2 Column">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amp; Bullets - 2 Colum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ullets">
  <a:themeElements>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ullets">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hoto - Horizontal">
  <a:themeElements>
    <a:clrScheme name="Photo - Horizont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hoto - Horizontal">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Photo - Horizont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Photo - Horizontal Reflection">
  <a:themeElements>
    <a:clrScheme name="Photo - Horizontal Reflec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hoto - Horizontal Reflection">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Photo - Horizontal Reflec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Photo - Vertical">
  <a:themeElements>
    <a:clrScheme name="Photo - Vertic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hoto - Vertical">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Photo - Vertic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hoto - Vertical Reflection">
  <a:themeElements>
    <a:clrScheme name="Photo - Vertical Reflec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Photo - Vertical Reflection">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Photo - Vertical Reflec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Title - Top">
  <a:themeElements>
    <a:clrScheme name="Title - To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itle - Top">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 To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0</TotalTime>
  <Pages>0</Pages>
  <Words>2469</Words>
  <Characters>0</Characters>
  <Application>Microsoft Office PowerPoint</Application>
  <PresentationFormat>Произвольный</PresentationFormat>
  <Lines>0</Lines>
  <Paragraphs>390</Paragraphs>
  <Slides>23</Slides>
  <Notes>10</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4</vt:i4>
      </vt:variant>
      <vt:variant>
        <vt:lpstr>Внедренные серверы OLE</vt:lpstr>
      </vt:variant>
      <vt:variant>
        <vt:i4>1</vt:i4>
      </vt:variant>
      <vt:variant>
        <vt:lpstr>Заголовки слайдов</vt:lpstr>
      </vt:variant>
      <vt:variant>
        <vt:i4>23</vt:i4>
      </vt:variant>
    </vt:vector>
  </HeadingPairs>
  <TitlesOfParts>
    <vt:vector size="43" baseType="lpstr">
      <vt:lpstr>Arial</vt:lpstr>
      <vt:lpstr>Calibri</vt:lpstr>
      <vt:lpstr>Courier New</vt:lpstr>
      <vt:lpstr>Gill Sans</vt:lpstr>
      <vt:lpstr>Wingdings</vt:lpstr>
      <vt:lpstr>Title &amp; Subtitle</vt:lpstr>
      <vt:lpstr>Title &amp; Bullets</vt:lpstr>
      <vt:lpstr>Title &amp; Bullets - 2 Column</vt:lpstr>
      <vt:lpstr>Bullets</vt:lpstr>
      <vt:lpstr>Photo - Horizontal</vt:lpstr>
      <vt:lpstr>Photo - Horizontal Reflection</vt:lpstr>
      <vt:lpstr>Photo - Vertical</vt:lpstr>
      <vt:lpstr>Photo - Vertical Reflection</vt:lpstr>
      <vt:lpstr>Title - Top</vt:lpstr>
      <vt:lpstr>Blank</vt:lpstr>
      <vt:lpstr>Title &amp; Bullets - Left</vt:lpstr>
      <vt:lpstr>Title - Center</vt:lpstr>
      <vt:lpstr>Title &amp; Bullets - Right</vt:lpstr>
      <vt:lpstr>Title, Bullets &amp; Photo</vt:lpstr>
      <vt:lpstr>think-cell Slide</vt:lpstr>
      <vt:lpstr>Презентация PowerPoint</vt:lpstr>
      <vt:lpstr>Содержание презентации</vt:lpstr>
      <vt:lpstr>CRIRSCO – Основная задача</vt:lpstr>
      <vt:lpstr>Презентация PowerPoint</vt:lpstr>
      <vt:lpstr>13 стран – членов CRIRSCO</vt:lpstr>
      <vt:lpstr>Презентация PowerPoint</vt:lpstr>
      <vt:lpstr>Презентация PowerPoint</vt:lpstr>
      <vt:lpstr>Презентация PowerPoint</vt:lpstr>
      <vt:lpstr>Что же такое NRO?</vt:lpstr>
      <vt:lpstr>Право на членство в CRIRSCO</vt:lpstr>
      <vt:lpstr>Признанные Профессиональные Организации</vt:lpstr>
      <vt:lpstr>Взаимоотношения между NRO &amp; RPO</vt:lpstr>
      <vt:lpstr>Признание Компетентных Лиц</vt:lpstr>
      <vt:lpstr>Презентация PowerPoint</vt:lpstr>
      <vt:lpstr>Дорожная карта подачи заявки </vt:lpstr>
      <vt:lpstr>Дорожная карта для заявки: Бразилия</vt:lpstr>
      <vt:lpstr>Дорожная карта для заявки: Бразилия</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GRCWorkshop2016</dc:title>
  <dc:creator>Dixon, Roger</dc:creator>
  <cp:lastModifiedBy>Igor Swintitsky</cp:lastModifiedBy>
  <cp:revision>240</cp:revision>
  <dcterms:modified xsi:type="dcterms:W3CDTF">2019-05-21T20:00:55Z</dcterms:modified>
</cp:coreProperties>
</file>